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 id="2147483656" r:id="rId2"/>
    <p:sldMasterId id="2147483706" r:id="rId3"/>
  </p:sldMasterIdLst>
  <p:notesMasterIdLst>
    <p:notesMasterId r:id="rId34"/>
  </p:notesMasterIdLst>
  <p:handoutMasterIdLst>
    <p:handoutMasterId r:id="rId35"/>
  </p:handoutMasterIdLst>
  <p:sldIdLst>
    <p:sldId id="1695" r:id="rId4"/>
    <p:sldId id="1672" r:id="rId5"/>
    <p:sldId id="1871" r:id="rId6"/>
    <p:sldId id="1856" r:id="rId7"/>
    <p:sldId id="1840" r:id="rId8"/>
    <p:sldId id="1857" r:id="rId9"/>
    <p:sldId id="1799" r:id="rId10"/>
    <p:sldId id="1861" r:id="rId11"/>
    <p:sldId id="1878" r:id="rId12"/>
    <p:sldId id="1858" r:id="rId13"/>
    <p:sldId id="1807" r:id="rId14"/>
    <p:sldId id="1876" r:id="rId15"/>
    <p:sldId id="1809" r:id="rId16"/>
    <p:sldId id="1816" r:id="rId17"/>
    <p:sldId id="1811" r:id="rId18"/>
    <p:sldId id="1843" r:id="rId19"/>
    <p:sldId id="1844" r:id="rId20"/>
    <p:sldId id="1846" r:id="rId21"/>
    <p:sldId id="1848" r:id="rId22"/>
    <p:sldId id="1859" r:id="rId23"/>
    <p:sldId id="1854" r:id="rId24"/>
    <p:sldId id="1855" r:id="rId25"/>
    <p:sldId id="1870" r:id="rId26"/>
    <p:sldId id="1869" r:id="rId27"/>
    <p:sldId id="1877" r:id="rId28"/>
    <p:sldId id="1868" r:id="rId29"/>
    <p:sldId id="1872" r:id="rId30"/>
    <p:sldId id="1873" r:id="rId31"/>
    <p:sldId id="1874" r:id="rId32"/>
    <p:sldId id="1875" r:id="rId33"/>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8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dreddine LKHADARI" initials="BL" lastIdx="1" clrIdx="0">
    <p:extLst>
      <p:ext uri="{19B8F6BF-5375-455C-9EA6-DF929625EA0E}">
        <p15:presenceInfo xmlns:p15="http://schemas.microsoft.com/office/powerpoint/2012/main" userId="Badreddine LKHADA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E5E1"/>
    <a:srgbClr val="8D8D8D"/>
    <a:srgbClr val="0587AF"/>
    <a:srgbClr val="DDFFDD"/>
    <a:srgbClr val="C7970D"/>
    <a:srgbClr val="E6E6E6"/>
    <a:srgbClr val="EBD5DF"/>
    <a:srgbClr val="CCFFCC"/>
    <a:srgbClr val="1A8EA9"/>
    <a:srgbClr val="5AB4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887" autoAdjust="0"/>
    <p:restoredTop sz="95867" autoAdjust="0"/>
  </p:normalViewPr>
  <p:slideViewPr>
    <p:cSldViewPr snapToGrid="0" showGuides="1">
      <p:cViewPr varScale="1">
        <p:scale>
          <a:sx n="111" d="100"/>
          <a:sy n="111" d="100"/>
        </p:scale>
        <p:origin x="228" y="114"/>
      </p:cViewPr>
      <p:guideLst>
        <p:guide orient="horz" pos="2137"/>
        <p:guide pos="388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5" d="100"/>
          <a:sy n="65" d="100"/>
        </p:scale>
        <p:origin x="2595" y="5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 Id="rId8" Type="http://schemas.openxmlformats.org/officeDocument/2006/relationships/slide" Target="slides/slide5.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4BB264-9BE1-4C20-B5D6-D3455F286C42}" type="doc">
      <dgm:prSet loTypeId="urn:microsoft.com/office/officeart/2005/8/layout/process1" loCatId="process" qsTypeId="urn:microsoft.com/office/officeart/2005/8/quickstyle/3d5" qsCatId="3D" csTypeId="urn:microsoft.com/office/officeart/2005/8/colors/accent1_3" csCatId="accent1" phldr="1"/>
      <dgm:spPr/>
      <dgm:t>
        <a:bodyPr/>
        <a:lstStyle/>
        <a:p>
          <a:endParaRPr lang="fr-FR"/>
        </a:p>
      </dgm:t>
    </dgm:pt>
    <dgm:pt modelId="{6DF0CFA8-94F9-421F-9703-D0931AC22BE1}">
      <dgm:prSet phldrT="[Texte]" custT="1"/>
      <dgm:spPr/>
      <dgm:t>
        <a:bodyPr/>
        <a:lstStyle/>
        <a:p>
          <a:pPr algn="ctr"/>
          <a:r>
            <a:rPr lang="fr-FR" sz="3200" b="1" dirty="0" smtClean="0"/>
            <a:t>12</a:t>
          </a:r>
          <a:r>
            <a:rPr lang="fr-FR" sz="3200" dirty="0" smtClean="0"/>
            <a:t> </a:t>
          </a:r>
          <a:r>
            <a:rPr lang="fr-FR" sz="2400" dirty="0" smtClean="0"/>
            <a:t>Régions</a:t>
          </a:r>
          <a:endParaRPr lang="fr-FR" sz="3200" dirty="0"/>
        </a:p>
      </dgm:t>
    </dgm:pt>
    <dgm:pt modelId="{9E96DF02-F762-4354-90E4-31A7D3A22D0A}" type="parTrans" cxnId="{BC0FE15D-7CBF-4836-890F-81927F5F94B3}">
      <dgm:prSet/>
      <dgm:spPr/>
      <dgm:t>
        <a:bodyPr/>
        <a:lstStyle/>
        <a:p>
          <a:endParaRPr lang="fr-FR" sz="1800"/>
        </a:p>
      </dgm:t>
    </dgm:pt>
    <dgm:pt modelId="{CC979AF0-B005-4D66-BEAA-DE35EA073268}" type="sibTrans" cxnId="{BC0FE15D-7CBF-4836-890F-81927F5F94B3}">
      <dgm:prSet/>
      <dgm:spPr/>
      <dgm:t>
        <a:bodyPr/>
        <a:lstStyle/>
        <a:p>
          <a:endParaRPr lang="fr-FR" sz="1800"/>
        </a:p>
      </dgm:t>
    </dgm:pt>
    <dgm:pt modelId="{06FA2CB6-0360-4FDD-A101-BD4CC2343FB2}">
      <dgm:prSet phldrT="[Texte]" custT="1"/>
      <dgm:spPr/>
      <dgm:t>
        <a:bodyPr/>
        <a:lstStyle/>
        <a:p>
          <a:r>
            <a:rPr lang="fr-FR" sz="2400" b="1" dirty="0" smtClean="0"/>
            <a:t>13</a:t>
          </a:r>
          <a:r>
            <a:rPr lang="fr-FR" sz="2400" dirty="0" smtClean="0"/>
            <a:t> </a:t>
          </a:r>
          <a:r>
            <a:rPr lang="fr-FR" sz="1800" dirty="0" smtClean="0"/>
            <a:t>Préfectures</a:t>
          </a:r>
          <a:endParaRPr lang="fr-FR" sz="2400" dirty="0"/>
        </a:p>
      </dgm:t>
    </dgm:pt>
    <dgm:pt modelId="{7307FE29-A296-42B3-9CAB-E587856B046A}" type="parTrans" cxnId="{506DF422-0F39-420F-99A0-D7745EF63044}">
      <dgm:prSet/>
      <dgm:spPr/>
      <dgm:t>
        <a:bodyPr/>
        <a:lstStyle/>
        <a:p>
          <a:endParaRPr lang="fr-FR" sz="1800"/>
        </a:p>
      </dgm:t>
    </dgm:pt>
    <dgm:pt modelId="{7D7C6560-8CA9-40D0-BBDB-6CE941088B21}" type="sibTrans" cxnId="{506DF422-0F39-420F-99A0-D7745EF63044}">
      <dgm:prSet/>
      <dgm:spPr/>
      <dgm:t>
        <a:bodyPr/>
        <a:lstStyle/>
        <a:p>
          <a:endParaRPr lang="fr-FR" sz="1800"/>
        </a:p>
      </dgm:t>
    </dgm:pt>
    <dgm:pt modelId="{507AD260-63AC-4CC7-AE55-BF2895C8CA2E}">
      <dgm:prSet phldrT="[Texte]" custT="1"/>
      <dgm:spPr/>
      <dgm:t>
        <a:bodyPr/>
        <a:lstStyle/>
        <a:p>
          <a:r>
            <a:rPr lang="fr-FR" sz="2800" b="1" dirty="0" smtClean="0"/>
            <a:t>62</a:t>
          </a:r>
          <a:r>
            <a:rPr lang="fr-FR" sz="2800" dirty="0" smtClean="0"/>
            <a:t> </a:t>
          </a:r>
          <a:r>
            <a:rPr lang="fr-FR" sz="2000" dirty="0" smtClean="0"/>
            <a:t>Provinces</a:t>
          </a:r>
          <a:endParaRPr lang="fr-FR" sz="2800" dirty="0"/>
        </a:p>
      </dgm:t>
    </dgm:pt>
    <dgm:pt modelId="{4A82EF49-D652-48F4-8A94-F416983076EE}" type="parTrans" cxnId="{F7DEEDA5-6AB2-4CE3-8408-CD1AE9E1DB2E}">
      <dgm:prSet/>
      <dgm:spPr/>
      <dgm:t>
        <a:bodyPr/>
        <a:lstStyle/>
        <a:p>
          <a:endParaRPr lang="fr-FR" sz="1800"/>
        </a:p>
      </dgm:t>
    </dgm:pt>
    <dgm:pt modelId="{5625EBF3-475A-4DC9-8ACD-651944D500BC}" type="sibTrans" cxnId="{F7DEEDA5-6AB2-4CE3-8408-CD1AE9E1DB2E}">
      <dgm:prSet/>
      <dgm:spPr/>
      <dgm:t>
        <a:bodyPr/>
        <a:lstStyle/>
        <a:p>
          <a:endParaRPr lang="fr-FR" sz="1800"/>
        </a:p>
      </dgm:t>
    </dgm:pt>
    <dgm:pt modelId="{88DB817C-2039-40BD-8FF9-467F21F2547E}">
      <dgm:prSet phldrT="[Texte]" custT="1"/>
      <dgm:spPr/>
      <dgm:t>
        <a:bodyPr/>
        <a:lstStyle/>
        <a:p>
          <a:r>
            <a:rPr lang="fr-FR" sz="2400" b="1" dirty="0" smtClean="0"/>
            <a:t>1503</a:t>
          </a:r>
          <a:r>
            <a:rPr lang="fr-FR" sz="2400" dirty="0" smtClean="0"/>
            <a:t> </a:t>
          </a:r>
          <a:r>
            <a:rPr lang="fr-FR" sz="2000" dirty="0" smtClean="0"/>
            <a:t>C</a:t>
          </a:r>
          <a:r>
            <a:rPr lang="fr-FR" sz="1800" dirty="0" smtClean="0"/>
            <a:t>ommunes</a:t>
          </a:r>
          <a:endParaRPr lang="fr-FR" sz="2000" dirty="0"/>
        </a:p>
      </dgm:t>
    </dgm:pt>
    <dgm:pt modelId="{96E20975-0737-4BB0-A6C3-F0F6EEBAFD40}" type="parTrans" cxnId="{6AD4F5D9-8B12-40E8-A99F-92C12242B93A}">
      <dgm:prSet/>
      <dgm:spPr/>
      <dgm:t>
        <a:bodyPr/>
        <a:lstStyle/>
        <a:p>
          <a:endParaRPr lang="fr-FR" sz="1800"/>
        </a:p>
      </dgm:t>
    </dgm:pt>
    <dgm:pt modelId="{AEF0F3EF-4760-4B11-838D-96802213459E}" type="sibTrans" cxnId="{6AD4F5D9-8B12-40E8-A99F-92C12242B93A}">
      <dgm:prSet/>
      <dgm:spPr/>
      <dgm:t>
        <a:bodyPr/>
        <a:lstStyle/>
        <a:p>
          <a:endParaRPr lang="fr-FR" sz="1800"/>
        </a:p>
      </dgm:t>
    </dgm:pt>
    <dgm:pt modelId="{A9197027-BB54-4890-9683-E972B8E4FAF9}">
      <dgm:prSet/>
      <dgm:spPr/>
      <dgm:t>
        <a:bodyPr/>
        <a:lstStyle/>
        <a:p>
          <a:endParaRPr lang="fr-FR"/>
        </a:p>
      </dgm:t>
    </dgm:pt>
    <dgm:pt modelId="{582C4151-7640-45C7-A11F-AF1FF66459F7}" type="parTrans" cxnId="{04662B59-B104-4B2F-B740-C586C840FA73}">
      <dgm:prSet/>
      <dgm:spPr/>
      <dgm:t>
        <a:bodyPr/>
        <a:lstStyle/>
        <a:p>
          <a:endParaRPr lang="fr-FR"/>
        </a:p>
      </dgm:t>
    </dgm:pt>
    <dgm:pt modelId="{0A6EC61B-5189-40AB-85A0-A5F0FD465167}" type="sibTrans" cxnId="{04662B59-B104-4B2F-B740-C586C840FA73}">
      <dgm:prSet/>
      <dgm:spPr/>
      <dgm:t>
        <a:bodyPr/>
        <a:lstStyle/>
        <a:p>
          <a:endParaRPr lang="fr-FR"/>
        </a:p>
      </dgm:t>
    </dgm:pt>
    <dgm:pt modelId="{3288FD7A-BCE0-4057-9042-6AB57C987992}" type="pres">
      <dgm:prSet presAssocID="{524BB264-9BE1-4C20-B5D6-D3455F286C42}" presName="Name0" presStyleCnt="0">
        <dgm:presLayoutVars>
          <dgm:dir/>
          <dgm:resizeHandles val="exact"/>
        </dgm:presLayoutVars>
      </dgm:prSet>
      <dgm:spPr/>
      <dgm:t>
        <a:bodyPr/>
        <a:lstStyle/>
        <a:p>
          <a:endParaRPr lang="fr-FR"/>
        </a:p>
      </dgm:t>
    </dgm:pt>
    <dgm:pt modelId="{610CA769-310E-448B-8912-44938113CBDC}" type="pres">
      <dgm:prSet presAssocID="{6DF0CFA8-94F9-421F-9703-D0931AC22BE1}" presName="node" presStyleLbl="node1" presStyleIdx="0" presStyleCnt="5">
        <dgm:presLayoutVars>
          <dgm:bulletEnabled val="1"/>
        </dgm:presLayoutVars>
      </dgm:prSet>
      <dgm:spPr/>
      <dgm:t>
        <a:bodyPr/>
        <a:lstStyle/>
        <a:p>
          <a:endParaRPr lang="fr-FR"/>
        </a:p>
      </dgm:t>
    </dgm:pt>
    <dgm:pt modelId="{E434245F-0395-4C7C-A1A0-B071AEC92915}" type="pres">
      <dgm:prSet presAssocID="{CC979AF0-B005-4D66-BEAA-DE35EA073268}" presName="sibTrans" presStyleLbl="sibTrans2D1" presStyleIdx="0" presStyleCnt="4"/>
      <dgm:spPr/>
      <dgm:t>
        <a:bodyPr/>
        <a:lstStyle/>
        <a:p>
          <a:endParaRPr lang="fr-FR"/>
        </a:p>
      </dgm:t>
    </dgm:pt>
    <dgm:pt modelId="{2C55F3EF-3AD7-4CA0-A639-AA713200F0AE}" type="pres">
      <dgm:prSet presAssocID="{CC979AF0-B005-4D66-BEAA-DE35EA073268}" presName="connectorText" presStyleLbl="sibTrans2D1" presStyleIdx="0" presStyleCnt="4"/>
      <dgm:spPr/>
      <dgm:t>
        <a:bodyPr/>
        <a:lstStyle/>
        <a:p>
          <a:endParaRPr lang="fr-FR"/>
        </a:p>
      </dgm:t>
    </dgm:pt>
    <dgm:pt modelId="{63281154-F65D-42CB-9E8E-01E055F3D86C}" type="pres">
      <dgm:prSet presAssocID="{06FA2CB6-0360-4FDD-A101-BD4CC2343FB2}" presName="node" presStyleLbl="node1" presStyleIdx="1" presStyleCnt="5">
        <dgm:presLayoutVars>
          <dgm:bulletEnabled val="1"/>
        </dgm:presLayoutVars>
      </dgm:prSet>
      <dgm:spPr/>
      <dgm:t>
        <a:bodyPr/>
        <a:lstStyle/>
        <a:p>
          <a:endParaRPr lang="fr-FR"/>
        </a:p>
      </dgm:t>
    </dgm:pt>
    <dgm:pt modelId="{F54923AA-3D70-4190-965A-658AA10691A9}" type="pres">
      <dgm:prSet presAssocID="{7D7C6560-8CA9-40D0-BBDB-6CE941088B21}" presName="sibTrans" presStyleLbl="sibTrans2D1" presStyleIdx="1" presStyleCnt="4"/>
      <dgm:spPr/>
      <dgm:t>
        <a:bodyPr/>
        <a:lstStyle/>
        <a:p>
          <a:endParaRPr lang="fr-FR"/>
        </a:p>
      </dgm:t>
    </dgm:pt>
    <dgm:pt modelId="{1DC3211E-ED87-406B-B132-75FB58E95424}" type="pres">
      <dgm:prSet presAssocID="{7D7C6560-8CA9-40D0-BBDB-6CE941088B21}" presName="connectorText" presStyleLbl="sibTrans2D1" presStyleIdx="1" presStyleCnt="4"/>
      <dgm:spPr/>
      <dgm:t>
        <a:bodyPr/>
        <a:lstStyle/>
        <a:p>
          <a:endParaRPr lang="fr-FR"/>
        </a:p>
      </dgm:t>
    </dgm:pt>
    <dgm:pt modelId="{74AF9AE4-0753-4579-95C7-42803C633B4E}" type="pres">
      <dgm:prSet presAssocID="{507AD260-63AC-4CC7-AE55-BF2895C8CA2E}" presName="node" presStyleLbl="node1" presStyleIdx="2" presStyleCnt="5">
        <dgm:presLayoutVars>
          <dgm:bulletEnabled val="1"/>
        </dgm:presLayoutVars>
      </dgm:prSet>
      <dgm:spPr/>
      <dgm:t>
        <a:bodyPr/>
        <a:lstStyle/>
        <a:p>
          <a:endParaRPr lang="fr-FR"/>
        </a:p>
      </dgm:t>
    </dgm:pt>
    <dgm:pt modelId="{132A0371-70CE-40B0-92F9-4D191B38F9C9}" type="pres">
      <dgm:prSet presAssocID="{5625EBF3-475A-4DC9-8ACD-651944D500BC}" presName="sibTrans" presStyleLbl="sibTrans2D1" presStyleIdx="2" presStyleCnt="4"/>
      <dgm:spPr/>
      <dgm:t>
        <a:bodyPr/>
        <a:lstStyle/>
        <a:p>
          <a:endParaRPr lang="fr-FR"/>
        </a:p>
      </dgm:t>
    </dgm:pt>
    <dgm:pt modelId="{ADE4315C-8FE9-4369-B96A-D3AABA6407A1}" type="pres">
      <dgm:prSet presAssocID="{5625EBF3-475A-4DC9-8ACD-651944D500BC}" presName="connectorText" presStyleLbl="sibTrans2D1" presStyleIdx="2" presStyleCnt="4"/>
      <dgm:spPr/>
      <dgm:t>
        <a:bodyPr/>
        <a:lstStyle/>
        <a:p>
          <a:endParaRPr lang="fr-FR"/>
        </a:p>
      </dgm:t>
    </dgm:pt>
    <dgm:pt modelId="{B122EB9A-8C53-434E-9B1F-468FBF5AF03B}" type="pres">
      <dgm:prSet presAssocID="{88DB817C-2039-40BD-8FF9-467F21F2547E}" presName="node" presStyleLbl="node1" presStyleIdx="3" presStyleCnt="5">
        <dgm:presLayoutVars>
          <dgm:bulletEnabled val="1"/>
        </dgm:presLayoutVars>
      </dgm:prSet>
      <dgm:spPr/>
      <dgm:t>
        <a:bodyPr/>
        <a:lstStyle/>
        <a:p>
          <a:endParaRPr lang="fr-FR"/>
        </a:p>
      </dgm:t>
    </dgm:pt>
    <dgm:pt modelId="{72AF17C2-978B-4021-9727-A291E8A682E3}" type="pres">
      <dgm:prSet presAssocID="{AEF0F3EF-4760-4B11-838D-96802213459E}" presName="sibTrans" presStyleLbl="sibTrans2D1" presStyleIdx="3" presStyleCnt="4"/>
      <dgm:spPr/>
      <dgm:t>
        <a:bodyPr/>
        <a:lstStyle/>
        <a:p>
          <a:endParaRPr lang="fr-FR"/>
        </a:p>
      </dgm:t>
    </dgm:pt>
    <dgm:pt modelId="{8E985BB7-697D-44F4-9D2E-849737ED610D}" type="pres">
      <dgm:prSet presAssocID="{AEF0F3EF-4760-4B11-838D-96802213459E}" presName="connectorText" presStyleLbl="sibTrans2D1" presStyleIdx="3" presStyleCnt="4"/>
      <dgm:spPr/>
      <dgm:t>
        <a:bodyPr/>
        <a:lstStyle/>
        <a:p>
          <a:endParaRPr lang="fr-FR"/>
        </a:p>
      </dgm:t>
    </dgm:pt>
    <dgm:pt modelId="{AADB0E25-8B53-4669-B73B-CB76AD0C2828}" type="pres">
      <dgm:prSet presAssocID="{A9197027-BB54-4890-9683-E972B8E4FAF9}" presName="node" presStyleLbl="node1" presStyleIdx="4" presStyleCnt="5" custScaleX="104403" custLinFactNeighborX="806" custLinFactNeighborY="2891">
        <dgm:presLayoutVars>
          <dgm:bulletEnabled val="1"/>
        </dgm:presLayoutVars>
      </dgm:prSet>
      <dgm:spPr/>
      <dgm:t>
        <a:bodyPr/>
        <a:lstStyle/>
        <a:p>
          <a:endParaRPr lang="fr-FR"/>
        </a:p>
      </dgm:t>
    </dgm:pt>
  </dgm:ptLst>
  <dgm:cxnLst>
    <dgm:cxn modelId="{7B28D42E-E267-4571-936D-D6240DC72973}" type="presOf" srcId="{AEF0F3EF-4760-4B11-838D-96802213459E}" destId="{72AF17C2-978B-4021-9727-A291E8A682E3}" srcOrd="0" destOrd="0" presId="urn:microsoft.com/office/officeart/2005/8/layout/process1"/>
    <dgm:cxn modelId="{BC0FE15D-7CBF-4836-890F-81927F5F94B3}" srcId="{524BB264-9BE1-4C20-B5D6-D3455F286C42}" destId="{6DF0CFA8-94F9-421F-9703-D0931AC22BE1}" srcOrd="0" destOrd="0" parTransId="{9E96DF02-F762-4354-90E4-31A7D3A22D0A}" sibTransId="{CC979AF0-B005-4D66-BEAA-DE35EA073268}"/>
    <dgm:cxn modelId="{09C3D545-B84C-4F8D-8C60-B3E7A533C813}" type="presOf" srcId="{7D7C6560-8CA9-40D0-BBDB-6CE941088B21}" destId="{F54923AA-3D70-4190-965A-658AA10691A9}" srcOrd="0" destOrd="0" presId="urn:microsoft.com/office/officeart/2005/8/layout/process1"/>
    <dgm:cxn modelId="{616B55B7-A8F7-491B-9D0C-E554392DFCF6}" type="presOf" srcId="{06FA2CB6-0360-4FDD-A101-BD4CC2343FB2}" destId="{63281154-F65D-42CB-9E8E-01E055F3D86C}" srcOrd="0" destOrd="0" presId="urn:microsoft.com/office/officeart/2005/8/layout/process1"/>
    <dgm:cxn modelId="{C9B0535D-4577-4F2A-8DEF-2B1A88BF8F93}" type="presOf" srcId="{CC979AF0-B005-4D66-BEAA-DE35EA073268}" destId="{E434245F-0395-4C7C-A1A0-B071AEC92915}" srcOrd="0" destOrd="0" presId="urn:microsoft.com/office/officeart/2005/8/layout/process1"/>
    <dgm:cxn modelId="{A325155C-C7A7-4015-B172-EEDCA0D22972}" type="presOf" srcId="{5625EBF3-475A-4DC9-8ACD-651944D500BC}" destId="{132A0371-70CE-40B0-92F9-4D191B38F9C9}" srcOrd="0" destOrd="0" presId="urn:microsoft.com/office/officeart/2005/8/layout/process1"/>
    <dgm:cxn modelId="{765586CA-E6F3-4A0F-A332-72912FFBE4C8}" type="presOf" srcId="{5625EBF3-475A-4DC9-8ACD-651944D500BC}" destId="{ADE4315C-8FE9-4369-B96A-D3AABA6407A1}" srcOrd="1" destOrd="0" presId="urn:microsoft.com/office/officeart/2005/8/layout/process1"/>
    <dgm:cxn modelId="{05A73BF2-B128-449D-9B2C-66976C3BBF4C}" type="presOf" srcId="{524BB264-9BE1-4C20-B5D6-D3455F286C42}" destId="{3288FD7A-BCE0-4057-9042-6AB57C987992}" srcOrd="0" destOrd="0" presId="urn:microsoft.com/office/officeart/2005/8/layout/process1"/>
    <dgm:cxn modelId="{F7DEEDA5-6AB2-4CE3-8408-CD1AE9E1DB2E}" srcId="{524BB264-9BE1-4C20-B5D6-D3455F286C42}" destId="{507AD260-63AC-4CC7-AE55-BF2895C8CA2E}" srcOrd="2" destOrd="0" parTransId="{4A82EF49-D652-48F4-8A94-F416983076EE}" sibTransId="{5625EBF3-475A-4DC9-8ACD-651944D500BC}"/>
    <dgm:cxn modelId="{FFE30B3A-C4D0-4A11-AF96-2E3E76FC3775}" type="presOf" srcId="{88DB817C-2039-40BD-8FF9-467F21F2547E}" destId="{B122EB9A-8C53-434E-9B1F-468FBF5AF03B}" srcOrd="0" destOrd="0" presId="urn:microsoft.com/office/officeart/2005/8/layout/process1"/>
    <dgm:cxn modelId="{F83B00B4-A872-4809-ADF1-F42756C59923}" type="presOf" srcId="{CC979AF0-B005-4D66-BEAA-DE35EA073268}" destId="{2C55F3EF-3AD7-4CA0-A639-AA713200F0AE}" srcOrd="1" destOrd="0" presId="urn:microsoft.com/office/officeart/2005/8/layout/process1"/>
    <dgm:cxn modelId="{5132A215-7F05-43DD-A692-BD5869BAA364}" type="presOf" srcId="{AEF0F3EF-4760-4B11-838D-96802213459E}" destId="{8E985BB7-697D-44F4-9D2E-849737ED610D}" srcOrd="1" destOrd="0" presId="urn:microsoft.com/office/officeart/2005/8/layout/process1"/>
    <dgm:cxn modelId="{2E044A8C-C479-41E5-9431-B4CB8C924473}" type="presOf" srcId="{A9197027-BB54-4890-9683-E972B8E4FAF9}" destId="{AADB0E25-8B53-4669-B73B-CB76AD0C2828}" srcOrd="0" destOrd="0" presId="urn:microsoft.com/office/officeart/2005/8/layout/process1"/>
    <dgm:cxn modelId="{6AD4F5D9-8B12-40E8-A99F-92C12242B93A}" srcId="{524BB264-9BE1-4C20-B5D6-D3455F286C42}" destId="{88DB817C-2039-40BD-8FF9-467F21F2547E}" srcOrd="3" destOrd="0" parTransId="{96E20975-0737-4BB0-A6C3-F0F6EEBAFD40}" sibTransId="{AEF0F3EF-4760-4B11-838D-96802213459E}"/>
    <dgm:cxn modelId="{506DF422-0F39-420F-99A0-D7745EF63044}" srcId="{524BB264-9BE1-4C20-B5D6-D3455F286C42}" destId="{06FA2CB6-0360-4FDD-A101-BD4CC2343FB2}" srcOrd="1" destOrd="0" parTransId="{7307FE29-A296-42B3-9CAB-E587856B046A}" sibTransId="{7D7C6560-8CA9-40D0-BBDB-6CE941088B21}"/>
    <dgm:cxn modelId="{52186DFD-4356-4B61-9521-E321759FE880}" type="presOf" srcId="{507AD260-63AC-4CC7-AE55-BF2895C8CA2E}" destId="{74AF9AE4-0753-4579-95C7-42803C633B4E}" srcOrd="0" destOrd="0" presId="urn:microsoft.com/office/officeart/2005/8/layout/process1"/>
    <dgm:cxn modelId="{04662B59-B104-4B2F-B740-C586C840FA73}" srcId="{524BB264-9BE1-4C20-B5D6-D3455F286C42}" destId="{A9197027-BB54-4890-9683-E972B8E4FAF9}" srcOrd="4" destOrd="0" parTransId="{582C4151-7640-45C7-A11F-AF1FF66459F7}" sibTransId="{0A6EC61B-5189-40AB-85A0-A5F0FD465167}"/>
    <dgm:cxn modelId="{8A8D9089-3A6A-4322-8E80-290C376D82A2}" type="presOf" srcId="{6DF0CFA8-94F9-421F-9703-D0931AC22BE1}" destId="{610CA769-310E-448B-8912-44938113CBDC}" srcOrd="0" destOrd="0" presId="urn:microsoft.com/office/officeart/2005/8/layout/process1"/>
    <dgm:cxn modelId="{18F3144B-B4EC-4F7B-B848-9A7B9546D40F}" type="presOf" srcId="{7D7C6560-8CA9-40D0-BBDB-6CE941088B21}" destId="{1DC3211E-ED87-406B-B132-75FB58E95424}" srcOrd="1" destOrd="0" presId="urn:microsoft.com/office/officeart/2005/8/layout/process1"/>
    <dgm:cxn modelId="{5C1DF43D-5145-4292-AC08-6060DFF6DF10}" type="presParOf" srcId="{3288FD7A-BCE0-4057-9042-6AB57C987992}" destId="{610CA769-310E-448B-8912-44938113CBDC}" srcOrd="0" destOrd="0" presId="urn:microsoft.com/office/officeart/2005/8/layout/process1"/>
    <dgm:cxn modelId="{42247B60-9BB0-4F57-B17E-06F19BC58548}" type="presParOf" srcId="{3288FD7A-BCE0-4057-9042-6AB57C987992}" destId="{E434245F-0395-4C7C-A1A0-B071AEC92915}" srcOrd="1" destOrd="0" presId="urn:microsoft.com/office/officeart/2005/8/layout/process1"/>
    <dgm:cxn modelId="{B76C09AA-B43A-4E48-A76A-FD06AF119274}" type="presParOf" srcId="{E434245F-0395-4C7C-A1A0-B071AEC92915}" destId="{2C55F3EF-3AD7-4CA0-A639-AA713200F0AE}" srcOrd="0" destOrd="0" presId="urn:microsoft.com/office/officeart/2005/8/layout/process1"/>
    <dgm:cxn modelId="{A7444D46-A025-4419-BA18-7F3FACD9C2D3}" type="presParOf" srcId="{3288FD7A-BCE0-4057-9042-6AB57C987992}" destId="{63281154-F65D-42CB-9E8E-01E055F3D86C}" srcOrd="2" destOrd="0" presId="urn:microsoft.com/office/officeart/2005/8/layout/process1"/>
    <dgm:cxn modelId="{5C1FC574-7536-43D4-B099-F65692D75BF1}" type="presParOf" srcId="{3288FD7A-BCE0-4057-9042-6AB57C987992}" destId="{F54923AA-3D70-4190-965A-658AA10691A9}" srcOrd="3" destOrd="0" presId="urn:microsoft.com/office/officeart/2005/8/layout/process1"/>
    <dgm:cxn modelId="{4D9D7CFE-A0B0-4A3F-A686-4C73CAF394E3}" type="presParOf" srcId="{F54923AA-3D70-4190-965A-658AA10691A9}" destId="{1DC3211E-ED87-406B-B132-75FB58E95424}" srcOrd="0" destOrd="0" presId="urn:microsoft.com/office/officeart/2005/8/layout/process1"/>
    <dgm:cxn modelId="{66323F23-DB18-455F-9AEB-FBC9A778FD04}" type="presParOf" srcId="{3288FD7A-BCE0-4057-9042-6AB57C987992}" destId="{74AF9AE4-0753-4579-95C7-42803C633B4E}" srcOrd="4" destOrd="0" presId="urn:microsoft.com/office/officeart/2005/8/layout/process1"/>
    <dgm:cxn modelId="{EA0D2581-879D-4BCE-B1A1-85BF0A918084}" type="presParOf" srcId="{3288FD7A-BCE0-4057-9042-6AB57C987992}" destId="{132A0371-70CE-40B0-92F9-4D191B38F9C9}" srcOrd="5" destOrd="0" presId="urn:microsoft.com/office/officeart/2005/8/layout/process1"/>
    <dgm:cxn modelId="{2E3453CB-6443-49D4-9E6F-B04DDD243766}" type="presParOf" srcId="{132A0371-70CE-40B0-92F9-4D191B38F9C9}" destId="{ADE4315C-8FE9-4369-B96A-D3AABA6407A1}" srcOrd="0" destOrd="0" presId="urn:microsoft.com/office/officeart/2005/8/layout/process1"/>
    <dgm:cxn modelId="{CF03F26E-0FAB-4006-ACD9-DEAF47D69CE2}" type="presParOf" srcId="{3288FD7A-BCE0-4057-9042-6AB57C987992}" destId="{B122EB9A-8C53-434E-9B1F-468FBF5AF03B}" srcOrd="6" destOrd="0" presId="urn:microsoft.com/office/officeart/2005/8/layout/process1"/>
    <dgm:cxn modelId="{DD1618F5-3319-4F61-870A-1A859A1D8F31}" type="presParOf" srcId="{3288FD7A-BCE0-4057-9042-6AB57C987992}" destId="{72AF17C2-978B-4021-9727-A291E8A682E3}" srcOrd="7" destOrd="0" presId="urn:microsoft.com/office/officeart/2005/8/layout/process1"/>
    <dgm:cxn modelId="{47E4827C-B3C1-4695-8B5B-A58D988071AB}" type="presParOf" srcId="{72AF17C2-978B-4021-9727-A291E8A682E3}" destId="{8E985BB7-697D-44F4-9D2E-849737ED610D}" srcOrd="0" destOrd="0" presId="urn:microsoft.com/office/officeart/2005/8/layout/process1"/>
    <dgm:cxn modelId="{A7F0D8FB-9033-4B4B-BDAB-B8AE7107C223}" type="presParOf" srcId="{3288FD7A-BCE0-4057-9042-6AB57C987992}" destId="{AADB0E25-8B53-4669-B73B-CB76AD0C2828}" srcOrd="8"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CA769-310E-448B-8912-44938113CBDC}">
      <dsp:nvSpPr>
        <dsp:cNvPr id="0" name=""/>
        <dsp:cNvSpPr/>
      </dsp:nvSpPr>
      <dsp:spPr>
        <a:xfrm>
          <a:off x="3948" y="1652270"/>
          <a:ext cx="1484171" cy="1057472"/>
        </a:xfrm>
        <a:prstGeom prst="roundRect">
          <a:avLst>
            <a:gd name="adj" fmla="val 10000"/>
          </a:avLst>
        </a:prstGeom>
        <a:solidFill>
          <a:schemeClr val="accent1">
            <a:shade val="8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fr-FR" sz="3200" b="1" kern="1200" dirty="0" smtClean="0"/>
            <a:t>12</a:t>
          </a:r>
          <a:r>
            <a:rPr lang="fr-FR" sz="3200" kern="1200" dirty="0" smtClean="0"/>
            <a:t> </a:t>
          </a:r>
          <a:r>
            <a:rPr lang="fr-FR" sz="2400" kern="1200" dirty="0" smtClean="0"/>
            <a:t>Régions</a:t>
          </a:r>
          <a:endParaRPr lang="fr-FR" sz="3200" kern="1200" dirty="0"/>
        </a:p>
      </dsp:txBody>
      <dsp:txXfrm>
        <a:off x="34920" y="1683242"/>
        <a:ext cx="1422227" cy="995528"/>
      </dsp:txXfrm>
    </dsp:sp>
    <dsp:sp modelId="{E434245F-0395-4C7C-A1A0-B071AEC92915}">
      <dsp:nvSpPr>
        <dsp:cNvPr id="0" name=""/>
        <dsp:cNvSpPr/>
      </dsp:nvSpPr>
      <dsp:spPr>
        <a:xfrm>
          <a:off x="1636537" y="1996969"/>
          <a:ext cx="314644" cy="368074"/>
        </a:xfrm>
        <a:prstGeom prst="rightArrow">
          <a:avLst>
            <a:gd name="adj1" fmla="val 60000"/>
            <a:gd name="adj2" fmla="val 50000"/>
          </a:avLst>
        </a:prstGeom>
        <a:solidFill>
          <a:schemeClr val="accent1">
            <a:shade val="90000"/>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fr-FR" sz="1600" kern="1200"/>
        </a:p>
      </dsp:txBody>
      <dsp:txXfrm>
        <a:off x="1636537" y="2070584"/>
        <a:ext cx="220251" cy="220844"/>
      </dsp:txXfrm>
    </dsp:sp>
    <dsp:sp modelId="{63281154-F65D-42CB-9E8E-01E055F3D86C}">
      <dsp:nvSpPr>
        <dsp:cNvPr id="0" name=""/>
        <dsp:cNvSpPr/>
      </dsp:nvSpPr>
      <dsp:spPr>
        <a:xfrm>
          <a:off x="2081788" y="1652270"/>
          <a:ext cx="1484171" cy="1057472"/>
        </a:xfrm>
        <a:prstGeom prst="roundRect">
          <a:avLst>
            <a:gd name="adj" fmla="val 10000"/>
          </a:avLst>
        </a:prstGeom>
        <a:solidFill>
          <a:schemeClr val="accent1">
            <a:shade val="80000"/>
            <a:hueOff val="143500"/>
            <a:satOff val="-12595"/>
            <a:lumOff val="9078"/>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fr-FR" sz="2400" b="1" kern="1200" dirty="0" smtClean="0"/>
            <a:t>13</a:t>
          </a:r>
          <a:r>
            <a:rPr lang="fr-FR" sz="2400" kern="1200" dirty="0" smtClean="0"/>
            <a:t> </a:t>
          </a:r>
          <a:r>
            <a:rPr lang="fr-FR" sz="1800" kern="1200" dirty="0" smtClean="0"/>
            <a:t>Préfectures</a:t>
          </a:r>
          <a:endParaRPr lang="fr-FR" sz="2400" kern="1200" dirty="0"/>
        </a:p>
      </dsp:txBody>
      <dsp:txXfrm>
        <a:off x="2112760" y="1683242"/>
        <a:ext cx="1422227" cy="995528"/>
      </dsp:txXfrm>
    </dsp:sp>
    <dsp:sp modelId="{F54923AA-3D70-4190-965A-658AA10691A9}">
      <dsp:nvSpPr>
        <dsp:cNvPr id="0" name=""/>
        <dsp:cNvSpPr/>
      </dsp:nvSpPr>
      <dsp:spPr>
        <a:xfrm>
          <a:off x="3714377" y="1996969"/>
          <a:ext cx="314644" cy="368074"/>
        </a:xfrm>
        <a:prstGeom prst="rightArrow">
          <a:avLst>
            <a:gd name="adj1" fmla="val 60000"/>
            <a:gd name="adj2" fmla="val 50000"/>
          </a:avLst>
        </a:prstGeom>
        <a:solidFill>
          <a:schemeClr val="accent1">
            <a:shade val="90000"/>
            <a:hueOff val="191385"/>
            <a:satOff val="-16586"/>
            <a:lumOff val="11511"/>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fr-FR" sz="1600" kern="1200"/>
        </a:p>
      </dsp:txBody>
      <dsp:txXfrm>
        <a:off x="3714377" y="2070584"/>
        <a:ext cx="220251" cy="220844"/>
      </dsp:txXfrm>
    </dsp:sp>
    <dsp:sp modelId="{74AF9AE4-0753-4579-95C7-42803C633B4E}">
      <dsp:nvSpPr>
        <dsp:cNvPr id="0" name=""/>
        <dsp:cNvSpPr/>
      </dsp:nvSpPr>
      <dsp:spPr>
        <a:xfrm>
          <a:off x="4159628" y="1652270"/>
          <a:ext cx="1484171" cy="1057472"/>
        </a:xfrm>
        <a:prstGeom prst="roundRect">
          <a:avLst>
            <a:gd name="adj" fmla="val 10000"/>
          </a:avLst>
        </a:prstGeom>
        <a:solidFill>
          <a:schemeClr val="accent1">
            <a:shade val="80000"/>
            <a:hueOff val="287000"/>
            <a:satOff val="-25190"/>
            <a:lumOff val="18157"/>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fr-FR" sz="2800" b="1" kern="1200" dirty="0" smtClean="0"/>
            <a:t>62</a:t>
          </a:r>
          <a:r>
            <a:rPr lang="fr-FR" sz="2800" kern="1200" dirty="0" smtClean="0"/>
            <a:t> </a:t>
          </a:r>
          <a:r>
            <a:rPr lang="fr-FR" sz="2000" kern="1200" dirty="0" smtClean="0"/>
            <a:t>Provinces</a:t>
          </a:r>
          <a:endParaRPr lang="fr-FR" sz="2800" kern="1200" dirty="0"/>
        </a:p>
      </dsp:txBody>
      <dsp:txXfrm>
        <a:off x="4190600" y="1683242"/>
        <a:ext cx="1422227" cy="995528"/>
      </dsp:txXfrm>
    </dsp:sp>
    <dsp:sp modelId="{132A0371-70CE-40B0-92F9-4D191B38F9C9}">
      <dsp:nvSpPr>
        <dsp:cNvPr id="0" name=""/>
        <dsp:cNvSpPr/>
      </dsp:nvSpPr>
      <dsp:spPr>
        <a:xfrm>
          <a:off x="5792217" y="1996969"/>
          <a:ext cx="314644" cy="368074"/>
        </a:xfrm>
        <a:prstGeom prst="rightArrow">
          <a:avLst>
            <a:gd name="adj1" fmla="val 60000"/>
            <a:gd name="adj2" fmla="val 50000"/>
          </a:avLst>
        </a:prstGeom>
        <a:solidFill>
          <a:schemeClr val="accent1">
            <a:shade val="90000"/>
            <a:hueOff val="382770"/>
            <a:satOff val="-33173"/>
            <a:lumOff val="23023"/>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fr-FR" sz="1600" kern="1200"/>
        </a:p>
      </dsp:txBody>
      <dsp:txXfrm>
        <a:off x="5792217" y="2070584"/>
        <a:ext cx="220251" cy="220844"/>
      </dsp:txXfrm>
    </dsp:sp>
    <dsp:sp modelId="{B122EB9A-8C53-434E-9B1F-468FBF5AF03B}">
      <dsp:nvSpPr>
        <dsp:cNvPr id="0" name=""/>
        <dsp:cNvSpPr/>
      </dsp:nvSpPr>
      <dsp:spPr>
        <a:xfrm>
          <a:off x="6237468" y="1652270"/>
          <a:ext cx="1484171" cy="1057472"/>
        </a:xfrm>
        <a:prstGeom prst="roundRect">
          <a:avLst>
            <a:gd name="adj" fmla="val 10000"/>
          </a:avLst>
        </a:prstGeom>
        <a:solidFill>
          <a:schemeClr val="accent1">
            <a:shade val="80000"/>
            <a:hueOff val="430500"/>
            <a:satOff val="-37786"/>
            <a:lumOff val="27235"/>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fr-FR" sz="2400" b="1" kern="1200" dirty="0" smtClean="0"/>
            <a:t>1503</a:t>
          </a:r>
          <a:r>
            <a:rPr lang="fr-FR" sz="2400" kern="1200" dirty="0" smtClean="0"/>
            <a:t> </a:t>
          </a:r>
          <a:r>
            <a:rPr lang="fr-FR" sz="2000" kern="1200" dirty="0" smtClean="0"/>
            <a:t>C</a:t>
          </a:r>
          <a:r>
            <a:rPr lang="fr-FR" sz="1800" kern="1200" dirty="0" smtClean="0"/>
            <a:t>ommunes</a:t>
          </a:r>
          <a:endParaRPr lang="fr-FR" sz="2000" kern="1200" dirty="0"/>
        </a:p>
      </dsp:txBody>
      <dsp:txXfrm>
        <a:off x="6268440" y="1683242"/>
        <a:ext cx="1422227" cy="995528"/>
      </dsp:txXfrm>
    </dsp:sp>
    <dsp:sp modelId="{72AF17C2-978B-4021-9727-A291E8A682E3}">
      <dsp:nvSpPr>
        <dsp:cNvPr id="0" name=""/>
        <dsp:cNvSpPr/>
      </dsp:nvSpPr>
      <dsp:spPr>
        <a:xfrm rot="49700">
          <a:off x="7871028" y="2012148"/>
          <a:ext cx="316770" cy="368074"/>
        </a:xfrm>
        <a:prstGeom prst="rightArrow">
          <a:avLst>
            <a:gd name="adj1" fmla="val 60000"/>
            <a:gd name="adj2" fmla="val 50000"/>
          </a:avLst>
        </a:prstGeom>
        <a:solidFill>
          <a:schemeClr val="accent1">
            <a:shade val="90000"/>
            <a:hueOff val="574155"/>
            <a:satOff val="-49759"/>
            <a:lumOff val="34534"/>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fr-FR" sz="1600" kern="1200"/>
        </a:p>
      </dsp:txBody>
      <dsp:txXfrm>
        <a:off x="7871033" y="2085076"/>
        <a:ext cx="221739" cy="220844"/>
      </dsp:txXfrm>
    </dsp:sp>
    <dsp:sp modelId="{AADB0E25-8B53-4669-B73B-CB76AD0C2828}">
      <dsp:nvSpPr>
        <dsp:cNvPr id="0" name=""/>
        <dsp:cNvSpPr/>
      </dsp:nvSpPr>
      <dsp:spPr>
        <a:xfrm>
          <a:off x="8319257" y="1682842"/>
          <a:ext cx="1549519" cy="1057472"/>
        </a:xfrm>
        <a:prstGeom prst="roundRect">
          <a:avLst>
            <a:gd name="adj" fmla="val 10000"/>
          </a:avLst>
        </a:prstGeom>
        <a:solidFill>
          <a:schemeClr val="accent1">
            <a:shade val="80000"/>
            <a:hueOff val="574000"/>
            <a:satOff val="-50381"/>
            <a:lumOff val="36313"/>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lvl="0" algn="ctr" defTabSz="2089150">
            <a:lnSpc>
              <a:spcPct val="90000"/>
            </a:lnSpc>
            <a:spcBef>
              <a:spcPct val="0"/>
            </a:spcBef>
            <a:spcAft>
              <a:spcPct val="35000"/>
            </a:spcAft>
          </a:pPr>
          <a:endParaRPr lang="fr-FR" sz="4700" kern="1200"/>
        </a:p>
      </dsp:txBody>
      <dsp:txXfrm>
        <a:off x="8350229" y="1713814"/>
        <a:ext cx="1487575" cy="995528"/>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2E3C796-2079-40CC-B62C-412D68758D48}"/>
              </a:ext>
            </a:extLst>
          </p:cNvPr>
          <p:cNvSpPr>
            <a:spLocks noGrp="1"/>
          </p:cNvSpPr>
          <p:nvPr>
            <p:ph type="hdr" sz="quarter"/>
          </p:nvPr>
        </p:nvSpPr>
        <p:spPr>
          <a:xfrm>
            <a:off x="1" y="2"/>
            <a:ext cx="2945659" cy="498056"/>
          </a:xfrm>
          <a:prstGeom prst="rect">
            <a:avLst/>
          </a:prstGeom>
        </p:spPr>
        <p:txBody>
          <a:bodyPr vert="horz" lIns="91415" tIns="45708" rIns="91415" bIns="45708"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318549FA-6F63-401A-A344-4B70CD02DB1B}"/>
              </a:ext>
            </a:extLst>
          </p:cNvPr>
          <p:cNvSpPr>
            <a:spLocks noGrp="1"/>
          </p:cNvSpPr>
          <p:nvPr>
            <p:ph type="dt" sz="quarter" idx="1"/>
          </p:nvPr>
        </p:nvSpPr>
        <p:spPr>
          <a:xfrm>
            <a:off x="3850445" y="2"/>
            <a:ext cx="2945659" cy="498056"/>
          </a:xfrm>
          <a:prstGeom prst="rect">
            <a:avLst/>
          </a:prstGeom>
        </p:spPr>
        <p:txBody>
          <a:bodyPr vert="horz" lIns="91415" tIns="45708" rIns="91415" bIns="45708" rtlCol="0"/>
          <a:lstStyle>
            <a:lvl1pPr algn="r">
              <a:defRPr sz="1200"/>
            </a:lvl1pPr>
          </a:lstStyle>
          <a:p>
            <a:fld id="{C5BA727C-988B-4B1C-81B9-9A1CD894B73A}" type="datetimeFigureOut">
              <a:rPr lang="fr-FR" smtClean="0"/>
              <a:t>06/06/2022</a:t>
            </a:fld>
            <a:endParaRPr lang="fr-FR"/>
          </a:p>
        </p:txBody>
      </p:sp>
      <p:sp>
        <p:nvSpPr>
          <p:cNvPr id="4" name="Espace réservé du pied de page 3">
            <a:extLst>
              <a:ext uri="{FF2B5EF4-FFF2-40B4-BE49-F238E27FC236}">
                <a16:creationId xmlns:a16="http://schemas.microsoft.com/office/drawing/2014/main" id="{E729662F-DB57-450D-8A84-26C0D6F5E2EA}"/>
              </a:ext>
            </a:extLst>
          </p:cNvPr>
          <p:cNvSpPr>
            <a:spLocks noGrp="1"/>
          </p:cNvSpPr>
          <p:nvPr>
            <p:ph type="ftr" sz="quarter" idx="2"/>
          </p:nvPr>
        </p:nvSpPr>
        <p:spPr>
          <a:xfrm>
            <a:off x="1" y="9428585"/>
            <a:ext cx="2945659" cy="498055"/>
          </a:xfrm>
          <a:prstGeom prst="rect">
            <a:avLst/>
          </a:prstGeom>
        </p:spPr>
        <p:txBody>
          <a:bodyPr vert="horz" lIns="91415" tIns="45708" rIns="91415" bIns="45708"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DB36F283-3842-4198-850A-3EFAD567D3A9}"/>
              </a:ext>
            </a:extLst>
          </p:cNvPr>
          <p:cNvSpPr>
            <a:spLocks noGrp="1"/>
          </p:cNvSpPr>
          <p:nvPr>
            <p:ph type="sldNum" sz="quarter" idx="3"/>
          </p:nvPr>
        </p:nvSpPr>
        <p:spPr>
          <a:xfrm>
            <a:off x="3850445" y="9428585"/>
            <a:ext cx="2945659" cy="498055"/>
          </a:xfrm>
          <a:prstGeom prst="rect">
            <a:avLst/>
          </a:prstGeom>
        </p:spPr>
        <p:txBody>
          <a:bodyPr vert="horz" lIns="91415" tIns="45708" rIns="91415" bIns="45708" rtlCol="0" anchor="b"/>
          <a:lstStyle>
            <a:lvl1pPr algn="r">
              <a:defRPr sz="1200"/>
            </a:lvl1pPr>
          </a:lstStyle>
          <a:p>
            <a:fld id="{68B47C99-89B6-4AD4-A888-BD64F625C809}" type="slidenum">
              <a:rPr lang="fr-FR" smtClean="0"/>
              <a:t>‹N°›</a:t>
            </a:fld>
            <a:endParaRPr lang="fr-FR"/>
          </a:p>
        </p:txBody>
      </p:sp>
    </p:spTree>
    <p:extLst>
      <p:ext uri="{BB962C8B-B14F-4D97-AF65-F5344CB8AC3E}">
        <p14:creationId xmlns:p14="http://schemas.microsoft.com/office/powerpoint/2010/main" val="303269134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5659" cy="498056"/>
          </a:xfrm>
          <a:prstGeom prst="rect">
            <a:avLst/>
          </a:prstGeom>
        </p:spPr>
        <p:txBody>
          <a:bodyPr vert="horz" lIns="91415" tIns="45708" rIns="91415" bIns="45708" rtlCol="0"/>
          <a:lstStyle>
            <a:lvl1pPr algn="l">
              <a:defRPr sz="1200"/>
            </a:lvl1pPr>
          </a:lstStyle>
          <a:p>
            <a:endParaRPr lang="en-US"/>
          </a:p>
        </p:txBody>
      </p:sp>
      <p:sp>
        <p:nvSpPr>
          <p:cNvPr id="3" name="Date Placeholder 2"/>
          <p:cNvSpPr>
            <a:spLocks noGrp="1"/>
          </p:cNvSpPr>
          <p:nvPr>
            <p:ph type="dt" idx="1"/>
          </p:nvPr>
        </p:nvSpPr>
        <p:spPr>
          <a:xfrm>
            <a:off x="3850445" y="2"/>
            <a:ext cx="2945659" cy="498056"/>
          </a:xfrm>
          <a:prstGeom prst="rect">
            <a:avLst/>
          </a:prstGeom>
        </p:spPr>
        <p:txBody>
          <a:bodyPr vert="horz" lIns="91415" tIns="45708" rIns="91415" bIns="45708" rtlCol="0"/>
          <a:lstStyle>
            <a:lvl1pPr algn="r">
              <a:defRPr sz="1200"/>
            </a:lvl1pPr>
          </a:lstStyle>
          <a:p>
            <a:fld id="{3298214A-D8B3-4915-8962-B43E5231684C}" type="datetimeFigureOut">
              <a:rPr lang="en-US" smtClean="0"/>
              <a:t>6/6/2022</a:t>
            </a:fld>
            <a:endParaRPr lang="en-US"/>
          </a:p>
        </p:txBody>
      </p:sp>
      <p:sp>
        <p:nvSpPr>
          <p:cNvPr id="4" name="Slide Image Placeholder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15" tIns="45708" rIns="91415" bIns="45708" rtlCol="0" anchor="ctr"/>
          <a:lstStyle/>
          <a:p>
            <a:endParaRPr lang="en-US"/>
          </a:p>
        </p:txBody>
      </p:sp>
      <p:sp>
        <p:nvSpPr>
          <p:cNvPr id="5" name="Notes Placeholder 4"/>
          <p:cNvSpPr>
            <a:spLocks noGrp="1"/>
          </p:cNvSpPr>
          <p:nvPr>
            <p:ph type="body" sz="quarter" idx="3"/>
          </p:nvPr>
        </p:nvSpPr>
        <p:spPr>
          <a:xfrm>
            <a:off x="679768" y="4777197"/>
            <a:ext cx="5438140" cy="3908614"/>
          </a:xfrm>
          <a:prstGeom prst="rect">
            <a:avLst/>
          </a:prstGeom>
        </p:spPr>
        <p:txBody>
          <a:bodyPr vert="horz" lIns="91415" tIns="45708" rIns="91415" bIns="4570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5"/>
            <a:ext cx="2945659" cy="498055"/>
          </a:xfrm>
          <a:prstGeom prst="rect">
            <a:avLst/>
          </a:prstGeom>
        </p:spPr>
        <p:txBody>
          <a:bodyPr vert="horz" lIns="91415" tIns="45708" rIns="91415" bIns="45708"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28585"/>
            <a:ext cx="2945659" cy="498055"/>
          </a:xfrm>
          <a:prstGeom prst="rect">
            <a:avLst/>
          </a:prstGeom>
        </p:spPr>
        <p:txBody>
          <a:bodyPr vert="horz" lIns="91415" tIns="45708" rIns="91415" bIns="45708" rtlCol="0" anchor="b"/>
          <a:lstStyle>
            <a:lvl1pPr algn="r">
              <a:defRPr sz="1200"/>
            </a:lvl1pPr>
          </a:lstStyle>
          <a:p>
            <a:fld id="{F20158C4-8972-4A9B-866C-EFB23766131C}" type="slidenum">
              <a:rPr lang="en-US" smtClean="0"/>
              <a:t>‹N°›</a:t>
            </a:fld>
            <a:endParaRPr lang="en-US"/>
          </a:p>
        </p:txBody>
      </p:sp>
    </p:spTree>
    <p:extLst>
      <p:ext uri="{BB962C8B-B14F-4D97-AF65-F5344CB8AC3E}">
        <p14:creationId xmlns:p14="http://schemas.microsoft.com/office/powerpoint/2010/main" val="310822950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Espace réservé des commentaires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45403" indent="-345403" algn="just" rtl="1">
              <a:buFont typeface="Wingdings" panose="05000000000000000000" pitchFamily="2" charset="2"/>
              <a:buChar char="v"/>
              <a:defRPr/>
            </a:pPr>
            <a:r>
              <a:rPr lang="ar-MA" altLang="fr-FR" sz="1400" b="1" dirty="0">
                <a:solidFill>
                  <a:schemeClr val="bg1"/>
                </a:solidFill>
                <a:latin typeface="Sakkal Majalla" pitchFamily="2" charset="-78"/>
                <a:cs typeface="Sakkal Majalla" pitchFamily="2" charset="-78"/>
              </a:rPr>
              <a:t>المرحلة الأولى لنظام اللامركزية (1959- 1960-1963):  </a:t>
            </a:r>
            <a:endParaRPr lang="ar-MA" sz="1400" b="1" dirty="0">
              <a:solidFill>
                <a:schemeClr val="bg1"/>
              </a:solidFill>
              <a:latin typeface="Sakkal Majalla" pitchFamily="2" charset="-78"/>
              <a:cs typeface="Sakkal Majalla" pitchFamily="2" charset="-78"/>
            </a:endParaRPr>
          </a:p>
          <a:p>
            <a:pPr marL="722788" indent="-185494" algn="just" rtl="1">
              <a:buFont typeface="Wingdings" panose="05000000000000000000" pitchFamily="2" charset="2"/>
              <a:buChar char="§"/>
              <a:defRPr/>
            </a:pPr>
            <a:r>
              <a:rPr lang="ar-MA" sz="1400" b="1" dirty="0">
                <a:solidFill>
                  <a:schemeClr val="bg1"/>
                </a:solidFill>
                <a:latin typeface="Sakkal Majalla" pitchFamily="2" charset="-78"/>
                <a:cs typeface="Sakkal Majalla" pitchFamily="2" charset="-78"/>
              </a:rPr>
              <a:t>مرحلة جنينية </a:t>
            </a:r>
            <a:r>
              <a:rPr lang="ar-MA" altLang="fr-FR" sz="1400" b="1" dirty="0">
                <a:solidFill>
                  <a:schemeClr val="bg1"/>
                </a:solidFill>
                <a:latin typeface="Sakkal Majalla" pitchFamily="2" charset="-78"/>
                <a:cs typeface="Sakkal Majalla" pitchFamily="2" charset="-78"/>
              </a:rPr>
              <a:t>للامركزية: </a:t>
            </a:r>
            <a:r>
              <a:rPr lang="ar-MA" sz="1400" dirty="0">
                <a:solidFill>
                  <a:schemeClr val="bg1"/>
                </a:solidFill>
                <a:latin typeface="Sakkal Majalla" pitchFamily="2" charset="-78"/>
                <a:cs typeface="Sakkal Majalla" pitchFamily="2" charset="-78"/>
              </a:rPr>
              <a:t> </a:t>
            </a:r>
            <a:r>
              <a:rPr lang="ar-SA" sz="1400" dirty="0">
                <a:solidFill>
                  <a:schemeClr val="bg1"/>
                </a:solidFill>
                <a:latin typeface="Sakkal Majalla" pitchFamily="2" charset="-78"/>
                <a:cs typeface="Sakkal Majalla" pitchFamily="2" charset="-78"/>
              </a:rPr>
              <a:t>ازدواجية رئاسة المجلس الجماعي </a:t>
            </a:r>
            <a:r>
              <a:rPr lang="fr-FR" sz="1400" i="1" dirty="0">
                <a:solidFill>
                  <a:schemeClr val="accent6">
                    <a:lumMod val="50000"/>
                  </a:schemeClr>
                </a:solidFill>
                <a:latin typeface="Sakkal Majalla" pitchFamily="2" charset="-78"/>
                <a:cs typeface="Sakkal Majalla" pitchFamily="2" charset="-78"/>
              </a:rPr>
              <a:t>bicéphalisme</a:t>
            </a:r>
            <a:r>
              <a:rPr lang="ar-MA" sz="1400" dirty="0">
                <a:solidFill>
                  <a:schemeClr val="bg1"/>
                </a:solidFill>
                <a:latin typeface="Sakkal Majalla" pitchFamily="2" charset="-78"/>
                <a:cs typeface="Sakkal Majalla" pitchFamily="2" charset="-78"/>
              </a:rPr>
              <a:t> – اختصاصات محدودة - </a:t>
            </a:r>
            <a:r>
              <a:rPr lang="ar-SA" sz="1400" dirty="0">
                <a:solidFill>
                  <a:schemeClr val="bg1"/>
                </a:solidFill>
                <a:latin typeface="Sakkal Majalla" pitchFamily="2" charset="-78"/>
                <a:cs typeface="Sakkal Majalla" pitchFamily="2" charset="-78"/>
              </a:rPr>
              <a:t>تركيز أهم الصلاحيات بيد ممثل السلطة المحلية</a:t>
            </a:r>
            <a:r>
              <a:rPr lang="ar-MA" sz="1400" dirty="0">
                <a:solidFill>
                  <a:schemeClr val="bg1"/>
                </a:solidFill>
                <a:latin typeface="Sakkal Majalla" pitchFamily="2" charset="-78"/>
                <a:cs typeface="Sakkal Majalla" pitchFamily="2" charset="-78"/>
              </a:rPr>
              <a:t> – وصاية مشددة</a:t>
            </a:r>
          </a:p>
          <a:p>
            <a:pPr marL="345403" indent="-345403" algn="just" rtl="1">
              <a:spcBef>
                <a:spcPts val="1813"/>
              </a:spcBef>
              <a:buFont typeface="Wingdings" panose="05000000000000000000" pitchFamily="2" charset="2"/>
              <a:buChar char="v"/>
              <a:defRPr/>
            </a:pPr>
            <a:r>
              <a:rPr lang="ar-MA" sz="1400" b="1" dirty="0">
                <a:solidFill>
                  <a:schemeClr val="bg1"/>
                </a:solidFill>
                <a:latin typeface="Sakkal Majalla" pitchFamily="2" charset="-78"/>
                <a:cs typeface="Sakkal Majalla" pitchFamily="2" charset="-78"/>
              </a:rPr>
              <a:t>المرحلة الثانية (صدور ظهير 30 شتنبر 1976 المتعلق بالتنظيم الجماعي): </a:t>
            </a:r>
          </a:p>
          <a:p>
            <a:pPr marL="722788" indent="-185494" algn="just" rtl="1">
              <a:buFont typeface="Wingdings" panose="05000000000000000000" pitchFamily="2" charset="2"/>
              <a:buChar char="§"/>
              <a:defRPr/>
            </a:pPr>
            <a:r>
              <a:rPr lang="ar-MA" sz="1400" b="1" dirty="0">
                <a:solidFill>
                  <a:schemeClr val="bg1"/>
                </a:solidFill>
                <a:latin typeface="Sakkal Majalla" pitchFamily="2" charset="-78"/>
                <a:cs typeface="Sakkal Majalla" pitchFamily="2" charset="-78"/>
              </a:rPr>
              <a:t>تطور النظام الجماعي: </a:t>
            </a:r>
            <a:r>
              <a:rPr lang="ar-MA" sz="1400" dirty="0">
                <a:solidFill>
                  <a:schemeClr val="bg1"/>
                </a:solidFill>
                <a:latin typeface="Sakkal Majalla" pitchFamily="2" charset="-78"/>
                <a:cs typeface="Sakkal Majalla" pitchFamily="2" charset="-78"/>
              </a:rPr>
              <a:t>القطع مع النظام المزدوج لرئاسة المجلس (تخويل رئيس المجلس صفة الجهاز التنفيذي والآمر بالصرف -  توسيع اختصاصات الجماعة –  مع الابقاء على  نظام الوصاية المشددة؛</a:t>
            </a:r>
          </a:p>
          <a:p>
            <a:pPr marL="345403" indent="-345403" algn="just" rtl="1">
              <a:spcBef>
                <a:spcPts val="1813"/>
              </a:spcBef>
              <a:buFont typeface="Wingdings" panose="05000000000000000000" pitchFamily="2" charset="2"/>
              <a:buChar char="v"/>
              <a:defRPr/>
            </a:pPr>
            <a:r>
              <a:rPr lang="ar-MA" sz="1400" b="1" dirty="0">
                <a:solidFill>
                  <a:schemeClr val="bg1"/>
                </a:solidFill>
                <a:latin typeface="Sakkal Majalla" pitchFamily="2" charset="-78"/>
                <a:cs typeface="Sakkal Majalla" pitchFamily="2" charset="-78"/>
              </a:rPr>
              <a:t>المرحلة الثالثة (1992-1997):  </a:t>
            </a:r>
          </a:p>
          <a:p>
            <a:pPr marL="722788" indent="-185494" algn="just" rtl="1">
              <a:buFont typeface="Wingdings" panose="05000000000000000000" pitchFamily="2" charset="2"/>
              <a:buChar char="§"/>
              <a:defRPr/>
            </a:pPr>
            <a:r>
              <a:rPr lang="ar-MA" sz="1400" b="1" dirty="0">
                <a:solidFill>
                  <a:schemeClr val="bg1"/>
                </a:solidFill>
                <a:latin typeface="Sakkal Majalla" pitchFamily="2" charset="-78"/>
                <a:cs typeface="Sakkal Majalla" pitchFamily="2" charset="-78"/>
              </a:rPr>
              <a:t>دسترة الجهة كجماعة محلية واعتماد أو قانون ينظم الجهات .</a:t>
            </a:r>
          </a:p>
          <a:p>
            <a:pPr marL="345403" indent="-345403" algn="just" rtl="1">
              <a:spcBef>
                <a:spcPts val="1813"/>
              </a:spcBef>
              <a:buFont typeface="Wingdings" panose="05000000000000000000" pitchFamily="2" charset="2"/>
              <a:buChar char="v"/>
              <a:defRPr/>
            </a:pPr>
            <a:r>
              <a:rPr lang="ar-MA" sz="1400" b="1" dirty="0">
                <a:solidFill>
                  <a:schemeClr val="bg1"/>
                </a:solidFill>
                <a:latin typeface="Sakkal Majalla" pitchFamily="2" charset="-78"/>
                <a:cs typeface="Sakkal Majalla" pitchFamily="2" charset="-78"/>
              </a:rPr>
              <a:t>المرحلة الرابعة (إصلاح 2009/2002): </a:t>
            </a:r>
          </a:p>
          <a:p>
            <a:pPr marL="722788" indent="-185494" algn="just" rtl="1">
              <a:buFont typeface="Wingdings" panose="05000000000000000000" pitchFamily="2" charset="2"/>
              <a:buChar char="§"/>
              <a:defRPr/>
            </a:pPr>
            <a:r>
              <a:rPr lang="ar-MA" sz="1400" b="1" dirty="0">
                <a:solidFill>
                  <a:schemeClr val="bg1"/>
                </a:solidFill>
                <a:latin typeface="Sakkal Majalla" pitchFamily="2" charset="-78"/>
                <a:cs typeface="Sakkal Majalla" pitchFamily="2" charset="-78"/>
              </a:rPr>
              <a:t> إصدار أول ميثاق جماعي وتعديل نظام العمالات ولأقاليم:  </a:t>
            </a:r>
            <a:r>
              <a:rPr lang="ar-MA" sz="1400" dirty="0">
                <a:solidFill>
                  <a:schemeClr val="bg1"/>
                </a:solidFill>
                <a:latin typeface="Sakkal Majalla" pitchFamily="2" charset="-78"/>
                <a:cs typeface="Sakkal Majalla" pitchFamily="2" charset="-78"/>
              </a:rPr>
              <a:t>توسيع اختصاصات الجماعات  والعمالات ولأقاليم – التخفيف من الوصاية – إحداث نظام وحدة المدينة.</a:t>
            </a:r>
          </a:p>
          <a:p>
            <a:pPr marL="345403" indent="-345403" algn="just" rtl="1">
              <a:spcBef>
                <a:spcPts val="1813"/>
              </a:spcBef>
              <a:buFont typeface="Wingdings" panose="05000000000000000000" pitchFamily="2" charset="2"/>
              <a:buChar char="v"/>
              <a:defRPr/>
            </a:pPr>
            <a:r>
              <a:rPr lang="ar-MA" sz="1400" b="1" dirty="0">
                <a:solidFill>
                  <a:schemeClr val="bg1"/>
                </a:solidFill>
                <a:latin typeface="Sakkal Majalla" pitchFamily="2" charset="-78"/>
                <a:cs typeface="Sakkal Majalla" pitchFamily="2" charset="-78"/>
              </a:rPr>
              <a:t>المرحلة الحالية (إصلاح 2015/2011): </a:t>
            </a:r>
          </a:p>
          <a:p>
            <a:pPr marL="722788" indent="-185494" algn="just" rtl="1">
              <a:buFont typeface="Wingdings" panose="05000000000000000000" pitchFamily="2" charset="2"/>
              <a:buChar char="§"/>
              <a:defRPr/>
            </a:pPr>
            <a:r>
              <a:rPr lang="ar-MA" sz="1400" b="1" dirty="0">
                <a:solidFill>
                  <a:schemeClr val="bg1"/>
                </a:solidFill>
                <a:latin typeface="Sakkal Majalla" pitchFamily="2" charset="-78"/>
                <a:cs typeface="Sakkal Majalla" pitchFamily="2" charset="-78"/>
              </a:rPr>
              <a:t>إصلاح جوهري لنظام اللامركزية نحو جهوية متقدمة :  </a:t>
            </a:r>
            <a:r>
              <a:rPr lang="ar-MA" sz="1400" dirty="0">
                <a:solidFill>
                  <a:schemeClr val="bg1"/>
                </a:solidFill>
                <a:latin typeface="Sakkal Majalla" pitchFamily="2" charset="-78"/>
                <a:cs typeface="Sakkal Majalla" pitchFamily="2" charset="-78"/>
              </a:rPr>
              <a:t>إقرار دستور 2011 وثلاث قوانين تنظيمية تتعلق بالجماعات الترابية</a:t>
            </a:r>
            <a:endParaRPr lang="fr-FR" altLang="fr-FR" sz="1400" dirty="0">
              <a:latin typeface="Sakkal Majalla" pitchFamily="2" charset="-78"/>
              <a:cs typeface="Sakkal Majalla" pitchFamily="2" charset="-78"/>
            </a:endParaRPr>
          </a:p>
        </p:txBody>
      </p:sp>
      <p:sp>
        <p:nvSpPr>
          <p:cNvPr id="18436"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8374" indent="-287836">
              <a:spcBef>
                <a:spcPct val="30000"/>
              </a:spcBef>
              <a:defRPr sz="1200">
                <a:solidFill>
                  <a:schemeClr val="tx1"/>
                </a:solidFill>
                <a:latin typeface="Calibri" panose="020F0502020204030204" pitchFamily="34" charset="0"/>
              </a:defRPr>
            </a:lvl2pPr>
            <a:lvl3pPr marL="1151344" indent="-230269">
              <a:spcBef>
                <a:spcPct val="30000"/>
              </a:spcBef>
              <a:defRPr sz="1200">
                <a:solidFill>
                  <a:schemeClr val="tx1"/>
                </a:solidFill>
                <a:latin typeface="Calibri" panose="020F0502020204030204" pitchFamily="34" charset="0"/>
              </a:defRPr>
            </a:lvl3pPr>
            <a:lvl4pPr marL="1611881" indent="-230269">
              <a:spcBef>
                <a:spcPct val="30000"/>
              </a:spcBef>
              <a:defRPr sz="1200">
                <a:solidFill>
                  <a:schemeClr val="tx1"/>
                </a:solidFill>
                <a:latin typeface="Calibri" panose="020F0502020204030204" pitchFamily="34" charset="0"/>
              </a:defRPr>
            </a:lvl4pPr>
            <a:lvl5pPr marL="2072419" indent="-230269">
              <a:spcBef>
                <a:spcPct val="30000"/>
              </a:spcBef>
              <a:defRPr sz="1200">
                <a:solidFill>
                  <a:schemeClr val="tx1"/>
                </a:solidFill>
                <a:latin typeface="Calibri" panose="020F0502020204030204" pitchFamily="34" charset="0"/>
              </a:defRPr>
            </a:lvl5pPr>
            <a:lvl6pPr marL="2532957" indent="-230269" eaLnBrk="0" fontAlgn="base" hangingPunct="0">
              <a:spcBef>
                <a:spcPct val="30000"/>
              </a:spcBef>
              <a:spcAft>
                <a:spcPct val="0"/>
              </a:spcAft>
              <a:defRPr sz="1200">
                <a:solidFill>
                  <a:schemeClr val="tx1"/>
                </a:solidFill>
                <a:latin typeface="Calibri" panose="020F0502020204030204" pitchFamily="34" charset="0"/>
              </a:defRPr>
            </a:lvl6pPr>
            <a:lvl7pPr marL="2993494" indent="-230269" eaLnBrk="0" fontAlgn="base" hangingPunct="0">
              <a:spcBef>
                <a:spcPct val="30000"/>
              </a:spcBef>
              <a:spcAft>
                <a:spcPct val="0"/>
              </a:spcAft>
              <a:defRPr sz="1200">
                <a:solidFill>
                  <a:schemeClr val="tx1"/>
                </a:solidFill>
                <a:latin typeface="Calibri" panose="020F0502020204030204" pitchFamily="34" charset="0"/>
              </a:defRPr>
            </a:lvl7pPr>
            <a:lvl8pPr marL="3454032" indent="-230269" eaLnBrk="0" fontAlgn="base" hangingPunct="0">
              <a:spcBef>
                <a:spcPct val="30000"/>
              </a:spcBef>
              <a:spcAft>
                <a:spcPct val="0"/>
              </a:spcAft>
              <a:defRPr sz="1200">
                <a:solidFill>
                  <a:schemeClr val="tx1"/>
                </a:solidFill>
                <a:latin typeface="Calibri" panose="020F0502020204030204" pitchFamily="34" charset="0"/>
              </a:defRPr>
            </a:lvl8pPr>
            <a:lvl9pPr marL="3914569" indent="-230269"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FFA9B912-8FA0-40D9-9370-59016A547171}" type="slidenum">
              <a:rPr lang="fr-FR" altLang="fr-FR"/>
              <a:pPr>
                <a:spcBef>
                  <a:spcPct val="0"/>
                </a:spcBef>
              </a:pPr>
              <a:t>5</a:t>
            </a:fld>
            <a:endParaRPr lang="fr-FR" altLang="fr-FR"/>
          </a:p>
        </p:txBody>
      </p:sp>
    </p:spTree>
    <p:extLst>
      <p:ext uri="{BB962C8B-B14F-4D97-AF65-F5344CB8AC3E}">
        <p14:creationId xmlns:p14="http://schemas.microsoft.com/office/powerpoint/2010/main" val="35755961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6832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86CC7C-E490-1A42-A25A-622C38E1E91E}"/>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9D8AE8E3-BF84-7B47-853A-7575BFA7CB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D4266A9B-0735-9743-B8B2-CD5D8553E158}"/>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A5BB80A-02C6-0D49-8083-503D3BC61FA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A1D940D-0539-6848-9472-8E7A91F93849}"/>
              </a:ext>
            </a:extLst>
          </p:cNvPr>
          <p:cNvSpPr>
            <a:spLocks noGrp="1"/>
          </p:cNvSpPr>
          <p:nvPr>
            <p:ph type="sldNum" sz="quarter" idx="12"/>
          </p:nvPr>
        </p:nvSpPr>
        <p:spPr/>
        <p:txBody>
          <a:bodyPr/>
          <a:lstStyle/>
          <a:p>
            <a:fld id="{47383D69-7DDF-7B42-B131-A7DBF347FEF8}" type="slidenum">
              <a:rPr lang="fr-FR" smtClean="0"/>
              <a:pPr/>
              <a:t>‹N°›</a:t>
            </a:fld>
            <a:endParaRPr lang="fr-FR"/>
          </a:p>
        </p:txBody>
      </p:sp>
    </p:spTree>
    <p:extLst>
      <p:ext uri="{BB962C8B-B14F-4D97-AF65-F5344CB8AC3E}">
        <p14:creationId xmlns:p14="http://schemas.microsoft.com/office/powerpoint/2010/main" val="622621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766233" y="304801"/>
            <a:ext cx="10668000" cy="12160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55651" y="1752600"/>
            <a:ext cx="10668000" cy="2057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755651" y="3962400"/>
            <a:ext cx="10668000" cy="2057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Espace réservé de la date 13"/>
          <p:cNvSpPr>
            <a:spLocks noGrp="1"/>
          </p:cNvSpPr>
          <p:nvPr>
            <p:ph type="dt" sz="half" idx="10"/>
          </p:nvPr>
        </p:nvSpPr>
        <p:spPr/>
        <p:txBody>
          <a:bodyPr/>
          <a:lstStyle>
            <a:lvl1pPr>
              <a:defRPr/>
            </a:lvl1pPr>
          </a:lstStyle>
          <a:p>
            <a:pPr>
              <a:defRPr/>
            </a:pPr>
            <a:r>
              <a:rPr lang="en-US"/>
              <a:t>10 juillet 2007</a:t>
            </a:r>
          </a:p>
        </p:txBody>
      </p:sp>
      <p:sp>
        <p:nvSpPr>
          <p:cNvPr id="6" name="Espace réservé du pied de page 2"/>
          <p:cNvSpPr>
            <a:spLocks noGrp="1"/>
          </p:cNvSpPr>
          <p:nvPr>
            <p:ph type="ftr" sz="quarter" idx="11"/>
          </p:nvPr>
        </p:nvSpPr>
        <p:spPr/>
        <p:txBody>
          <a:bodyPr/>
          <a:lstStyle>
            <a:lvl1pPr>
              <a:defRPr/>
            </a:lvl1pPr>
          </a:lstStyle>
          <a:p>
            <a:pPr>
              <a:defRPr/>
            </a:pPr>
            <a:endParaRPr lang="en-US"/>
          </a:p>
        </p:txBody>
      </p:sp>
      <p:sp>
        <p:nvSpPr>
          <p:cNvPr id="7" name="Espace réservé du numéro de diapositive 22"/>
          <p:cNvSpPr>
            <a:spLocks noGrp="1"/>
          </p:cNvSpPr>
          <p:nvPr>
            <p:ph type="sldNum" sz="quarter" idx="12"/>
          </p:nvPr>
        </p:nvSpPr>
        <p:spPr/>
        <p:txBody>
          <a:bodyPr/>
          <a:lstStyle>
            <a:lvl1pPr>
              <a:defRPr/>
            </a:lvl1pPr>
          </a:lstStyle>
          <a:p>
            <a:pPr>
              <a:defRPr/>
            </a:pPr>
            <a:fld id="{BDD14732-38F8-456A-8995-B470C7C48133}" type="slidenum">
              <a:rPr lang="en-US"/>
              <a:pPr>
                <a:defRPr/>
              </a:pPr>
              <a:t>‹N°›</a:t>
            </a:fld>
            <a:endParaRPr lang="en-US"/>
          </a:p>
        </p:txBody>
      </p:sp>
    </p:spTree>
    <p:extLst>
      <p:ext uri="{BB962C8B-B14F-4D97-AF65-F5344CB8AC3E}">
        <p14:creationId xmlns:p14="http://schemas.microsoft.com/office/powerpoint/2010/main" val="704418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25625" y="649805"/>
            <a:ext cx="9390944" cy="1523494"/>
          </a:xfrm>
        </p:spPr>
        <p:txBody>
          <a:bodyPr anchor="ctr" anchorCtr="0">
            <a:noAutofit/>
          </a:bodyPr>
          <a:lstStyle>
            <a:lvl1pPr>
              <a:lnSpc>
                <a:spcPct val="90000"/>
              </a:lnSpc>
              <a:defRPr sz="5400"/>
            </a:lvl1pPr>
          </a:lstStyle>
          <a:p>
            <a:r>
              <a:rPr lang="fr-FR"/>
              <a:t>Modifiez le style du titre</a:t>
            </a:r>
            <a:endParaRPr lang="en-US" dirty="0"/>
          </a:p>
        </p:txBody>
      </p:sp>
      <p:sp>
        <p:nvSpPr>
          <p:cNvPr id="3" name="Subtitle 2"/>
          <p:cNvSpPr>
            <a:spLocks noGrp="1"/>
          </p:cNvSpPr>
          <p:nvPr>
            <p:ph type="subTitle" idx="1"/>
          </p:nvPr>
        </p:nvSpPr>
        <p:spPr>
          <a:xfrm>
            <a:off x="1825273" y="4344989"/>
            <a:ext cx="9390944"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fr-FR"/>
              <a:t>Modifiez le style des sous-titres du masque</a:t>
            </a:r>
            <a:endParaRPr lang="en-US" dirty="0"/>
          </a:p>
        </p:txBody>
      </p:sp>
      <p:sp>
        <p:nvSpPr>
          <p:cNvPr id="7" name="Text Placeholder 6"/>
          <p:cNvSpPr>
            <a:spLocks noGrp="1"/>
          </p:cNvSpPr>
          <p:nvPr>
            <p:ph type="body" sz="quarter" idx="10"/>
          </p:nvPr>
        </p:nvSpPr>
        <p:spPr>
          <a:xfrm>
            <a:off x="962732" y="2355850"/>
            <a:ext cx="10253485" cy="1384994"/>
          </a:xfrm>
        </p:spPr>
        <p:txBody>
          <a:bodyPr>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uLnTx/>
                <a:uFillTx/>
                <a:latin typeface="+mn-lt"/>
                <a:ea typeface="+mn-ea"/>
                <a:cs typeface="+mn-cs"/>
              </a:defRPr>
            </a:lvl1pPr>
          </a:lstStyle>
          <a:p>
            <a:pPr lvl="0"/>
            <a:r>
              <a:rPr lang="fr-FR"/>
              <a:t>Cliquez pour modifier les styles du texte du masque</a:t>
            </a:r>
          </a:p>
        </p:txBody>
      </p:sp>
    </p:spTree>
    <p:extLst>
      <p:ext uri="{BB962C8B-B14F-4D97-AF65-F5344CB8AC3E}">
        <p14:creationId xmlns:p14="http://schemas.microsoft.com/office/powerpoint/2010/main" val="29105914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615D676C-DFBB-4B69-961C-EAFA99C81441}" type="datetimeFigureOut">
              <a:rPr lang="fr-FR" smtClean="0"/>
              <a:pPr/>
              <a:t>06/06/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CD920A4-75E0-4E9B-B26A-48E6EC9CA927}" type="slidenum">
              <a:rPr lang="fr-FR" smtClean="0"/>
              <a:pPr/>
              <a:t>‹N°›</a:t>
            </a:fld>
            <a:endParaRPr lang="fr-FR"/>
          </a:p>
        </p:txBody>
      </p:sp>
    </p:spTree>
    <p:extLst>
      <p:ext uri="{BB962C8B-B14F-4D97-AF65-F5344CB8AC3E}">
        <p14:creationId xmlns:p14="http://schemas.microsoft.com/office/powerpoint/2010/main" val="5617337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 slide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2703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Contents slide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426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Contents slide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6_Contents slide layout">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6EC9D03-CE97-4756-A932-9A1D14B23EED}"/>
              </a:ext>
            </a:extLst>
          </p:cNvPr>
          <p:cNvSpPr>
            <a:spLocks noGrp="1"/>
          </p:cNvSpPr>
          <p:nvPr>
            <p:ph type="pic" idx="1" hasCustomPrompt="1"/>
          </p:nvPr>
        </p:nvSpPr>
        <p:spPr>
          <a:xfrm>
            <a:off x="1002212" y="1876466"/>
            <a:ext cx="2078162" cy="224698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4" name="Picture Placeholder 2">
            <a:extLst>
              <a:ext uri="{FF2B5EF4-FFF2-40B4-BE49-F238E27FC236}">
                <a16:creationId xmlns:a16="http://schemas.microsoft.com/office/drawing/2014/main" id="{440D22E4-4916-42B9-98C1-F2B15E7D4E65}"/>
              </a:ext>
            </a:extLst>
          </p:cNvPr>
          <p:cNvSpPr>
            <a:spLocks noGrp="1"/>
          </p:cNvSpPr>
          <p:nvPr>
            <p:ph type="pic" idx="12" hasCustomPrompt="1"/>
          </p:nvPr>
        </p:nvSpPr>
        <p:spPr>
          <a:xfrm>
            <a:off x="3706506" y="1876466"/>
            <a:ext cx="2078162" cy="224698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5" name="Picture Placeholder 2">
            <a:extLst>
              <a:ext uri="{FF2B5EF4-FFF2-40B4-BE49-F238E27FC236}">
                <a16:creationId xmlns:a16="http://schemas.microsoft.com/office/drawing/2014/main" id="{CE308D19-F822-48EE-94AB-2F34D9DA2657}"/>
              </a:ext>
            </a:extLst>
          </p:cNvPr>
          <p:cNvSpPr>
            <a:spLocks noGrp="1"/>
          </p:cNvSpPr>
          <p:nvPr>
            <p:ph type="pic" idx="13" hasCustomPrompt="1"/>
          </p:nvPr>
        </p:nvSpPr>
        <p:spPr>
          <a:xfrm>
            <a:off x="6410802" y="1876466"/>
            <a:ext cx="2078162" cy="224698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7" name="Rectangle 6">
            <a:extLst>
              <a:ext uri="{FF2B5EF4-FFF2-40B4-BE49-F238E27FC236}">
                <a16:creationId xmlns:a16="http://schemas.microsoft.com/office/drawing/2014/main" id="{6D3C8837-9997-42BC-A159-BCF7F210517C}"/>
              </a:ext>
            </a:extLst>
          </p:cNvPr>
          <p:cNvSpPr/>
          <p:nvPr userDrawn="1"/>
        </p:nvSpPr>
        <p:spPr>
          <a:xfrm>
            <a:off x="909160" y="1792204"/>
            <a:ext cx="2264266" cy="2415505"/>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8" name="Rectangle 7">
            <a:extLst>
              <a:ext uri="{FF2B5EF4-FFF2-40B4-BE49-F238E27FC236}">
                <a16:creationId xmlns:a16="http://schemas.microsoft.com/office/drawing/2014/main" id="{130C7A27-BAC1-4B61-940D-055EDBF8A2A6}"/>
              </a:ext>
            </a:extLst>
          </p:cNvPr>
          <p:cNvSpPr/>
          <p:nvPr userDrawn="1"/>
        </p:nvSpPr>
        <p:spPr>
          <a:xfrm>
            <a:off x="3613454" y="1792204"/>
            <a:ext cx="2264266" cy="2415505"/>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9" name="Rectangle 8">
            <a:extLst>
              <a:ext uri="{FF2B5EF4-FFF2-40B4-BE49-F238E27FC236}">
                <a16:creationId xmlns:a16="http://schemas.microsoft.com/office/drawing/2014/main" id="{D0527BA1-DEC7-47BA-8B72-2AC195426ED7}"/>
              </a:ext>
            </a:extLst>
          </p:cNvPr>
          <p:cNvSpPr/>
          <p:nvPr userDrawn="1"/>
        </p:nvSpPr>
        <p:spPr>
          <a:xfrm>
            <a:off x="6317750" y="1792204"/>
            <a:ext cx="2264266" cy="2415505"/>
          </a:xfrm>
          <a:prstGeom prst="rect">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0" name="Picture Placeholder 2">
            <a:extLst>
              <a:ext uri="{FF2B5EF4-FFF2-40B4-BE49-F238E27FC236}">
                <a16:creationId xmlns:a16="http://schemas.microsoft.com/office/drawing/2014/main" id="{C93745BD-BD7F-4811-8916-5EE2623A5254}"/>
              </a:ext>
            </a:extLst>
          </p:cNvPr>
          <p:cNvSpPr>
            <a:spLocks noGrp="1"/>
          </p:cNvSpPr>
          <p:nvPr>
            <p:ph type="pic" idx="14" hasCustomPrompt="1"/>
          </p:nvPr>
        </p:nvSpPr>
        <p:spPr>
          <a:xfrm>
            <a:off x="9115096" y="1876466"/>
            <a:ext cx="2078162" cy="224698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11" name="Rectangle 10">
            <a:extLst>
              <a:ext uri="{FF2B5EF4-FFF2-40B4-BE49-F238E27FC236}">
                <a16:creationId xmlns:a16="http://schemas.microsoft.com/office/drawing/2014/main" id="{43A57A41-63A0-40C0-861D-DF664444E616}"/>
              </a:ext>
            </a:extLst>
          </p:cNvPr>
          <p:cNvSpPr/>
          <p:nvPr userDrawn="1"/>
        </p:nvSpPr>
        <p:spPr>
          <a:xfrm>
            <a:off x="9022044" y="1792204"/>
            <a:ext cx="2264266" cy="2415505"/>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6250182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Contents slide layout">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6CCBDEC-E5E7-4F3C-A964-4A3DC68B1EB8}"/>
              </a:ext>
            </a:extLst>
          </p:cNvPr>
          <p:cNvSpPr>
            <a:spLocks noGrp="1"/>
          </p:cNvSpPr>
          <p:nvPr>
            <p:ph type="pic" sz="quarter" idx="14" hasCustomPrompt="1"/>
          </p:nvPr>
        </p:nvSpPr>
        <p:spPr>
          <a:xfrm>
            <a:off x="144954" y="101261"/>
            <a:ext cx="11856555" cy="4071735"/>
          </a:xfrm>
          <a:custGeom>
            <a:avLst/>
            <a:gdLst>
              <a:gd name="connsiteX0" fmla="*/ 560809 w 11856555"/>
              <a:gd name="connsiteY0" fmla="*/ 3976978 h 4071735"/>
              <a:gd name="connsiteX1" fmla="*/ 563867 w 11856555"/>
              <a:gd name="connsiteY1" fmla="*/ 3984634 h 4071735"/>
              <a:gd name="connsiteX2" fmla="*/ 550123 w 11856555"/>
              <a:gd name="connsiteY2" fmla="*/ 3986314 h 4071735"/>
              <a:gd name="connsiteX3" fmla="*/ 2789873 w 11856555"/>
              <a:gd name="connsiteY3" fmla="*/ 3947733 h 4071735"/>
              <a:gd name="connsiteX4" fmla="*/ 2792933 w 11856555"/>
              <a:gd name="connsiteY4" fmla="*/ 3955388 h 4071735"/>
              <a:gd name="connsiteX5" fmla="*/ 2779189 w 11856555"/>
              <a:gd name="connsiteY5" fmla="*/ 3957068 h 4071735"/>
              <a:gd name="connsiteX6" fmla="*/ 539016 w 11856555"/>
              <a:gd name="connsiteY6" fmla="*/ 3942128 h 4071735"/>
              <a:gd name="connsiteX7" fmla="*/ 546164 w 11856555"/>
              <a:gd name="connsiteY7" fmla="*/ 3948735 h 4071735"/>
              <a:gd name="connsiteX8" fmla="*/ 546561 w 11856555"/>
              <a:gd name="connsiteY8" fmla="*/ 3949311 h 4071735"/>
              <a:gd name="connsiteX9" fmla="*/ 536302 w 11856555"/>
              <a:gd name="connsiteY9" fmla="*/ 3958341 h 4071735"/>
              <a:gd name="connsiteX10" fmla="*/ 539016 w 11856555"/>
              <a:gd name="connsiteY10" fmla="*/ 3942128 h 4071735"/>
              <a:gd name="connsiteX11" fmla="*/ 596445 w 11856555"/>
              <a:gd name="connsiteY11" fmla="*/ 3938116 h 4071735"/>
              <a:gd name="connsiteX12" fmla="*/ 603219 w 11856555"/>
              <a:gd name="connsiteY12" fmla="*/ 3946538 h 4071735"/>
              <a:gd name="connsiteX13" fmla="*/ 598823 w 11856555"/>
              <a:gd name="connsiteY13" fmla="*/ 3944875 h 4071735"/>
              <a:gd name="connsiteX14" fmla="*/ 595293 w 11856555"/>
              <a:gd name="connsiteY14" fmla="*/ 3939573 h 4071735"/>
              <a:gd name="connsiteX15" fmla="*/ 1448542 w 11856555"/>
              <a:gd name="connsiteY15" fmla="*/ 3927428 h 4071735"/>
              <a:gd name="connsiteX16" fmla="*/ 1438974 w 11856555"/>
              <a:gd name="connsiteY16" fmla="*/ 3939233 h 4071735"/>
              <a:gd name="connsiteX17" fmla="*/ 1460677 w 11856555"/>
              <a:gd name="connsiteY17" fmla="*/ 3928537 h 4071735"/>
              <a:gd name="connsiteX18" fmla="*/ 1448542 w 11856555"/>
              <a:gd name="connsiteY18" fmla="*/ 3927428 h 4071735"/>
              <a:gd name="connsiteX19" fmla="*/ 889638 w 11856555"/>
              <a:gd name="connsiteY19" fmla="*/ 3924201 h 4071735"/>
              <a:gd name="connsiteX20" fmla="*/ 892720 w 11856555"/>
              <a:gd name="connsiteY20" fmla="*/ 3932422 h 4071735"/>
              <a:gd name="connsiteX21" fmla="*/ 890064 w 11856555"/>
              <a:gd name="connsiteY21" fmla="*/ 3926452 h 4071735"/>
              <a:gd name="connsiteX22" fmla="*/ 888753 w 11856555"/>
              <a:gd name="connsiteY22" fmla="*/ 3919522 h 4071735"/>
              <a:gd name="connsiteX23" fmla="*/ 889638 w 11856555"/>
              <a:gd name="connsiteY23" fmla="*/ 3924201 h 4071735"/>
              <a:gd name="connsiteX24" fmla="*/ 888058 w 11856555"/>
              <a:gd name="connsiteY24" fmla="*/ 3919986 h 4071735"/>
              <a:gd name="connsiteX25" fmla="*/ 2821465 w 11856555"/>
              <a:gd name="connsiteY25" fmla="*/ 3913984 h 4071735"/>
              <a:gd name="connsiteX26" fmla="*/ 2829056 w 11856555"/>
              <a:gd name="connsiteY26" fmla="*/ 3923420 h 4071735"/>
              <a:gd name="connsiteX27" fmla="*/ 2824658 w 11856555"/>
              <a:gd name="connsiteY27" fmla="*/ 3921758 h 4071735"/>
              <a:gd name="connsiteX28" fmla="*/ 2820389 w 11856555"/>
              <a:gd name="connsiteY28" fmla="*/ 3915345 h 4071735"/>
              <a:gd name="connsiteX29" fmla="*/ 3681645 w 11856555"/>
              <a:gd name="connsiteY29" fmla="*/ 3913001 h 4071735"/>
              <a:gd name="connsiteX30" fmla="*/ 3679049 w 11856555"/>
              <a:gd name="connsiteY30" fmla="*/ 3917039 h 4071735"/>
              <a:gd name="connsiteX31" fmla="*/ 3670491 w 11856555"/>
              <a:gd name="connsiteY31" fmla="*/ 3916485 h 4071735"/>
              <a:gd name="connsiteX32" fmla="*/ 2768082 w 11856555"/>
              <a:gd name="connsiteY32" fmla="*/ 3912883 h 4071735"/>
              <a:gd name="connsiteX33" fmla="*/ 2775228 w 11856555"/>
              <a:gd name="connsiteY33" fmla="*/ 3919489 h 4071735"/>
              <a:gd name="connsiteX34" fmla="*/ 2775626 w 11856555"/>
              <a:gd name="connsiteY34" fmla="*/ 3920066 h 4071735"/>
              <a:gd name="connsiteX35" fmla="*/ 2765366 w 11856555"/>
              <a:gd name="connsiteY35" fmla="*/ 3929096 h 4071735"/>
              <a:gd name="connsiteX36" fmla="*/ 2768082 w 11856555"/>
              <a:gd name="connsiteY36" fmla="*/ 3912883 h 4071735"/>
              <a:gd name="connsiteX37" fmla="*/ 3118704 w 11856555"/>
              <a:gd name="connsiteY37" fmla="*/ 3894956 h 4071735"/>
              <a:gd name="connsiteX38" fmla="*/ 3121786 w 11856555"/>
              <a:gd name="connsiteY38" fmla="*/ 3903176 h 4071735"/>
              <a:gd name="connsiteX39" fmla="*/ 3119130 w 11856555"/>
              <a:gd name="connsiteY39" fmla="*/ 3897207 h 4071735"/>
              <a:gd name="connsiteX40" fmla="*/ 3117819 w 11856555"/>
              <a:gd name="connsiteY40" fmla="*/ 3890275 h 4071735"/>
              <a:gd name="connsiteX41" fmla="*/ 3118704 w 11856555"/>
              <a:gd name="connsiteY41" fmla="*/ 3894956 h 4071735"/>
              <a:gd name="connsiteX42" fmla="*/ 3117124 w 11856555"/>
              <a:gd name="connsiteY42" fmla="*/ 3890740 h 4071735"/>
              <a:gd name="connsiteX43" fmla="*/ 897285 w 11856555"/>
              <a:gd name="connsiteY43" fmla="*/ 3885652 h 4071735"/>
              <a:gd name="connsiteX44" fmla="*/ 887491 w 11856555"/>
              <a:gd name="connsiteY44" fmla="*/ 3894920 h 4071735"/>
              <a:gd name="connsiteX45" fmla="*/ 903833 w 11856555"/>
              <a:gd name="connsiteY45" fmla="*/ 3887624 h 4071735"/>
              <a:gd name="connsiteX46" fmla="*/ 897285 w 11856555"/>
              <a:gd name="connsiteY46" fmla="*/ 3885652 h 4071735"/>
              <a:gd name="connsiteX47" fmla="*/ 1666423 w 11856555"/>
              <a:gd name="connsiteY47" fmla="*/ 3876074 h 4071735"/>
              <a:gd name="connsiteX48" fmla="*/ 1665071 w 11856555"/>
              <a:gd name="connsiteY48" fmla="*/ 3883675 h 4071735"/>
              <a:gd name="connsiteX49" fmla="*/ 1655035 w 11856555"/>
              <a:gd name="connsiteY49" fmla="*/ 3884934 h 4071735"/>
              <a:gd name="connsiteX50" fmla="*/ 1657601 w 11856555"/>
              <a:gd name="connsiteY50" fmla="*/ 3878726 h 4071735"/>
              <a:gd name="connsiteX51" fmla="*/ 3114632 w 11856555"/>
              <a:gd name="connsiteY51" fmla="*/ 3870569 h 4071735"/>
              <a:gd name="connsiteX52" fmla="*/ 3114736 w 11856555"/>
              <a:gd name="connsiteY52" fmla="*/ 3871735 h 4071735"/>
              <a:gd name="connsiteX53" fmla="*/ 3113326 w 11856555"/>
              <a:gd name="connsiteY53" fmla="*/ 3871804 h 4071735"/>
              <a:gd name="connsiteX54" fmla="*/ 1184558 w 11856555"/>
              <a:gd name="connsiteY54" fmla="*/ 3857133 h 4071735"/>
              <a:gd name="connsiteX55" fmla="*/ 1175701 w 11856555"/>
              <a:gd name="connsiteY55" fmla="*/ 3866318 h 4071735"/>
              <a:gd name="connsiteX56" fmla="*/ 1195790 w 11856555"/>
              <a:gd name="connsiteY56" fmla="*/ 3858686 h 4071735"/>
              <a:gd name="connsiteX57" fmla="*/ 1184558 w 11856555"/>
              <a:gd name="connsiteY57" fmla="*/ 3857133 h 4071735"/>
              <a:gd name="connsiteX58" fmla="*/ 3890607 w 11856555"/>
              <a:gd name="connsiteY58" fmla="*/ 3847740 h 4071735"/>
              <a:gd name="connsiteX59" fmla="*/ 3892951 w 11856555"/>
              <a:gd name="connsiteY59" fmla="*/ 3849059 h 4071735"/>
              <a:gd name="connsiteX60" fmla="*/ 3880870 w 11856555"/>
              <a:gd name="connsiteY60" fmla="*/ 3861818 h 4071735"/>
              <a:gd name="connsiteX61" fmla="*/ 3885723 w 11856555"/>
              <a:gd name="connsiteY61" fmla="*/ 3850068 h 4071735"/>
              <a:gd name="connsiteX62" fmla="*/ 3886773 w 11856555"/>
              <a:gd name="connsiteY62" fmla="*/ 3848938 h 4071735"/>
              <a:gd name="connsiteX63" fmla="*/ 1249142 w 11856555"/>
              <a:gd name="connsiteY63" fmla="*/ 3834356 h 4071735"/>
              <a:gd name="connsiteX64" fmla="*/ 1242781 w 11856555"/>
              <a:gd name="connsiteY64" fmla="*/ 3835151 h 4071735"/>
              <a:gd name="connsiteX65" fmla="*/ 1229829 w 11856555"/>
              <a:gd name="connsiteY65" fmla="*/ 3838129 h 4071735"/>
              <a:gd name="connsiteX66" fmla="*/ 1256312 w 11856555"/>
              <a:gd name="connsiteY66" fmla="*/ 3838691 h 4071735"/>
              <a:gd name="connsiteX67" fmla="*/ 1249142 w 11856555"/>
              <a:gd name="connsiteY67" fmla="*/ 3834356 h 4071735"/>
              <a:gd name="connsiteX68" fmla="*/ 3410394 w 11856555"/>
              <a:gd name="connsiteY68" fmla="*/ 3834015 h 4071735"/>
              <a:gd name="connsiteX69" fmla="*/ 3401536 w 11856555"/>
              <a:gd name="connsiteY69" fmla="*/ 3843201 h 4071735"/>
              <a:gd name="connsiteX70" fmla="*/ 3421625 w 11856555"/>
              <a:gd name="connsiteY70" fmla="*/ 3835571 h 4071735"/>
              <a:gd name="connsiteX71" fmla="*/ 3410394 w 11856555"/>
              <a:gd name="connsiteY71" fmla="*/ 3834015 h 4071735"/>
              <a:gd name="connsiteX72" fmla="*/ 1347352 w 11856555"/>
              <a:gd name="connsiteY72" fmla="*/ 3818970 h 4071735"/>
              <a:gd name="connsiteX73" fmla="*/ 1358563 w 11856555"/>
              <a:gd name="connsiteY73" fmla="*/ 3820818 h 4071735"/>
              <a:gd name="connsiteX74" fmla="*/ 1336343 w 11856555"/>
              <a:gd name="connsiteY74" fmla="*/ 3825718 h 4071735"/>
              <a:gd name="connsiteX75" fmla="*/ 1345038 w 11856555"/>
              <a:gd name="connsiteY75" fmla="*/ 3820209 h 4071735"/>
              <a:gd name="connsiteX76" fmla="*/ 3474974 w 11856555"/>
              <a:gd name="connsiteY76" fmla="*/ 3811240 h 4071735"/>
              <a:gd name="connsiteX77" fmla="*/ 3468618 w 11856555"/>
              <a:gd name="connsiteY77" fmla="*/ 3812035 h 4071735"/>
              <a:gd name="connsiteX78" fmla="*/ 3455667 w 11856555"/>
              <a:gd name="connsiteY78" fmla="*/ 3815013 h 4071735"/>
              <a:gd name="connsiteX79" fmla="*/ 3482146 w 11856555"/>
              <a:gd name="connsiteY79" fmla="*/ 3815575 h 4071735"/>
              <a:gd name="connsiteX80" fmla="*/ 3474974 w 11856555"/>
              <a:gd name="connsiteY80" fmla="*/ 3811240 h 4071735"/>
              <a:gd name="connsiteX81" fmla="*/ 1400362 w 11856555"/>
              <a:gd name="connsiteY81" fmla="*/ 3799089 h 4071735"/>
              <a:gd name="connsiteX82" fmla="*/ 1400988 w 11856555"/>
              <a:gd name="connsiteY82" fmla="*/ 3799400 h 4071735"/>
              <a:gd name="connsiteX83" fmla="*/ 1400096 w 11856555"/>
              <a:gd name="connsiteY83" fmla="*/ 3799594 h 4071735"/>
              <a:gd name="connsiteX84" fmla="*/ 3572901 w 11856555"/>
              <a:gd name="connsiteY84" fmla="*/ 3795806 h 4071735"/>
              <a:gd name="connsiteX85" fmla="*/ 3584396 w 11856555"/>
              <a:gd name="connsiteY85" fmla="*/ 3797702 h 4071735"/>
              <a:gd name="connsiteX86" fmla="*/ 3562180 w 11856555"/>
              <a:gd name="connsiteY86" fmla="*/ 3802601 h 4071735"/>
              <a:gd name="connsiteX87" fmla="*/ 3572901 w 11856555"/>
              <a:gd name="connsiteY87" fmla="*/ 3795806 h 4071735"/>
              <a:gd name="connsiteX88" fmla="*/ 3629765 w 11856555"/>
              <a:gd name="connsiteY88" fmla="*/ 3769203 h 4071735"/>
              <a:gd name="connsiteX89" fmla="*/ 3637977 w 11856555"/>
              <a:gd name="connsiteY89" fmla="*/ 3772819 h 4071735"/>
              <a:gd name="connsiteX90" fmla="*/ 3637276 w 11856555"/>
              <a:gd name="connsiteY90" fmla="*/ 3774006 h 4071735"/>
              <a:gd name="connsiteX91" fmla="*/ 3625930 w 11856555"/>
              <a:gd name="connsiteY91" fmla="*/ 3776478 h 4071735"/>
              <a:gd name="connsiteX92" fmla="*/ 1746374 w 11856555"/>
              <a:gd name="connsiteY92" fmla="*/ 3765817 h 4071735"/>
              <a:gd name="connsiteX93" fmla="*/ 1730291 w 11856555"/>
              <a:gd name="connsiteY93" fmla="*/ 3776011 h 4071735"/>
              <a:gd name="connsiteX94" fmla="*/ 1746374 w 11856555"/>
              <a:gd name="connsiteY94" fmla="*/ 3765817 h 4071735"/>
              <a:gd name="connsiteX95" fmla="*/ 1545496 w 11856555"/>
              <a:gd name="connsiteY95" fmla="*/ 3757433 h 4071735"/>
              <a:gd name="connsiteX96" fmla="*/ 1535363 w 11856555"/>
              <a:gd name="connsiteY96" fmla="*/ 3757606 h 4071735"/>
              <a:gd name="connsiteX97" fmla="*/ 1527022 w 11856555"/>
              <a:gd name="connsiteY97" fmla="*/ 3761998 h 4071735"/>
              <a:gd name="connsiteX98" fmla="*/ 1545496 w 11856555"/>
              <a:gd name="connsiteY98" fmla="*/ 3757433 h 4071735"/>
              <a:gd name="connsiteX99" fmla="*/ 1824630 w 11856555"/>
              <a:gd name="connsiteY99" fmla="*/ 3743511 h 4071735"/>
              <a:gd name="connsiteX100" fmla="*/ 1820787 w 11856555"/>
              <a:gd name="connsiteY100" fmla="*/ 3753345 h 4071735"/>
              <a:gd name="connsiteX101" fmla="*/ 1835255 w 11856555"/>
              <a:gd name="connsiteY101" fmla="*/ 3746214 h 4071735"/>
              <a:gd name="connsiteX102" fmla="*/ 1824630 w 11856555"/>
              <a:gd name="connsiteY102" fmla="*/ 3743511 h 4071735"/>
              <a:gd name="connsiteX103" fmla="*/ 3972211 w 11856555"/>
              <a:gd name="connsiteY103" fmla="*/ 3742700 h 4071735"/>
              <a:gd name="connsiteX104" fmla="*/ 3956125 w 11856555"/>
              <a:gd name="connsiteY104" fmla="*/ 3752894 h 4071735"/>
              <a:gd name="connsiteX105" fmla="*/ 3972211 w 11856555"/>
              <a:gd name="connsiteY105" fmla="*/ 3742700 h 4071735"/>
              <a:gd name="connsiteX106" fmla="*/ 3771332 w 11856555"/>
              <a:gd name="connsiteY106" fmla="*/ 3734315 h 4071735"/>
              <a:gd name="connsiteX107" fmla="*/ 3761200 w 11856555"/>
              <a:gd name="connsiteY107" fmla="*/ 3734489 h 4071735"/>
              <a:gd name="connsiteX108" fmla="*/ 3752858 w 11856555"/>
              <a:gd name="connsiteY108" fmla="*/ 3738882 h 4071735"/>
              <a:gd name="connsiteX109" fmla="*/ 3771332 w 11856555"/>
              <a:gd name="connsiteY109" fmla="*/ 3734315 h 4071735"/>
              <a:gd name="connsiteX110" fmla="*/ 1628439 w 11856555"/>
              <a:gd name="connsiteY110" fmla="*/ 3732154 h 4071735"/>
              <a:gd name="connsiteX111" fmla="*/ 1616159 w 11856555"/>
              <a:gd name="connsiteY111" fmla="*/ 3745295 h 4071735"/>
              <a:gd name="connsiteX112" fmla="*/ 1649102 w 11856555"/>
              <a:gd name="connsiteY112" fmla="*/ 3733598 h 4071735"/>
              <a:gd name="connsiteX113" fmla="*/ 1628439 w 11856555"/>
              <a:gd name="connsiteY113" fmla="*/ 3732154 h 4071735"/>
              <a:gd name="connsiteX114" fmla="*/ 4849395 w 11856555"/>
              <a:gd name="connsiteY114" fmla="*/ 3732081 h 4071735"/>
              <a:gd name="connsiteX115" fmla="*/ 4852454 w 11856555"/>
              <a:gd name="connsiteY115" fmla="*/ 3739737 h 4071735"/>
              <a:gd name="connsiteX116" fmla="*/ 4838707 w 11856555"/>
              <a:gd name="connsiteY116" fmla="*/ 3741418 h 4071735"/>
              <a:gd name="connsiteX117" fmla="*/ 4050463 w 11856555"/>
              <a:gd name="connsiteY117" fmla="*/ 3720395 h 4071735"/>
              <a:gd name="connsiteX118" fmla="*/ 4046620 w 11856555"/>
              <a:gd name="connsiteY118" fmla="*/ 3730229 h 4071735"/>
              <a:gd name="connsiteX119" fmla="*/ 4061086 w 11856555"/>
              <a:gd name="connsiteY119" fmla="*/ 3723098 h 4071735"/>
              <a:gd name="connsiteX120" fmla="*/ 4050463 w 11856555"/>
              <a:gd name="connsiteY120" fmla="*/ 3720395 h 4071735"/>
              <a:gd name="connsiteX121" fmla="*/ 1129668 w 11856555"/>
              <a:gd name="connsiteY121" fmla="*/ 3716227 h 4071735"/>
              <a:gd name="connsiteX122" fmla="*/ 1123947 w 11856555"/>
              <a:gd name="connsiteY122" fmla="*/ 3717239 h 4071735"/>
              <a:gd name="connsiteX123" fmla="*/ 1112473 w 11856555"/>
              <a:gd name="connsiteY123" fmla="*/ 3728848 h 4071735"/>
              <a:gd name="connsiteX124" fmla="*/ 1132562 w 11856555"/>
              <a:gd name="connsiteY124" fmla="*/ 3721217 h 4071735"/>
              <a:gd name="connsiteX125" fmla="*/ 1129668 w 11856555"/>
              <a:gd name="connsiteY125" fmla="*/ 3716227 h 4071735"/>
              <a:gd name="connsiteX126" fmla="*/ 3854276 w 11856555"/>
              <a:gd name="connsiteY126" fmla="*/ 3709037 h 4071735"/>
              <a:gd name="connsiteX127" fmla="*/ 3841994 w 11856555"/>
              <a:gd name="connsiteY127" fmla="*/ 3722179 h 4071735"/>
              <a:gd name="connsiteX128" fmla="*/ 3874934 w 11856555"/>
              <a:gd name="connsiteY128" fmla="*/ 3710481 h 4071735"/>
              <a:gd name="connsiteX129" fmla="*/ 3854276 w 11856555"/>
              <a:gd name="connsiteY129" fmla="*/ 3709037 h 4071735"/>
              <a:gd name="connsiteX130" fmla="*/ 1946545 w 11856555"/>
              <a:gd name="connsiteY130" fmla="*/ 3702667 h 4071735"/>
              <a:gd name="connsiteX131" fmla="*/ 1964312 w 11856555"/>
              <a:gd name="connsiteY131" fmla="*/ 3711350 h 4071735"/>
              <a:gd name="connsiteX132" fmla="*/ 1946545 w 11856555"/>
              <a:gd name="connsiteY132" fmla="*/ 3702667 h 4071735"/>
              <a:gd name="connsiteX133" fmla="*/ 1915785 w 11856555"/>
              <a:gd name="connsiteY133" fmla="*/ 3702521 h 4071735"/>
              <a:gd name="connsiteX134" fmla="*/ 1901722 w 11856555"/>
              <a:gd name="connsiteY134" fmla="*/ 3708166 h 4071735"/>
              <a:gd name="connsiteX135" fmla="*/ 1907210 w 11856555"/>
              <a:gd name="connsiteY135" fmla="*/ 3748564 h 4071735"/>
              <a:gd name="connsiteX136" fmla="*/ 1915785 w 11856555"/>
              <a:gd name="connsiteY136" fmla="*/ 3702521 h 4071735"/>
              <a:gd name="connsiteX137" fmla="*/ 4878961 w 11856555"/>
              <a:gd name="connsiteY137" fmla="*/ 3700890 h 4071735"/>
              <a:gd name="connsiteX138" fmla="*/ 4886958 w 11856555"/>
              <a:gd name="connsiteY138" fmla="*/ 3710834 h 4071735"/>
              <a:gd name="connsiteX139" fmla="*/ 4882564 w 11856555"/>
              <a:gd name="connsiteY139" fmla="*/ 3709171 h 4071735"/>
              <a:gd name="connsiteX140" fmla="*/ 4877923 w 11856555"/>
              <a:gd name="connsiteY140" fmla="*/ 3702203 h 4071735"/>
              <a:gd name="connsiteX141" fmla="*/ 4827601 w 11856555"/>
              <a:gd name="connsiteY141" fmla="*/ 3697232 h 4071735"/>
              <a:gd name="connsiteX142" fmla="*/ 4834750 w 11856555"/>
              <a:gd name="connsiteY142" fmla="*/ 3703838 h 4071735"/>
              <a:gd name="connsiteX143" fmla="*/ 4835147 w 11856555"/>
              <a:gd name="connsiteY143" fmla="*/ 3704416 h 4071735"/>
              <a:gd name="connsiteX144" fmla="*/ 4824886 w 11856555"/>
              <a:gd name="connsiteY144" fmla="*/ 3713446 h 4071735"/>
              <a:gd name="connsiteX145" fmla="*/ 4827601 w 11856555"/>
              <a:gd name="connsiteY145" fmla="*/ 3697232 h 4071735"/>
              <a:gd name="connsiteX146" fmla="*/ 5741751 w 11856555"/>
              <a:gd name="connsiteY146" fmla="*/ 3696984 h 4071735"/>
              <a:gd name="connsiteX147" fmla="*/ 5736954 w 11856555"/>
              <a:gd name="connsiteY147" fmla="*/ 3704452 h 4071735"/>
              <a:gd name="connsiteX148" fmla="*/ 5722712 w 11856555"/>
              <a:gd name="connsiteY148" fmla="*/ 3703530 h 4071735"/>
              <a:gd name="connsiteX149" fmla="*/ 5723190 w 11856555"/>
              <a:gd name="connsiteY149" fmla="*/ 3702943 h 4071735"/>
              <a:gd name="connsiteX150" fmla="*/ 3355504 w 11856555"/>
              <a:gd name="connsiteY150" fmla="*/ 3693111 h 4071735"/>
              <a:gd name="connsiteX151" fmla="*/ 3349784 w 11856555"/>
              <a:gd name="connsiteY151" fmla="*/ 3694123 h 4071735"/>
              <a:gd name="connsiteX152" fmla="*/ 3338306 w 11856555"/>
              <a:gd name="connsiteY152" fmla="*/ 3705732 h 4071735"/>
              <a:gd name="connsiteX153" fmla="*/ 3358395 w 11856555"/>
              <a:gd name="connsiteY153" fmla="*/ 3698101 h 4071735"/>
              <a:gd name="connsiteX154" fmla="*/ 3355504 w 11856555"/>
              <a:gd name="connsiteY154" fmla="*/ 3693111 h 4071735"/>
              <a:gd name="connsiteX155" fmla="*/ 4172379 w 11856555"/>
              <a:gd name="connsiteY155" fmla="*/ 3679550 h 4071735"/>
              <a:gd name="connsiteX156" fmla="*/ 4190145 w 11856555"/>
              <a:gd name="connsiteY156" fmla="*/ 3688233 h 4071735"/>
              <a:gd name="connsiteX157" fmla="*/ 4172379 w 11856555"/>
              <a:gd name="connsiteY157" fmla="*/ 3679550 h 4071735"/>
              <a:gd name="connsiteX158" fmla="*/ 4141618 w 11856555"/>
              <a:gd name="connsiteY158" fmla="*/ 3679404 h 4071735"/>
              <a:gd name="connsiteX159" fmla="*/ 4127557 w 11856555"/>
              <a:gd name="connsiteY159" fmla="*/ 3685050 h 4071735"/>
              <a:gd name="connsiteX160" fmla="*/ 4133042 w 11856555"/>
              <a:gd name="connsiteY160" fmla="*/ 3725447 h 4071735"/>
              <a:gd name="connsiteX161" fmla="*/ 4141618 w 11856555"/>
              <a:gd name="connsiteY161" fmla="*/ 3679404 h 4071735"/>
              <a:gd name="connsiteX162" fmla="*/ 5178225 w 11856555"/>
              <a:gd name="connsiteY162" fmla="*/ 3679306 h 4071735"/>
              <a:gd name="connsiteX163" fmla="*/ 5181305 w 11856555"/>
              <a:gd name="connsiteY163" fmla="*/ 3687525 h 4071735"/>
              <a:gd name="connsiteX164" fmla="*/ 5178651 w 11856555"/>
              <a:gd name="connsiteY164" fmla="*/ 3681556 h 4071735"/>
              <a:gd name="connsiteX165" fmla="*/ 5177337 w 11856555"/>
              <a:gd name="connsiteY165" fmla="*/ 3674625 h 4071735"/>
              <a:gd name="connsiteX166" fmla="*/ 5178225 w 11856555"/>
              <a:gd name="connsiteY166" fmla="*/ 3679306 h 4071735"/>
              <a:gd name="connsiteX167" fmla="*/ 5176644 w 11856555"/>
              <a:gd name="connsiteY167" fmla="*/ 3675089 h 4071735"/>
              <a:gd name="connsiteX168" fmla="*/ 2033654 w 11856555"/>
              <a:gd name="connsiteY168" fmla="*/ 3673776 h 4071735"/>
              <a:gd name="connsiteX169" fmla="*/ 2025932 w 11856555"/>
              <a:gd name="connsiteY169" fmla="*/ 3682495 h 4071735"/>
              <a:gd name="connsiteX170" fmla="*/ 2042535 w 11856555"/>
              <a:gd name="connsiteY170" fmla="*/ 3678095 h 4071735"/>
              <a:gd name="connsiteX171" fmla="*/ 2033654 w 11856555"/>
              <a:gd name="connsiteY171" fmla="*/ 3673776 h 4071735"/>
              <a:gd name="connsiteX172" fmla="*/ 5174278 w 11856555"/>
              <a:gd name="connsiteY172" fmla="*/ 3656334 h 4071735"/>
              <a:gd name="connsiteX173" fmla="*/ 5174520 w 11856555"/>
              <a:gd name="connsiteY173" fmla="*/ 3659056 h 4071735"/>
              <a:gd name="connsiteX174" fmla="*/ 5171232 w 11856555"/>
              <a:gd name="connsiteY174" fmla="*/ 3659217 h 4071735"/>
              <a:gd name="connsiteX175" fmla="*/ 4259486 w 11856555"/>
              <a:gd name="connsiteY175" fmla="*/ 3650660 h 4071735"/>
              <a:gd name="connsiteX176" fmla="*/ 4251766 w 11856555"/>
              <a:gd name="connsiteY176" fmla="*/ 3659379 h 4071735"/>
              <a:gd name="connsiteX177" fmla="*/ 4268366 w 11856555"/>
              <a:gd name="connsiteY177" fmla="*/ 3654979 h 4071735"/>
              <a:gd name="connsiteX178" fmla="*/ 4259486 w 11856555"/>
              <a:gd name="connsiteY178" fmla="*/ 3650660 h 4071735"/>
              <a:gd name="connsiteX179" fmla="*/ 2141952 w 11856555"/>
              <a:gd name="connsiteY179" fmla="*/ 3650618 h 4071735"/>
              <a:gd name="connsiteX180" fmla="*/ 2134748 w 11856555"/>
              <a:gd name="connsiteY180" fmla="*/ 3650895 h 4071735"/>
              <a:gd name="connsiteX181" fmla="*/ 2120431 w 11856555"/>
              <a:gd name="connsiteY181" fmla="*/ 3662393 h 4071735"/>
              <a:gd name="connsiteX182" fmla="*/ 2146399 w 11856555"/>
              <a:gd name="connsiteY182" fmla="*/ 3657157 h 4071735"/>
              <a:gd name="connsiteX183" fmla="*/ 2141952 w 11856555"/>
              <a:gd name="connsiteY183" fmla="*/ 3650618 h 4071735"/>
              <a:gd name="connsiteX184" fmla="*/ 5946724 w 11856555"/>
              <a:gd name="connsiteY184" fmla="*/ 3634150 h 4071735"/>
              <a:gd name="connsiteX185" fmla="*/ 5950854 w 11856555"/>
              <a:gd name="connsiteY185" fmla="*/ 3636473 h 4071735"/>
              <a:gd name="connsiteX186" fmla="*/ 5938776 w 11856555"/>
              <a:gd name="connsiteY186" fmla="*/ 3649232 h 4071735"/>
              <a:gd name="connsiteX187" fmla="*/ 5946724 w 11856555"/>
              <a:gd name="connsiteY187" fmla="*/ 3634150 h 4071735"/>
              <a:gd name="connsiteX188" fmla="*/ 4367785 w 11856555"/>
              <a:gd name="connsiteY188" fmla="*/ 3627502 h 4071735"/>
              <a:gd name="connsiteX189" fmla="*/ 4360584 w 11856555"/>
              <a:gd name="connsiteY189" fmla="*/ 3627779 h 4071735"/>
              <a:gd name="connsiteX190" fmla="*/ 4346266 w 11856555"/>
              <a:gd name="connsiteY190" fmla="*/ 3639277 h 4071735"/>
              <a:gd name="connsiteX191" fmla="*/ 4372230 w 11856555"/>
              <a:gd name="connsiteY191" fmla="*/ 3634042 h 4071735"/>
              <a:gd name="connsiteX192" fmla="*/ 4367785 w 11856555"/>
              <a:gd name="connsiteY192" fmla="*/ 3627502 h 4071735"/>
              <a:gd name="connsiteX193" fmla="*/ 5468299 w 11856555"/>
              <a:gd name="connsiteY193" fmla="*/ 3621429 h 4071735"/>
              <a:gd name="connsiteX194" fmla="*/ 5459440 w 11856555"/>
              <a:gd name="connsiteY194" fmla="*/ 3630615 h 4071735"/>
              <a:gd name="connsiteX195" fmla="*/ 5479529 w 11856555"/>
              <a:gd name="connsiteY195" fmla="*/ 3622984 h 4071735"/>
              <a:gd name="connsiteX196" fmla="*/ 5468299 w 11856555"/>
              <a:gd name="connsiteY196" fmla="*/ 3621429 h 4071735"/>
              <a:gd name="connsiteX197" fmla="*/ 1112661 w 11856555"/>
              <a:gd name="connsiteY197" fmla="*/ 3617494 h 4071735"/>
              <a:gd name="connsiteX198" fmla="*/ 1113667 w 11856555"/>
              <a:gd name="connsiteY198" fmla="*/ 3617764 h 4071735"/>
              <a:gd name="connsiteX199" fmla="*/ 1113794 w 11856555"/>
              <a:gd name="connsiteY199" fmla="*/ 3617925 h 4071735"/>
              <a:gd name="connsiteX200" fmla="*/ 1112027 w 11856555"/>
              <a:gd name="connsiteY200" fmla="*/ 3617909 h 4071735"/>
              <a:gd name="connsiteX201" fmla="*/ 5532881 w 11856555"/>
              <a:gd name="connsiteY201" fmla="*/ 3598654 h 4071735"/>
              <a:gd name="connsiteX202" fmla="*/ 5526521 w 11856555"/>
              <a:gd name="connsiteY202" fmla="*/ 3599448 h 4071735"/>
              <a:gd name="connsiteX203" fmla="*/ 5513573 w 11856555"/>
              <a:gd name="connsiteY203" fmla="*/ 3602426 h 4071735"/>
              <a:gd name="connsiteX204" fmla="*/ 5540051 w 11856555"/>
              <a:gd name="connsiteY204" fmla="*/ 3602988 h 4071735"/>
              <a:gd name="connsiteX205" fmla="*/ 5532881 w 11856555"/>
              <a:gd name="connsiteY205" fmla="*/ 3598654 h 4071735"/>
              <a:gd name="connsiteX206" fmla="*/ 3338496 w 11856555"/>
              <a:gd name="connsiteY206" fmla="*/ 3594377 h 4071735"/>
              <a:gd name="connsiteX207" fmla="*/ 3339504 w 11856555"/>
              <a:gd name="connsiteY207" fmla="*/ 3594647 h 4071735"/>
              <a:gd name="connsiteX208" fmla="*/ 3339632 w 11856555"/>
              <a:gd name="connsiteY208" fmla="*/ 3594809 h 4071735"/>
              <a:gd name="connsiteX209" fmla="*/ 3337864 w 11856555"/>
              <a:gd name="connsiteY209" fmla="*/ 3594793 h 4071735"/>
              <a:gd name="connsiteX210" fmla="*/ 1022506 w 11856555"/>
              <a:gd name="connsiteY210" fmla="*/ 3587921 h 4071735"/>
              <a:gd name="connsiteX211" fmla="*/ 1011448 w 11856555"/>
              <a:gd name="connsiteY211" fmla="*/ 3607165 h 4071735"/>
              <a:gd name="connsiteX212" fmla="*/ 1011921 w 11856555"/>
              <a:gd name="connsiteY212" fmla="*/ 3604196 h 4071735"/>
              <a:gd name="connsiteX213" fmla="*/ 1022506 w 11856555"/>
              <a:gd name="connsiteY213" fmla="*/ 3587921 h 4071735"/>
              <a:gd name="connsiteX214" fmla="*/ 2318945 w 11856555"/>
              <a:gd name="connsiteY214" fmla="*/ 3585928 h 4071735"/>
              <a:gd name="connsiteX215" fmla="*/ 2311952 w 11856555"/>
              <a:gd name="connsiteY215" fmla="*/ 3586916 h 4071735"/>
              <a:gd name="connsiteX216" fmla="*/ 2323707 w 11856555"/>
              <a:gd name="connsiteY216" fmla="*/ 3591709 h 4071735"/>
              <a:gd name="connsiteX217" fmla="*/ 2318945 w 11856555"/>
              <a:gd name="connsiteY217" fmla="*/ 3585928 h 4071735"/>
              <a:gd name="connsiteX218" fmla="*/ 1074954 w 11856555"/>
              <a:gd name="connsiteY218" fmla="*/ 3583247 h 4071735"/>
              <a:gd name="connsiteX219" fmla="*/ 1064748 w 11856555"/>
              <a:gd name="connsiteY219" fmla="*/ 3595838 h 4071735"/>
              <a:gd name="connsiteX220" fmla="*/ 1074954 w 11856555"/>
              <a:gd name="connsiteY220" fmla="*/ 3583247 h 4071735"/>
              <a:gd name="connsiteX221" fmla="*/ 5630805 w 11856555"/>
              <a:gd name="connsiteY221" fmla="*/ 3583219 h 4071735"/>
              <a:gd name="connsiteX222" fmla="*/ 5642302 w 11856555"/>
              <a:gd name="connsiteY222" fmla="*/ 3585115 h 4071735"/>
              <a:gd name="connsiteX223" fmla="*/ 5620083 w 11856555"/>
              <a:gd name="connsiteY223" fmla="*/ 3590017 h 4071735"/>
              <a:gd name="connsiteX224" fmla="*/ 5630805 w 11856555"/>
              <a:gd name="connsiteY224" fmla="*/ 3583219 h 4071735"/>
              <a:gd name="connsiteX225" fmla="*/ 1095558 w 11856555"/>
              <a:gd name="connsiteY225" fmla="*/ 3581410 h 4071735"/>
              <a:gd name="connsiteX226" fmla="*/ 1095558 w 11856555"/>
              <a:gd name="connsiteY226" fmla="*/ 3581410 h 4071735"/>
              <a:gd name="connsiteX227" fmla="*/ 1193301 w 11856555"/>
              <a:gd name="connsiteY227" fmla="*/ 3578982 h 4071735"/>
              <a:gd name="connsiteX228" fmla="*/ 1176913 w 11856555"/>
              <a:gd name="connsiteY228" fmla="*/ 3583288 h 4071735"/>
              <a:gd name="connsiteX229" fmla="*/ 1135775 w 11856555"/>
              <a:gd name="connsiteY229" fmla="*/ 3602332 h 4071735"/>
              <a:gd name="connsiteX230" fmla="*/ 1112661 w 11856555"/>
              <a:gd name="connsiteY230" fmla="*/ 3617494 h 4071735"/>
              <a:gd name="connsiteX231" fmla="*/ 1095988 w 11856555"/>
              <a:gd name="connsiteY231" fmla="*/ 3613043 h 4071735"/>
              <a:gd name="connsiteX232" fmla="*/ 1100464 w 11856555"/>
              <a:gd name="connsiteY232" fmla="*/ 3636463 h 4071735"/>
              <a:gd name="connsiteX233" fmla="*/ 1124744 w 11856555"/>
              <a:gd name="connsiteY233" fmla="*/ 3631835 h 4071735"/>
              <a:gd name="connsiteX234" fmla="*/ 1113794 w 11856555"/>
              <a:gd name="connsiteY234" fmla="*/ 3617925 h 4071735"/>
              <a:gd name="connsiteX235" fmla="*/ 1125491 w 11856555"/>
              <a:gd name="connsiteY235" fmla="*/ 3618033 h 4071735"/>
              <a:gd name="connsiteX236" fmla="*/ 1174359 w 11856555"/>
              <a:gd name="connsiteY236" fmla="*/ 3618197 h 4071735"/>
              <a:gd name="connsiteX237" fmla="*/ 1193301 w 11856555"/>
              <a:gd name="connsiteY237" fmla="*/ 3578982 h 4071735"/>
              <a:gd name="connsiteX238" fmla="*/ 4544778 w 11856555"/>
              <a:gd name="connsiteY238" fmla="*/ 3562811 h 4071735"/>
              <a:gd name="connsiteX239" fmla="*/ 4537784 w 11856555"/>
              <a:gd name="connsiteY239" fmla="*/ 3563800 h 4071735"/>
              <a:gd name="connsiteX240" fmla="*/ 4549542 w 11856555"/>
              <a:gd name="connsiteY240" fmla="*/ 3568592 h 4071735"/>
              <a:gd name="connsiteX241" fmla="*/ 4544778 w 11856555"/>
              <a:gd name="connsiteY241" fmla="*/ 3562811 h 4071735"/>
              <a:gd name="connsiteX242" fmla="*/ 3300789 w 11856555"/>
              <a:gd name="connsiteY242" fmla="*/ 3560131 h 4071735"/>
              <a:gd name="connsiteX243" fmla="*/ 3290581 w 11856555"/>
              <a:gd name="connsiteY243" fmla="*/ 3572722 h 4071735"/>
              <a:gd name="connsiteX244" fmla="*/ 3300789 w 11856555"/>
              <a:gd name="connsiteY244" fmla="*/ 3560131 h 4071735"/>
              <a:gd name="connsiteX245" fmla="*/ 3251569 w 11856555"/>
              <a:gd name="connsiteY245" fmla="*/ 3558675 h 4071735"/>
              <a:gd name="connsiteX246" fmla="*/ 3240514 w 11856555"/>
              <a:gd name="connsiteY246" fmla="*/ 3577921 h 4071735"/>
              <a:gd name="connsiteX247" fmla="*/ 3240985 w 11856555"/>
              <a:gd name="connsiteY247" fmla="*/ 3574952 h 4071735"/>
              <a:gd name="connsiteX248" fmla="*/ 3251569 w 11856555"/>
              <a:gd name="connsiteY248" fmla="*/ 3558675 h 4071735"/>
              <a:gd name="connsiteX249" fmla="*/ 3321395 w 11856555"/>
              <a:gd name="connsiteY249" fmla="*/ 3558295 h 4071735"/>
              <a:gd name="connsiteX250" fmla="*/ 3321395 w 11856555"/>
              <a:gd name="connsiteY250" fmla="*/ 3558295 h 4071735"/>
              <a:gd name="connsiteX251" fmla="*/ 3419133 w 11856555"/>
              <a:gd name="connsiteY251" fmla="*/ 3555865 h 4071735"/>
              <a:gd name="connsiteX252" fmla="*/ 3402745 w 11856555"/>
              <a:gd name="connsiteY252" fmla="*/ 3560171 h 4071735"/>
              <a:gd name="connsiteX253" fmla="*/ 3361607 w 11856555"/>
              <a:gd name="connsiteY253" fmla="*/ 3579216 h 4071735"/>
              <a:gd name="connsiteX254" fmla="*/ 3338496 w 11856555"/>
              <a:gd name="connsiteY254" fmla="*/ 3594377 h 4071735"/>
              <a:gd name="connsiteX255" fmla="*/ 3321823 w 11856555"/>
              <a:gd name="connsiteY255" fmla="*/ 3589925 h 4071735"/>
              <a:gd name="connsiteX256" fmla="*/ 3326297 w 11856555"/>
              <a:gd name="connsiteY256" fmla="*/ 3613346 h 4071735"/>
              <a:gd name="connsiteX257" fmla="*/ 3350580 w 11856555"/>
              <a:gd name="connsiteY257" fmla="*/ 3608718 h 4071735"/>
              <a:gd name="connsiteX258" fmla="*/ 3339632 w 11856555"/>
              <a:gd name="connsiteY258" fmla="*/ 3594809 h 4071735"/>
              <a:gd name="connsiteX259" fmla="*/ 3351327 w 11856555"/>
              <a:gd name="connsiteY259" fmla="*/ 3594916 h 4071735"/>
              <a:gd name="connsiteX260" fmla="*/ 3400195 w 11856555"/>
              <a:gd name="connsiteY260" fmla="*/ 3595079 h 4071735"/>
              <a:gd name="connsiteX261" fmla="*/ 3419133 w 11856555"/>
              <a:gd name="connsiteY261" fmla="*/ 3555865 h 4071735"/>
              <a:gd name="connsiteX262" fmla="*/ 1276224 w 11856555"/>
              <a:gd name="connsiteY262" fmla="*/ 3553630 h 4071735"/>
              <a:gd name="connsiteX263" fmla="*/ 1203879 w 11856555"/>
              <a:gd name="connsiteY263" fmla="*/ 3589282 h 4071735"/>
              <a:gd name="connsiteX264" fmla="*/ 1277191 w 11856555"/>
              <a:gd name="connsiteY264" fmla="*/ 3585668 h 4071735"/>
              <a:gd name="connsiteX265" fmla="*/ 1243217 w 11856555"/>
              <a:gd name="connsiteY265" fmla="*/ 3585776 h 4071735"/>
              <a:gd name="connsiteX266" fmla="*/ 1276224 w 11856555"/>
              <a:gd name="connsiteY266" fmla="*/ 3553630 h 4071735"/>
              <a:gd name="connsiteX267" fmla="*/ 5689286 w 11856555"/>
              <a:gd name="connsiteY267" fmla="*/ 3553553 h 4071735"/>
              <a:gd name="connsiteX268" fmla="*/ 5697646 w 11856555"/>
              <a:gd name="connsiteY268" fmla="*/ 3557235 h 4071735"/>
              <a:gd name="connsiteX269" fmla="*/ 5695182 w 11856555"/>
              <a:gd name="connsiteY269" fmla="*/ 3561420 h 4071735"/>
              <a:gd name="connsiteX270" fmla="*/ 5683837 w 11856555"/>
              <a:gd name="connsiteY270" fmla="*/ 3563891 h 4071735"/>
              <a:gd name="connsiteX271" fmla="*/ 1311528 w 11856555"/>
              <a:gd name="connsiteY271" fmla="*/ 3543274 h 4071735"/>
              <a:gd name="connsiteX272" fmla="*/ 1301607 w 11856555"/>
              <a:gd name="connsiteY272" fmla="*/ 3563050 h 4071735"/>
              <a:gd name="connsiteX273" fmla="*/ 1311528 w 11856555"/>
              <a:gd name="connsiteY273" fmla="*/ 3543274 h 4071735"/>
              <a:gd name="connsiteX274" fmla="*/ 1348964 w 11856555"/>
              <a:gd name="connsiteY274" fmla="*/ 3540942 h 4071735"/>
              <a:gd name="connsiteX275" fmla="*/ 1339653 w 11856555"/>
              <a:gd name="connsiteY275" fmla="*/ 3545057 h 4071735"/>
              <a:gd name="connsiteX276" fmla="*/ 1360258 w 11856555"/>
              <a:gd name="connsiteY276" fmla="*/ 3543221 h 4071735"/>
              <a:gd name="connsiteX277" fmla="*/ 1348964 w 11856555"/>
              <a:gd name="connsiteY277" fmla="*/ 3540942 h 4071735"/>
              <a:gd name="connsiteX278" fmla="*/ 3502058 w 11856555"/>
              <a:gd name="connsiteY278" fmla="*/ 3530514 h 4071735"/>
              <a:gd name="connsiteX279" fmla="*/ 3429715 w 11856555"/>
              <a:gd name="connsiteY279" fmla="*/ 3566164 h 4071735"/>
              <a:gd name="connsiteX280" fmla="*/ 3503028 w 11856555"/>
              <a:gd name="connsiteY280" fmla="*/ 3562552 h 4071735"/>
              <a:gd name="connsiteX281" fmla="*/ 3469049 w 11856555"/>
              <a:gd name="connsiteY281" fmla="*/ 3562658 h 4071735"/>
              <a:gd name="connsiteX282" fmla="*/ 3502058 w 11856555"/>
              <a:gd name="connsiteY282" fmla="*/ 3530514 h 4071735"/>
              <a:gd name="connsiteX283" fmla="*/ 6030115 w 11856555"/>
              <a:gd name="connsiteY283" fmla="*/ 3530113 h 4071735"/>
              <a:gd name="connsiteX284" fmla="*/ 6014033 w 11856555"/>
              <a:gd name="connsiteY284" fmla="*/ 3540309 h 4071735"/>
              <a:gd name="connsiteX285" fmla="*/ 6030115 w 11856555"/>
              <a:gd name="connsiteY285" fmla="*/ 3530113 h 4071735"/>
              <a:gd name="connsiteX286" fmla="*/ 1385113 w 11856555"/>
              <a:gd name="connsiteY286" fmla="*/ 3523380 h 4071735"/>
              <a:gd name="connsiteX287" fmla="*/ 1373056 w 11856555"/>
              <a:gd name="connsiteY287" fmla="*/ 3524284 h 4071735"/>
              <a:gd name="connsiteX288" fmla="*/ 1402568 w 11856555"/>
              <a:gd name="connsiteY288" fmla="*/ 3530689 h 4071735"/>
              <a:gd name="connsiteX289" fmla="*/ 1385113 w 11856555"/>
              <a:gd name="connsiteY289" fmla="*/ 3523380 h 4071735"/>
              <a:gd name="connsiteX290" fmla="*/ 5829234 w 11856555"/>
              <a:gd name="connsiteY290" fmla="*/ 3521729 h 4071735"/>
              <a:gd name="connsiteX291" fmla="*/ 5819103 w 11856555"/>
              <a:gd name="connsiteY291" fmla="*/ 3521903 h 4071735"/>
              <a:gd name="connsiteX292" fmla="*/ 5810764 w 11856555"/>
              <a:gd name="connsiteY292" fmla="*/ 3526296 h 4071735"/>
              <a:gd name="connsiteX293" fmla="*/ 5829234 w 11856555"/>
              <a:gd name="connsiteY293" fmla="*/ 3521729 h 4071735"/>
              <a:gd name="connsiteX294" fmla="*/ 3537362 w 11856555"/>
              <a:gd name="connsiteY294" fmla="*/ 3520158 h 4071735"/>
              <a:gd name="connsiteX295" fmla="*/ 3527443 w 11856555"/>
              <a:gd name="connsiteY295" fmla="*/ 3539934 h 4071735"/>
              <a:gd name="connsiteX296" fmla="*/ 3537362 w 11856555"/>
              <a:gd name="connsiteY296" fmla="*/ 3520158 h 4071735"/>
              <a:gd name="connsiteX297" fmla="*/ 1276037 w 11856555"/>
              <a:gd name="connsiteY297" fmla="*/ 3519103 h 4071735"/>
              <a:gd name="connsiteX298" fmla="*/ 1269412 w 11856555"/>
              <a:gd name="connsiteY298" fmla="*/ 3519557 h 4071735"/>
              <a:gd name="connsiteX299" fmla="*/ 1254911 w 11856555"/>
              <a:gd name="connsiteY299" fmla="*/ 3526324 h 4071735"/>
              <a:gd name="connsiteX300" fmla="*/ 1279261 w 11856555"/>
              <a:gd name="connsiteY300" fmla="*/ 3524154 h 4071735"/>
              <a:gd name="connsiteX301" fmla="*/ 1276037 w 11856555"/>
              <a:gd name="connsiteY301" fmla="*/ 3519103 h 4071735"/>
              <a:gd name="connsiteX302" fmla="*/ 3574797 w 11856555"/>
              <a:gd name="connsiteY302" fmla="*/ 3517825 h 4071735"/>
              <a:gd name="connsiteX303" fmla="*/ 3565487 w 11856555"/>
              <a:gd name="connsiteY303" fmla="*/ 3521941 h 4071735"/>
              <a:gd name="connsiteX304" fmla="*/ 3586093 w 11856555"/>
              <a:gd name="connsiteY304" fmla="*/ 3520105 h 4071735"/>
              <a:gd name="connsiteX305" fmla="*/ 3574797 w 11856555"/>
              <a:gd name="connsiteY305" fmla="*/ 3517825 h 4071735"/>
              <a:gd name="connsiteX306" fmla="*/ 1426882 w 11856555"/>
              <a:gd name="connsiteY306" fmla="*/ 3512871 h 4071735"/>
              <a:gd name="connsiteX307" fmla="*/ 1421316 w 11856555"/>
              <a:gd name="connsiteY307" fmla="*/ 3513320 h 4071735"/>
              <a:gd name="connsiteX308" fmla="*/ 1411674 w 11856555"/>
              <a:gd name="connsiteY308" fmla="*/ 3526957 h 4071735"/>
              <a:gd name="connsiteX309" fmla="*/ 1429890 w 11856555"/>
              <a:gd name="connsiteY309" fmla="*/ 3519494 h 4071735"/>
              <a:gd name="connsiteX310" fmla="*/ 1426882 w 11856555"/>
              <a:gd name="connsiteY310" fmla="*/ 3512871 h 4071735"/>
              <a:gd name="connsiteX311" fmla="*/ 790819 w 11856555"/>
              <a:gd name="connsiteY311" fmla="*/ 3509271 h 4071735"/>
              <a:gd name="connsiteX312" fmla="*/ 750643 w 11856555"/>
              <a:gd name="connsiteY312" fmla="*/ 3524532 h 4071735"/>
              <a:gd name="connsiteX313" fmla="*/ 790819 w 11856555"/>
              <a:gd name="connsiteY313" fmla="*/ 3509271 h 4071735"/>
              <a:gd name="connsiteX314" fmla="*/ 6108369 w 11856555"/>
              <a:gd name="connsiteY314" fmla="*/ 3507808 h 4071735"/>
              <a:gd name="connsiteX315" fmla="*/ 6104525 w 11856555"/>
              <a:gd name="connsiteY315" fmla="*/ 3517642 h 4071735"/>
              <a:gd name="connsiteX316" fmla="*/ 6118994 w 11856555"/>
              <a:gd name="connsiteY316" fmla="*/ 3510511 h 4071735"/>
              <a:gd name="connsiteX317" fmla="*/ 6108369 w 11856555"/>
              <a:gd name="connsiteY317" fmla="*/ 3507808 h 4071735"/>
              <a:gd name="connsiteX318" fmla="*/ 3610948 w 11856555"/>
              <a:gd name="connsiteY318" fmla="*/ 3500263 h 4071735"/>
              <a:gd name="connsiteX319" fmla="*/ 3598891 w 11856555"/>
              <a:gd name="connsiteY319" fmla="*/ 3501167 h 4071735"/>
              <a:gd name="connsiteX320" fmla="*/ 3628399 w 11856555"/>
              <a:gd name="connsiteY320" fmla="*/ 3507572 h 4071735"/>
              <a:gd name="connsiteX321" fmla="*/ 3610948 w 11856555"/>
              <a:gd name="connsiteY321" fmla="*/ 3500263 h 4071735"/>
              <a:gd name="connsiteX322" fmla="*/ 5932753 w 11856555"/>
              <a:gd name="connsiteY322" fmla="*/ 3497889 h 4071735"/>
              <a:gd name="connsiteX323" fmla="*/ 5932842 w 11856555"/>
              <a:gd name="connsiteY323" fmla="*/ 3497896 h 4071735"/>
              <a:gd name="connsiteX324" fmla="*/ 5930300 w 11856555"/>
              <a:gd name="connsiteY324" fmla="*/ 3498973 h 4071735"/>
              <a:gd name="connsiteX325" fmla="*/ 3501874 w 11856555"/>
              <a:gd name="connsiteY325" fmla="*/ 3495987 h 4071735"/>
              <a:gd name="connsiteX326" fmla="*/ 3495248 w 11856555"/>
              <a:gd name="connsiteY326" fmla="*/ 3496440 h 4071735"/>
              <a:gd name="connsiteX327" fmla="*/ 3480745 w 11856555"/>
              <a:gd name="connsiteY327" fmla="*/ 3503207 h 4071735"/>
              <a:gd name="connsiteX328" fmla="*/ 3505097 w 11856555"/>
              <a:gd name="connsiteY328" fmla="*/ 3501037 h 4071735"/>
              <a:gd name="connsiteX329" fmla="*/ 3501874 w 11856555"/>
              <a:gd name="connsiteY329" fmla="*/ 3495987 h 4071735"/>
              <a:gd name="connsiteX330" fmla="*/ 1503268 w 11856555"/>
              <a:gd name="connsiteY330" fmla="*/ 3495432 h 4071735"/>
              <a:gd name="connsiteX331" fmla="*/ 1473556 w 11856555"/>
              <a:gd name="connsiteY331" fmla="*/ 3501000 h 4071735"/>
              <a:gd name="connsiteX332" fmla="*/ 1503268 w 11856555"/>
              <a:gd name="connsiteY332" fmla="*/ 3495432 h 4071735"/>
              <a:gd name="connsiteX333" fmla="*/ 3652715 w 11856555"/>
              <a:gd name="connsiteY333" fmla="*/ 3489755 h 4071735"/>
              <a:gd name="connsiteX334" fmla="*/ 3647152 w 11856555"/>
              <a:gd name="connsiteY334" fmla="*/ 3490204 h 4071735"/>
              <a:gd name="connsiteX335" fmla="*/ 3637508 w 11856555"/>
              <a:gd name="connsiteY335" fmla="*/ 3503841 h 4071735"/>
              <a:gd name="connsiteX336" fmla="*/ 3655727 w 11856555"/>
              <a:gd name="connsiteY336" fmla="*/ 3496376 h 4071735"/>
              <a:gd name="connsiteX337" fmla="*/ 3652715 w 11856555"/>
              <a:gd name="connsiteY337" fmla="*/ 3489755 h 4071735"/>
              <a:gd name="connsiteX338" fmla="*/ 3016656 w 11856555"/>
              <a:gd name="connsiteY338" fmla="*/ 3486152 h 4071735"/>
              <a:gd name="connsiteX339" fmla="*/ 2976477 w 11856555"/>
              <a:gd name="connsiteY339" fmla="*/ 3501415 h 4071735"/>
              <a:gd name="connsiteX340" fmla="*/ 3016656 w 11856555"/>
              <a:gd name="connsiteY340" fmla="*/ 3486152 h 4071735"/>
              <a:gd name="connsiteX341" fmla="*/ 1535530 w 11856555"/>
              <a:gd name="connsiteY341" fmla="*/ 3486031 h 4071735"/>
              <a:gd name="connsiteX342" fmla="*/ 1548480 w 11856555"/>
              <a:gd name="connsiteY342" fmla="*/ 3494323 h 4071735"/>
              <a:gd name="connsiteX343" fmla="*/ 1535530 w 11856555"/>
              <a:gd name="connsiteY343" fmla="*/ 3486031 h 4071735"/>
              <a:gd name="connsiteX344" fmla="*/ 1523098 w 11856555"/>
              <a:gd name="connsiteY344" fmla="*/ 3484903 h 4071735"/>
              <a:gd name="connsiteX345" fmla="*/ 1505399 w 11856555"/>
              <a:gd name="connsiteY345" fmla="*/ 3498162 h 4071735"/>
              <a:gd name="connsiteX346" fmla="*/ 1523098 w 11856555"/>
              <a:gd name="connsiteY346" fmla="*/ 3484903 h 4071735"/>
              <a:gd name="connsiteX347" fmla="*/ 788827 w 11856555"/>
              <a:gd name="connsiteY347" fmla="*/ 3484259 h 4071735"/>
              <a:gd name="connsiteX348" fmla="*/ 780163 w 11856555"/>
              <a:gd name="connsiteY348" fmla="*/ 3495617 h 4071735"/>
              <a:gd name="connsiteX349" fmla="*/ 800251 w 11856555"/>
              <a:gd name="connsiteY349" fmla="*/ 3487985 h 4071735"/>
              <a:gd name="connsiteX350" fmla="*/ 788827 w 11856555"/>
              <a:gd name="connsiteY350" fmla="*/ 3484259 h 4071735"/>
              <a:gd name="connsiteX351" fmla="*/ 5413409 w 11856555"/>
              <a:gd name="connsiteY351" fmla="*/ 3480525 h 4071735"/>
              <a:gd name="connsiteX352" fmla="*/ 5407687 w 11856555"/>
              <a:gd name="connsiteY352" fmla="*/ 3481536 h 4071735"/>
              <a:gd name="connsiteX353" fmla="*/ 5396216 w 11856555"/>
              <a:gd name="connsiteY353" fmla="*/ 3493145 h 4071735"/>
              <a:gd name="connsiteX354" fmla="*/ 5416303 w 11856555"/>
              <a:gd name="connsiteY354" fmla="*/ 3485515 h 4071735"/>
              <a:gd name="connsiteX355" fmla="*/ 5413409 w 11856555"/>
              <a:gd name="connsiteY355" fmla="*/ 3480525 h 4071735"/>
              <a:gd name="connsiteX356" fmla="*/ 740198 w 11856555"/>
              <a:gd name="connsiteY356" fmla="*/ 3476180 h 4071735"/>
              <a:gd name="connsiteX357" fmla="*/ 729653 w 11856555"/>
              <a:gd name="connsiteY357" fmla="*/ 3479674 h 4071735"/>
              <a:gd name="connsiteX358" fmla="*/ 743281 w 11856555"/>
              <a:gd name="connsiteY358" fmla="*/ 3484301 h 4071735"/>
              <a:gd name="connsiteX359" fmla="*/ 740198 w 11856555"/>
              <a:gd name="connsiteY359" fmla="*/ 3476180 h 4071735"/>
              <a:gd name="connsiteX360" fmla="*/ 757233 w 11856555"/>
              <a:gd name="connsiteY360" fmla="*/ 3471376 h 4071735"/>
              <a:gd name="connsiteX361" fmla="*/ 757233 w 11856555"/>
              <a:gd name="connsiteY361" fmla="*/ 3471376 h 4071735"/>
              <a:gd name="connsiteX362" fmla="*/ 1552178 w 11856555"/>
              <a:gd name="connsiteY362" fmla="*/ 3468256 h 4071735"/>
              <a:gd name="connsiteX363" fmla="*/ 1541313 w 11856555"/>
              <a:gd name="connsiteY363" fmla="*/ 3477439 h 4071735"/>
              <a:gd name="connsiteX364" fmla="*/ 1552178 w 11856555"/>
              <a:gd name="connsiteY364" fmla="*/ 3468256 h 4071735"/>
              <a:gd name="connsiteX365" fmla="*/ 6230283 w 11856555"/>
              <a:gd name="connsiteY365" fmla="*/ 3466964 h 4071735"/>
              <a:gd name="connsiteX366" fmla="*/ 6248050 w 11856555"/>
              <a:gd name="connsiteY366" fmla="*/ 3475647 h 4071735"/>
              <a:gd name="connsiteX367" fmla="*/ 6230283 w 11856555"/>
              <a:gd name="connsiteY367" fmla="*/ 3466964 h 4071735"/>
              <a:gd name="connsiteX368" fmla="*/ 6199524 w 11856555"/>
              <a:gd name="connsiteY368" fmla="*/ 3466819 h 4071735"/>
              <a:gd name="connsiteX369" fmla="*/ 6185461 w 11856555"/>
              <a:gd name="connsiteY369" fmla="*/ 3472463 h 4071735"/>
              <a:gd name="connsiteX370" fmla="*/ 6190949 w 11856555"/>
              <a:gd name="connsiteY370" fmla="*/ 3512862 h 4071735"/>
              <a:gd name="connsiteX371" fmla="*/ 6199524 w 11856555"/>
              <a:gd name="connsiteY371" fmla="*/ 3466819 h 4071735"/>
              <a:gd name="connsiteX372" fmla="*/ 5222833 w 11856555"/>
              <a:gd name="connsiteY372" fmla="*/ 3460637 h 4071735"/>
              <a:gd name="connsiteX373" fmla="*/ 5221624 w 11856555"/>
              <a:gd name="connsiteY373" fmla="*/ 3461975 h 4071735"/>
              <a:gd name="connsiteX374" fmla="*/ 5222833 w 11856555"/>
              <a:gd name="connsiteY374" fmla="*/ 3460637 h 4071735"/>
              <a:gd name="connsiteX375" fmla="*/ 854793 w 11856555"/>
              <a:gd name="connsiteY375" fmla="*/ 3456476 h 4071735"/>
              <a:gd name="connsiteX376" fmla="*/ 855156 w 11856555"/>
              <a:gd name="connsiteY376" fmla="*/ 3468490 h 4071735"/>
              <a:gd name="connsiteX377" fmla="*/ 854793 w 11856555"/>
              <a:gd name="connsiteY377" fmla="*/ 3456476 h 4071735"/>
              <a:gd name="connsiteX378" fmla="*/ 1710223 w 11856555"/>
              <a:gd name="connsiteY378" fmla="*/ 3444864 h 4071735"/>
              <a:gd name="connsiteX379" fmla="*/ 1703763 w 11856555"/>
              <a:gd name="connsiteY379" fmla="*/ 3457121 h 4071735"/>
              <a:gd name="connsiteX380" fmla="*/ 1710223 w 11856555"/>
              <a:gd name="connsiteY380" fmla="*/ 3444864 h 4071735"/>
              <a:gd name="connsiteX381" fmla="*/ 926889 w 11856555"/>
              <a:gd name="connsiteY381" fmla="*/ 3443526 h 4071735"/>
              <a:gd name="connsiteX382" fmla="*/ 914580 w 11856555"/>
              <a:gd name="connsiteY382" fmla="*/ 3457355 h 4071735"/>
              <a:gd name="connsiteX383" fmla="*/ 932280 w 11856555"/>
              <a:gd name="connsiteY383" fmla="*/ 3444095 h 4071735"/>
              <a:gd name="connsiteX384" fmla="*/ 926889 w 11856555"/>
              <a:gd name="connsiteY384" fmla="*/ 3443526 h 4071735"/>
              <a:gd name="connsiteX385" fmla="*/ 751861 w 11856555"/>
              <a:gd name="connsiteY385" fmla="*/ 3442698 h 4071735"/>
              <a:gd name="connsiteX386" fmla="*/ 751939 w 11856555"/>
              <a:gd name="connsiteY386" fmla="*/ 3442735 h 4071735"/>
              <a:gd name="connsiteX387" fmla="*/ 749548 w 11856555"/>
              <a:gd name="connsiteY387" fmla="*/ 3448698 h 4071735"/>
              <a:gd name="connsiteX388" fmla="*/ 746026 w 11856555"/>
              <a:gd name="connsiteY388" fmla="*/ 3445130 h 4071735"/>
              <a:gd name="connsiteX389" fmla="*/ 757749 w 11856555"/>
              <a:gd name="connsiteY389" fmla="*/ 3440366 h 4071735"/>
              <a:gd name="connsiteX390" fmla="*/ 754910 w 11856555"/>
              <a:gd name="connsiteY390" fmla="*/ 3445298 h 4071735"/>
              <a:gd name="connsiteX391" fmla="*/ 756613 w 11856555"/>
              <a:gd name="connsiteY391" fmla="*/ 3440810 h 4071735"/>
              <a:gd name="connsiteX392" fmla="*/ 5269716 w 11856555"/>
              <a:gd name="connsiteY392" fmla="*/ 3440167 h 4071735"/>
              <a:gd name="connsiteX393" fmla="*/ 5278917 w 11856555"/>
              <a:gd name="connsiteY393" fmla="*/ 3448109 h 4071735"/>
              <a:gd name="connsiteX394" fmla="*/ 5269716 w 11856555"/>
              <a:gd name="connsiteY394" fmla="*/ 3440167 h 4071735"/>
              <a:gd name="connsiteX395" fmla="*/ 6317393 w 11856555"/>
              <a:gd name="connsiteY395" fmla="*/ 3438073 h 4071735"/>
              <a:gd name="connsiteX396" fmla="*/ 6309673 w 11856555"/>
              <a:gd name="connsiteY396" fmla="*/ 3446792 h 4071735"/>
              <a:gd name="connsiteX397" fmla="*/ 6326273 w 11856555"/>
              <a:gd name="connsiteY397" fmla="*/ 3442392 h 4071735"/>
              <a:gd name="connsiteX398" fmla="*/ 6317393 w 11856555"/>
              <a:gd name="connsiteY398" fmla="*/ 3438073 h 4071735"/>
              <a:gd name="connsiteX399" fmla="*/ 1104273 w 11856555"/>
              <a:gd name="connsiteY399" fmla="*/ 3430230 h 4071735"/>
              <a:gd name="connsiteX400" fmla="*/ 1092273 w 11856555"/>
              <a:gd name="connsiteY400" fmla="*/ 3438600 h 4071735"/>
              <a:gd name="connsiteX401" fmla="*/ 1119856 w 11856555"/>
              <a:gd name="connsiteY401" fmla="*/ 3430300 h 4071735"/>
              <a:gd name="connsiteX402" fmla="*/ 1104273 w 11856555"/>
              <a:gd name="connsiteY402" fmla="*/ 3430230 h 4071735"/>
              <a:gd name="connsiteX403" fmla="*/ 1533773 w 11856555"/>
              <a:gd name="connsiteY403" fmla="*/ 3420295 h 4071735"/>
              <a:gd name="connsiteX404" fmla="*/ 1528051 w 11856555"/>
              <a:gd name="connsiteY404" fmla="*/ 3421305 h 4071735"/>
              <a:gd name="connsiteX405" fmla="*/ 1516577 w 11856555"/>
              <a:gd name="connsiteY405" fmla="*/ 3432915 h 4071735"/>
              <a:gd name="connsiteX406" fmla="*/ 1536666 w 11856555"/>
              <a:gd name="connsiteY406" fmla="*/ 3425283 h 4071735"/>
              <a:gd name="connsiteX407" fmla="*/ 1533773 w 11856555"/>
              <a:gd name="connsiteY407" fmla="*/ 3420295 h 4071735"/>
              <a:gd name="connsiteX408" fmla="*/ 948710 w 11856555"/>
              <a:gd name="connsiteY408" fmla="*/ 3419267 h 4071735"/>
              <a:gd name="connsiteX409" fmla="*/ 947522 w 11856555"/>
              <a:gd name="connsiteY409" fmla="*/ 3445657 h 4071735"/>
              <a:gd name="connsiteX410" fmla="*/ 948710 w 11856555"/>
              <a:gd name="connsiteY410" fmla="*/ 3419267 h 4071735"/>
              <a:gd name="connsiteX411" fmla="*/ 829233 w 11856555"/>
              <a:gd name="connsiteY411" fmla="*/ 3418922 h 4071735"/>
              <a:gd name="connsiteX412" fmla="*/ 830161 w 11856555"/>
              <a:gd name="connsiteY412" fmla="*/ 3421069 h 4071735"/>
              <a:gd name="connsiteX413" fmla="*/ 829851 w 11856555"/>
              <a:gd name="connsiteY413" fmla="*/ 3421154 h 4071735"/>
              <a:gd name="connsiteX414" fmla="*/ 6425691 w 11856555"/>
              <a:gd name="connsiteY414" fmla="*/ 3414916 h 4071735"/>
              <a:gd name="connsiteX415" fmla="*/ 6418487 w 11856555"/>
              <a:gd name="connsiteY415" fmla="*/ 3415192 h 4071735"/>
              <a:gd name="connsiteX416" fmla="*/ 6404172 w 11856555"/>
              <a:gd name="connsiteY416" fmla="*/ 3426689 h 4071735"/>
              <a:gd name="connsiteX417" fmla="*/ 6430138 w 11856555"/>
              <a:gd name="connsiteY417" fmla="*/ 3421455 h 4071735"/>
              <a:gd name="connsiteX418" fmla="*/ 6425691 w 11856555"/>
              <a:gd name="connsiteY418" fmla="*/ 3414916 h 4071735"/>
              <a:gd name="connsiteX419" fmla="*/ 901391 w 11856555"/>
              <a:gd name="connsiteY419" fmla="*/ 3409977 h 4071735"/>
              <a:gd name="connsiteX420" fmla="*/ 905022 w 11856555"/>
              <a:gd name="connsiteY420" fmla="*/ 3434843 h 4071735"/>
              <a:gd name="connsiteX421" fmla="*/ 901391 w 11856555"/>
              <a:gd name="connsiteY421" fmla="*/ 3409977 h 4071735"/>
              <a:gd name="connsiteX422" fmla="*/ 3330107 w 11856555"/>
              <a:gd name="connsiteY422" fmla="*/ 3407113 h 4071735"/>
              <a:gd name="connsiteX423" fmla="*/ 3318110 w 11856555"/>
              <a:gd name="connsiteY423" fmla="*/ 3415484 h 4071735"/>
              <a:gd name="connsiteX424" fmla="*/ 3345690 w 11856555"/>
              <a:gd name="connsiteY424" fmla="*/ 3407184 h 4071735"/>
              <a:gd name="connsiteX425" fmla="*/ 3330107 w 11856555"/>
              <a:gd name="connsiteY425" fmla="*/ 3407113 h 4071735"/>
              <a:gd name="connsiteX426" fmla="*/ 1070184 w 11856555"/>
              <a:gd name="connsiteY426" fmla="*/ 3402601 h 4071735"/>
              <a:gd name="connsiteX427" fmla="*/ 1058260 w 11856555"/>
              <a:gd name="connsiteY427" fmla="*/ 3402844 h 4071735"/>
              <a:gd name="connsiteX428" fmla="*/ 1070184 w 11856555"/>
              <a:gd name="connsiteY428" fmla="*/ 3402601 h 4071735"/>
              <a:gd name="connsiteX429" fmla="*/ 2859637 w 11856555"/>
              <a:gd name="connsiteY429" fmla="*/ 3397928 h 4071735"/>
              <a:gd name="connsiteX430" fmla="*/ 2859637 w 11856555"/>
              <a:gd name="connsiteY430" fmla="*/ 3397928 h 4071735"/>
              <a:gd name="connsiteX431" fmla="*/ 3759608 w 11856555"/>
              <a:gd name="connsiteY431" fmla="*/ 3397177 h 4071735"/>
              <a:gd name="connsiteX432" fmla="*/ 3753887 w 11856555"/>
              <a:gd name="connsiteY432" fmla="*/ 3398189 h 4071735"/>
              <a:gd name="connsiteX433" fmla="*/ 3742412 w 11856555"/>
              <a:gd name="connsiteY433" fmla="*/ 3409799 h 4071735"/>
              <a:gd name="connsiteX434" fmla="*/ 3762501 w 11856555"/>
              <a:gd name="connsiteY434" fmla="*/ 3402167 h 4071735"/>
              <a:gd name="connsiteX435" fmla="*/ 3759608 w 11856555"/>
              <a:gd name="connsiteY435" fmla="*/ 3397177 h 4071735"/>
              <a:gd name="connsiteX436" fmla="*/ 598992 w 11856555"/>
              <a:gd name="connsiteY436" fmla="*/ 3395703 h 4071735"/>
              <a:gd name="connsiteX437" fmla="*/ 603639 w 11856555"/>
              <a:gd name="connsiteY437" fmla="*/ 3400368 h 4071735"/>
              <a:gd name="connsiteX438" fmla="*/ 585165 w 11856555"/>
              <a:gd name="connsiteY438" fmla="*/ 3404935 h 4071735"/>
              <a:gd name="connsiteX439" fmla="*/ 595909 w 11856555"/>
              <a:gd name="connsiteY439" fmla="*/ 3395719 h 4071735"/>
              <a:gd name="connsiteX440" fmla="*/ 1213762 w 11856555"/>
              <a:gd name="connsiteY440" fmla="*/ 3394280 h 4071735"/>
              <a:gd name="connsiteX441" fmla="*/ 1199625 w 11856555"/>
              <a:gd name="connsiteY441" fmla="*/ 3414431 h 4071735"/>
              <a:gd name="connsiteX442" fmla="*/ 1213762 w 11856555"/>
              <a:gd name="connsiteY442" fmla="*/ 3394280 h 4071735"/>
              <a:gd name="connsiteX443" fmla="*/ 3275487 w 11856555"/>
              <a:gd name="connsiteY443" fmla="*/ 3390076 h 4071735"/>
              <a:gd name="connsiteX444" fmla="*/ 3276963 w 11856555"/>
              <a:gd name="connsiteY444" fmla="*/ 3398705 h 4071735"/>
              <a:gd name="connsiteX445" fmla="*/ 3275487 w 11856555"/>
              <a:gd name="connsiteY445" fmla="*/ 3390076 h 4071735"/>
              <a:gd name="connsiteX446" fmla="*/ 991095 w 11856555"/>
              <a:gd name="connsiteY446" fmla="*/ 3387381 h 4071735"/>
              <a:gd name="connsiteX447" fmla="*/ 989122 w 11856555"/>
              <a:gd name="connsiteY447" fmla="*/ 3403984 h 4071735"/>
              <a:gd name="connsiteX448" fmla="*/ 991095 w 11856555"/>
              <a:gd name="connsiteY448" fmla="*/ 3387381 h 4071735"/>
              <a:gd name="connsiteX449" fmla="*/ 3288552 w 11856555"/>
              <a:gd name="connsiteY449" fmla="*/ 3384395 h 4071735"/>
              <a:gd name="connsiteX450" fmla="*/ 3283684 w 11856555"/>
              <a:gd name="connsiteY450" fmla="*/ 3389346 h 4071735"/>
              <a:gd name="connsiteX451" fmla="*/ 3288552 w 11856555"/>
              <a:gd name="connsiteY451" fmla="*/ 3384395 h 4071735"/>
              <a:gd name="connsiteX452" fmla="*/ 1670825 w 11856555"/>
              <a:gd name="connsiteY452" fmla="*/ 3384123 h 4071735"/>
              <a:gd name="connsiteX453" fmla="*/ 1648484 w 11856555"/>
              <a:gd name="connsiteY453" fmla="*/ 3385019 h 4071735"/>
              <a:gd name="connsiteX454" fmla="*/ 1628517 w 11856555"/>
              <a:gd name="connsiteY454" fmla="*/ 3396656 h 4071735"/>
              <a:gd name="connsiteX455" fmla="*/ 1670825 w 11856555"/>
              <a:gd name="connsiteY455" fmla="*/ 3384123 h 4071735"/>
              <a:gd name="connsiteX456" fmla="*/ 1025004 w 11856555"/>
              <a:gd name="connsiteY456" fmla="*/ 3375279 h 4071735"/>
              <a:gd name="connsiteX457" fmla="*/ 1035694 w 11856555"/>
              <a:gd name="connsiteY457" fmla="*/ 3396914 h 4071735"/>
              <a:gd name="connsiteX458" fmla="*/ 1025004 w 11856555"/>
              <a:gd name="connsiteY458" fmla="*/ 3375279 h 4071735"/>
              <a:gd name="connsiteX459" fmla="*/ 3439597 w 11856555"/>
              <a:gd name="connsiteY459" fmla="*/ 3371164 h 4071735"/>
              <a:gd name="connsiteX460" fmla="*/ 3425463 w 11856555"/>
              <a:gd name="connsiteY460" fmla="*/ 3391315 h 4071735"/>
              <a:gd name="connsiteX461" fmla="*/ 3439597 w 11856555"/>
              <a:gd name="connsiteY461" fmla="*/ 3371164 h 4071735"/>
              <a:gd name="connsiteX462" fmla="*/ 1049971 w 11856555"/>
              <a:gd name="connsiteY462" fmla="*/ 3366437 h 4071735"/>
              <a:gd name="connsiteX463" fmla="*/ 1049971 w 11856555"/>
              <a:gd name="connsiteY463" fmla="*/ 3366437 h 4071735"/>
              <a:gd name="connsiteX464" fmla="*/ 3896662 w 11856555"/>
              <a:gd name="connsiteY464" fmla="*/ 3361008 h 4071735"/>
              <a:gd name="connsiteX465" fmla="*/ 3874321 w 11856555"/>
              <a:gd name="connsiteY465" fmla="*/ 3361903 h 4071735"/>
              <a:gd name="connsiteX466" fmla="*/ 3854350 w 11856555"/>
              <a:gd name="connsiteY466" fmla="*/ 3373539 h 4071735"/>
              <a:gd name="connsiteX467" fmla="*/ 3896662 w 11856555"/>
              <a:gd name="connsiteY467" fmla="*/ 3361008 h 4071735"/>
              <a:gd name="connsiteX468" fmla="*/ 1978930 w 11856555"/>
              <a:gd name="connsiteY468" fmla="*/ 3355774 h 4071735"/>
              <a:gd name="connsiteX469" fmla="*/ 1983063 w 11856555"/>
              <a:gd name="connsiteY469" fmla="*/ 3370903 h 4071735"/>
              <a:gd name="connsiteX470" fmla="*/ 1979615 w 11856555"/>
              <a:gd name="connsiteY470" fmla="*/ 3356014 h 4071735"/>
              <a:gd name="connsiteX471" fmla="*/ 1978930 w 11856555"/>
              <a:gd name="connsiteY471" fmla="*/ 3355774 h 4071735"/>
              <a:gd name="connsiteX472" fmla="*/ 1765781 w 11856555"/>
              <a:gd name="connsiteY472" fmla="*/ 3351249 h 4071735"/>
              <a:gd name="connsiteX473" fmla="*/ 1765325 w 11856555"/>
              <a:gd name="connsiteY473" fmla="*/ 3364021 h 4071735"/>
              <a:gd name="connsiteX474" fmla="*/ 1765781 w 11856555"/>
              <a:gd name="connsiteY474" fmla="*/ 3351249 h 4071735"/>
              <a:gd name="connsiteX475" fmla="*/ 6602683 w 11856555"/>
              <a:gd name="connsiteY475" fmla="*/ 3350226 h 4071735"/>
              <a:gd name="connsiteX476" fmla="*/ 6595691 w 11856555"/>
              <a:gd name="connsiteY476" fmla="*/ 3351213 h 4071735"/>
              <a:gd name="connsiteX477" fmla="*/ 6607446 w 11856555"/>
              <a:gd name="connsiteY477" fmla="*/ 3356007 h 4071735"/>
              <a:gd name="connsiteX478" fmla="*/ 6602683 w 11856555"/>
              <a:gd name="connsiteY478" fmla="*/ 3350226 h 4071735"/>
              <a:gd name="connsiteX479" fmla="*/ 1367568 w 11856555"/>
              <a:gd name="connsiteY479" fmla="*/ 3349818 h 4071735"/>
              <a:gd name="connsiteX480" fmla="*/ 1355748 w 11856555"/>
              <a:gd name="connsiteY480" fmla="*/ 3365473 h 4071735"/>
              <a:gd name="connsiteX481" fmla="*/ 1367568 w 11856555"/>
              <a:gd name="connsiteY481" fmla="*/ 3349818 h 4071735"/>
              <a:gd name="connsiteX482" fmla="*/ 5550576 w 11856555"/>
              <a:gd name="connsiteY482" fmla="*/ 3348973 h 4071735"/>
              <a:gd name="connsiteX483" fmla="*/ 5550465 w 11856555"/>
              <a:gd name="connsiteY483" fmla="*/ 3359661 h 4071735"/>
              <a:gd name="connsiteX484" fmla="*/ 5550576 w 11856555"/>
              <a:gd name="connsiteY484" fmla="*/ 3348973 h 4071735"/>
              <a:gd name="connsiteX485" fmla="*/ 5216915 w 11856555"/>
              <a:gd name="connsiteY485" fmla="*/ 3345576 h 4071735"/>
              <a:gd name="connsiteX486" fmla="*/ 5216915 w 11856555"/>
              <a:gd name="connsiteY486" fmla="*/ 3345576 h 4071735"/>
              <a:gd name="connsiteX487" fmla="*/ 5527523 w 11856555"/>
              <a:gd name="connsiteY487" fmla="*/ 3343817 h 4071735"/>
              <a:gd name="connsiteX488" fmla="*/ 5499052 w 11856555"/>
              <a:gd name="connsiteY488" fmla="*/ 3375923 h 4071735"/>
              <a:gd name="connsiteX489" fmla="*/ 5527523 w 11856555"/>
              <a:gd name="connsiteY489" fmla="*/ 3343817 h 4071735"/>
              <a:gd name="connsiteX490" fmla="*/ 3593402 w 11856555"/>
              <a:gd name="connsiteY490" fmla="*/ 3326701 h 4071735"/>
              <a:gd name="connsiteX491" fmla="*/ 3581582 w 11856555"/>
              <a:gd name="connsiteY491" fmla="*/ 3342355 h 4071735"/>
              <a:gd name="connsiteX492" fmla="*/ 3593402 w 11856555"/>
              <a:gd name="connsiteY492" fmla="*/ 3326701 h 4071735"/>
              <a:gd name="connsiteX493" fmla="*/ 1485814 w 11856555"/>
              <a:gd name="connsiteY493" fmla="*/ 3307520 h 4071735"/>
              <a:gd name="connsiteX494" fmla="*/ 1479507 w 11856555"/>
              <a:gd name="connsiteY494" fmla="*/ 3313558 h 4071735"/>
              <a:gd name="connsiteX495" fmla="*/ 1494493 w 11856555"/>
              <a:gd name="connsiteY495" fmla="*/ 3312222 h 4071735"/>
              <a:gd name="connsiteX496" fmla="*/ 1485814 w 11856555"/>
              <a:gd name="connsiteY496" fmla="*/ 3307520 h 4071735"/>
              <a:gd name="connsiteX497" fmla="*/ 1557479 w 11856555"/>
              <a:gd name="connsiteY497" fmla="*/ 3306610 h 4071735"/>
              <a:gd name="connsiteX498" fmla="*/ 1536478 w 11856555"/>
              <a:gd name="connsiteY498" fmla="*/ 3317243 h 4071735"/>
              <a:gd name="connsiteX499" fmla="*/ 1557479 w 11856555"/>
              <a:gd name="connsiteY499" fmla="*/ 3306610 h 4071735"/>
              <a:gd name="connsiteX500" fmla="*/ 5346599 w 11856555"/>
              <a:gd name="connsiteY500" fmla="*/ 3302852 h 4071735"/>
              <a:gd name="connsiteX501" fmla="*/ 5349460 w 11856555"/>
              <a:gd name="connsiteY501" fmla="*/ 3307480 h 4071735"/>
              <a:gd name="connsiteX502" fmla="*/ 5329114 w 11856555"/>
              <a:gd name="connsiteY502" fmla="*/ 3312214 h 4071735"/>
              <a:gd name="connsiteX503" fmla="*/ 5340911 w 11856555"/>
              <a:gd name="connsiteY503" fmla="*/ 3304227 h 4071735"/>
              <a:gd name="connsiteX504" fmla="*/ 5346599 w 11856555"/>
              <a:gd name="connsiteY504" fmla="*/ 3302852 h 4071735"/>
              <a:gd name="connsiteX505" fmla="*/ 689044 w 11856555"/>
              <a:gd name="connsiteY505" fmla="*/ 3296746 h 4071735"/>
              <a:gd name="connsiteX506" fmla="*/ 682576 w 11856555"/>
              <a:gd name="connsiteY506" fmla="*/ 3311560 h 4071735"/>
              <a:gd name="connsiteX507" fmla="*/ 689044 w 11856555"/>
              <a:gd name="connsiteY507" fmla="*/ 3296746 h 4071735"/>
              <a:gd name="connsiteX508" fmla="*/ 1923676 w 11856555"/>
              <a:gd name="connsiteY508" fmla="*/ 3287119 h 4071735"/>
              <a:gd name="connsiteX509" fmla="*/ 1912143 w 11856555"/>
              <a:gd name="connsiteY509" fmla="*/ 3295448 h 4071735"/>
              <a:gd name="connsiteX510" fmla="*/ 1935981 w 11856555"/>
              <a:gd name="connsiteY510" fmla="*/ 3287484 h 4071735"/>
              <a:gd name="connsiteX511" fmla="*/ 1923676 w 11856555"/>
              <a:gd name="connsiteY511" fmla="*/ 3287119 h 4071735"/>
              <a:gd name="connsiteX512" fmla="*/ 3711649 w 11856555"/>
              <a:gd name="connsiteY512" fmla="*/ 3284403 h 4071735"/>
              <a:gd name="connsiteX513" fmla="*/ 3705345 w 11856555"/>
              <a:gd name="connsiteY513" fmla="*/ 3290441 h 4071735"/>
              <a:gd name="connsiteX514" fmla="*/ 3720328 w 11856555"/>
              <a:gd name="connsiteY514" fmla="*/ 3289106 h 4071735"/>
              <a:gd name="connsiteX515" fmla="*/ 3711649 w 11856555"/>
              <a:gd name="connsiteY515" fmla="*/ 3284403 h 4071735"/>
              <a:gd name="connsiteX516" fmla="*/ 3783313 w 11856555"/>
              <a:gd name="connsiteY516" fmla="*/ 3283494 h 4071735"/>
              <a:gd name="connsiteX517" fmla="*/ 3762312 w 11856555"/>
              <a:gd name="connsiteY517" fmla="*/ 3294126 h 4071735"/>
              <a:gd name="connsiteX518" fmla="*/ 3783313 w 11856555"/>
              <a:gd name="connsiteY518" fmla="*/ 3283494 h 4071735"/>
              <a:gd name="connsiteX519" fmla="*/ 1807736 w 11856555"/>
              <a:gd name="connsiteY519" fmla="*/ 3266059 h 4071735"/>
              <a:gd name="connsiteX520" fmla="*/ 1806796 w 11856555"/>
              <a:gd name="connsiteY520" fmla="*/ 3278552 h 4071735"/>
              <a:gd name="connsiteX521" fmla="*/ 1800092 w 11856555"/>
              <a:gd name="connsiteY521" fmla="*/ 3269521 h 4071735"/>
              <a:gd name="connsiteX522" fmla="*/ 1765462 w 11856555"/>
              <a:gd name="connsiteY522" fmla="*/ 3238428 h 4071735"/>
              <a:gd name="connsiteX523" fmla="*/ 1736781 w 11856555"/>
              <a:gd name="connsiteY523" fmla="*/ 3255587 h 4071735"/>
              <a:gd name="connsiteX524" fmla="*/ 1765462 w 11856555"/>
              <a:gd name="connsiteY524" fmla="*/ 3238428 h 4071735"/>
              <a:gd name="connsiteX525" fmla="*/ 4036801 w 11856555"/>
              <a:gd name="connsiteY525" fmla="*/ 3236814 h 4071735"/>
              <a:gd name="connsiteX526" fmla="*/ 4035860 w 11856555"/>
              <a:gd name="connsiteY526" fmla="*/ 3249306 h 4071735"/>
              <a:gd name="connsiteX527" fmla="*/ 4029157 w 11856555"/>
              <a:gd name="connsiteY527" fmla="*/ 3240275 h 4071735"/>
              <a:gd name="connsiteX528" fmla="*/ 1875366 w 11856555"/>
              <a:gd name="connsiteY528" fmla="*/ 3227340 h 4071735"/>
              <a:gd name="connsiteX529" fmla="*/ 1867386 w 11856555"/>
              <a:gd name="connsiteY529" fmla="*/ 3238107 h 4071735"/>
              <a:gd name="connsiteX530" fmla="*/ 1868550 w 11856555"/>
              <a:gd name="connsiteY530" fmla="*/ 3228732 h 4071735"/>
              <a:gd name="connsiteX531" fmla="*/ 3991296 w 11856555"/>
              <a:gd name="connsiteY531" fmla="*/ 3215311 h 4071735"/>
              <a:gd name="connsiteX532" fmla="*/ 3962616 w 11856555"/>
              <a:gd name="connsiteY532" fmla="*/ 3232470 h 4071735"/>
              <a:gd name="connsiteX533" fmla="*/ 3991296 w 11856555"/>
              <a:gd name="connsiteY533" fmla="*/ 3215311 h 4071735"/>
              <a:gd name="connsiteX534" fmla="*/ 1951930 w 11856555"/>
              <a:gd name="connsiteY534" fmla="*/ 3214877 h 4071735"/>
              <a:gd name="connsiteX535" fmla="*/ 1954911 w 11856555"/>
              <a:gd name="connsiteY535" fmla="*/ 3224467 h 4071735"/>
              <a:gd name="connsiteX536" fmla="*/ 1951930 w 11856555"/>
              <a:gd name="connsiteY536" fmla="*/ 3214877 h 4071735"/>
              <a:gd name="connsiteX537" fmla="*/ 4192497 w 11856555"/>
              <a:gd name="connsiteY537" fmla="*/ 3210314 h 4071735"/>
              <a:gd name="connsiteX538" fmla="*/ 4208257 w 11856555"/>
              <a:gd name="connsiteY538" fmla="*/ 3213501 h 4071735"/>
              <a:gd name="connsiteX539" fmla="*/ 4204588 w 11856555"/>
              <a:gd name="connsiteY539" fmla="*/ 3214149 h 4071735"/>
              <a:gd name="connsiteX540" fmla="*/ 4204512 w 11856555"/>
              <a:gd name="connsiteY540" fmla="*/ 3213835 h 4071735"/>
              <a:gd name="connsiteX541" fmla="*/ 4183906 w 11856555"/>
              <a:gd name="connsiteY541" fmla="*/ 3215671 h 4071735"/>
              <a:gd name="connsiteX542" fmla="*/ 4186981 w 11856555"/>
              <a:gd name="connsiteY542" fmla="*/ 3212157 h 4071735"/>
              <a:gd name="connsiteX543" fmla="*/ 4105838 w 11856555"/>
              <a:gd name="connsiteY543" fmla="*/ 3197809 h 4071735"/>
              <a:gd name="connsiteX544" fmla="*/ 4105388 w 11856555"/>
              <a:gd name="connsiteY544" fmla="*/ 3198573 h 4071735"/>
              <a:gd name="connsiteX545" fmla="*/ 4093220 w 11856555"/>
              <a:gd name="connsiteY545" fmla="*/ 3214991 h 4071735"/>
              <a:gd name="connsiteX546" fmla="*/ 4094455 w 11856555"/>
              <a:gd name="connsiteY546" fmla="*/ 3205024 h 4071735"/>
              <a:gd name="connsiteX547" fmla="*/ 4099385 w 11856555"/>
              <a:gd name="connsiteY547" fmla="*/ 3199124 h 4071735"/>
              <a:gd name="connsiteX548" fmla="*/ 4177763 w 11856555"/>
              <a:gd name="connsiteY548" fmla="*/ 3191759 h 4071735"/>
              <a:gd name="connsiteX549" fmla="*/ 4180742 w 11856555"/>
              <a:gd name="connsiteY549" fmla="*/ 3201350 h 4071735"/>
              <a:gd name="connsiteX550" fmla="*/ 4177763 w 11856555"/>
              <a:gd name="connsiteY550" fmla="*/ 3191759 h 4071735"/>
              <a:gd name="connsiteX551" fmla="*/ 2092298 w 11856555"/>
              <a:gd name="connsiteY551" fmla="*/ 3177178 h 4071735"/>
              <a:gd name="connsiteX552" fmla="*/ 2092298 w 11856555"/>
              <a:gd name="connsiteY552" fmla="*/ 3177178 h 4071735"/>
              <a:gd name="connsiteX553" fmla="*/ 773736 w 11856555"/>
              <a:gd name="connsiteY553" fmla="*/ 3165947 h 4071735"/>
              <a:gd name="connsiteX554" fmla="*/ 759512 w 11856555"/>
              <a:gd name="connsiteY554" fmla="*/ 3179124 h 4071735"/>
              <a:gd name="connsiteX555" fmla="*/ 777727 w 11856555"/>
              <a:gd name="connsiteY555" fmla="*/ 3171659 h 4071735"/>
              <a:gd name="connsiteX556" fmla="*/ 773736 w 11856555"/>
              <a:gd name="connsiteY556" fmla="*/ 3165947 h 4071735"/>
              <a:gd name="connsiteX557" fmla="*/ 4318131 w 11856555"/>
              <a:gd name="connsiteY557" fmla="*/ 3154062 h 4071735"/>
              <a:gd name="connsiteX558" fmla="*/ 4318131 w 11856555"/>
              <a:gd name="connsiteY558" fmla="*/ 3154062 h 4071735"/>
              <a:gd name="connsiteX559" fmla="*/ 2245575 w 11856555"/>
              <a:gd name="connsiteY559" fmla="*/ 3153356 h 4071735"/>
              <a:gd name="connsiteX560" fmla="*/ 2239724 w 11856555"/>
              <a:gd name="connsiteY560" fmla="*/ 3156768 h 4071735"/>
              <a:gd name="connsiteX561" fmla="*/ 2162624 w 11856555"/>
              <a:gd name="connsiteY561" fmla="*/ 3155943 h 4071735"/>
              <a:gd name="connsiteX562" fmla="*/ 1958074 w 11856555"/>
              <a:gd name="connsiteY562" fmla="*/ 3238787 h 4071735"/>
              <a:gd name="connsiteX563" fmla="*/ 1984750 w 11856555"/>
              <a:gd name="connsiteY563" fmla="*/ 3262694 h 4071735"/>
              <a:gd name="connsiteX564" fmla="*/ 2147524 w 11856555"/>
              <a:gd name="connsiteY564" fmla="*/ 3224825 h 4071735"/>
              <a:gd name="connsiteX565" fmla="*/ 2202848 w 11856555"/>
              <a:gd name="connsiteY565" fmla="*/ 3178278 h 4071735"/>
              <a:gd name="connsiteX566" fmla="*/ 2239724 w 11856555"/>
              <a:gd name="connsiteY566" fmla="*/ 3156768 h 4071735"/>
              <a:gd name="connsiteX567" fmla="*/ 2246300 w 11856555"/>
              <a:gd name="connsiteY567" fmla="*/ 3156839 h 4071735"/>
              <a:gd name="connsiteX568" fmla="*/ 7270825 w 11856555"/>
              <a:gd name="connsiteY568" fmla="*/ 3138456 h 4071735"/>
              <a:gd name="connsiteX569" fmla="*/ 7272883 w 11856555"/>
              <a:gd name="connsiteY569" fmla="*/ 3153605 h 4071735"/>
              <a:gd name="connsiteX570" fmla="*/ 7270825 w 11856555"/>
              <a:gd name="connsiteY570" fmla="*/ 3138456 h 4071735"/>
              <a:gd name="connsiteX571" fmla="*/ 4506289 w 11856555"/>
              <a:gd name="connsiteY571" fmla="*/ 3125613 h 4071735"/>
              <a:gd name="connsiteX572" fmla="*/ 4508866 w 11856555"/>
              <a:gd name="connsiteY572" fmla="*/ 3133155 h 4071735"/>
              <a:gd name="connsiteX573" fmla="*/ 4502378 w 11856555"/>
              <a:gd name="connsiteY573" fmla="*/ 3133603 h 4071735"/>
              <a:gd name="connsiteX574" fmla="*/ 4502486 w 11856555"/>
              <a:gd name="connsiteY574" fmla="*/ 3133253 h 4071735"/>
              <a:gd name="connsiteX575" fmla="*/ 4506289 w 11856555"/>
              <a:gd name="connsiteY575" fmla="*/ 3125613 h 4071735"/>
              <a:gd name="connsiteX576" fmla="*/ 4496408 w 11856555"/>
              <a:gd name="connsiteY576" fmla="*/ 3120652 h 4071735"/>
              <a:gd name="connsiteX577" fmla="*/ 4483211 w 11856555"/>
              <a:gd name="connsiteY577" fmla="*/ 3133841 h 4071735"/>
              <a:gd name="connsiteX578" fmla="*/ 4474689 w 11856555"/>
              <a:gd name="connsiteY578" fmla="*/ 3133750 h 4071735"/>
              <a:gd name="connsiteX579" fmla="*/ 4474587 w 11856555"/>
              <a:gd name="connsiteY579" fmla="*/ 3128491 h 4071735"/>
              <a:gd name="connsiteX580" fmla="*/ 7404727 w 11856555"/>
              <a:gd name="connsiteY580" fmla="*/ 3092757 h 4071735"/>
              <a:gd name="connsiteX581" fmla="*/ 7398977 w 11856555"/>
              <a:gd name="connsiteY581" fmla="*/ 3093452 h 4071735"/>
              <a:gd name="connsiteX582" fmla="*/ 7387279 w 11856555"/>
              <a:gd name="connsiteY582" fmla="*/ 3102525 h 4071735"/>
              <a:gd name="connsiteX583" fmla="*/ 7407625 w 11856555"/>
              <a:gd name="connsiteY583" fmla="*/ 3097790 h 4071735"/>
              <a:gd name="connsiteX584" fmla="*/ 7404727 w 11856555"/>
              <a:gd name="connsiteY584" fmla="*/ 3092757 h 4071735"/>
              <a:gd name="connsiteX585" fmla="*/ 6096673 w 11856555"/>
              <a:gd name="connsiteY585" fmla="*/ 3048143 h 4071735"/>
              <a:gd name="connsiteX586" fmla="*/ 6081989 w 11856555"/>
              <a:gd name="connsiteY586" fmla="*/ 3049224 h 4071735"/>
              <a:gd name="connsiteX587" fmla="*/ 6019033 w 11856555"/>
              <a:gd name="connsiteY587" fmla="*/ 3066744 h 4071735"/>
              <a:gd name="connsiteX588" fmla="*/ 6096931 w 11856555"/>
              <a:gd name="connsiteY588" fmla="*/ 3051040 h 4071735"/>
              <a:gd name="connsiteX589" fmla="*/ 6096673 w 11856555"/>
              <a:gd name="connsiteY589" fmla="*/ 3048143 h 4071735"/>
              <a:gd name="connsiteX590" fmla="*/ 7937544 w 11856555"/>
              <a:gd name="connsiteY590" fmla="*/ 2927270 h 4071735"/>
              <a:gd name="connsiteX591" fmla="*/ 7939160 w 11856555"/>
              <a:gd name="connsiteY591" fmla="*/ 2939448 h 4071735"/>
              <a:gd name="connsiteX592" fmla="*/ 7937544 w 11856555"/>
              <a:gd name="connsiteY592" fmla="*/ 2927270 h 4071735"/>
              <a:gd name="connsiteX593" fmla="*/ 7980565 w 11856555"/>
              <a:gd name="connsiteY593" fmla="*/ 2906188 h 4071735"/>
              <a:gd name="connsiteX594" fmla="*/ 7991608 w 11856555"/>
              <a:gd name="connsiteY594" fmla="*/ 2934774 h 4071735"/>
              <a:gd name="connsiteX595" fmla="*/ 7980565 w 11856555"/>
              <a:gd name="connsiteY595" fmla="*/ 2906188 h 4071735"/>
              <a:gd name="connsiteX596" fmla="*/ 8021041 w 11856555"/>
              <a:gd name="connsiteY596" fmla="*/ 2891630 h 4071735"/>
              <a:gd name="connsiteX597" fmla="*/ 8011504 w 11856555"/>
              <a:gd name="connsiteY597" fmla="*/ 2903796 h 4071735"/>
              <a:gd name="connsiteX598" fmla="*/ 8028105 w 11856555"/>
              <a:gd name="connsiteY598" fmla="*/ 2899395 h 4071735"/>
              <a:gd name="connsiteX599" fmla="*/ 8021041 w 11856555"/>
              <a:gd name="connsiteY599" fmla="*/ 2891630 h 4071735"/>
              <a:gd name="connsiteX600" fmla="*/ 1109464 w 11856555"/>
              <a:gd name="connsiteY600" fmla="*/ 2884942 h 4071735"/>
              <a:gd name="connsiteX601" fmla="*/ 1058541 w 11856555"/>
              <a:gd name="connsiteY601" fmla="*/ 2904134 h 4071735"/>
              <a:gd name="connsiteX602" fmla="*/ 787619 w 11856555"/>
              <a:gd name="connsiteY602" fmla="*/ 3007231 h 4071735"/>
              <a:gd name="connsiteX603" fmla="*/ 1073843 w 11856555"/>
              <a:gd name="connsiteY603" fmla="*/ 2895753 h 4071735"/>
              <a:gd name="connsiteX604" fmla="*/ 8186481 w 11856555"/>
              <a:gd name="connsiteY604" fmla="*/ 2829065 h 4071735"/>
              <a:gd name="connsiteX605" fmla="*/ 8160457 w 11856555"/>
              <a:gd name="connsiteY605" fmla="*/ 2837953 h 4071735"/>
              <a:gd name="connsiteX606" fmla="*/ 8192301 w 11856555"/>
              <a:gd name="connsiteY606" fmla="*/ 2835117 h 4071735"/>
              <a:gd name="connsiteX607" fmla="*/ 8186481 w 11856555"/>
              <a:gd name="connsiteY607" fmla="*/ 2829065 h 4071735"/>
              <a:gd name="connsiteX608" fmla="*/ 8298195 w 11856555"/>
              <a:gd name="connsiteY608" fmla="*/ 2812127 h 4071735"/>
              <a:gd name="connsiteX609" fmla="*/ 8292678 w 11856555"/>
              <a:gd name="connsiteY609" fmla="*/ 2817410 h 4071735"/>
              <a:gd name="connsiteX610" fmla="*/ 8302817 w 11856555"/>
              <a:gd name="connsiteY610" fmla="*/ 2825268 h 4071735"/>
              <a:gd name="connsiteX611" fmla="*/ 8303392 w 11856555"/>
              <a:gd name="connsiteY611" fmla="*/ 2813170 h 4071735"/>
              <a:gd name="connsiteX612" fmla="*/ 8298195 w 11856555"/>
              <a:gd name="connsiteY612" fmla="*/ 2812127 h 4071735"/>
              <a:gd name="connsiteX613" fmla="*/ 8251072 w 11856555"/>
              <a:gd name="connsiteY613" fmla="*/ 2811731 h 4071735"/>
              <a:gd name="connsiteX614" fmla="*/ 8250011 w 11856555"/>
              <a:gd name="connsiteY614" fmla="*/ 2812678 h 4071735"/>
              <a:gd name="connsiteX615" fmla="*/ 8257604 w 11856555"/>
              <a:gd name="connsiteY615" fmla="*/ 2826376 h 4071735"/>
              <a:gd name="connsiteX616" fmla="*/ 8251072 w 11856555"/>
              <a:gd name="connsiteY616" fmla="*/ 2811731 h 4071735"/>
              <a:gd name="connsiteX617" fmla="*/ 29569 w 11856555"/>
              <a:gd name="connsiteY617" fmla="*/ 2793661 h 4071735"/>
              <a:gd name="connsiteX618" fmla="*/ 32338 w 11856555"/>
              <a:gd name="connsiteY618" fmla="*/ 2799599 h 4071735"/>
              <a:gd name="connsiteX619" fmla="*/ 18084 w 11856555"/>
              <a:gd name="connsiteY619" fmla="*/ 2804200 h 4071735"/>
              <a:gd name="connsiteX620" fmla="*/ 8388797 w 11856555"/>
              <a:gd name="connsiteY620" fmla="*/ 2786347 h 4071735"/>
              <a:gd name="connsiteX621" fmla="*/ 8399515 w 11856555"/>
              <a:gd name="connsiteY621" fmla="*/ 2787446 h 4071735"/>
              <a:gd name="connsiteX622" fmla="*/ 8388797 w 11856555"/>
              <a:gd name="connsiteY622" fmla="*/ 2786347 h 4071735"/>
              <a:gd name="connsiteX623" fmla="*/ 8443437 w 11856555"/>
              <a:gd name="connsiteY623" fmla="*/ 2771850 h 4071735"/>
              <a:gd name="connsiteX624" fmla="*/ 8436461 w 11856555"/>
              <a:gd name="connsiteY624" fmla="*/ 2778312 h 4071735"/>
              <a:gd name="connsiteX625" fmla="*/ 8451188 w 11856555"/>
              <a:gd name="connsiteY625" fmla="*/ 2774080 h 4071735"/>
              <a:gd name="connsiteX626" fmla="*/ 8443437 w 11856555"/>
              <a:gd name="connsiteY626" fmla="*/ 2771850 h 4071735"/>
              <a:gd name="connsiteX627" fmla="*/ 1489924 w 11856555"/>
              <a:gd name="connsiteY627" fmla="*/ 2765261 h 4071735"/>
              <a:gd name="connsiteX628" fmla="*/ 1486639 w 11856555"/>
              <a:gd name="connsiteY628" fmla="*/ 2771172 h 4071735"/>
              <a:gd name="connsiteX629" fmla="*/ 1480187 w 11856555"/>
              <a:gd name="connsiteY629" fmla="*/ 2770286 h 4071735"/>
              <a:gd name="connsiteX630" fmla="*/ 1481152 w 11856555"/>
              <a:gd name="connsiteY630" fmla="*/ 2768224 h 4071735"/>
              <a:gd name="connsiteX631" fmla="*/ 8425756 w 11856555"/>
              <a:gd name="connsiteY631" fmla="*/ 2764117 h 4071735"/>
              <a:gd name="connsiteX632" fmla="*/ 8427354 w 11856555"/>
              <a:gd name="connsiteY632" fmla="*/ 2782045 h 4071735"/>
              <a:gd name="connsiteX633" fmla="*/ 8431423 w 11856555"/>
              <a:gd name="connsiteY633" fmla="*/ 2764159 h 4071735"/>
              <a:gd name="connsiteX634" fmla="*/ 8425756 w 11856555"/>
              <a:gd name="connsiteY634" fmla="*/ 2764117 h 4071735"/>
              <a:gd name="connsiteX635" fmla="*/ 4163 w 11856555"/>
              <a:gd name="connsiteY635" fmla="*/ 2758211 h 4071735"/>
              <a:gd name="connsiteX636" fmla="*/ 11940 w 11856555"/>
              <a:gd name="connsiteY636" fmla="*/ 2763992 h 4071735"/>
              <a:gd name="connsiteX637" fmla="*/ 13714 w 11856555"/>
              <a:gd name="connsiteY637" fmla="*/ 2766189 h 4071735"/>
              <a:gd name="connsiteX638" fmla="*/ 2390 w 11856555"/>
              <a:gd name="connsiteY638" fmla="*/ 2776393 h 4071735"/>
              <a:gd name="connsiteX639" fmla="*/ 4163 w 11856555"/>
              <a:gd name="connsiteY639" fmla="*/ 2758211 h 4071735"/>
              <a:gd name="connsiteX640" fmla="*/ 8476995 w 11856555"/>
              <a:gd name="connsiteY640" fmla="*/ 2756448 h 4071735"/>
              <a:gd name="connsiteX641" fmla="*/ 8492399 w 11856555"/>
              <a:gd name="connsiteY641" fmla="*/ 2770408 h 4071735"/>
              <a:gd name="connsiteX642" fmla="*/ 8476995 w 11856555"/>
              <a:gd name="connsiteY642" fmla="*/ 2756448 h 4071735"/>
              <a:gd name="connsiteX643" fmla="*/ 1497718 w 11856555"/>
              <a:gd name="connsiteY643" fmla="*/ 2750132 h 4071735"/>
              <a:gd name="connsiteX644" fmla="*/ 1497570 w 11856555"/>
              <a:gd name="connsiteY644" fmla="*/ 2750166 h 4071735"/>
              <a:gd name="connsiteX645" fmla="*/ 1510626 w 11856555"/>
              <a:gd name="connsiteY645" fmla="*/ 2756988 h 4071735"/>
              <a:gd name="connsiteX646" fmla="*/ 1513102 w 11856555"/>
              <a:gd name="connsiteY646" fmla="*/ 2757431 h 4071735"/>
              <a:gd name="connsiteX647" fmla="*/ 1489924 w 11856555"/>
              <a:gd name="connsiteY647" fmla="*/ 2765261 h 4071735"/>
              <a:gd name="connsiteX648" fmla="*/ 1490910 w 11856555"/>
              <a:gd name="connsiteY648" fmla="*/ 2763491 h 4071735"/>
              <a:gd name="connsiteX649" fmla="*/ 1483756 w 11856555"/>
              <a:gd name="connsiteY649" fmla="*/ 2762667 h 4071735"/>
              <a:gd name="connsiteX650" fmla="*/ 1481152 w 11856555"/>
              <a:gd name="connsiteY650" fmla="*/ 2768224 h 4071735"/>
              <a:gd name="connsiteX651" fmla="*/ 1367545 w 11856555"/>
              <a:gd name="connsiteY651" fmla="*/ 2806609 h 4071735"/>
              <a:gd name="connsiteX652" fmla="*/ 1282137 w 11856555"/>
              <a:gd name="connsiteY652" fmla="*/ 2832532 h 4071735"/>
              <a:gd name="connsiteX653" fmla="*/ 1248992 w 11856555"/>
              <a:gd name="connsiteY653" fmla="*/ 2840172 h 4071735"/>
              <a:gd name="connsiteX654" fmla="*/ 1170801 w 11856555"/>
              <a:gd name="connsiteY654" fmla="*/ 2862374 h 4071735"/>
              <a:gd name="connsiteX655" fmla="*/ 1125101 w 11856555"/>
              <a:gd name="connsiteY655" fmla="*/ 2880195 h 4071735"/>
              <a:gd name="connsiteX656" fmla="*/ 1109464 w 11856555"/>
              <a:gd name="connsiteY656" fmla="*/ 2884942 h 4071735"/>
              <a:gd name="connsiteX657" fmla="*/ 1187581 w 11856555"/>
              <a:gd name="connsiteY657" fmla="*/ 2855501 h 4071735"/>
              <a:gd name="connsiteX658" fmla="*/ 1497596 w 11856555"/>
              <a:gd name="connsiteY658" fmla="*/ 2750152 h 4071735"/>
              <a:gd name="connsiteX659" fmla="*/ 1505928 w 11856555"/>
              <a:gd name="connsiteY659" fmla="*/ 2748217 h 4071735"/>
              <a:gd name="connsiteX660" fmla="*/ 1508735 w 11856555"/>
              <a:gd name="connsiteY660" fmla="*/ 2748238 h 4071735"/>
              <a:gd name="connsiteX661" fmla="*/ 1497718 w 11856555"/>
              <a:gd name="connsiteY661" fmla="*/ 2750132 h 4071735"/>
              <a:gd name="connsiteX662" fmla="*/ 1519901 w 11856555"/>
              <a:gd name="connsiteY662" fmla="*/ 2746321 h 4071735"/>
              <a:gd name="connsiteX663" fmla="*/ 1529213 w 11856555"/>
              <a:gd name="connsiteY663" fmla="*/ 2748395 h 4071735"/>
              <a:gd name="connsiteX664" fmla="*/ 1508735 w 11856555"/>
              <a:gd name="connsiteY664" fmla="*/ 2748238 h 4071735"/>
              <a:gd name="connsiteX665" fmla="*/ 53439 w 11856555"/>
              <a:gd name="connsiteY665" fmla="*/ 2732829 h 4071735"/>
              <a:gd name="connsiteX666" fmla="*/ 65629 w 11856555"/>
              <a:gd name="connsiteY666" fmla="*/ 2744474 h 4071735"/>
              <a:gd name="connsiteX667" fmla="*/ 53439 w 11856555"/>
              <a:gd name="connsiteY667" fmla="*/ 2732829 h 4071735"/>
              <a:gd name="connsiteX668" fmla="*/ 1617576 w 11856555"/>
              <a:gd name="connsiteY668" fmla="*/ 2722998 h 4071735"/>
              <a:gd name="connsiteX669" fmla="*/ 1559700 w 11856555"/>
              <a:gd name="connsiteY669" fmla="*/ 2751519 h 4071735"/>
              <a:gd name="connsiteX670" fmla="*/ 1617576 w 11856555"/>
              <a:gd name="connsiteY670" fmla="*/ 2722998 h 4071735"/>
              <a:gd name="connsiteX671" fmla="*/ 980712 w 11856555"/>
              <a:gd name="connsiteY671" fmla="*/ 2671328 h 4071735"/>
              <a:gd name="connsiteX672" fmla="*/ 970303 w 11856555"/>
              <a:gd name="connsiteY672" fmla="*/ 2684301 h 4071735"/>
              <a:gd name="connsiteX673" fmla="*/ 993881 w 11856555"/>
              <a:gd name="connsiteY673" fmla="*/ 2673438 h 4071735"/>
              <a:gd name="connsiteX674" fmla="*/ 980712 w 11856555"/>
              <a:gd name="connsiteY674" fmla="*/ 2671328 h 4071735"/>
              <a:gd name="connsiteX675" fmla="*/ 381551 w 11856555"/>
              <a:gd name="connsiteY675" fmla="*/ 2666674 h 4071735"/>
              <a:gd name="connsiteX676" fmla="*/ 381436 w 11856555"/>
              <a:gd name="connsiteY676" fmla="*/ 2667019 h 4071735"/>
              <a:gd name="connsiteX677" fmla="*/ 381237 w 11856555"/>
              <a:gd name="connsiteY677" fmla="*/ 2667028 h 4071735"/>
              <a:gd name="connsiteX678" fmla="*/ 1905143 w 11856555"/>
              <a:gd name="connsiteY678" fmla="*/ 2644804 h 4071735"/>
              <a:gd name="connsiteX679" fmla="*/ 1910697 w 11856555"/>
              <a:gd name="connsiteY679" fmla="*/ 2664752 h 4071735"/>
              <a:gd name="connsiteX680" fmla="*/ 1905143 w 11856555"/>
              <a:gd name="connsiteY680" fmla="*/ 2644804 h 4071735"/>
              <a:gd name="connsiteX681" fmla="*/ 1253077 w 11856555"/>
              <a:gd name="connsiteY681" fmla="*/ 2643980 h 4071735"/>
              <a:gd name="connsiteX682" fmla="*/ 1247662 w 11856555"/>
              <a:gd name="connsiteY682" fmla="*/ 2649085 h 4071735"/>
              <a:gd name="connsiteX683" fmla="*/ 1233905 w 11856555"/>
              <a:gd name="connsiteY683" fmla="*/ 2654970 h 4071735"/>
              <a:gd name="connsiteX684" fmla="*/ 1882258 w 11856555"/>
              <a:gd name="connsiteY684" fmla="*/ 2643785 h 4071735"/>
              <a:gd name="connsiteX685" fmla="*/ 1881050 w 11856555"/>
              <a:gd name="connsiteY685" fmla="*/ 2649872 h 4071735"/>
              <a:gd name="connsiteX686" fmla="*/ 1877608 w 11856555"/>
              <a:gd name="connsiteY686" fmla="*/ 2646167 h 4071735"/>
              <a:gd name="connsiteX687" fmla="*/ 1918866 w 11856555"/>
              <a:gd name="connsiteY687" fmla="*/ 2640890 h 4071735"/>
              <a:gd name="connsiteX688" fmla="*/ 1919123 w 11856555"/>
              <a:gd name="connsiteY688" fmla="*/ 2641751 h 4071735"/>
              <a:gd name="connsiteX689" fmla="*/ 1918225 w 11856555"/>
              <a:gd name="connsiteY689" fmla="*/ 2641269 h 4071735"/>
              <a:gd name="connsiteX690" fmla="*/ 1871652 w 11856555"/>
              <a:gd name="connsiteY690" fmla="*/ 2639757 h 4071735"/>
              <a:gd name="connsiteX691" fmla="*/ 1877608 w 11856555"/>
              <a:gd name="connsiteY691" fmla="*/ 2646167 h 4071735"/>
              <a:gd name="connsiteX692" fmla="*/ 1868101 w 11856555"/>
              <a:gd name="connsiteY692" fmla="*/ 2651039 h 4071735"/>
              <a:gd name="connsiteX693" fmla="*/ 1864191 w 11856555"/>
              <a:gd name="connsiteY693" fmla="*/ 2651374 h 4071735"/>
              <a:gd name="connsiteX694" fmla="*/ 1871652 w 11856555"/>
              <a:gd name="connsiteY694" fmla="*/ 2639757 h 4071735"/>
              <a:gd name="connsiteX695" fmla="*/ 1892734 w 11856555"/>
              <a:gd name="connsiteY695" fmla="*/ 2639059 h 4071735"/>
              <a:gd name="connsiteX696" fmla="*/ 1893389 w 11856555"/>
              <a:gd name="connsiteY696" fmla="*/ 2640010 h 4071735"/>
              <a:gd name="connsiteX697" fmla="*/ 1891890 w 11856555"/>
              <a:gd name="connsiteY697" fmla="*/ 2639080 h 4071735"/>
              <a:gd name="connsiteX698" fmla="*/ 1884142 w 11856555"/>
              <a:gd name="connsiteY698" fmla="*/ 2634263 h 4071735"/>
              <a:gd name="connsiteX699" fmla="*/ 1891890 w 11856555"/>
              <a:gd name="connsiteY699" fmla="*/ 2639080 h 4071735"/>
              <a:gd name="connsiteX700" fmla="*/ 1891418 w 11856555"/>
              <a:gd name="connsiteY700" fmla="*/ 2639091 h 4071735"/>
              <a:gd name="connsiteX701" fmla="*/ 1882258 w 11856555"/>
              <a:gd name="connsiteY701" fmla="*/ 2643785 h 4071735"/>
              <a:gd name="connsiteX702" fmla="*/ 1269718 w 11856555"/>
              <a:gd name="connsiteY702" fmla="*/ 2626553 h 4071735"/>
              <a:gd name="connsiteX703" fmla="*/ 1271996 w 11856555"/>
              <a:gd name="connsiteY703" fmla="*/ 2630859 h 4071735"/>
              <a:gd name="connsiteX704" fmla="*/ 1260035 w 11856555"/>
              <a:gd name="connsiteY704" fmla="*/ 2639990 h 4071735"/>
              <a:gd name="connsiteX705" fmla="*/ 1253077 w 11856555"/>
              <a:gd name="connsiteY705" fmla="*/ 2643980 h 4071735"/>
              <a:gd name="connsiteX706" fmla="*/ 1260857 w 11856555"/>
              <a:gd name="connsiteY706" fmla="*/ 2636644 h 4071735"/>
              <a:gd name="connsiteX707" fmla="*/ 697699 w 11856555"/>
              <a:gd name="connsiteY707" fmla="*/ 2612583 h 4071735"/>
              <a:gd name="connsiteX708" fmla="*/ 687202 w 11856555"/>
              <a:gd name="connsiteY708" fmla="*/ 2621913 h 4071735"/>
              <a:gd name="connsiteX709" fmla="*/ 709163 w 11856555"/>
              <a:gd name="connsiteY709" fmla="*/ 2614116 h 4071735"/>
              <a:gd name="connsiteX710" fmla="*/ 697699 w 11856555"/>
              <a:gd name="connsiteY710" fmla="*/ 2612583 h 4071735"/>
              <a:gd name="connsiteX711" fmla="*/ 1882538 w 11856555"/>
              <a:gd name="connsiteY711" fmla="*/ 2603011 h 4071735"/>
              <a:gd name="connsiteX712" fmla="*/ 1882538 w 11856555"/>
              <a:gd name="connsiteY712" fmla="*/ 2603011 h 4071735"/>
              <a:gd name="connsiteX713" fmla="*/ 765711 w 11856555"/>
              <a:gd name="connsiteY713" fmla="*/ 2586580 h 4071735"/>
              <a:gd name="connsiteX714" fmla="*/ 758708 w 11856555"/>
              <a:gd name="connsiteY714" fmla="*/ 2587431 h 4071735"/>
              <a:gd name="connsiteX715" fmla="*/ 744819 w 11856555"/>
              <a:gd name="connsiteY715" fmla="*/ 2590495 h 4071735"/>
              <a:gd name="connsiteX716" fmla="*/ 773176 w 11856555"/>
              <a:gd name="connsiteY716" fmla="*/ 2590889 h 4071735"/>
              <a:gd name="connsiteX717" fmla="*/ 765711 w 11856555"/>
              <a:gd name="connsiteY717" fmla="*/ 2586580 h 4071735"/>
              <a:gd name="connsiteX718" fmla="*/ 873842 w 11856555"/>
              <a:gd name="connsiteY718" fmla="*/ 2565855 h 4071735"/>
              <a:gd name="connsiteX719" fmla="*/ 862312 w 11856555"/>
              <a:gd name="connsiteY719" fmla="*/ 2574184 h 4071735"/>
              <a:gd name="connsiteX720" fmla="*/ 886148 w 11856555"/>
              <a:gd name="connsiteY720" fmla="*/ 2566219 h 4071735"/>
              <a:gd name="connsiteX721" fmla="*/ 873842 w 11856555"/>
              <a:gd name="connsiteY721" fmla="*/ 2565855 h 4071735"/>
              <a:gd name="connsiteX722" fmla="*/ 9906384 w 11856555"/>
              <a:gd name="connsiteY722" fmla="*/ 2560716 h 4071735"/>
              <a:gd name="connsiteX723" fmla="*/ 9918918 w 11856555"/>
              <a:gd name="connsiteY723" fmla="*/ 2570277 h 4071735"/>
              <a:gd name="connsiteX724" fmla="*/ 9906384 w 11856555"/>
              <a:gd name="connsiteY724" fmla="*/ 2560716 h 4071735"/>
              <a:gd name="connsiteX725" fmla="*/ 1777335 w 11856555"/>
              <a:gd name="connsiteY725" fmla="*/ 2560218 h 4071735"/>
              <a:gd name="connsiteX726" fmla="*/ 1766276 w 11856555"/>
              <a:gd name="connsiteY726" fmla="*/ 2569564 h 4071735"/>
              <a:gd name="connsiteX727" fmla="*/ 1766084 w 11856555"/>
              <a:gd name="connsiteY727" fmla="*/ 2564738 h 4071735"/>
              <a:gd name="connsiteX728" fmla="*/ 9964434 w 11856555"/>
              <a:gd name="connsiteY728" fmla="*/ 2548700 h 4071735"/>
              <a:gd name="connsiteX729" fmla="*/ 9975115 w 11856555"/>
              <a:gd name="connsiteY729" fmla="*/ 2565269 h 4071735"/>
              <a:gd name="connsiteX730" fmla="*/ 9964434 w 11856555"/>
              <a:gd name="connsiteY730" fmla="*/ 2548700 h 4071735"/>
              <a:gd name="connsiteX731" fmla="*/ 9933340 w 11856555"/>
              <a:gd name="connsiteY731" fmla="*/ 2546724 h 4071735"/>
              <a:gd name="connsiteX732" fmla="*/ 9939782 w 11856555"/>
              <a:gd name="connsiteY732" fmla="*/ 2571339 h 4071735"/>
              <a:gd name="connsiteX733" fmla="*/ 9933340 w 11856555"/>
              <a:gd name="connsiteY733" fmla="*/ 2546724 h 4071735"/>
              <a:gd name="connsiteX734" fmla="*/ 949385 w 11856555"/>
              <a:gd name="connsiteY734" fmla="*/ 2534300 h 4071735"/>
              <a:gd name="connsiteX735" fmla="*/ 929813 w 11856555"/>
              <a:gd name="connsiteY735" fmla="*/ 2547726 h 4071735"/>
              <a:gd name="connsiteX736" fmla="*/ 949385 w 11856555"/>
              <a:gd name="connsiteY736" fmla="*/ 2534300 h 4071735"/>
              <a:gd name="connsiteX737" fmla="*/ 1965771 w 11856555"/>
              <a:gd name="connsiteY737" fmla="*/ 2520027 h 4071735"/>
              <a:gd name="connsiteX738" fmla="*/ 1962768 w 11856555"/>
              <a:gd name="connsiteY738" fmla="*/ 2528690 h 4071735"/>
              <a:gd name="connsiteX739" fmla="*/ 1975361 w 11856555"/>
              <a:gd name="connsiteY739" fmla="*/ 2521727 h 4071735"/>
              <a:gd name="connsiteX740" fmla="*/ 1965771 w 11856555"/>
              <a:gd name="connsiteY740" fmla="*/ 2520027 h 4071735"/>
              <a:gd name="connsiteX741" fmla="*/ 1789526 w 11856555"/>
              <a:gd name="connsiteY741" fmla="*/ 2507585 h 4071735"/>
              <a:gd name="connsiteX742" fmla="*/ 1797523 w 11856555"/>
              <a:gd name="connsiteY742" fmla="*/ 2512780 h 4071735"/>
              <a:gd name="connsiteX743" fmla="*/ 1805230 w 11856555"/>
              <a:gd name="connsiteY743" fmla="*/ 2519976 h 4071735"/>
              <a:gd name="connsiteX744" fmla="*/ 1784298 w 11856555"/>
              <a:gd name="connsiteY744" fmla="*/ 2538753 h 4071735"/>
              <a:gd name="connsiteX745" fmla="*/ 1779379 w 11856555"/>
              <a:gd name="connsiteY745" fmla="*/ 2530567 h 4071735"/>
              <a:gd name="connsiteX746" fmla="*/ 1775365 w 11856555"/>
              <a:gd name="connsiteY746" fmla="*/ 2516058 h 4071735"/>
              <a:gd name="connsiteX747" fmla="*/ 1788234 w 11856555"/>
              <a:gd name="connsiteY747" fmla="*/ 2506744 h 4071735"/>
              <a:gd name="connsiteX748" fmla="*/ 1788248 w 11856555"/>
              <a:gd name="connsiteY748" fmla="*/ 2506755 h 4071735"/>
              <a:gd name="connsiteX749" fmla="*/ 1787142 w 11856555"/>
              <a:gd name="connsiteY749" fmla="*/ 2507236 h 4071735"/>
              <a:gd name="connsiteX750" fmla="*/ 1788089 w 11856555"/>
              <a:gd name="connsiteY750" fmla="*/ 2506793 h 4071735"/>
              <a:gd name="connsiteX751" fmla="*/ 1775006 w 11856555"/>
              <a:gd name="connsiteY751" fmla="*/ 2505026 h 4071735"/>
              <a:gd name="connsiteX752" fmla="*/ 1773722 w 11856555"/>
              <a:gd name="connsiteY752" fmla="*/ 2510126 h 4071735"/>
              <a:gd name="connsiteX753" fmla="*/ 1775365 w 11856555"/>
              <a:gd name="connsiteY753" fmla="*/ 2516058 h 4071735"/>
              <a:gd name="connsiteX754" fmla="*/ 1769380 w 11856555"/>
              <a:gd name="connsiteY754" fmla="*/ 2519639 h 4071735"/>
              <a:gd name="connsiteX755" fmla="*/ 1739149 w 11856555"/>
              <a:gd name="connsiteY755" fmla="*/ 2519413 h 4071735"/>
              <a:gd name="connsiteX756" fmla="*/ 1750976 w 11856555"/>
              <a:gd name="connsiteY756" fmla="*/ 2511103 h 4071735"/>
              <a:gd name="connsiteX757" fmla="*/ 1794183 w 11856555"/>
              <a:gd name="connsiteY757" fmla="*/ 2504800 h 4071735"/>
              <a:gd name="connsiteX758" fmla="*/ 1789526 w 11856555"/>
              <a:gd name="connsiteY758" fmla="*/ 2507585 h 4071735"/>
              <a:gd name="connsiteX759" fmla="*/ 1788248 w 11856555"/>
              <a:gd name="connsiteY759" fmla="*/ 2506755 h 4071735"/>
              <a:gd name="connsiteX760" fmla="*/ 1788383 w 11856555"/>
              <a:gd name="connsiteY760" fmla="*/ 2506696 h 4071735"/>
              <a:gd name="connsiteX761" fmla="*/ 1782721 w 11856555"/>
              <a:gd name="connsiteY761" fmla="*/ 2503164 h 4071735"/>
              <a:gd name="connsiteX762" fmla="*/ 1782797 w 11856555"/>
              <a:gd name="connsiteY762" fmla="*/ 2503214 h 4071735"/>
              <a:gd name="connsiteX763" fmla="*/ 1780230 w 11856555"/>
              <a:gd name="connsiteY763" fmla="*/ 2503706 h 4071735"/>
              <a:gd name="connsiteX764" fmla="*/ 1775006 w 11856555"/>
              <a:gd name="connsiteY764" fmla="*/ 2505026 h 4071735"/>
              <a:gd name="connsiteX765" fmla="*/ 1775427 w 11856555"/>
              <a:gd name="connsiteY765" fmla="*/ 2503352 h 4071735"/>
              <a:gd name="connsiteX766" fmla="*/ 1782721 w 11856555"/>
              <a:gd name="connsiteY766" fmla="*/ 2503164 h 4071735"/>
              <a:gd name="connsiteX767" fmla="*/ 1089422 w 11856555"/>
              <a:gd name="connsiteY767" fmla="*/ 2495537 h 4071735"/>
              <a:gd name="connsiteX768" fmla="*/ 1079055 w 11856555"/>
              <a:gd name="connsiteY768" fmla="*/ 2495730 h 4071735"/>
              <a:gd name="connsiteX769" fmla="*/ 1069075 w 11856555"/>
              <a:gd name="connsiteY769" fmla="*/ 2500271 h 4071735"/>
              <a:gd name="connsiteX770" fmla="*/ 1089422 w 11856555"/>
              <a:gd name="connsiteY770" fmla="*/ 2495537 h 4071735"/>
              <a:gd name="connsiteX771" fmla="*/ 631023 w 11856555"/>
              <a:gd name="connsiteY771" fmla="*/ 2476150 h 4071735"/>
              <a:gd name="connsiteX772" fmla="*/ 638477 w 11856555"/>
              <a:gd name="connsiteY772" fmla="*/ 2479188 h 4071735"/>
              <a:gd name="connsiteX773" fmla="*/ 629367 w 11856555"/>
              <a:gd name="connsiteY773" fmla="*/ 2485112 h 4071735"/>
              <a:gd name="connsiteX774" fmla="*/ 618613 w 11856555"/>
              <a:gd name="connsiteY774" fmla="*/ 2487843 h 4071735"/>
              <a:gd name="connsiteX775" fmla="*/ 631023 w 11856555"/>
              <a:gd name="connsiteY775" fmla="*/ 2476150 h 4071735"/>
              <a:gd name="connsiteX776" fmla="*/ 1179627 w 11856555"/>
              <a:gd name="connsiteY776" fmla="*/ 2469610 h 4071735"/>
              <a:gd name="connsiteX777" fmla="*/ 1165705 w 11856555"/>
              <a:gd name="connsiteY777" fmla="*/ 2482897 h 4071735"/>
              <a:gd name="connsiteX778" fmla="*/ 1200522 w 11856555"/>
              <a:gd name="connsiteY778" fmla="*/ 2471034 h 4071735"/>
              <a:gd name="connsiteX779" fmla="*/ 1179627 w 11856555"/>
              <a:gd name="connsiteY779" fmla="*/ 2469610 h 4071735"/>
              <a:gd name="connsiteX780" fmla="*/ 2285600 w 11856555"/>
              <a:gd name="connsiteY780" fmla="*/ 2464876 h 4071735"/>
              <a:gd name="connsiteX781" fmla="*/ 2266544 w 11856555"/>
              <a:gd name="connsiteY781" fmla="*/ 2484098 h 4071735"/>
              <a:gd name="connsiteX782" fmla="*/ 2285600 w 11856555"/>
              <a:gd name="connsiteY782" fmla="*/ 2464876 h 4071735"/>
              <a:gd name="connsiteX783" fmla="*/ 2235479 w 11856555"/>
              <a:gd name="connsiteY783" fmla="*/ 2457776 h 4071735"/>
              <a:gd name="connsiteX784" fmla="*/ 1930049 w 11856555"/>
              <a:gd name="connsiteY784" fmla="*/ 2626340 h 4071735"/>
              <a:gd name="connsiteX785" fmla="*/ 1906442 w 11856555"/>
              <a:gd name="connsiteY785" fmla="*/ 2638727 h 4071735"/>
              <a:gd name="connsiteX786" fmla="*/ 1892734 w 11856555"/>
              <a:gd name="connsiteY786" fmla="*/ 2639059 h 4071735"/>
              <a:gd name="connsiteX787" fmla="*/ 1881398 w 11856555"/>
              <a:gd name="connsiteY787" fmla="*/ 2622564 h 4071735"/>
              <a:gd name="connsiteX788" fmla="*/ 1708393 w 11856555"/>
              <a:gd name="connsiteY788" fmla="*/ 2682779 h 4071735"/>
              <a:gd name="connsiteX789" fmla="*/ 1618349 w 11856555"/>
              <a:gd name="connsiteY789" fmla="*/ 2731690 h 4071735"/>
              <a:gd name="connsiteX790" fmla="*/ 1831957 w 11856555"/>
              <a:gd name="connsiteY790" fmla="*/ 2692212 h 4071735"/>
              <a:gd name="connsiteX791" fmla="*/ 1862415 w 11856555"/>
              <a:gd name="connsiteY791" fmla="*/ 2653951 h 4071735"/>
              <a:gd name="connsiteX792" fmla="*/ 1868101 w 11856555"/>
              <a:gd name="connsiteY792" fmla="*/ 2651039 h 4071735"/>
              <a:gd name="connsiteX793" fmla="*/ 1885900 w 11856555"/>
              <a:gd name="connsiteY793" fmla="*/ 2649508 h 4071735"/>
              <a:gd name="connsiteX794" fmla="*/ 1906442 w 11856555"/>
              <a:gd name="connsiteY794" fmla="*/ 2638727 h 4071735"/>
              <a:gd name="connsiteX795" fmla="*/ 1913200 w 11856555"/>
              <a:gd name="connsiteY795" fmla="*/ 2638565 h 4071735"/>
              <a:gd name="connsiteX796" fmla="*/ 1918225 w 11856555"/>
              <a:gd name="connsiteY796" fmla="*/ 2641269 h 4071735"/>
              <a:gd name="connsiteX797" fmla="*/ 1914243 w 11856555"/>
              <a:gd name="connsiteY797" fmla="*/ 2643628 h 4071735"/>
              <a:gd name="connsiteX798" fmla="*/ 1923034 w 11856555"/>
              <a:gd name="connsiteY798" fmla="*/ 2654891 h 4071735"/>
              <a:gd name="connsiteX799" fmla="*/ 1919123 w 11856555"/>
              <a:gd name="connsiteY799" fmla="*/ 2641751 h 4071735"/>
              <a:gd name="connsiteX800" fmla="*/ 1922001 w 11856555"/>
              <a:gd name="connsiteY800" fmla="*/ 2643302 h 4071735"/>
              <a:gd name="connsiteX801" fmla="*/ 1949326 w 11856555"/>
              <a:gd name="connsiteY801" fmla="*/ 2632106 h 4071735"/>
              <a:gd name="connsiteX802" fmla="*/ 2153699 w 11856555"/>
              <a:gd name="connsiteY802" fmla="*/ 2552563 h 4071735"/>
              <a:gd name="connsiteX803" fmla="*/ 2264930 w 11856555"/>
              <a:gd name="connsiteY803" fmla="*/ 2487163 h 4071735"/>
              <a:gd name="connsiteX804" fmla="*/ 2263122 w 11856555"/>
              <a:gd name="connsiteY804" fmla="*/ 2466880 h 4071735"/>
              <a:gd name="connsiteX805" fmla="*/ 2235479 w 11856555"/>
              <a:gd name="connsiteY805" fmla="*/ 2457776 h 4071735"/>
              <a:gd name="connsiteX806" fmla="*/ 2180251 w 11856555"/>
              <a:gd name="connsiteY806" fmla="*/ 2447980 h 4071735"/>
              <a:gd name="connsiteX807" fmla="*/ 2180251 w 11856555"/>
              <a:gd name="connsiteY807" fmla="*/ 2447980 h 4071735"/>
              <a:gd name="connsiteX808" fmla="*/ 2299651 w 11856555"/>
              <a:gd name="connsiteY808" fmla="*/ 2442452 h 4071735"/>
              <a:gd name="connsiteX809" fmla="*/ 2295290 w 11856555"/>
              <a:gd name="connsiteY809" fmla="*/ 2446491 h 4071735"/>
              <a:gd name="connsiteX810" fmla="*/ 2303922 w 11856555"/>
              <a:gd name="connsiteY810" fmla="*/ 2443349 h 4071735"/>
              <a:gd name="connsiteX811" fmla="*/ 2299651 w 11856555"/>
              <a:gd name="connsiteY811" fmla="*/ 2442452 h 4071735"/>
              <a:gd name="connsiteX812" fmla="*/ 621659 w 11856555"/>
              <a:gd name="connsiteY812" fmla="*/ 2375174 h 4071735"/>
              <a:gd name="connsiteX813" fmla="*/ 622717 w 11856555"/>
              <a:gd name="connsiteY813" fmla="*/ 2376354 h 4071735"/>
              <a:gd name="connsiteX814" fmla="*/ 620041 w 11856555"/>
              <a:gd name="connsiteY814" fmla="*/ 2376737 h 4071735"/>
              <a:gd name="connsiteX815" fmla="*/ 601527 w 11856555"/>
              <a:gd name="connsiteY815" fmla="*/ 2371268 h 4071735"/>
              <a:gd name="connsiteX816" fmla="*/ 602400 w 11856555"/>
              <a:gd name="connsiteY816" fmla="*/ 2371410 h 4071735"/>
              <a:gd name="connsiteX817" fmla="*/ 601260 w 11856555"/>
              <a:gd name="connsiteY817" fmla="*/ 2372077 h 4071735"/>
              <a:gd name="connsiteX818" fmla="*/ 531035 w 11856555"/>
              <a:gd name="connsiteY818" fmla="*/ 2352543 h 4071735"/>
              <a:gd name="connsiteX819" fmla="*/ 520200 w 11856555"/>
              <a:gd name="connsiteY819" fmla="*/ 2370391 h 4071735"/>
              <a:gd name="connsiteX820" fmla="*/ 520449 w 11856555"/>
              <a:gd name="connsiteY820" fmla="*/ 2368819 h 4071735"/>
              <a:gd name="connsiteX821" fmla="*/ 531035 w 11856555"/>
              <a:gd name="connsiteY821" fmla="*/ 2352543 h 4071735"/>
              <a:gd name="connsiteX822" fmla="*/ 579222 w 11856555"/>
              <a:gd name="connsiteY822" fmla="*/ 2342407 h 4071735"/>
              <a:gd name="connsiteX823" fmla="*/ 567141 w 11856555"/>
              <a:gd name="connsiteY823" fmla="*/ 2355166 h 4071735"/>
              <a:gd name="connsiteX824" fmla="*/ 579222 w 11856555"/>
              <a:gd name="connsiteY824" fmla="*/ 2342407 h 4071735"/>
              <a:gd name="connsiteX825" fmla="*/ 601441 w 11856555"/>
              <a:gd name="connsiteY825" fmla="*/ 2337507 h 4071735"/>
              <a:gd name="connsiteX826" fmla="*/ 601441 w 11856555"/>
              <a:gd name="connsiteY826" fmla="*/ 2337507 h 4071735"/>
              <a:gd name="connsiteX827" fmla="*/ 232045 w 11856555"/>
              <a:gd name="connsiteY827" fmla="*/ 2303402 h 4071735"/>
              <a:gd name="connsiteX828" fmla="*/ 230864 w 11856555"/>
              <a:gd name="connsiteY828" fmla="*/ 2306383 h 4071735"/>
              <a:gd name="connsiteX829" fmla="*/ 224872 w 11856555"/>
              <a:gd name="connsiteY829" fmla="*/ 2306812 h 4071735"/>
              <a:gd name="connsiteX830" fmla="*/ 798448 w 11856555"/>
              <a:gd name="connsiteY830" fmla="*/ 2302429 h 4071735"/>
              <a:gd name="connsiteX831" fmla="*/ 721516 w 11856555"/>
              <a:gd name="connsiteY831" fmla="*/ 2350172 h 4071735"/>
              <a:gd name="connsiteX832" fmla="*/ 718803 w 11856555"/>
              <a:gd name="connsiteY832" fmla="*/ 2362095 h 4071735"/>
              <a:gd name="connsiteX833" fmla="*/ 799673 w 11856555"/>
              <a:gd name="connsiteY833" fmla="*/ 2337366 h 4071735"/>
              <a:gd name="connsiteX834" fmla="*/ 761693 w 11856555"/>
              <a:gd name="connsiteY834" fmla="*/ 2334909 h 4071735"/>
              <a:gd name="connsiteX835" fmla="*/ 798448 w 11856555"/>
              <a:gd name="connsiteY835" fmla="*/ 2302429 h 4071735"/>
              <a:gd name="connsiteX836" fmla="*/ 799842 w 11856555"/>
              <a:gd name="connsiteY836" fmla="*/ 2267762 h 4071735"/>
              <a:gd name="connsiteX837" fmla="*/ 792573 w 11856555"/>
              <a:gd name="connsiteY837" fmla="*/ 2268273 h 4071735"/>
              <a:gd name="connsiteX838" fmla="*/ 777134 w 11856555"/>
              <a:gd name="connsiteY838" fmla="*/ 2275123 h 4071735"/>
              <a:gd name="connsiteX839" fmla="*/ 803358 w 11856555"/>
              <a:gd name="connsiteY839" fmla="*/ 2272786 h 4071735"/>
              <a:gd name="connsiteX840" fmla="*/ 799842 w 11856555"/>
              <a:gd name="connsiteY840" fmla="*/ 2267762 h 4071735"/>
              <a:gd name="connsiteX841" fmla="*/ 267223 w 11856555"/>
              <a:gd name="connsiteY841" fmla="*/ 2260327 h 4071735"/>
              <a:gd name="connsiteX842" fmla="*/ 257623 w 11856555"/>
              <a:gd name="connsiteY842" fmla="*/ 2271769 h 4071735"/>
              <a:gd name="connsiteX843" fmla="*/ 279585 w 11856555"/>
              <a:gd name="connsiteY843" fmla="*/ 2263971 h 4071735"/>
              <a:gd name="connsiteX844" fmla="*/ 267223 w 11856555"/>
              <a:gd name="connsiteY844" fmla="*/ 2260327 h 4071735"/>
              <a:gd name="connsiteX845" fmla="*/ 213329 w 11856555"/>
              <a:gd name="connsiteY845" fmla="*/ 2256735 h 4071735"/>
              <a:gd name="connsiteX846" fmla="*/ 201752 w 11856555"/>
              <a:gd name="connsiteY846" fmla="*/ 2259225 h 4071735"/>
              <a:gd name="connsiteX847" fmla="*/ 217254 w 11856555"/>
              <a:gd name="connsiteY847" fmla="*/ 2263684 h 4071735"/>
              <a:gd name="connsiteX848" fmla="*/ 213329 w 11856555"/>
              <a:gd name="connsiteY848" fmla="*/ 2256735 h 4071735"/>
              <a:gd name="connsiteX849" fmla="*/ 231206 w 11856555"/>
              <a:gd name="connsiteY849" fmla="*/ 2250760 h 4071735"/>
              <a:gd name="connsiteX850" fmla="*/ 231206 w 11856555"/>
              <a:gd name="connsiteY850" fmla="*/ 2250760 h 4071735"/>
              <a:gd name="connsiteX851" fmla="*/ 10996782 w 11856555"/>
              <a:gd name="connsiteY851" fmla="*/ 2228907 h 4071735"/>
              <a:gd name="connsiteX852" fmla="*/ 10996782 w 11856555"/>
              <a:gd name="connsiteY852" fmla="*/ 2228907 h 4071735"/>
              <a:gd name="connsiteX853" fmla="*/ 339390 w 11856555"/>
              <a:gd name="connsiteY853" fmla="*/ 2227978 h 4071735"/>
              <a:gd name="connsiteX854" fmla="*/ 339849 w 11856555"/>
              <a:gd name="connsiteY854" fmla="*/ 2241079 h 4071735"/>
              <a:gd name="connsiteX855" fmla="*/ 339390 w 11856555"/>
              <a:gd name="connsiteY855" fmla="*/ 2227978 h 4071735"/>
              <a:gd name="connsiteX856" fmla="*/ 295013 w 11856555"/>
              <a:gd name="connsiteY856" fmla="*/ 2212814 h 4071735"/>
              <a:gd name="connsiteX857" fmla="*/ 294665 w 11856555"/>
              <a:gd name="connsiteY857" fmla="*/ 2213247 h 4071735"/>
              <a:gd name="connsiteX858" fmla="*/ 294630 w 11856555"/>
              <a:gd name="connsiteY858" fmla="*/ 2212982 h 4071735"/>
              <a:gd name="connsiteX859" fmla="*/ 297415 w 11856555"/>
              <a:gd name="connsiteY859" fmla="*/ 2209814 h 4071735"/>
              <a:gd name="connsiteX860" fmla="*/ 299013 w 11856555"/>
              <a:gd name="connsiteY860" fmla="*/ 2211040 h 4071735"/>
              <a:gd name="connsiteX861" fmla="*/ 295013 w 11856555"/>
              <a:gd name="connsiteY861" fmla="*/ 2212814 h 4071735"/>
              <a:gd name="connsiteX862" fmla="*/ 10772134 w 11856555"/>
              <a:gd name="connsiteY862" fmla="*/ 2208039 h 4071735"/>
              <a:gd name="connsiteX863" fmla="*/ 10772134 w 11856555"/>
              <a:gd name="connsiteY863" fmla="*/ 2208039 h 4071735"/>
              <a:gd name="connsiteX864" fmla="*/ 418313 w 11856555"/>
              <a:gd name="connsiteY864" fmla="*/ 2207209 h 4071735"/>
              <a:gd name="connsiteX865" fmla="*/ 404379 w 11856555"/>
              <a:gd name="connsiteY865" fmla="*/ 2223646 h 4071735"/>
              <a:gd name="connsiteX866" fmla="*/ 423691 w 11856555"/>
              <a:gd name="connsiteY866" fmla="*/ 2207323 h 4071735"/>
              <a:gd name="connsiteX867" fmla="*/ 418313 w 11856555"/>
              <a:gd name="connsiteY867" fmla="*/ 2207209 h 4071735"/>
              <a:gd name="connsiteX868" fmla="*/ 319375 w 11856555"/>
              <a:gd name="connsiteY868" fmla="*/ 2202016 h 4071735"/>
              <a:gd name="connsiteX869" fmla="*/ 308056 w 11856555"/>
              <a:gd name="connsiteY869" fmla="*/ 2217991 h 4071735"/>
              <a:gd name="connsiteX870" fmla="*/ 299013 w 11856555"/>
              <a:gd name="connsiteY870" fmla="*/ 2211040 h 4071735"/>
              <a:gd name="connsiteX871" fmla="*/ 10822097 w 11856555"/>
              <a:gd name="connsiteY871" fmla="*/ 2191398 h 4071735"/>
              <a:gd name="connsiteX872" fmla="*/ 10808903 w 11856555"/>
              <a:gd name="connsiteY872" fmla="*/ 2191940 h 4071735"/>
              <a:gd name="connsiteX873" fmla="*/ 10837178 w 11856555"/>
              <a:gd name="connsiteY873" fmla="*/ 2196403 h 4071735"/>
              <a:gd name="connsiteX874" fmla="*/ 10822097 w 11856555"/>
              <a:gd name="connsiteY874" fmla="*/ 2191398 h 4071735"/>
              <a:gd name="connsiteX875" fmla="*/ 10696352 w 11856555"/>
              <a:gd name="connsiteY875" fmla="*/ 2189237 h 4071735"/>
              <a:gd name="connsiteX876" fmla="*/ 10663748 w 11856555"/>
              <a:gd name="connsiteY876" fmla="*/ 2220618 h 4071735"/>
              <a:gd name="connsiteX877" fmla="*/ 10696352 w 11856555"/>
              <a:gd name="connsiteY877" fmla="*/ 2189237 h 4071735"/>
              <a:gd name="connsiteX878" fmla="*/ 442860 w 11856555"/>
              <a:gd name="connsiteY878" fmla="*/ 2184076 h 4071735"/>
              <a:gd name="connsiteX879" fmla="*/ 441065 w 11856555"/>
              <a:gd name="connsiteY879" fmla="*/ 2211616 h 4071735"/>
              <a:gd name="connsiteX880" fmla="*/ 442860 w 11856555"/>
              <a:gd name="connsiteY880" fmla="*/ 2184076 h 4071735"/>
              <a:gd name="connsiteX881" fmla="*/ 279713 w 11856555"/>
              <a:gd name="connsiteY881" fmla="*/ 2179396 h 4071735"/>
              <a:gd name="connsiteX882" fmla="*/ 301805 w 11856555"/>
              <a:gd name="connsiteY882" fmla="*/ 2180458 h 4071735"/>
              <a:gd name="connsiteX883" fmla="*/ 316212 w 11856555"/>
              <a:gd name="connsiteY883" fmla="*/ 2187695 h 4071735"/>
              <a:gd name="connsiteX884" fmla="*/ 238505 w 11856555"/>
              <a:gd name="connsiteY884" fmla="*/ 2226744 h 4071735"/>
              <a:gd name="connsiteX885" fmla="*/ 263600 w 11856555"/>
              <a:gd name="connsiteY885" fmla="*/ 2192647 h 4071735"/>
              <a:gd name="connsiteX886" fmla="*/ 10933550 w 11856555"/>
              <a:gd name="connsiteY886" fmla="*/ 2176131 h 4071735"/>
              <a:gd name="connsiteX887" fmla="*/ 10911262 w 11856555"/>
              <a:gd name="connsiteY887" fmla="*/ 2189466 h 4071735"/>
              <a:gd name="connsiteX888" fmla="*/ 10910087 w 11856555"/>
              <a:gd name="connsiteY888" fmla="*/ 2182969 h 4071735"/>
              <a:gd name="connsiteX889" fmla="*/ 10933550 w 11856555"/>
              <a:gd name="connsiteY889" fmla="*/ 2176131 h 4071735"/>
              <a:gd name="connsiteX890" fmla="*/ 1083025 w 11856555"/>
              <a:gd name="connsiteY890" fmla="*/ 2157923 h 4071735"/>
              <a:gd name="connsiteX891" fmla="*/ 1076661 w 11856555"/>
              <a:gd name="connsiteY891" fmla="*/ 2158992 h 4071735"/>
              <a:gd name="connsiteX892" fmla="*/ 1064250 w 11856555"/>
              <a:gd name="connsiteY892" fmla="*/ 2170685 h 4071735"/>
              <a:gd name="connsiteX893" fmla="*/ 1086213 w 11856555"/>
              <a:gd name="connsiteY893" fmla="*/ 2162887 h 4071735"/>
              <a:gd name="connsiteX894" fmla="*/ 1083025 w 11856555"/>
              <a:gd name="connsiteY894" fmla="*/ 2157923 h 4071735"/>
              <a:gd name="connsiteX895" fmla="*/ 133978 w 11856555"/>
              <a:gd name="connsiteY895" fmla="*/ 2151184 h 4071735"/>
              <a:gd name="connsiteX896" fmla="*/ 138110 w 11856555"/>
              <a:gd name="connsiteY896" fmla="*/ 2156837 h 4071735"/>
              <a:gd name="connsiteX897" fmla="*/ 136228 w 11856555"/>
              <a:gd name="connsiteY897" fmla="*/ 2166096 h 4071735"/>
              <a:gd name="connsiteX898" fmla="*/ 132244 w 11856555"/>
              <a:gd name="connsiteY898" fmla="*/ 2167180 h 4071735"/>
              <a:gd name="connsiteX899" fmla="*/ 125538 w 11856555"/>
              <a:gd name="connsiteY899" fmla="*/ 2166720 h 4071735"/>
              <a:gd name="connsiteX900" fmla="*/ 133978 w 11856555"/>
              <a:gd name="connsiteY900" fmla="*/ 2151184 h 4071735"/>
              <a:gd name="connsiteX901" fmla="*/ 479569 w 11856555"/>
              <a:gd name="connsiteY901" fmla="*/ 2143757 h 4071735"/>
              <a:gd name="connsiteX902" fmla="*/ 480342 w 11856555"/>
              <a:gd name="connsiteY902" fmla="*/ 2143865 h 4071735"/>
              <a:gd name="connsiteX903" fmla="*/ 469990 w 11856555"/>
              <a:gd name="connsiteY903" fmla="*/ 2151504 h 4071735"/>
              <a:gd name="connsiteX904" fmla="*/ 475021 w 11856555"/>
              <a:gd name="connsiteY904" fmla="*/ 2145069 h 4071735"/>
              <a:gd name="connsiteX905" fmla="*/ 177368 w 11856555"/>
              <a:gd name="connsiteY905" fmla="*/ 2136548 h 4071735"/>
              <a:gd name="connsiteX906" fmla="*/ 184190 w 11856555"/>
              <a:gd name="connsiteY906" fmla="*/ 2146891 h 4071735"/>
              <a:gd name="connsiteX907" fmla="*/ 165458 w 11856555"/>
              <a:gd name="connsiteY907" fmla="*/ 2148560 h 4071735"/>
              <a:gd name="connsiteX908" fmla="*/ 177368 w 11856555"/>
              <a:gd name="connsiteY908" fmla="*/ 2136548 h 4071735"/>
              <a:gd name="connsiteX909" fmla="*/ 249706 w 11856555"/>
              <a:gd name="connsiteY909" fmla="*/ 2126315 h 4071735"/>
              <a:gd name="connsiteX910" fmla="*/ 246859 w 11856555"/>
              <a:gd name="connsiteY910" fmla="*/ 2141167 h 4071735"/>
              <a:gd name="connsiteX911" fmla="*/ 245241 w 11856555"/>
              <a:gd name="connsiteY911" fmla="*/ 2141481 h 4071735"/>
              <a:gd name="connsiteX912" fmla="*/ 243801 w 11856555"/>
              <a:gd name="connsiteY912" fmla="*/ 2137518 h 4071735"/>
              <a:gd name="connsiteX913" fmla="*/ 249706 w 11856555"/>
              <a:gd name="connsiteY913" fmla="*/ 2126315 h 4071735"/>
              <a:gd name="connsiteX914" fmla="*/ 390690 w 11856555"/>
              <a:gd name="connsiteY914" fmla="*/ 2123013 h 4071735"/>
              <a:gd name="connsiteX915" fmla="*/ 389140 w 11856555"/>
              <a:gd name="connsiteY915" fmla="*/ 2137389 h 4071735"/>
              <a:gd name="connsiteX916" fmla="*/ 390690 w 11856555"/>
              <a:gd name="connsiteY916" fmla="*/ 2123013 h 4071735"/>
              <a:gd name="connsiteX917" fmla="*/ 1235098 w 11856555"/>
              <a:gd name="connsiteY917" fmla="*/ 2117495 h 4071735"/>
              <a:gd name="connsiteX918" fmla="*/ 1209853 w 11856555"/>
              <a:gd name="connsiteY918" fmla="*/ 2117554 h 4071735"/>
              <a:gd name="connsiteX919" fmla="*/ 1187170 w 11856555"/>
              <a:gd name="connsiteY919" fmla="*/ 2130526 h 4071735"/>
              <a:gd name="connsiteX920" fmla="*/ 1235098 w 11856555"/>
              <a:gd name="connsiteY920" fmla="*/ 2117495 h 4071735"/>
              <a:gd name="connsiteX921" fmla="*/ 395621 w 11856555"/>
              <a:gd name="connsiteY921" fmla="*/ 2101538 h 4071735"/>
              <a:gd name="connsiteX922" fmla="*/ 428282 w 11856555"/>
              <a:gd name="connsiteY922" fmla="*/ 2110537 h 4071735"/>
              <a:gd name="connsiteX923" fmla="*/ 395621 w 11856555"/>
              <a:gd name="connsiteY923" fmla="*/ 2101538 h 4071735"/>
              <a:gd name="connsiteX924" fmla="*/ 477664 w 11856555"/>
              <a:gd name="connsiteY924" fmla="*/ 2092630 h 4071735"/>
              <a:gd name="connsiteX925" fmla="*/ 465231 w 11856555"/>
              <a:gd name="connsiteY925" fmla="*/ 2101404 h 4071735"/>
              <a:gd name="connsiteX926" fmla="*/ 475533 w 11856555"/>
              <a:gd name="connsiteY926" fmla="*/ 2100486 h 4071735"/>
              <a:gd name="connsiteX927" fmla="*/ 481809 w 11856555"/>
              <a:gd name="connsiteY927" fmla="*/ 2099926 h 4071735"/>
              <a:gd name="connsiteX928" fmla="*/ 480179 w 11856555"/>
              <a:gd name="connsiteY928" fmla="*/ 2094766 h 4071735"/>
              <a:gd name="connsiteX929" fmla="*/ 1587249 w 11856555"/>
              <a:gd name="connsiteY929" fmla="*/ 2084061 h 4071735"/>
              <a:gd name="connsiteX930" fmla="*/ 1581637 w 11856555"/>
              <a:gd name="connsiteY930" fmla="*/ 2086614 h 4071735"/>
              <a:gd name="connsiteX931" fmla="*/ 1587249 w 11856555"/>
              <a:gd name="connsiteY931" fmla="*/ 2084061 h 4071735"/>
              <a:gd name="connsiteX932" fmla="*/ 1338624 w 11856555"/>
              <a:gd name="connsiteY932" fmla="*/ 2083811 h 4071735"/>
              <a:gd name="connsiteX933" fmla="*/ 1338705 w 11856555"/>
              <a:gd name="connsiteY933" fmla="*/ 2093660 h 4071735"/>
              <a:gd name="connsiteX934" fmla="*/ 1338624 w 11856555"/>
              <a:gd name="connsiteY934" fmla="*/ 2083811 h 4071735"/>
              <a:gd name="connsiteX935" fmla="*/ 458544 w 11856555"/>
              <a:gd name="connsiteY935" fmla="*/ 2082651 h 4071735"/>
              <a:gd name="connsiteX936" fmla="*/ 433129 w 11856555"/>
              <a:gd name="connsiteY936" fmla="*/ 2101345 h 4071735"/>
              <a:gd name="connsiteX937" fmla="*/ 458544 w 11856555"/>
              <a:gd name="connsiteY937" fmla="*/ 2082651 h 4071735"/>
              <a:gd name="connsiteX938" fmla="*/ 309292 w 11856555"/>
              <a:gd name="connsiteY938" fmla="*/ 2081795 h 4071735"/>
              <a:gd name="connsiteX939" fmla="*/ 308790 w 11856555"/>
              <a:gd name="connsiteY939" fmla="*/ 2083219 h 4071735"/>
              <a:gd name="connsiteX940" fmla="*/ 306312 w 11856555"/>
              <a:gd name="connsiteY940" fmla="*/ 2082207 h 4071735"/>
              <a:gd name="connsiteX941" fmla="*/ 470150 w 11856555"/>
              <a:gd name="connsiteY941" fmla="*/ 2069206 h 4071735"/>
              <a:gd name="connsiteX942" fmla="*/ 462390 w 11856555"/>
              <a:gd name="connsiteY942" fmla="*/ 2069532 h 4071735"/>
              <a:gd name="connsiteX943" fmla="*/ 467508 w 11856555"/>
              <a:gd name="connsiteY943" fmla="*/ 2079297 h 4071735"/>
              <a:gd name="connsiteX944" fmla="*/ 473889 w 11856555"/>
              <a:gd name="connsiteY944" fmla="*/ 2074847 h 4071735"/>
              <a:gd name="connsiteX945" fmla="*/ 472228 w 11856555"/>
              <a:gd name="connsiteY945" fmla="*/ 2069589 h 4071735"/>
              <a:gd name="connsiteX946" fmla="*/ 10946090 w 11856555"/>
              <a:gd name="connsiteY946" fmla="*/ 2041403 h 4071735"/>
              <a:gd name="connsiteX947" fmla="*/ 10939307 w 11856555"/>
              <a:gd name="connsiteY947" fmla="*/ 2050039 h 4071735"/>
              <a:gd name="connsiteX948" fmla="*/ 10954033 w 11856555"/>
              <a:gd name="connsiteY948" fmla="*/ 2045805 h 4071735"/>
              <a:gd name="connsiteX949" fmla="*/ 10946090 w 11856555"/>
              <a:gd name="connsiteY949" fmla="*/ 2041403 h 4071735"/>
              <a:gd name="connsiteX950" fmla="*/ 513871 w 11856555"/>
              <a:gd name="connsiteY950" fmla="*/ 2032819 h 4071735"/>
              <a:gd name="connsiteX951" fmla="*/ 407035 w 11856555"/>
              <a:gd name="connsiteY951" fmla="*/ 2062783 h 4071735"/>
              <a:gd name="connsiteX952" fmla="*/ 513871 w 11856555"/>
              <a:gd name="connsiteY952" fmla="*/ 2032819 h 4071735"/>
              <a:gd name="connsiteX953" fmla="*/ 529270 w 11856555"/>
              <a:gd name="connsiteY953" fmla="*/ 2028162 h 4071735"/>
              <a:gd name="connsiteX954" fmla="*/ 524057 w 11856555"/>
              <a:gd name="connsiteY954" fmla="*/ 2034238 h 4071735"/>
              <a:gd name="connsiteX955" fmla="*/ 527941 w 11856555"/>
              <a:gd name="connsiteY955" fmla="*/ 2043189 h 4071735"/>
              <a:gd name="connsiteX956" fmla="*/ 532410 w 11856555"/>
              <a:gd name="connsiteY956" fmla="*/ 2041778 h 4071735"/>
              <a:gd name="connsiteX957" fmla="*/ 535049 w 11856555"/>
              <a:gd name="connsiteY957" fmla="*/ 2032438 h 4071735"/>
              <a:gd name="connsiteX958" fmla="*/ 529270 w 11856555"/>
              <a:gd name="connsiteY958" fmla="*/ 2028162 h 4071735"/>
              <a:gd name="connsiteX959" fmla="*/ 10925067 w 11856555"/>
              <a:gd name="connsiteY959" fmla="*/ 2024658 h 4071735"/>
              <a:gd name="connsiteX960" fmla="*/ 10918510 w 11856555"/>
              <a:gd name="connsiteY960" fmla="*/ 2028528 h 4071735"/>
              <a:gd name="connsiteX961" fmla="*/ 10925067 w 11856555"/>
              <a:gd name="connsiteY961" fmla="*/ 2024658 h 4071735"/>
              <a:gd name="connsiteX962" fmla="*/ 620357 w 11856555"/>
              <a:gd name="connsiteY962" fmla="*/ 1984679 h 4071735"/>
              <a:gd name="connsiteX963" fmla="*/ 587921 w 11856555"/>
              <a:gd name="connsiteY963" fmla="*/ 1987158 h 4071735"/>
              <a:gd name="connsiteX964" fmla="*/ 565612 w 11856555"/>
              <a:gd name="connsiteY964" fmla="*/ 1999003 h 4071735"/>
              <a:gd name="connsiteX965" fmla="*/ 626651 w 11856555"/>
              <a:gd name="connsiteY965" fmla="*/ 1984802 h 4071735"/>
              <a:gd name="connsiteX966" fmla="*/ 620357 w 11856555"/>
              <a:gd name="connsiteY966" fmla="*/ 1984679 h 4071735"/>
              <a:gd name="connsiteX967" fmla="*/ 1554719 w 11856555"/>
              <a:gd name="connsiteY967" fmla="*/ 1975570 h 4071735"/>
              <a:gd name="connsiteX968" fmla="*/ 1569950 w 11856555"/>
              <a:gd name="connsiteY968" fmla="*/ 1976677 h 4071735"/>
              <a:gd name="connsiteX969" fmla="*/ 1554719 w 11856555"/>
              <a:gd name="connsiteY969" fmla="*/ 1975570 h 4071735"/>
              <a:gd name="connsiteX970" fmla="*/ 1739054 w 11856555"/>
              <a:gd name="connsiteY970" fmla="*/ 1967450 h 4071735"/>
              <a:gd name="connsiteX971" fmla="*/ 1739054 w 11856555"/>
              <a:gd name="connsiteY971" fmla="*/ 1967450 h 4071735"/>
              <a:gd name="connsiteX972" fmla="*/ 632079 w 11856555"/>
              <a:gd name="connsiteY972" fmla="*/ 1960955 h 4071735"/>
              <a:gd name="connsiteX973" fmla="*/ 640862 w 11856555"/>
              <a:gd name="connsiteY973" fmla="*/ 1974775 h 4071735"/>
              <a:gd name="connsiteX974" fmla="*/ 632079 w 11856555"/>
              <a:gd name="connsiteY974" fmla="*/ 1960955 h 4071735"/>
              <a:gd name="connsiteX975" fmla="*/ 1746460 w 11856555"/>
              <a:gd name="connsiteY975" fmla="*/ 1953557 h 4071735"/>
              <a:gd name="connsiteX976" fmla="*/ 1747902 w 11856555"/>
              <a:gd name="connsiteY976" fmla="*/ 1960819 h 4071735"/>
              <a:gd name="connsiteX977" fmla="*/ 1746460 w 11856555"/>
              <a:gd name="connsiteY977" fmla="*/ 1953557 h 4071735"/>
              <a:gd name="connsiteX978" fmla="*/ 11323706 w 11856555"/>
              <a:gd name="connsiteY978" fmla="*/ 1943503 h 4071735"/>
              <a:gd name="connsiteX979" fmla="*/ 11316012 w 11856555"/>
              <a:gd name="connsiteY979" fmla="*/ 1955140 h 4071735"/>
              <a:gd name="connsiteX980" fmla="*/ 11333969 w 11856555"/>
              <a:gd name="connsiteY980" fmla="*/ 1944778 h 4071735"/>
              <a:gd name="connsiteX981" fmla="*/ 11323706 w 11856555"/>
              <a:gd name="connsiteY981" fmla="*/ 1943503 h 4071735"/>
              <a:gd name="connsiteX982" fmla="*/ 552954 w 11856555"/>
              <a:gd name="connsiteY982" fmla="*/ 1941721 h 4071735"/>
              <a:gd name="connsiteX983" fmla="*/ 553165 w 11856555"/>
              <a:gd name="connsiteY983" fmla="*/ 1942370 h 4071735"/>
              <a:gd name="connsiteX984" fmla="*/ 550193 w 11856555"/>
              <a:gd name="connsiteY984" fmla="*/ 1947809 h 4071735"/>
              <a:gd name="connsiteX985" fmla="*/ 547320 w 11856555"/>
              <a:gd name="connsiteY985" fmla="*/ 1953389 h 4071735"/>
              <a:gd name="connsiteX986" fmla="*/ 546301 w 11856555"/>
              <a:gd name="connsiteY986" fmla="*/ 1951805 h 4071735"/>
              <a:gd name="connsiteX987" fmla="*/ 552954 w 11856555"/>
              <a:gd name="connsiteY987" fmla="*/ 1941721 h 4071735"/>
              <a:gd name="connsiteX988" fmla="*/ 1721634 w 11856555"/>
              <a:gd name="connsiteY988" fmla="*/ 1921270 h 4071735"/>
              <a:gd name="connsiteX989" fmla="*/ 1717480 w 11856555"/>
              <a:gd name="connsiteY989" fmla="*/ 1937247 h 4071735"/>
              <a:gd name="connsiteX990" fmla="*/ 1721634 w 11856555"/>
              <a:gd name="connsiteY990" fmla="*/ 1921270 h 4071735"/>
              <a:gd name="connsiteX991" fmla="*/ 1913002 w 11856555"/>
              <a:gd name="connsiteY991" fmla="*/ 1889477 h 4071735"/>
              <a:gd name="connsiteX992" fmla="*/ 1925212 w 11856555"/>
              <a:gd name="connsiteY992" fmla="*/ 1895371 h 4071735"/>
              <a:gd name="connsiteX993" fmla="*/ 1913002 w 11856555"/>
              <a:gd name="connsiteY993" fmla="*/ 1889477 h 4071735"/>
              <a:gd name="connsiteX994" fmla="*/ 535642 w 11856555"/>
              <a:gd name="connsiteY994" fmla="*/ 1852045 h 4071735"/>
              <a:gd name="connsiteX995" fmla="*/ 543853 w 11856555"/>
              <a:gd name="connsiteY995" fmla="*/ 1860759 h 4071735"/>
              <a:gd name="connsiteX996" fmla="*/ 519437 w 11856555"/>
              <a:gd name="connsiteY996" fmla="*/ 1860881 h 4071735"/>
              <a:gd name="connsiteX997" fmla="*/ 521873 w 11856555"/>
              <a:gd name="connsiteY997" fmla="*/ 1855535 h 4071735"/>
              <a:gd name="connsiteX998" fmla="*/ 523017 w 11856555"/>
              <a:gd name="connsiteY998" fmla="*/ 1854830 h 4071735"/>
              <a:gd name="connsiteX999" fmla="*/ 1931425 w 11856555"/>
              <a:gd name="connsiteY999" fmla="*/ 1849995 h 4071735"/>
              <a:gd name="connsiteX1000" fmla="*/ 1930489 w 11856555"/>
              <a:gd name="connsiteY1000" fmla="*/ 1850723 h 4071735"/>
              <a:gd name="connsiteX1001" fmla="*/ 1926957 w 11856555"/>
              <a:gd name="connsiteY1001" fmla="*/ 1851408 h 4071735"/>
              <a:gd name="connsiteX1002" fmla="*/ 540354 w 11856555"/>
              <a:gd name="connsiteY1002" fmla="*/ 1844135 h 4071735"/>
              <a:gd name="connsiteX1003" fmla="*/ 523017 w 11856555"/>
              <a:gd name="connsiteY1003" fmla="*/ 1854830 h 4071735"/>
              <a:gd name="connsiteX1004" fmla="*/ 522103 w 11856555"/>
              <a:gd name="connsiteY1004" fmla="*/ 1855031 h 4071735"/>
              <a:gd name="connsiteX1005" fmla="*/ 521873 w 11856555"/>
              <a:gd name="connsiteY1005" fmla="*/ 1855535 h 4071735"/>
              <a:gd name="connsiteX1006" fmla="*/ 508264 w 11856555"/>
              <a:gd name="connsiteY1006" fmla="*/ 1863930 h 4071735"/>
              <a:gd name="connsiteX1007" fmla="*/ 480099 w 11856555"/>
              <a:gd name="connsiteY1007" fmla="*/ 1886884 h 4071735"/>
              <a:gd name="connsiteX1008" fmla="*/ 527061 w 11856555"/>
              <a:gd name="connsiteY1008" fmla="*/ 1847790 h 4071735"/>
              <a:gd name="connsiteX1009" fmla="*/ 639697 w 11856555"/>
              <a:gd name="connsiteY1009" fmla="*/ 1832169 h 4071735"/>
              <a:gd name="connsiteX1010" fmla="*/ 665286 w 11856555"/>
              <a:gd name="connsiteY1010" fmla="*/ 1834230 h 4071735"/>
              <a:gd name="connsiteX1011" fmla="*/ 691254 w 11856555"/>
              <a:gd name="connsiteY1011" fmla="*/ 1838111 h 4071735"/>
              <a:gd name="connsiteX1012" fmla="*/ 673847 w 11856555"/>
              <a:gd name="connsiteY1012" fmla="*/ 1843700 h 4071735"/>
              <a:gd name="connsiteX1013" fmla="*/ 619879 w 11856555"/>
              <a:gd name="connsiteY1013" fmla="*/ 1845223 h 4071735"/>
              <a:gd name="connsiteX1014" fmla="*/ 605637 w 11856555"/>
              <a:gd name="connsiteY1014" fmla="*/ 1829426 h 4071735"/>
              <a:gd name="connsiteX1015" fmla="*/ 619500 w 11856555"/>
              <a:gd name="connsiteY1015" fmla="*/ 1830542 h 4071735"/>
              <a:gd name="connsiteX1016" fmla="*/ 611754 w 11856555"/>
              <a:gd name="connsiteY1016" fmla="*/ 1832851 h 4071735"/>
              <a:gd name="connsiteX1017" fmla="*/ 569045 w 11856555"/>
              <a:gd name="connsiteY1017" fmla="*/ 1836246 h 4071735"/>
              <a:gd name="connsiteX1018" fmla="*/ 540354 w 11856555"/>
              <a:gd name="connsiteY1018" fmla="*/ 1844135 h 4071735"/>
              <a:gd name="connsiteX1019" fmla="*/ 552254 w 11856555"/>
              <a:gd name="connsiteY1019" fmla="*/ 1836795 h 4071735"/>
              <a:gd name="connsiteX1020" fmla="*/ 605637 w 11856555"/>
              <a:gd name="connsiteY1020" fmla="*/ 1829426 h 4071735"/>
              <a:gd name="connsiteX1021" fmla="*/ 660895 w 11856555"/>
              <a:gd name="connsiteY1021" fmla="*/ 1818204 h 4071735"/>
              <a:gd name="connsiteX1022" fmla="*/ 639697 w 11856555"/>
              <a:gd name="connsiteY1022" fmla="*/ 1832169 h 4071735"/>
              <a:gd name="connsiteX1023" fmla="*/ 619500 w 11856555"/>
              <a:gd name="connsiteY1023" fmla="*/ 1830542 h 4071735"/>
              <a:gd name="connsiteX1024" fmla="*/ 10937560 w 11856555"/>
              <a:gd name="connsiteY1024" fmla="*/ 1813270 h 4071735"/>
              <a:gd name="connsiteX1025" fmla="*/ 10927758 w 11856555"/>
              <a:gd name="connsiteY1025" fmla="*/ 1814508 h 4071735"/>
              <a:gd name="connsiteX1026" fmla="*/ 10945134 w 11856555"/>
              <a:gd name="connsiteY1026" fmla="*/ 1818802 h 4071735"/>
              <a:gd name="connsiteX1027" fmla="*/ 10937560 w 11856555"/>
              <a:gd name="connsiteY1027" fmla="*/ 1813270 h 4071735"/>
              <a:gd name="connsiteX1028" fmla="*/ 699352 w 11856555"/>
              <a:gd name="connsiteY1028" fmla="*/ 1809439 h 4071735"/>
              <a:gd name="connsiteX1029" fmla="*/ 703979 w 11856555"/>
              <a:gd name="connsiteY1029" fmla="*/ 1814365 h 4071735"/>
              <a:gd name="connsiteX1030" fmla="*/ 674007 w 11856555"/>
              <a:gd name="connsiteY1030" fmla="*/ 1817036 h 4071735"/>
              <a:gd name="connsiteX1031" fmla="*/ 691319 w 11856555"/>
              <a:gd name="connsiteY1031" fmla="*/ 1810018 h 4071735"/>
              <a:gd name="connsiteX1032" fmla="*/ 699352 w 11856555"/>
              <a:gd name="connsiteY1032" fmla="*/ 1809439 h 4071735"/>
              <a:gd name="connsiteX1033" fmla="*/ 732633 w 11856555"/>
              <a:gd name="connsiteY1033" fmla="*/ 1804875 h 4071735"/>
              <a:gd name="connsiteX1034" fmla="*/ 741700 w 11856555"/>
              <a:gd name="connsiteY1034" fmla="*/ 1813923 h 4071735"/>
              <a:gd name="connsiteX1035" fmla="*/ 720320 w 11856555"/>
              <a:gd name="connsiteY1035" fmla="*/ 1807067 h 4071735"/>
              <a:gd name="connsiteX1036" fmla="*/ 732633 w 11856555"/>
              <a:gd name="connsiteY1036" fmla="*/ 1804875 h 4071735"/>
              <a:gd name="connsiteX1037" fmla="*/ 1409608 w 11856555"/>
              <a:gd name="connsiteY1037" fmla="*/ 1799811 h 4071735"/>
              <a:gd name="connsiteX1038" fmla="*/ 1400084 w 11856555"/>
              <a:gd name="connsiteY1038" fmla="*/ 1807823 h 4071735"/>
              <a:gd name="connsiteX1039" fmla="*/ 1411357 w 11856555"/>
              <a:gd name="connsiteY1039" fmla="*/ 1810060 h 4071735"/>
              <a:gd name="connsiteX1040" fmla="*/ 1423436 w 11856555"/>
              <a:gd name="connsiteY1040" fmla="*/ 1806103 h 4071735"/>
              <a:gd name="connsiteX1041" fmla="*/ 1423022 w 11856555"/>
              <a:gd name="connsiteY1041" fmla="*/ 1804724 h 4071735"/>
              <a:gd name="connsiteX1042" fmla="*/ 1409608 w 11856555"/>
              <a:gd name="connsiteY1042" fmla="*/ 1799811 h 4071735"/>
              <a:gd name="connsiteX1043" fmla="*/ 996012 w 11856555"/>
              <a:gd name="connsiteY1043" fmla="*/ 1789768 h 4071735"/>
              <a:gd name="connsiteX1044" fmla="*/ 1003943 w 11856555"/>
              <a:gd name="connsiteY1044" fmla="*/ 1790554 h 4071735"/>
              <a:gd name="connsiteX1045" fmla="*/ 995653 w 11856555"/>
              <a:gd name="connsiteY1045" fmla="*/ 1790200 h 4071735"/>
              <a:gd name="connsiteX1046" fmla="*/ 1391019 w 11856555"/>
              <a:gd name="connsiteY1046" fmla="*/ 1777602 h 4071735"/>
              <a:gd name="connsiteX1047" fmla="*/ 1390651 w 11856555"/>
              <a:gd name="connsiteY1047" fmla="*/ 1778091 h 4071735"/>
              <a:gd name="connsiteX1048" fmla="*/ 1392448 w 11856555"/>
              <a:gd name="connsiteY1048" fmla="*/ 1783782 h 4071735"/>
              <a:gd name="connsiteX1049" fmla="*/ 1394903 w 11856555"/>
              <a:gd name="connsiteY1049" fmla="*/ 1778487 h 4071735"/>
              <a:gd name="connsiteX1050" fmla="*/ 1391019 w 11856555"/>
              <a:gd name="connsiteY1050" fmla="*/ 1777602 h 4071735"/>
              <a:gd name="connsiteX1051" fmla="*/ 10975618 w 11856555"/>
              <a:gd name="connsiteY1051" fmla="*/ 1776823 h 4071735"/>
              <a:gd name="connsiteX1052" fmla="*/ 10969221 w 11856555"/>
              <a:gd name="connsiteY1052" fmla="*/ 1794797 h 4071735"/>
              <a:gd name="connsiteX1053" fmla="*/ 10968868 w 11856555"/>
              <a:gd name="connsiteY1053" fmla="*/ 1799481 h 4071735"/>
              <a:gd name="connsiteX1054" fmla="*/ 10966529 w 11856555"/>
              <a:gd name="connsiteY1054" fmla="*/ 1799371 h 4071735"/>
              <a:gd name="connsiteX1055" fmla="*/ 10968452 w 11856555"/>
              <a:gd name="connsiteY1055" fmla="*/ 1805042 h 4071735"/>
              <a:gd name="connsiteX1056" fmla="*/ 10968868 w 11856555"/>
              <a:gd name="connsiteY1056" fmla="*/ 1799481 h 4071735"/>
              <a:gd name="connsiteX1057" fmla="*/ 10988676 w 11856555"/>
              <a:gd name="connsiteY1057" fmla="*/ 1800403 h 4071735"/>
              <a:gd name="connsiteX1058" fmla="*/ 10991446 w 11856555"/>
              <a:gd name="connsiteY1058" fmla="*/ 1808833 h 4071735"/>
              <a:gd name="connsiteX1059" fmla="*/ 10991415 w 11856555"/>
              <a:gd name="connsiteY1059" fmla="*/ 1800531 h 4071735"/>
              <a:gd name="connsiteX1060" fmla="*/ 10988676 w 11856555"/>
              <a:gd name="connsiteY1060" fmla="*/ 1800403 h 4071735"/>
              <a:gd name="connsiteX1061" fmla="*/ 10984903 w 11856555"/>
              <a:gd name="connsiteY1061" fmla="*/ 1788921 h 4071735"/>
              <a:gd name="connsiteX1062" fmla="*/ 10979671 w 11856555"/>
              <a:gd name="connsiteY1062" fmla="*/ 1778989 h 4071735"/>
              <a:gd name="connsiteX1063" fmla="*/ 10975618 w 11856555"/>
              <a:gd name="connsiteY1063" fmla="*/ 1776823 h 4071735"/>
              <a:gd name="connsiteX1064" fmla="*/ 899192 w 11856555"/>
              <a:gd name="connsiteY1064" fmla="*/ 1771415 h 4071735"/>
              <a:gd name="connsiteX1065" fmla="*/ 883287 w 11856555"/>
              <a:gd name="connsiteY1065" fmla="*/ 1792546 h 4071735"/>
              <a:gd name="connsiteX1066" fmla="*/ 906090 w 11856555"/>
              <a:gd name="connsiteY1066" fmla="*/ 1772990 h 4071735"/>
              <a:gd name="connsiteX1067" fmla="*/ 899192 w 11856555"/>
              <a:gd name="connsiteY1067" fmla="*/ 1771415 h 4071735"/>
              <a:gd name="connsiteX1068" fmla="*/ 11164822 w 11856555"/>
              <a:gd name="connsiteY1068" fmla="*/ 1770750 h 4071735"/>
              <a:gd name="connsiteX1069" fmla="*/ 11182499 w 11856555"/>
              <a:gd name="connsiteY1069" fmla="*/ 1771633 h 4071735"/>
              <a:gd name="connsiteX1070" fmla="*/ 11174171 w 11856555"/>
              <a:gd name="connsiteY1070" fmla="*/ 1772380 h 4071735"/>
              <a:gd name="connsiteX1071" fmla="*/ 11164268 w 11856555"/>
              <a:gd name="connsiteY1071" fmla="*/ 1773923 h 4071735"/>
              <a:gd name="connsiteX1072" fmla="*/ 11192800 w 11856555"/>
              <a:gd name="connsiteY1072" fmla="*/ 1770709 h 4071735"/>
              <a:gd name="connsiteX1073" fmla="*/ 11201566 w 11856555"/>
              <a:gd name="connsiteY1073" fmla="*/ 1772586 h 4071735"/>
              <a:gd name="connsiteX1074" fmla="*/ 11182499 w 11856555"/>
              <a:gd name="connsiteY1074" fmla="*/ 1771633 h 4071735"/>
              <a:gd name="connsiteX1075" fmla="*/ 956148 w 11856555"/>
              <a:gd name="connsiteY1075" fmla="*/ 1762690 h 4071735"/>
              <a:gd name="connsiteX1076" fmla="*/ 957686 w 11856555"/>
              <a:gd name="connsiteY1076" fmla="*/ 1766817 h 4071735"/>
              <a:gd name="connsiteX1077" fmla="*/ 954074 w 11856555"/>
              <a:gd name="connsiteY1077" fmla="*/ 1769105 h 4071735"/>
              <a:gd name="connsiteX1078" fmla="*/ 1337905 w 11856555"/>
              <a:gd name="connsiteY1078" fmla="*/ 1762011 h 4071735"/>
              <a:gd name="connsiteX1079" fmla="*/ 1338310 w 11856555"/>
              <a:gd name="connsiteY1079" fmla="*/ 1762166 h 4071735"/>
              <a:gd name="connsiteX1080" fmla="*/ 1337258 w 11856555"/>
              <a:gd name="connsiteY1080" fmla="*/ 1762362 h 4071735"/>
              <a:gd name="connsiteX1081" fmla="*/ 1392677 w 11856555"/>
              <a:gd name="connsiteY1081" fmla="*/ 1751169 h 4071735"/>
              <a:gd name="connsiteX1082" fmla="*/ 1394883 w 11856555"/>
              <a:gd name="connsiteY1082" fmla="*/ 1753599 h 4071735"/>
              <a:gd name="connsiteX1083" fmla="*/ 1387801 w 11856555"/>
              <a:gd name="connsiteY1083" fmla="*/ 1753839 h 4071735"/>
              <a:gd name="connsiteX1084" fmla="*/ 1064599 w 11856555"/>
              <a:gd name="connsiteY1084" fmla="*/ 1729661 h 4071735"/>
              <a:gd name="connsiteX1085" fmla="*/ 1064599 w 11856555"/>
              <a:gd name="connsiteY1085" fmla="*/ 1729661 h 4071735"/>
              <a:gd name="connsiteX1086" fmla="*/ 919310 w 11856555"/>
              <a:gd name="connsiteY1086" fmla="*/ 1728005 h 4071735"/>
              <a:gd name="connsiteX1087" fmla="*/ 919526 w 11856555"/>
              <a:gd name="connsiteY1087" fmla="*/ 1754271 h 4071735"/>
              <a:gd name="connsiteX1088" fmla="*/ 919310 w 11856555"/>
              <a:gd name="connsiteY1088" fmla="*/ 1728005 h 4071735"/>
              <a:gd name="connsiteX1089" fmla="*/ 961798 w 11856555"/>
              <a:gd name="connsiteY1089" fmla="*/ 1726455 h 4071735"/>
              <a:gd name="connsiteX1090" fmla="*/ 957312 w 11856555"/>
              <a:gd name="connsiteY1090" fmla="*/ 1733381 h 4071735"/>
              <a:gd name="connsiteX1091" fmla="*/ 978175 w 11856555"/>
              <a:gd name="connsiteY1091" fmla="*/ 1734442 h 4071735"/>
              <a:gd name="connsiteX1092" fmla="*/ 961798 w 11856555"/>
              <a:gd name="connsiteY1092" fmla="*/ 1726455 h 4071735"/>
              <a:gd name="connsiteX1093" fmla="*/ 1141476 w 11856555"/>
              <a:gd name="connsiteY1093" fmla="*/ 1725891 h 4071735"/>
              <a:gd name="connsiteX1094" fmla="*/ 1132970 w 11856555"/>
              <a:gd name="connsiteY1094" fmla="*/ 1734155 h 4071735"/>
              <a:gd name="connsiteX1095" fmla="*/ 1122937 w 11856555"/>
              <a:gd name="connsiteY1095" fmla="*/ 1727389 h 4071735"/>
              <a:gd name="connsiteX1096" fmla="*/ 1123161 w 11856555"/>
              <a:gd name="connsiteY1096" fmla="*/ 1727363 h 4071735"/>
              <a:gd name="connsiteX1097" fmla="*/ 939163 w 11856555"/>
              <a:gd name="connsiteY1097" fmla="*/ 1720395 h 4071735"/>
              <a:gd name="connsiteX1098" fmla="*/ 939163 w 11856555"/>
              <a:gd name="connsiteY1098" fmla="*/ 1720395 h 4071735"/>
              <a:gd name="connsiteX1099" fmla="*/ 1097969 w 11856555"/>
              <a:gd name="connsiteY1099" fmla="*/ 1710168 h 4071735"/>
              <a:gd name="connsiteX1100" fmla="*/ 1101546 w 11856555"/>
              <a:gd name="connsiteY1100" fmla="*/ 1720528 h 4071735"/>
              <a:gd name="connsiteX1101" fmla="*/ 1097969 w 11856555"/>
              <a:gd name="connsiteY1101" fmla="*/ 1710168 h 4071735"/>
              <a:gd name="connsiteX1102" fmla="*/ 1201923 w 11856555"/>
              <a:gd name="connsiteY1102" fmla="*/ 1702822 h 4071735"/>
              <a:gd name="connsiteX1103" fmla="*/ 1191975 w 11856555"/>
              <a:gd name="connsiteY1103" fmla="*/ 1718311 h 4071735"/>
              <a:gd name="connsiteX1104" fmla="*/ 1201923 w 11856555"/>
              <a:gd name="connsiteY1104" fmla="*/ 1702822 h 4071735"/>
              <a:gd name="connsiteX1105" fmla="*/ 1636852 w 11856555"/>
              <a:gd name="connsiteY1105" fmla="*/ 1702487 h 4071735"/>
              <a:gd name="connsiteX1106" fmla="*/ 1613889 w 11856555"/>
              <a:gd name="connsiteY1106" fmla="*/ 1706998 h 4071735"/>
              <a:gd name="connsiteX1107" fmla="*/ 1640114 w 11856555"/>
              <a:gd name="connsiteY1107" fmla="*/ 1704661 h 4071735"/>
              <a:gd name="connsiteX1108" fmla="*/ 1636852 w 11856555"/>
              <a:gd name="connsiteY1108" fmla="*/ 1702487 h 4071735"/>
              <a:gd name="connsiteX1109" fmla="*/ 1709494 w 11856555"/>
              <a:gd name="connsiteY1109" fmla="*/ 1685381 h 4071735"/>
              <a:gd name="connsiteX1110" fmla="*/ 1704060 w 11856555"/>
              <a:gd name="connsiteY1110" fmla="*/ 1701883 h 4071735"/>
              <a:gd name="connsiteX1111" fmla="*/ 1709494 w 11856555"/>
              <a:gd name="connsiteY1111" fmla="*/ 1685381 h 4071735"/>
              <a:gd name="connsiteX1112" fmla="*/ 1686266 w 11856555"/>
              <a:gd name="connsiteY1112" fmla="*/ 1680652 h 4071735"/>
              <a:gd name="connsiteX1113" fmla="*/ 1680032 w 11856555"/>
              <a:gd name="connsiteY1113" fmla="*/ 1686502 h 4071735"/>
              <a:gd name="connsiteX1114" fmla="*/ 1704643 w 11856555"/>
              <a:gd name="connsiteY1114" fmla="*/ 1687229 h 4071735"/>
              <a:gd name="connsiteX1115" fmla="*/ 1686266 w 11856555"/>
              <a:gd name="connsiteY1115" fmla="*/ 1680652 h 4071735"/>
              <a:gd name="connsiteX1116" fmla="*/ 1635400 w 11856555"/>
              <a:gd name="connsiteY1116" fmla="*/ 1672956 h 4071735"/>
              <a:gd name="connsiteX1117" fmla="*/ 1631329 w 11856555"/>
              <a:gd name="connsiteY1117" fmla="*/ 1690842 h 4071735"/>
              <a:gd name="connsiteX1118" fmla="*/ 1635400 w 11856555"/>
              <a:gd name="connsiteY1118" fmla="*/ 1672956 h 4071735"/>
              <a:gd name="connsiteX1119" fmla="*/ 1189976 w 11856555"/>
              <a:gd name="connsiteY1119" fmla="*/ 1664095 h 4071735"/>
              <a:gd name="connsiteX1120" fmla="*/ 1160521 w 11856555"/>
              <a:gd name="connsiteY1120" fmla="*/ 1683148 h 4071735"/>
              <a:gd name="connsiteX1121" fmla="*/ 1189976 w 11856555"/>
              <a:gd name="connsiteY1121" fmla="*/ 1664095 h 4071735"/>
              <a:gd name="connsiteX1122" fmla="*/ 1239518 w 11856555"/>
              <a:gd name="connsiteY1122" fmla="*/ 1658584 h 4071735"/>
              <a:gd name="connsiteX1123" fmla="*/ 1241843 w 11856555"/>
              <a:gd name="connsiteY1123" fmla="*/ 1684662 h 4071735"/>
              <a:gd name="connsiteX1124" fmla="*/ 1239518 w 11856555"/>
              <a:gd name="connsiteY1124" fmla="*/ 1658584 h 4071735"/>
              <a:gd name="connsiteX1125" fmla="*/ 1622209 w 11856555"/>
              <a:gd name="connsiteY1125" fmla="*/ 1657656 h 4071735"/>
              <a:gd name="connsiteX1126" fmla="*/ 1620497 w 11856555"/>
              <a:gd name="connsiteY1126" fmla="*/ 1657992 h 4071735"/>
              <a:gd name="connsiteX1127" fmla="*/ 1623113 w 11856555"/>
              <a:gd name="connsiteY1127" fmla="*/ 1663509 h 4071735"/>
              <a:gd name="connsiteX1128" fmla="*/ 1624508 w 11856555"/>
              <a:gd name="connsiteY1128" fmla="*/ 1662286 h 4071735"/>
              <a:gd name="connsiteX1129" fmla="*/ 1122349 w 11856555"/>
              <a:gd name="connsiteY1129" fmla="*/ 1657344 h 4071735"/>
              <a:gd name="connsiteX1130" fmla="*/ 1104423 w 11856555"/>
              <a:gd name="connsiteY1130" fmla="*/ 1657481 h 4071735"/>
              <a:gd name="connsiteX1131" fmla="*/ 1087276 w 11856555"/>
              <a:gd name="connsiteY1131" fmla="*/ 1666309 h 4071735"/>
              <a:gd name="connsiteX1132" fmla="*/ 1122349 w 11856555"/>
              <a:gd name="connsiteY1132" fmla="*/ 1657344 h 4071735"/>
              <a:gd name="connsiteX1133" fmla="*/ 1675318 w 11856555"/>
              <a:gd name="connsiteY1133" fmla="*/ 1654796 h 4071735"/>
              <a:gd name="connsiteX1134" fmla="*/ 1675318 w 11856555"/>
              <a:gd name="connsiteY1134" fmla="*/ 1654796 h 4071735"/>
              <a:gd name="connsiteX1135" fmla="*/ 1730224 w 11856555"/>
              <a:gd name="connsiteY1135" fmla="*/ 1635301 h 4071735"/>
              <a:gd name="connsiteX1136" fmla="*/ 1709876 w 11856555"/>
              <a:gd name="connsiteY1136" fmla="*/ 1640034 h 4071735"/>
              <a:gd name="connsiteX1137" fmla="*/ 1730224 w 11856555"/>
              <a:gd name="connsiteY1137" fmla="*/ 1635301 h 4071735"/>
              <a:gd name="connsiteX1138" fmla="*/ 1935267 w 11856555"/>
              <a:gd name="connsiteY1138" fmla="*/ 1630491 h 4071735"/>
              <a:gd name="connsiteX1139" fmla="*/ 1949318 w 11856555"/>
              <a:gd name="connsiteY1139" fmla="*/ 1636221 h 4071735"/>
              <a:gd name="connsiteX1140" fmla="*/ 1935267 w 11856555"/>
              <a:gd name="connsiteY1140" fmla="*/ 1630491 h 4071735"/>
              <a:gd name="connsiteX1141" fmla="*/ 1791005 w 11856555"/>
              <a:gd name="connsiteY1141" fmla="*/ 1618202 h 4071735"/>
              <a:gd name="connsiteX1142" fmla="*/ 1780638 w 11856555"/>
              <a:gd name="connsiteY1142" fmla="*/ 1618397 h 4071735"/>
              <a:gd name="connsiteX1143" fmla="*/ 1770659 w 11856555"/>
              <a:gd name="connsiteY1143" fmla="*/ 1622936 h 4071735"/>
              <a:gd name="connsiteX1144" fmla="*/ 1791005 w 11856555"/>
              <a:gd name="connsiteY1144" fmla="*/ 1618202 h 4071735"/>
              <a:gd name="connsiteX1145" fmla="*/ 1900301 w 11856555"/>
              <a:gd name="connsiteY1145" fmla="*/ 1617819 h 4071735"/>
              <a:gd name="connsiteX1146" fmla="*/ 1890217 w 11856555"/>
              <a:gd name="connsiteY1146" fmla="*/ 1629805 h 4071735"/>
              <a:gd name="connsiteX1147" fmla="*/ 1900301 w 11856555"/>
              <a:gd name="connsiteY1147" fmla="*/ 1617819 h 4071735"/>
              <a:gd name="connsiteX1148" fmla="*/ 1844813 w 11856555"/>
              <a:gd name="connsiteY1148" fmla="*/ 1615035 h 4071735"/>
              <a:gd name="connsiteX1149" fmla="*/ 1844576 w 11856555"/>
              <a:gd name="connsiteY1149" fmla="*/ 1615528 h 4071735"/>
              <a:gd name="connsiteX1150" fmla="*/ 1844625 w 11856555"/>
              <a:gd name="connsiteY1150" fmla="*/ 1616270 h 4071735"/>
              <a:gd name="connsiteX1151" fmla="*/ 1843712 w 11856555"/>
              <a:gd name="connsiteY1151" fmla="*/ 1616426 h 4071735"/>
              <a:gd name="connsiteX1152" fmla="*/ 1876477 w 11856555"/>
              <a:gd name="connsiteY1152" fmla="*/ 1603804 h 4071735"/>
              <a:gd name="connsiteX1153" fmla="*/ 1853496 w 11856555"/>
              <a:gd name="connsiteY1153" fmla="*/ 1604056 h 4071735"/>
              <a:gd name="connsiteX1154" fmla="*/ 1844813 w 11856555"/>
              <a:gd name="connsiteY1154" fmla="*/ 1615035 h 4071735"/>
              <a:gd name="connsiteX1155" fmla="*/ 1848556 w 11856555"/>
              <a:gd name="connsiteY1155" fmla="*/ 1607234 h 4071735"/>
              <a:gd name="connsiteX1156" fmla="*/ 1721243 w 11856555"/>
              <a:gd name="connsiteY1156" fmla="*/ 1682829 h 4071735"/>
              <a:gd name="connsiteX1157" fmla="*/ 1838544 w 11856555"/>
              <a:gd name="connsiteY1157" fmla="*/ 1643171 h 4071735"/>
              <a:gd name="connsiteX1158" fmla="*/ 1845923 w 11856555"/>
              <a:gd name="connsiteY1158" fmla="*/ 1635943 h 4071735"/>
              <a:gd name="connsiteX1159" fmla="*/ 1844625 w 11856555"/>
              <a:gd name="connsiteY1159" fmla="*/ 1616270 h 4071735"/>
              <a:gd name="connsiteX1160" fmla="*/ 1867129 w 11856555"/>
              <a:gd name="connsiteY1160" fmla="*/ 1612423 h 4071735"/>
              <a:gd name="connsiteX1161" fmla="*/ 1876477 w 11856555"/>
              <a:gd name="connsiteY1161" fmla="*/ 1603804 h 4071735"/>
              <a:gd name="connsiteX1162" fmla="*/ 1905875 w 11856555"/>
              <a:gd name="connsiteY1162" fmla="*/ 1588983 h 4071735"/>
              <a:gd name="connsiteX1163" fmla="*/ 1882275 w 11856555"/>
              <a:gd name="connsiteY1163" fmla="*/ 1604229 h 4071735"/>
              <a:gd name="connsiteX1164" fmla="*/ 1905875 w 11856555"/>
              <a:gd name="connsiteY1164" fmla="*/ 1588983 h 4071735"/>
              <a:gd name="connsiteX1165" fmla="*/ 2009461 w 11856555"/>
              <a:gd name="connsiteY1165" fmla="*/ 1581486 h 4071735"/>
              <a:gd name="connsiteX1166" fmla="*/ 1927746 w 11856555"/>
              <a:gd name="connsiteY1166" fmla="*/ 1606017 h 4071735"/>
              <a:gd name="connsiteX1167" fmla="*/ 2029482 w 11856555"/>
              <a:gd name="connsiteY1167" fmla="*/ 1582349 h 4071735"/>
              <a:gd name="connsiteX1168" fmla="*/ 2009461 w 11856555"/>
              <a:gd name="connsiteY1168" fmla="*/ 1581486 h 4071735"/>
              <a:gd name="connsiteX1169" fmla="*/ 2013461 w 11856555"/>
              <a:gd name="connsiteY1169" fmla="*/ 1572094 h 4071735"/>
              <a:gd name="connsiteX1170" fmla="*/ 2013461 w 11856555"/>
              <a:gd name="connsiteY1170" fmla="*/ 1572094 h 4071735"/>
              <a:gd name="connsiteX1171" fmla="*/ 9635229 w 11856555"/>
              <a:gd name="connsiteY1171" fmla="*/ 1526660 h 4071735"/>
              <a:gd name="connsiteX1172" fmla="*/ 9626380 w 11856555"/>
              <a:gd name="connsiteY1172" fmla="*/ 1533288 h 4071735"/>
              <a:gd name="connsiteX1173" fmla="*/ 9635229 w 11856555"/>
              <a:gd name="connsiteY1173" fmla="*/ 1526660 h 4071735"/>
              <a:gd name="connsiteX1174" fmla="*/ 9818510 w 11856555"/>
              <a:gd name="connsiteY1174" fmla="*/ 1507041 h 4071735"/>
              <a:gd name="connsiteX1175" fmla="*/ 9770547 w 11856555"/>
              <a:gd name="connsiteY1175" fmla="*/ 1540886 h 4071735"/>
              <a:gd name="connsiteX1176" fmla="*/ 9818510 w 11856555"/>
              <a:gd name="connsiteY1176" fmla="*/ 1507041 h 4071735"/>
              <a:gd name="connsiteX1177" fmla="*/ 1975991 w 11856555"/>
              <a:gd name="connsiteY1177" fmla="*/ 1506803 h 4071735"/>
              <a:gd name="connsiteX1178" fmla="*/ 1954234 w 11856555"/>
              <a:gd name="connsiteY1178" fmla="*/ 1521883 h 4071735"/>
              <a:gd name="connsiteX1179" fmla="*/ 1981559 w 11856555"/>
              <a:gd name="connsiteY1179" fmla="*/ 1510686 h 4071735"/>
              <a:gd name="connsiteX1180" fmla="*/ 1975991 w 11856555"/>
              <a:gd name="connsiteY1180" fmla="*/ 1506803 h 4071735"/>
              <a:gd name="connsiteX1181" fmla="*/ 10239358 w 11856555"/>
              <a:gd name="connsiteY1181" fmla="*/ 1504950 h 4071735"/>
              <a:gd name="connsiteX1182" fmla="*/ 10240704 w 11856555"/>
              <a:gd name="connsiteY1182" fmla="*/ 1508314 h 4071735"/>
              <a:gd name="connsiteX1183" fmla="*/ 10238459 w 11856555"/>
              <a:gd name="connsiteY1183" fmla="*/ 1508453 h 4071735"/>
              <a:gd name="connsiteX1184" fmla="*/ 10237189 w 11856555"/>
              <a:gd name="connsiteY1184" fmla="*/ 1507549 h 4071735"/>
              <a:gd name="connsiteX1185" fmla="*/ 10281114 w 11856555"/>
              <a:gd name="connsiteY1185" fmla="*/ 1503101 h 4071735"/>
              <a:gd name="connsiteX1186" fmla="*/ 10298201 w 11856555"/>
              <a:gd name="connsiteY1186" fmla="*/ 1508468 h 4071735"/>
              <a:gd name="connsiteX1187" fmla="*/ 10247025 w 11856555"/>
              <a:gd name="connsiteY1187" fmla="*/ 1524116 h 4071735"/>
              <a:gd name="connsiteX1188" fmla="*/ 10240704 w 11856555"/>
              <a:gd name="connsiteY1188" fmla="*/ 1508314 h 4071735"/>
              <a:gd name="connsiteX1189" fmla="*/ 10260082 w 11856555"/>
              <a:gd name="connsiteY1189" fmla="*/ 1507119 h 4071735"/>
              <a:gd name="connsiteX1190" fmla="*/ 10281114 w 11856555"/>
              <a:gd name="connsiteY1190" fmla="*/ 1503101 h 4071735"/>
              <a:gd name="connsiteX1191" fmla="*/ 9664491 w 11856555"/>
              <a:gd name="connsiteY1191" fmla="*/ 1494847 h 4071735"/>
              <a:gd name="connsiteX1192" fmla="*/ 9639816 w 11856555"/>
              <a:gd name="connsiteY1192" fmla="*/ 1514569 h 4071735"/>
              <a:gd name="connsiteX1193" fmla="*/ 9664491 w 11856555"/>
              <a:gd name="connsiteY1193" fmla="*/ 1494847 h 4071735"/>
              <a:gd name="connsiteX1194" fmla="*/ 10292300 w 11856555"/>
              <a:gd name="connsiteY1194" fmla="*/ 1487919 h 4071735"/>
              <a:gd name="connsiteX1195" fmla="*/ 10292381 w 11856555"/>
              <a:gd name="connsiteY1195" fmla="*/ 1488180 h 4071735"/>
              <a:gd name="connsiteX1196" fmla="*/ 10281071 w 11856555"/>
              <a:gd name="connsiteY1196" fmla="*/ 1494708 h 4071735"/>
              <a:gd name="connsiteX1197" fmla="*/ 10274684 w 11856555"/>
              <a:gd name="connsiteY1197" fmla="*/ 1490069 h 4071735"/>
              <a:gd name="connsiteX1198" fmla="*/ 10278363 w 11856555"/>
              <a:gd name="connsiteY1198" fmla="*/ 1489792 h 4071735"/>
              <a:gd name="connsiteX1199" fmla="*/ 10271008 w 11856555"/>
              <a:gd name="connsiteY1199" fmla="*/ 1484345 h 4071735"/>
              <a:gd name="connsiteX1200" fmla="*/ 10268072 w 11856555"/>
              <a:gd name="connsiteY1200" fmla="*/ 1485264 h 4071735"/>
              <a:gd name="connsiteX1201" fmla="*/ 10267740 w 11856555"/>
              <a:gd name="connsiteY1201" fmla="*/ 1485025 h 4071735"/>
              <a:gd name="connsiteX1202" fmla="*/ 10269557 w 11856555"/>
              <a:gd name="connsiteY1202" fmla="*/ 1484645 h 4071735"/>
              <a:gd name="connsiteX1203" fmla="*/ 10271008 w 11856555"/>
              <a:gd name="connsiteY1203" fmla="*/ 1484345 h 4071735"/>
              <a:gd name="connsiteX1204" fmla="*/ 10266759 w 11856555"/>
              <a:gd name="connsiteY1204" fmla="*/ 1484310 h 4071735"/>
              <a:gd name="connsiteX1205" fmla="*/ 10267740 w 11856555"/>
              <a:gd name="connsiteY1205" fmla="*/ 1485025 h 4071735"/>
              <a:gd name="connsiteX1206" fmla="*/ 10262950 w 11856555"/>
              <a:gd name="connsiteY1206" fmla="*/ 1486025 h 4071735"/>
              <a:gd name="connsiteX1207" fmla="*/ 1723782 w 11856555"/>
              <a:gd name="connsiteY1207" fmla="*/ 1481851 h 4071735"/>
              <a:gd name="connsiteX1208" fmla="*/ 1722246 w 11856555"/>
              <a:gd name="connsiteY1208" fmla="*/ 1482550 h 4071735"/>
              <a:gd name="connsiteX1209" fmla="*/ 1713308 w 11856555"/>
              <a:gd name="connsiteY1209" fmla="*/ 1487863 h 4071735"/>
              <a:gd name="connsiteX1210" fmla="*/ 1718901 w 11856555"/>
              <a:gd name="connsiteY1210" fmla="*/ 1482757 h 4071735"/>
              <a:gd name="connsiteX1211" fmla="*/ 10292195 w 11856555"/>
              <a:gd name="connsiteY1211" fmla="*/ 1472863 h 4071735"/>
              <a:gd name="connsiteX1212" fmla="*/ 10329336 w 11856555"/>
              <a:gd name="connsiteY1212" fmla="*/ 1476489 h 4071735"/>
              <a:gd name="connsiteX1213" fmla="*/ 10314541 w 11856555"/>
              <a:gd name="connsiteY1213" fmla="*/ 1484926 h 4071735"/>
              <a:gd name="connsiteX1214" fmla="*/ 10292300 w 11856555"/>
              <a:gd name="connsiteY1214" fmla="*/ 1487919 h 4071735"/>
              <a:gd name="connsiteX1215" fmla="*/ 10288232 w 11856555"/>
              <a:gd name="connsiteY1215" fmla="*/ 1474647 h 4071735"/>
              <a:gd name="connsiteX1216" fmla="*/ 10045778 w 11856555"/>
              <a:gd name="connsiteY1216" fmla="*/ 1472552 h 4071735"/>
              <a:gd name="connsiteX1217" fmla="*/ 10035209 w 11856555"/>
              <a:gd name="connsiteY1217" fmla="*/ 1473129 h 4071735"/>
              <a:gd name="connsiteX1218" fmla="*/ 10029432 w 11856555"/>
              <a:gd name="connsiteY1218" fmla="*/ 1479850 h 4071735"/>
              <a:gd name="connsiteX1219" fmla="*/ 10045778 w 11856555"/>
              <a:gd name="connsiteY1219" fmla="*/ 1472552 h 4071735"/>
              <a:gd name="connsiteX1220" fmla="*/ 1802786 w 11856555"/>
              <a:gd name="connsiteY1220" fmla="*/ 1462048 h 4071735"/>
              <a:gd name="connsiteX1221" fmla="*/ 1807943 w 11856555"/>
              <a:gd name="connsiteY1221" fmla="*/ 1464859 h 4071735"/>
              <a:gd name="connsiteX1222" fmla="*/ 1800615 w 11856555"/>
              <a:gd name="connsiteY1222" fmla="*/ 1470272 h 4071735"/>
              <a:gd name="connsiteX1223" fmla="*/ 1799507 w 11856555"/>
              <a:gd name="connsiteY1223" fmla="*/ 1471394 h 4071735"/>
              <a:gd name="connsiteX1224" fmla="*/ 1790948 w 11856555"/>
              <a:gd name="connsiteY1224" fmla="*/ 1469264 h 4071735"/>
              <a:gd name="connsiteX1225" fmla="*/ 1802786 w 11856555"/>
              <a:gd name="connsiteY1225" fmla="*/ 1462048 h 4071735"/>
              <a:gd name="connsiteX1226" fmla="*/ 10278052 w 11856555"/>
              <a:gd name="connsiteY1226" fmla="*/ 1451854 h 4071735"/>
              <a:gd name="connsiteX1227" fmla="*/ 10284687 w 11856555"/>
              <a:gd name="connsiteY1227" fmla="*/ 1463081 h 4071735"/>
              <a:gd name="connsiteX1228" fmla="*/ 10288232 w 11856555"/>
              <a:gd name="connsiteY1228" fmla="*/ 1474647 h 4071735"/>
              <a:gd name="connsiteX1229" fmla="*/ 10266759 w 11856555"/>
              <a:gd name="connsiteY1229" fmla="*/ 1484310 h 4071735"/>
              <a:gd name="connsiteX1230" fmla="*/ 10262025 w 11856555"/>
              <a:gd name="connsiteY1230" fmla="*/ 1480873 h 4071735"/>
              <a:gd name="connsiteX1231" fmla="*/ 10250223 w 11856555"/>
              <a:gd name="connsiteY1231" fmla="*/ 1469327 h 4071735"/>
              <a:gd name="connsiteX1232" fmla="*/ 1894556 w 11856555"/>
              <a:gd name="connsiteY1232" fmla="*/ 1445428 h 4071735"/>
              <a:gd name="connsiteX1233" fmla="*/ 1901912 w 11856555"/>
              <a:gd name="connsiteY1233" fmla="*/ 1448226 h 4071735"/>
              <a:gd name="connsiteX1234" fmla="*/ 1903508 w 11856555"/>
              <a:gd name="connsiteY1234" fmla="*/ 1447434 h 4071735"/>
              <a:gd name="connsiteX1235" fmla="*/ 1865201 w 11856555"/>
              <a:gd name="connsiteY1235" fmla="*/ 1442750 h 4071735"/>
              <a:gd name="connsiteX1236" fmla="*/ 1883575 w 11856555"/>
              <a:gd name="connsiteY1236" fmla="*/ 1449326 h 4071735"/>
              <a:gd name="connsiteX1237" fmla="*/ 1865201 w 11856555"/>
              <a:gd name="connsiteY1237" fmla="*/ 1442750 h 4071735"/>
              <a:gd name="connsiteX1238" fmla="*/ 1851109 w 11856555"/>
              <a:gd name="connsiteY1238" fmla="*/ 1440786 h 4071735"/>
              <a:gd name="connsiteX1239" fmla="*/ 1833689 w 11856555"/>
              <a:gd name="connsiteY1239" fmla="*/ 1447780 h 4071735"/>
              <a:gd name="connsiteX1240" fmla="*/ 1834820 w 11856555"/>
              <a:gd name="connsiteY1240" fmla="*/ 1442811 h 4071735"/>
              <a:gd name="connsiteX1241" fmla="*/ 1964253 w 11856555"/>
              <a:gd name="connsiteY1241" fmla="*/ 1401252 h 4071735"/>
              <a:gd name="connsiteX1242" fmla="*/ 1974753 w 11856555"/>
              <a:gd name="connsiteY1242" fmla="*/ 1411815 h 4071735"/>
              <a:gd name="connsiteX1243" fmla="*/ 1975418 w 11856555"/>
              <a:gd name="connsiteY1243" fmla="*/ 1411736 h 4071735"/>
              <a:gd name="connsiteX1244" fmla="*/ 1992551 w 11856555"/>
              <a:gd name="connsiteY1244" fmla="*/ 1403230 h 4071735"/>
              <a:gd name="connsiteX1245" fmla="*/ 10149869 w 11856555"/>
              <a:gd name="connsiteY1245" fmla="*/ 1387937 h 4071735"/>
              <a:gd name="connsiteX1246" fmla="*/ 10148741 w 11856555"/>
              <a:gd name="connsiteY1246" fmla="*/ 1399126 h 4071735"/>
              <a:gd name="connsiteX1247" fmla="*/ 10149869 w 11856555"/>
              <a:gd name="connsiteY1247" fmla="*/ 1387937 h 4071735"/>
              <a:gd name="connsiteX1248" fmla="*/ 10137893 w 11856555"/>
              <a:gd name="connsiteY1248" fmla="*/ 1362127 h 4071735"/>
              <a:gd name="connsiteX1249" fmla="*/ 10138487 w 11856555"/>
              <a:gd name="connsiteY1249" fmla="*/ 1362564 h 4071735"/>
              <a:gd name="connsiteX1250" fmla="*/ 10138340 w 11856555"/>
              <a:gd name="connsiteY1250" fmla="*/ 1362621 h 4071735"/>
              <a:gd name="connsiteX1251" fmla="*/ 10152384 w 11856555"/>
              <a:gd name="connsiteY1251" fmla="*/ 1357172 h 4071735"/>
              <a:gd name="connsiteX1252" fmla="*/ 10148500 w 11856555"/>
              <a:gd name="connsiteY1252" fmla="*/ 1369944 h 4071735"/>
              <a:gd name="connsiteX1253" fmla="*/ 10138487 w 11856555"/>
              <a:gd name="connsiteY1253" fmla="*/ 1362564 h 4071735"/>
              <a:gd name="connsiteX1254" fmla="*/ 10152229 w 11856555"/>
              <a:gd name="connsiteY1254" fmla="*/ 1357221 h 4071735"/>
              <a:gd name="connsiteX1255" fmla="*/ 10055856 w 11856555"/>
              <a:gd name="connsiteY1255" fmla="*/ 1356934 h 4071735"/>
              <a:gd name="connsiteX1256" fmla="*/ 10060674 w 11856555"/>
              <a:gd name="connsiteY1256" fmla="*/ 1357808 h 4071735"/>
              <a:gd name="connsiteX1257" fmla="*/ 10061089 w 11856555"/>
              <a:gd name="connsiteY1257" fmla="*/ 1359172 h 4071735"/>
              <a:gd name="connsiteX1258" fmla="*/ 10058910 w 11856555"/>
              <a:gd name="connsiteY1258" fmla="*/ 1364539 h 4071735"/>
              <a:gd name="connsiteX1259" fmla="*/ 10051524 w 11856555"/>
              <a:gd name="connsiteY1259" fmla="*/ 1368032 h 4071735"/>
              <a:gd name="connsiteX1260" fmla="*/ 10048077 w 11856555"/>
              <a:gd name="connsiteY1260" fmla="*/ 1360639 h 4071735"/>
              <a:gd name="connsiteX1261" fmla="*/ 10054606 w 11856555"/>
              <a:gd name="connsiteY1261" fmla="*/ 1357235 h 4071735"/>
              <a:gd name="connsiteX1262" fmla="*/ 10153976 w 11856555"/>
              <a:gd name="connsiteY1262" fmla="*/ 1351932 h 4071735"/>
              <a:gd name="connsiteX1263" fmla="*/ 10157915 w 11856555"/>
              <a:gd name="connsiteY1263" fmla="*/ 1355410 h 4071735"/>
              <a:gd name="connsiteX1264" fmla="*/ 10152384 w 11856555"/>
              <a:gd name="connsiteY1264" fmla="*/ 1357172 h 4071735"/>
              <a:gd name="connsiteX1265" fmla="*/ 10174582 w 11856555"/>
              <a:gd name="connsiteY1265" fmla="*/ 1350096 h 4071735"/>
              <a:gd name="connsiteX1266" fmla="*/ 10165248 w 11856555"/>
              <a:gd name="connsiteY1266" fmla="*/ 1361880 h 4071735"/>
              <a:gd name="connsiteX1267" fmla="*/ 10157915 w 11856555"/>
              <a:gd name="connsiteY1267" fmla="*/ 1355410 h 4071735"/>
              <a:gd name="connsiteX1268" fmla="*/ 10102517 w 11856555"/>
              <a:gd name="connsiteY1268" fmla="*/ 1341232 h 4071735"/>
              <a:gd name="connsiteX1269" fmla="*/ 10115996 w 11856555"/>
              <a:gd name="connsiteY1269" fmla="*/ 1349476 h 4071735"/>
              <a:gd name="connsiteX1270" fmla="*/ 10102517 w 11856555"/>
              <a:gd name="connsiteY1270" fmla="*/ 1341232 h 4071735"/>
              <a:gd name="connsiteX1271" fmla="*/ 10117935 w 11856555"/>
              <a:gd name="connsiteY1271" fmla="*/ 1328859 h 4071735"/>
              <a:gd name="connsiteX1272" fmla="*/ 10123747 w 11856555"/>
              <a:gd name="connsiteY1272" fmla="*/ 1351706 h 4071735"/>
              <a:gd name="connsiteX1273" fmla="*/ 10117935 w 11856555"/>
              <a:gd name="connsiteY1273" fmla="*/ 1328859 h 4071735"/>
              <a:gd name="connsiteX1274" fmla="*/ 10488565 w 11856555"/>
              <a:gd name="connsiteY1274" fmla="*/ 1292912 h 4071735"/>
              <a:gd name="connsiteX1275" fmla="*/ 10413314 w 11856555"/>
              <a:gd name="connsiteY1275" fmla="*/ 1317141 h 4071735"/>
              <a:gd name="connsiteX1276" fmla="*/ 10278533 w 11856555"/>
              <a:gd name="connsiteY1276" fmla="*/ 1364562 h 4071735"/>
              <a:gd name="connsiteX1277" fmla="*/ 10247902 w 11856555"/>
              <a:gd name="connsiteY1277" fmla="*/ 1370653 h 4071735"/>
              <a:gd name="connsiteX1278" fmla="*/ 10273425 w 11856555"/>
              <a:gd name="connsiteY1278" fmla="*/ 1357276 h 4071735"/>
              <a:gd name="connsiteX1279" fmla="*/ 10391870 w 11856555"/>
              <a:gd name="connsiteY1279" fmla="*/ 1314628 h 4071735"/>
              <a:gd name="connsiteX1280" fmla="*/ 10409458 w 11856555"/>
              <a:gd name="connsiteY1280" fmla="*/ 1311278 h 4071735"/>
              <a:gd name="connsiteX1281" fmla="*/ 10488565 w 11856555"/>
              <a:gd name="connsiteY1281" fmla="*/ 1292912 h 4071735"/>
              <a:gd name="connsiteX1282" fmla="*/ 10560844 w 11856555"/>
              <a:gd name="connsiteY1282" fmla="*/ 1277710 h 4071735"/>
              <a:gd name="connsiteX1283" fmla="*/ 10487467 w 11856555"/>
              <a:gd name="connsiteY1283" fmla="*/ 1301770 h 4071735"/>
              <a:gd name="connsiteX1284" fmla="*/ 10560844 w 11856555"/>
              <a:gd name="connsiteY1284" fmla="*/ 1277710 h 4071735"/>
              <a:gd name="connsiteX1285" fmla="*/ 10654842 w 11856555"/>
              <a:gd name="connsiteY1285" fmla="*/ 1267873 h 4071735"/>
              <a:gd name="connsiteX1286" fmla="*/ 10663869 w 11856555"/>
              <a:gd name="connsiteY1286" fmla="*/ 1268530 h 4071735"/>
              <a:gd name="connsiteX1287" fmla="*/ 10649401 w 11856555"/>
              <a:gd name="connsiteY1287" fmla="*/ 1275659 h 4071735"/>
              <a:gd name="connsiteX1288" fmla="*/ 10654842 w 11856555"/>
              <a:gd name="connsiteY1288" fmla="*/ 1267873 h 4071735"/>
              <a:gd name="connsiteX1289" fmla="*/ 10651137 w 11856555"/>
              <a:gd name="connsiteY1289" fmla="*/ 1246174 h 4071735"/>
              <a:gd name="connsiteX1290" fmla="*/ 10651028 w 11856555"/>
              <a:gd name="connsiteY1290" fmla="*/ 1246232 h 4071735"/>
              <a:gd name="connsiteX1291" fmla="*/ 10638744 w 11856555"/>
              <a:gd name="connsiteY1291" fmla="*/ 1262006 h 4071735"/>
              <a:gd name="connsiteX1292" fmla="*/ 10629252 w 11856555"/>
              <a:gd name="connsiteY1292" fmla="*/ 1261437 h 4071735"/>
              <a:gd name="connsiteX1293" fmla="*/ 10620520 w 11856555"/>
              <a:gd name="connsiteY1293" fmla="*/ 1252229 h 4071735"/>
              <a:gd name="connsiteX1294" fmla="*/ 10633625 w 11856555"/>
              <a:gd name="connsiteY1294" fmla="*/ 1249053 h 4071735"/>
              <a:gd name="connsiteX1295" fmla="*/ 10636917 w 11856555"/>
              <a:gd name="connsiteY1295" fmla="*/ 1248512 h 4071735"/>
              <a:gd name="connsiteX1296" fmla="*/ 10645202 w 11856555"/>
              <a:gd name="connsiteY1296" fmla="*/ 1249748 h 4071735"/>
              <a:gd name="connsiteX1297" fmla="*/ 10641911 w 11856555"/>
              <a:gd name="connsiteY1297" fmla="*/ 1247690 h 4071735"/>
              <a:gd name="connsiteX1298" fmla="*/ 10619469 w 11856555"/>
              <a:gd name="connsiteY1298" fmla="*/ 1233863 h 4071735"/>
              <a:gd name="connsiteX1299" fmla="*/ 10620256 w 11856555"/>
              <a:gd name="connsiteY1299" fmla="*/ 1234147 h 4071735"/>
              <a:gd name="connsiteX1300" fmla="*/ 10641911 w 11856555"/>
              <a:gd name="connsiteY1300" fmla="*/ 1247690 h 4071735"/>
              <a:gd name="connsiteX1301" fmla="*/ 10636917 w 11856555"/>
              <a:gd name="connsiteY1301" fmla="*/ 1248512 h 4071735"/>
              <a:gd name="connsiteX1302" fmla="*/ 10613708 w 11856555"/>
              <a:gd name="connsiteY1302" fmla="*/ 1245044 h 4071735"/>
              <a:gd name="connsiteX1303" fmla="*/ 10611018 w 11856555"/>
              <a:gd name="connsiteY1303" fmla="*/ 1242208 h 4071735"/>
              <a:gd name="connsiteX1304" fmla="*/ 10607615 w 11856555"/>
              <a:gd name="connsiteY1304" fmla="*/ 1236114 h 4071735"/>
              <a:gd name="connsiteX1305" fmla="*/ 2756341 w 11856555"/>
              <a:gd name="connsiteY1305" fmla="*/ 1231005 h 4071735"/>
              <a:gd name="connsiteX1306" fmla="*/ 2772435 w 11856555"/>
              <a:gd name="connsiteY1306" fmla="*/ 1232858 h 4071735"/>
              <a:gd name="connsiteX1307" fmla="*/ 2756341 w 11856555"/>
              <a:gd name="connsiteY1307" fmla="*/ 1231005 h 4071735"/>
              <a:gd name="connsiteX1308" fmla="*/ 2675521 w 11856555"/>
              <a:gd name="connsiteY1308" fmla="*/ 1227695 h 4071735"/>
              <a:gd name="connsiteX1309" fmla="*/ 2677746 w 11856555"/>
              <a:gd name="connsiteY1309" fmla="*/ 1229613 h 4071735"/>
              <a:gd name="connsiteX1310" fmla="*/ 2675832 w 11856555"/>
              <a:gd name="connsiteY1310" fmla="*/ 1230783 h 4071735"/>
              <a:gd name="connsiteX1311" fmla="*/ 2675329 w 11856555"/>
              <a:gd name="connsiteY1311" fmla="*/ 1227827 h 4071735"/>
              <a:gd name="connsiteX1312" fmla="*/ 10944339 w 11856555"/>
              <a:gd name="connsiteY1312" fmla="*/ 1203806 h 4071735"/>
              <a:gd name="connsiteX1313" fmla="*/ 10819191 w 11856555"/>
              <a:gd name="connsiteY1313" fmla="*/ 1218548 h 4071735"/>
              <a:gd name="connsiteX1314" fmla="*/ 10651137 w 11856555"/>
              <a:gd name="connsiteY1314" fmla="*/ 1246174 h 4071735"/>
              <a:gd name="connsiteX1315" fmla="*/ 10678803 w 11856555"/>
              <a:gd name="connsiteY1315" fmla="*/ 1231353 h 4071735"/>
              <a:gd name="connsiteX1316" fmla="*/ 10721781 w 11856555"/>
              <a:gd name="connsiteY1316" fmla="*/ 1218953 h 4071735"/>
              <a:gd name="connsiteX1317" fmla="*/ 10767523 w 11856555"/>
              <a:gd name="connsiteY1317" fmla="*/ 1214436 h 4071735"/>
              <a:gd name="connsiteX1318" fmla="*/ 2822833 w 11856555"/>
              <a:gd name="connsiteY1318" fmla="*/ 1186932 h 4071735"/>
              <a:gd name="connsiteX1319" fmla="*/ 2817109 w 11856555"/>
              <a:gd name="connsiteY1319" fmla="*/ 1192998 h 4071735"/>
              <a:gd name="connsiteX1320" fmla="*/ 2805865 w 11856555"/>
              <a:gd name="connsiteY1320" fmla="*/ 1194832 h 4071735"/>
              <a:gd name="connsiteX1321" fmla="*/ 2811839 w 11856555"/>
              <a:gd name="connsiteY1321" fmla="*/ 1208903 h 4071735"/>
              <a:gd name="connsiteX1322" fmla="*/ 2816885 w 11856555"/>
              <a:gd name="connsiteY1322" fmla="*/ 1193235 h 4071735"/>
              <a:gd name="connsiteX1323" fmla="*/ 2817109 w 11856555"/>
              <a:gd name="connsiteY1323" fmla="*/ 1192998 h 4071735"/>
              <a:gd name="connsiteX1324" fmla="*/ 2819415 w 11856555"/>
              <a:gd name="connsiteY1324" fmla="*/ 1192621 h 4071735"/>
              <a:gd name="connsiteX1325" fmla="*/ 2842467 w 11856555"/>
              <a:gd name="connsiteY1325" fmla="*/ 1198067 h 4071735"/>
              <a:gd name="connsiteX1326" fmla="*/ 2848837 w 11856555"/>
              <a:gd name="connsiteY1326" fmla="*/ 1203962 h 4071735"/>
              <a:gd name="connsiteX1327" fmla="*/ 2858408 w 11856555"/>
              <a:gd name="connsiteY1327" fmla="*/ 1201832 h 4071735"/>
              <a:gd name="connsiteX1328" fmla="*/ 2842467 w 11856555"/>
              <a:gd name="connsiteY1328" fmla="*/ 1198067 h 4071735"/>
              <a:gd name="connsiteX1329" fmla="*/ 2836072 w 11856555"/>
              <a:gd name="connsiteY1329" fmla="*/ 1192141 h 4071735"/>
              <a:gd name="connsiteX1330" fmla="*/ 2822833 w 11856555"/>
              <a:gd name="connsiteY1330" fmla="*/ 1186932 h 4071735"/>
              <a:gd name="connsiteX1331" fmla="*/ 11102196 w 11856555"/>
              <a:gd name="connsiteY1331" fmla="*/ 1185213 h 4071735"/>
              <a:gd name="connsiteX1332" fmla="*/ 11065995 w 11856555"/>
              <a:gd name="connsiteY1332" fmla="*/ 1192202 h 4071735"/>
              <a:gd name="connsiteX1333" fmla="*/ 10967381 w 11856555"/>
              <a:gd name="connsiteY1333" fmla="*/ 1202421 h 4071735"/>
              <a:gd name="connsiteX1334" fmla="*/ 10944339 w 11856555"/>
              <a:gd name="connsiteY1334" fmla="*/ 1203806 h 4071735"/>
              <a:gd name="connsiteX1335" fmla="*/ 2822629 w 11856555"/>
              <a:gd name="connsiteY1335" fmla="*/ 1181657 h 4071735"/>
              <a:gd name="connsiteX1336" fmla="*/ 2788070 w 11856555"/>
              <a:gd name="connsiteY1336" fmla="*/ 1196418 h 4071735"/>
              <a:gd name="connsiteX1337" fmla="*/ 2822629 w 11856555"/>
              <a:gd name="connsiteY1337" fmla="*/ 1181657 h 4071735"/>
              <a:gd name="connsiteX1338" fmla="*/ 2911183 w 11856555"/>
              <a:gd name="connsiteY1338" fmla="*/ 1179606 h 4071735"/>
              <a:gd name="connsiteX1339" fmla="*/ 2928556 w 11856555"/>
              <a:gd name="connsiteY1339" fmla="*/ 1183899 h 4071735"/>
              <a:gd name="connsiteX1340" fmla="*/ 2911183 w 11856555"/>
              <a:gd name="connsiteY1340" fmla="*/ 1179606 h 4071735"/>
              <a:gd name="connsiteX1341" fmla="*/ 2862547 w 11856555"/>
              <a:gd name="connsiteY1341" fmla="*/ 1163498 h 4071735"/>
              <a:gd name="connsiteX1342" fmla="*/ 2862547 w 11856555"/>
              <a:gd name="connsiteY1342" fmla="*/ 1163498 h 4071735"/>
              <a:gd name="connsiteX1343" fmla="*/ 2979483 w 11856555"/>
              <a:gd name="connsiteY1343" fmla="*/ 1154173 h 4071735"/>
              <a:gd name="connsiteX1344" fmla="*/ 2982137 w 11856555"/>
              <a:gd name="connsiteY1344" fmla="*/ 1158429 h 4071735"/>
              <a:gd name="connsiteX1345" fmla="*/ 2976973 w 11856555"/>
              <a:gd name="connsiteY1345" fmla="*/ 1162929 h 4071735"/>
              <a:gd name="connsiteX1346" fmla="*/ 2967931 w 11856555"/>
              <a:gd name="connsiteY1346" fmla="*/ 1165526 h 4071735"/>
              <a:gd name="connsiteX1347" fmla="*/ 2967019 w 11856555"/>
              <a:gd name="connsiteY1347" fmla="*/ 1165526 h 4071735"/>
              <a:gd name="connsiteX1348" fmla="*/ 3058385 w 11856555"/>
              <a:gd name="connsiteY1348" fmla="*/ 1142806 h 4071735"/>
              <a:gd name="connsiteX1349" fmla="*/ 3069539 w 11856555"/>
              <a:gd name="connsiteY1349" fmla="*/ 1146082 h 4071735"/>
              <a:gd name="connsiteX1350" fmla="*/ 3057612 w 11856555"/>
              <a:gd name="connsiteY1350" fmla="*/ 1149035 h 4071735"/>
              <a:gd name="connsiteX1351" fmla="*/ 3057976 w 11856555"/>
              <a:gd name="connsiteY1351" fmla="*/ 1143815 h 4071735"/>
              <a:gd name="connsiteX1352" fmla="*/ 2886187 w 11856555"/>
              <a:gd name="connsiteY1352" fmla="*/ 1132186 h 4071735"/>
              <a:gd name="connsiteX1353" fmla="*/ 2886187 w 11856555"/>
              <a:gd name="connsiteY1353" fmla="*/ 1132186 h 4071735"/>
              <a:gd name="connsiteX1354" fmla="*/ 3172340 w 11856555"/>
              <a:gd name="connsiteY1354" fmla="*/ 1123365 h 4071735"/>
              <a:gd name="connsiteX1355" fmla="*/ 3170712 w 11856555"/>
              <a:gd name="connsiteY1355" fmla="*/ 1127093 h 4071735"/>
              <a:gd name="connsiteX1356" fmla="*/ 3172339 w 11856555"/>
              <a:gd name="connsiteY1356" fmla="*/ 1129177 h 4071735"/>
              <a:gd name="connsiteX1357" fmla="*/ 11560025 w 11856555"/>
              <a:gd name="connsiteY1357" fmla="*/ 1112739 h 4071735"/>
              <a:gd name="connsiteX1358" fmla="*/ 11193141 w 11856555"/>
              <a:gd name="connsiteY1358" fmla="*/ 1174500 h 4071735"/>
              <a:gd name="connsiteX1359" fmla="*/ 11102196 w 11856555"/>
              <a:gd name="connsiteY1359" fmla="*/ 1185213 h 4071735"/>
              <a:gd name="connsiteX1360" fmla="*/ 11159769 w 11856555"/>
              <a:gd name="connsiteY1360" fmla="*/ 1174097 h 4071735"/>
              <a:gd name="connsiteX1361" fmla="*/ 11245730 w 11856555"/>
              <a:gd name="connsiteY1361" fmla="*/ 1144300 h 4071735"/>
              <a:gd name="connsiteX1362" fmla="*/ 11252441 w 11856555"/>
              <a:gd name="connsiteY1362" fmla="*/ 1140256 h 4071735"/>
              <a:gd name="connsiteX1363" fmla="*/ 11362975 w 11856555"/>
              <a:gd name="connsiteY1363" fmla="*/ 1130115 h 4071735"/>
              <a:gd name="connsiteX1364" fmla="*/ 11560025 w 11856555"/>
              <a:gd name="connsiteY1364" fmla="*/ 1112739 h 4071735"/>
              <a:gd name="connsiteX1365" fmla="*/ 3133011 w 11856555"/>
              <a:gd name="connsiteY1365" fmla="*/ 1110237 h 4071735"/>
              <a:gd name="connsiteX1366" fmla="*/ 3156181 w 11856555"/>
              <a:gd name="connsiteY1366" fmla="*/ 1111047 h 4071735"/>
              <a:gd name="connsiteX1367" fmla="*/ 3133011 w 11856555"/>
              <a:gd name="connsiteY1367" fmla="*/ 1110237 h 4071735"/>
              <a:gd name="connsiteX1368" fmla="*/ 3172340 w 11856555"/>
              <a:gd name="connsiteY1368" fmla="*/ 1094828 h 4071735"/>
              <a:gd name="connsiteX1369" fmla="*/ 3165038 w 11856555"/>
              <a:gd name="connsiteY1369" fmla="*/ 1097195 h 4071735"/>
              <a:gd name="connsiteX1370" fmla="*/ 3168285 w 11856555"/>
              <a:gd name="connsiteY1370" fmla="*/ 1097868 h 4071735"/>
              <a:gd name="connsiteX1371" fmla="*/ 3172339 w 11856555"/>
              <a:gd name="connsiteY1371" fmla="*/ 1097007 h 4071735"/>
              <a:gd name="connsiteX1372" fmla="*/ 3322688 w 11856555"/>
              <a:gd name="connsiteY1372" fmla="*/ 1063719 h 4071735"/>
              <a:gd name="connsiteX1373" fmla="*/ 3322978 w 11856555"/>
              <a:gd name="connsiteY1373" fmla="*/ 1069545 h 4071735"/>
              <a:gd name="connsiteX1374" fmla="*/ 3336425 w 11856555"/>
              <a:gd name="connsiteY1374" fmla="*/ 1069545 h 4071735"/>
              <a:gd name="connsiteX1375" fmla="*/ 3339044 w 11856555"/>
              <a:gd name="connsiteY1375" fmla="*/ 1065547 h 4071735"/>
              <a:gd name="connsiteX1376" fmla="*/ 3322688 w 11856555"/>
              <a:gd name="connsiteY1376" fmla="*/ 1063719 h 4071735"/>
              <a:gd name="connsiteX1377" fmla="*/ 3484588 w 11856555"/>
              <a:gd name="connsiteY1377" fmla="*/ 1061504 h 4071735"/>
              <a:gd name="connsiteX1378" fmla="*/ 3483520 w 11856555"/>
              <a:gd name="connsiteY1378" fmla="*/ 1069482 h 4071735"/>
              <a:gd name="connsiteX1379" fmla="*/ 3483533 w 11856555"/>
              <a:gd name="connsiteY1379" fmla="*/ 1069546 h 4071735"/>
              <a:gd name="connsiteX1380" fmla="*/ 3488411 w 11856555"/>
              <a:gd name="connsiteY1380" fmla="*/ 1069545 h 4071735"/>
              <a:gd name="connsiteX1381" fmla="*/ 3488060 w 11856555"/>
              <a:gd name="connsiteY1381" fmla="*/ 1063950 h 4071735"/>
              <a:gd name="connsiteX1382" fmla="*/ 3484588 w 11856555"/>
              <a:gd name="connsiteY1382" fmla="*/ 1061504 h 4071735"/>
              <a:gd name="connsiteX1383" fmla="*/ 3427927 w 11856555"/>
              <a:gd name="connsiteY1383" fmla="*/ 1045944 h 4071735"/>
              <a:gd name="connsiteX1384" fmla="*/ 3399246 w 11856555"/>
              <a:gd name="connsiteY1384" fmla="*/ 1063103 h 4071735"/>
              <a:gd name="connsiteX1385" fmla="*/ 3427927 w 11856555"/>
              <a:gd name="connsiteY1385" fmla="*/ 1045944 h 4071735"/>
              <a:gd name="connsiteX1386" fmla="*/ 3621164 w 11856555"/>
              <a:gd name="connsiteY1386" fmla="*/ 1000022 h 4071735"/>
              <a:gd name="connsiteX1387" fmla="*/ 3615050 w 11856555"/>
              <a:gd name="connsiteY1387" fmla="*/ 1005906 h 4071735"/>
              <a:gd name="connsiteX1388" fmla="*/ 3621164 w 11856555"/>
              <a:gd name="connsiteY1388" fmla="*/ 1000022 h 4071735"/>
              <a:gd name="connsiteX1389" fmla="*/ 11606798 w 11856555"/>
              <a:gd name="connsiteY1389" fmla="*/ 959627 h 4071735"/>
              <a:gd name="connsiteX1390" fmla="*/ 11584579 w 11856555"/>
              <a:gd name="connsiteY1390" fmla="*/ 964528 h 4071735"/>
              <a:gd name="connsiteX1391" fmla="*/ 11606798 w 11856555"/>
              <a:gd name="connsiteY1391" fmla="*/ 959627 h 4071735"/>
              <a:gd name="connsiteX1392" fmla="*/ 3933014 w 11856555"/>
              <a:gd name="connsiteY1392" fmla="*/ 941861 h 4071735"/>
              <a:gd name="connsiteX1393" fmla="*/ 3934004 w 11856555"/>
              <a:gd name="connsiteY1393" fmla="*/ 942359 h 4071735"/>
              <a:gd name="connsiteX1394" fmla="*/ 3931284 w 11856555"/>
              <a:gd name="connsiteY1394" fmla="*/ 942743 h 4071735"/>
              <a:gd name="connsiteX1395" fmla="*/ 11722935 w 11856555"/>
              <a:gd name="connsiteY1395" fmla="*/ 837853 h 4071735"/>
              <a:gd name="connsiteX1396" fmla="*/ 11715086 w 11856555"/>
              <a:gd name="connsiteY1396" fmla="*/ 838360 h 4071735"/>
              <a:gd name="connsiteX1397" fmla="*/ 11708536 w 11856555"/>
              <a:gd name="connsiteY1397" fmla="*/ 851263 h 4071735"/>
              <a:gd name="connsiteX1398" fmla="*/ 11722935 w 11856555"/>
              <a:gd name="connsiteY1398" fmla="*/ 837853 h 4071735"/>
              <a:gd name="connsiteX1399" fmla="*/ 4450295 w 11856555"/>
              <a:gd name="connsiteY1399" fmla="*/ 823418 h 4071735"/>
              <a:gd name="connsiteX1400" fmla="*/ 4468447 w 11856555"/>
              <a:gd name="connsiteY1400" fmla="*/ 836404 h 4071735"/>
              <a:gd name="connsiteX1401" fmla="*/ 4450295 w 11856555"/>
              <a:gd name="connsiteY1401" fmla="*/ 823418 h 4071735"/>
              <a:gd name="connsiteX1402" fmla="*/ 6489071 w 11856555"/>
              <a:gd name="connsiteY1402" fmla="*/ 819891 h 4071735"/>
              <a:gd name="connsiteX1403" fmla="*/ 6489071 w 11856555"/>
              <a:gd name="connsiteY1403" fmla="*/ 819891 h 4071735"/>
              <a:gd name="connsiteX1404" fmla="*/ 6454319 w 11856555"/>
              <a:gd name="connsiteY1404" fmla="*/ 811307 h 4071735"/>
              <a:gd name="connsiteX1405" fmla="*/ 6454319 w 11856555"/>
              <a:gd name="connsiteY1405" fmla="*/ 811307 h 4071735"/>
              <a:gd name="connsiteX1406" fmla="*/ 6512389 w 11856555"/>
              <a:gd name="connsiteY1406" fmla="*/ 806132 h 4071735"/>
              <a:gd name="connsiteX1407" fmla="*/ 6512389 w 11856555"/>
              <a:gd name="connsiteY1407" fmla="*/ 806132 h 4071735"/>
              <a:gd name="connsiteX1408" fmla="*/ 6541843 w 11856555"/>
              <a:gd name="connsiteY1408" fmla="*/ 797666 h 4071735"/>
              <a:gd name="connsiteX1409" fmla="*/ 6541843 w 11856555"/>
              <a:gd name="connsiteY1409" fmla="*/ 797666 h 4071735"/>
              <a:gd name="connsiteX1410" fmla="*/ 4577994 w 11856555"/>
              <a:gd name="connsiteY1410" fmla="*/ 794516 h 4071735"/>
              <a:gd name="connsiteX1411" fmla="*/ 4577994 w 11856555"/>
              <a:gd name="connsiteY1411" fmla="*/ 794516 h 4071735"/>
              <a:gd name="connsiteX1412" fmla="*/ 4633931 w 11856555"/>
              <a:gd name="connsiteY1412" fmla="*/ 786611 h 4071735"/>
              <a:gd name="connsiteX1413" fmla="*/ 4655312 w 11856555"/>
              <a:gd name="connsiteY1413" fmla="*/ 793468 h 4071735"/>
              <a:gd name="connsiteX1414" fmla="*/ 4633931 w 11856555"/>
              <a:gd name="connsiteY1414" fmla="*/ 786611 h 4071735"/>
              <a:gd name="connsiteX1415" fmla="*/ 6586607 w 11856555"/>
              <a:gd name="connsiteY1415" fmla="*/ 770313 h 4071735"/>
              <a:gd name="connsiteX1416" fmla="*/ 6586607 w 11856555"/>
              <a:gd name="connsiteY1416" fmla="*/ 770313 h 4071735"/>
              <a:gd name="connsiteX1417" fmla="*/ 6761069 w 11856555"/>
              <a:gd name="connsiteY1417" fmla="*/ 757687 h 4071735"/>
              <a:gd name="connsiteX1418" fmla="*/ 6755232 w 11856555"/>
              <a:gd name="connsiteY1418" fmla="*/ 768762 h 4071735"/>
              <a:gd name="connsiteX1419" fmla="*/ 6751379 w 11856555"/>
              <a:gd name="connsiteY1419" fmla="*/ 776074 h 4071735"/>
              <a:gd name="connsiteX1420" fmla="*/ 6750168 w 11856555"/>
              <a:gd name="connsiteY1420" fmla="*/ 778372 h 4071735"/>
              <a:gd name="connsiteX1421" fmla="*/ 6755232 w 11856555"/>
              <a:gd name="connsiteY1421" fmla="*/ 768762 h 4071735"/>
              <a:gd name="connsiteX1422" fmla="*/ 6757436 w 11856555"/>
              <a:gd name="connsiteY1422" fmla="*/ 764583 h 4071735"/>
              <a:gd name="connsiteX1423" fmla="*/ 6761069 w 11856555"/>
              <a:gd name="connsiteY1423" fmla="*/ 757687 h 4071735"/>
              <a:gd name="connsiteX1424" fmla="*/ 4884832 w 11856555"/>
              <a:gd name="connsiteY1424" fmla="*/ 734994 h 4071735"/>
              <a:gd name="connsiteX1425" fmla="*/ 4882730 w 11856555"/>
              <a:gd name="connsiteY1425" fmla="*/ 737459 h 4071735"/>
              <a:gd name="connsiteX1426" fmla="*/ 4881950 w 11856555"/>
              <a:gd name="connsiteY1426" fmla="*/ 735671 h 4071735"/>
              <a:gd name="connsiteX1427" fmla="*/ 11798890 w 11856555"/>
              <a:gd name="connsiteY1427" fmla="*/ 731654 h 4071735"/>
              <a:gd name="connsiteX1428" fmla="*/ 11801819 w 11856555"/>
              <a:gd name="connsiteY1428" fmla="*/ 736094 h 4071735"/>
              <a:gd name="connsiteX1429" fmla="*/ 11800193 w 11856555"/>
              <a:gd name="connsiteY1429" fmla="*/ 735723 h 4071735"/>
              <a:gd name="connsiteX1430" fmla="*/ 11798167 w 11856555"/>
              <a:gd name="connsiteY1430" fmla="*/ 731722 h 4071735"/>
              <a:gd name="connsiteX1431" fmla="*/ 4931192 w 11856555"/>
              <a:gd name="connsiteY1431" fmla="*/ 729458 h 4071735"/>
              <a:gd name="connsiteX1432" fmla="*/ 4915231 w 11856555"/>
              <a:gd name="connsiteY1432" fmla="*/ 744022 h 4071735"/>
              <a:gd name="connsiteX1433" fmla="*/ 4933447 w 11856555"/>
              <a:gd name="connsiteY1433" fmla="*/ 736557 h 4071735"/>
              <a:gd name="connsiteX1434" fmla="*/ 4931192 w 11856555"/>
              <a:gd name="connsiteY1434" fmla="*/ 729458 h 4071735"/>
              <a:gd name="connsiteX1435" fmla="*/ 11810486 w 11856555"/>
              <a:gd name="connsiteY1435" fmla="*/ 716781 h 4071735"/>
              <a:gd name="connsiteX1436" fmla="*/ 11818350 w 11856555"/>
              <a:gd name="connsiteY1436" fmla="*/ 727579 h 4071735"/>
              <a:gd name="connsiteX1437" fmla="*/ 11810486 w 11856555"/>
              <a:gd name="connsiteY1437" fmla="*/ 716781 h 4071735"/>
              <a:gd name="connsiteX1438" fmla="*/ 7130410 w 11856555"/>
              <a:gd name="connsiteY1438" fmla="*/ 707252 h 4071735"/>
              <a:gd name="connsiteX1439" fmla="*/ 7130410 w 11856555"/>
              <a:gd name="connsiteY1439" fmla="*/ 707252 h 4071735"/>
              <a:gd name="connsiteX1440" fmla="*/ 7157026 w 11856555"/>
              <a:gd name="connsiteY1440" fmla="*/ 706342 h 4071735"/>
              <a:gd name="connsiteX1441" fmla="*/ 7141066 w 11856555"/>
              <a:gd name="connsiteY1441" fmla="*/ 720905 h 4071735"/>
              <a:gd name="connsiteX1442" fmla="*/ 7159281 w 11856555"/>
              <a:gd name="connsiteY1442" fmla="*/ 713441 h 4071735"/>
              <a:gd name="connsiteX1443" fmla="*/ 7157026 w 11856555"/>
              <a:gd name="connsiteY1443" fmla="*/ 706342 h 4071735"/>
              <a:gd name="connsiteX1444" fmla="*/ 11205311 w 11856555"/>
              <a:gd name="connsiteY1444" fmla="*/ 691673 h 4071735"/>
              <a:gd name="connsiteX1445" fmla="*/ 11194210 w 11856555"/>
              <a:gd name="connsiteY1445" fmla="*/ 692251 h 4071735"/>
              <a:gd name="connsiteX1446" fmla="*/ 11205311 w 11856555"/>
              <a:gd name="connsiteY1446" fmla="*/ 691673 h 4071735"/>
              <a:gd name="connsiteX1447" fmla="*/ 11276492 w 11856555"/>
              <a:gd name="connsiteY1447" fmla="*/ 685330 h 4071735"/>
              <a:gd name="connsiteX1448" fmla="*/ 11258018 w 11856555"/>
              <a:gd name="connsiteY1448" fmla="*/ 689897 h 4071735"/>
              <a:gd name="connsiteX1449" fmla="*/ 11276492 w 11856555"/>
              <a:gd name="connsiteY1449" fmla="*/ 685330 h 4071735"/>
              <a:gd name="connsiteX1450" fmla="*/ 5184674 w 11856555"/>
              <a:gd name="connsiteY1450" fmla="*/ 666348 h 4071735"/>
              <a:gd name="connsiteX1451" fmla="*/ 5197437 w 11856555"/>
              <a:gd name="connsiteY1451" fmla="*/ 669226 h 4071735"/>
              <a:gd name="connsiteX1452" fmla="*/ 5171471 w 11856555"/>
              <a:gd name="connsiteY1452" fmla="*/ 674460 h 4071735"/>
              <a:gd name="connsiteX1453" fmla="*/ 5184674 w 11856555"/>
              <a:gd name="connsiteY1453" fmla="*/ 666348 h 4071735"/>
              <a:gd name="connsiteX1454" fmla="*/ 11674346 w 11856555"/>
              <a:gd name="connsiteY1454" fmla="*/ 658272 h 4071735"/>
              <a:gd name="connsiteX1455" fmla="*/ 11702992 w 11856555"/>
              <a:gd name="connsiteY1455" fmla="*/ 661926 h 4071735"/>
              <a:gd name="connsiteX1456" fmla="*/ 11662035 w 11856555"/>
              <a:gd name="connsiteY1456" fmla="*/ 669910 h 4071735"/>
              <a:gd name="connsiteX1457" fmla="*/ 7410507 w 11856555"/>
              <a:gd name="connsiteY1457" fmla="*/ 643232 h 4071735"/>
              <a:gd name="connsiteX1458" fmla="*/ 7423272 w 11856555"/>
              <a:gd name="connsiteY1458" fmla="*/ 646109 h 4071735"/>
              <a:gd name="connsiteX1459" fmla="*/ 7397305 w 11856555"/>
              <a:gd name="connsiteY1459" fmla="*/ 651344 h 4071735"/>
              <a:gd name="connsiteX1460" fmla="*/ 7410507 w 11856555"/>
              <a:gd name="connsiteY1460" fmla="*/ 643232 h 4071735"/>
              <a:gd name="connsiteX1461" fmla="*/ 6682601 w 11856555"/>
              <a:gd name="connsiteY1461" fmla="*/ 586895 h 4071735"/>
              <a:gd name="connsiteX1462" fmla="*/ 6674913 w 11856555"/>
              <a:gd name="connsiteY1462" fmla="*/ 595976 h 4071735"/>
              <a:gd name="connsiteX1463" fmla="*/ 6691256 w 11856555"/>
              <a:gd name="connsiteY1463" fmla="*/ 588679 h 4071735"/>
              <a:gd name="connsiteX1464" fmla="*/ 6682601 w 11856555"/>
              <a:gd name="connsiteY1464" fmla="*/ 586895 h 4071735"/>
              <a:gd name="connsiteX1465" fmla="*/ 10744005 w 11856555"/>
              <a:gd name="connsiteY1465" fmla="*/ 583345 h 4071735"/>
              <a:gd name="connsiteX1466" fmla="*/ 10737606 w 11856555"/>
              <a:gd name="connsiteY1466" fmla="*/ 583402 h 4071735"/>
              <a:gd name="connsiteX1467" fmla="*/ 10734506 w 11856555"/>
              <a:gd name="connsiteY1467" fmla="*/ 599284 h 4071735"/>
              <a:gd name="connsiteX1468" fmla="*/ 10744005 w 11856555"/>
              <a:gd name="connsiteY1468" fmla="*/ 583345 h 4071735"/>
              <a:gd name="connsiteX1469" fmla="*/ 10790847 w 11856555"/>
              <a:gd name="connsiteY1469" fmla="*/ 578018 h 4071735"/>
              <a:gd name="connsiteX1470" fmla="*/ 10806270 w 11856555"/>
              <a:gd name="connsiteY1470" fmla="*/ 578286 h 4071735"/>
              <a:gd name="connsiteX1471" fmla="*/ 10790847 w 11856555"/>
              <a:gd name="connsiteY1471" fmla="*/ 578018 h 4071735"/>
              <a:gd name="connsiteX1472" fmla="*/ 6664324 w 11856555"/>
              <a:gd name="connsiteY1472" fmla="*/ 561874 h 4071735"/>
              <a:gd name="connsiteX1473" fmla="*/ 6664324 w 11856555"/>
              <a:gd name="connsiteY1473" fmla="*/ 561874 h 4071735"/>
              <a:gd name="connsiteX1474" fmla="*/ 5603680 w 11856555"/>
              <a:gd name="connsiteY1474" fmla="*/ 561473 h 4071735"/>
              <a:gd name="connsiteX1475" fmla="*/ 5587254 w 11856555"/>
              <a:gd name="connsiteY1475" fmla="*/ 573158 h 4071735"/>
              <a:gd name="connsiteX1476" fmla="*/ 5613220 w 11856555"/>
              <a:gd name="connsiteY1476" fmla="*/ 567924 h 4071735"/>
              <a:gd name="connsiteX1477" fmla="*/ 5603680 w 11856555"/>
              <a:gd name="connsiteY1477" fmla="*/ 561473 h 4071735"/>
              <a:gd name="connsiteX1478" fmla="*/ 5632768 w 11856555"/>
              <a:gd name="connsiteY1478" fmla="*/ 551580 h 4071735"/>
              <a:gd name="connsiteX1479" fmla="*/ 5616453 w 11856555"/>
              <a:gd name="connsiteY1479" fmla="*/ 561795 h 4071735"/>
              <a:gd name="connsiteX1480" fmla="*/ 5652043 w 11856555"/>
              <a:gd name="connsiteY1480" fmla="*/ 558623 h 4071735"/>
              <a:gd name="connsiteX1481" fmla="*/ 5632768 w 11856555"/>
              <a:gd name="connsiteY1481" fmla="*/ 551580 h 4071735"/>
              <a:gd name="connsiteX1482" fmla="*/ 5596662 w 11856555"/>
              <a:gd name="connsiteY1482" fmla="*/ 548956 h 4071735"/>
              <a:gd name="connsiteX1483" fmla="*/ 5585531 w 11856555"/>
              <a:gd name="connsiteY1483" fmla="*/ 560728 h 4071735"/>
              <a:gd name="connsiteX1484" fmla="*/ 5576823 w 11856555"/>
              <a:gd name="connsiteY1484" fmla="*/ 565143 h 4071735"/>
              <a:gd name="connsiteX1485" fmla="*/ 5578002 w 11856555"/>
              <a:gd name="connsiteY1485" fmla="*/ 558377 h 4071735"/>
              <a:gd name="connsiteX1486" fmla="*/ 5596662 w 11856555"/>
              <a:gd name="connsiteY1486" fmla="*/ 548956 h 4071735"/>
              <a:gd name="connsiteX1487" fmla="*/ 8923594 w 11856555"/>
              <a:gd name="connsiteY1487" fmla="*/ 545863 h 4071735"/>
              <a:gd name="connsiteX1488" fmla="*/ 8932011 w 11856555"/>
              <a:gd name="connsiteY1488" fmla="*/ 552916 h 4071735"/>
              <a:gd name="connsiteX1489" fmla="*/ 8932666 w 11856555"/>
              <a:gd name="connsiteY1489" fmla="*/ 556093 h 4071735"/>
              <a:gd name="connsiteX1490" fmla="*/ 8930363 w 11856555"/>
              <a:gd name="connsiteY1490" fmla="*/ 555984 h 4071735"/>
              <a:gd name="connsiteX1491" fmla="*/ 8922044 w 11856555"/>
              <a:gd name="connsiteY1491" fmla="*/ 547184 h 4071735"/>
              <a:gd name="connsiteX1492" fmla="*/ 5665994 w 11856555"/>
              <a:gd name="connsiteY1492" fmla="*/ 545699 h 4071735"/>
              <a:gd name="connsiteX1493" fmla="*/ 5654403 w 11856555"/>
              <a:gd name="connsiteY1493" fmla="*/ 546732 h 4071735"/>
              <a:gd name="connsiteX1494" fmla="*/ 5665994 w 11856555"/>
              <a:gd name="connsiteY1494" fmla="*/ 545699 h 4071735"/>
              <a:gd name="connsiteX1495" fmla="*/ 8884977 w 11856555"/>
              <a:gd name="connsiteY1495" fmla="*/ 545517 h 4071735"/>
              <a:gd name="connsiteX1496" fmla="*/ 8894678 w 11856555"/>
              <a:gd name="connsiteY1496" fmla="*/ 547117 h 4071735"/>
              <a:gd name="connsiteX1497" fmla="*/ 8884977 w 11856555"/>
              <a:gd name="connsiteY1497" fmla="*/ 545517 h 4071735"/>
              <a:gd name="connsiteX1498" fmla="*/ 7829512 w 11856555"/>
              <a:gd name="connsiteY1498" fmla="*/ 538357 h 4071735"/>
              <a:gd name="connsiteX1499" fmla="*/ 7813088 w 11856555"/>
              <a:gd name="connsiteY1499" fmla="*/ 550042 h 4071735"/>
              <a:gd name="connsiteX1500" fmla="*/ 7839054 w 11856555"/>
              <a:gd name="connsiteY1500" fmla="*/ 544808 h 4071735"/>
              <a:gd name="connsiteX1501" fmla="*/ 7829512 w 11856555"/>
              <a:gd name="connsiteY1501" fmla="*/ 538357 h 4071735"/>
              <a:gd name="connsiteX1502" fmla="*/ 7858604 w 11856555"/>
              <a:gd name="connsiteY1502" fmla="*/ 528463 h 4071735"/>
              <a:gd name="connsiteX1503" fmla="*/ 7842285 w 11856555"/>
              <a:gd name="connsiteY1503" fmla="*/ 538678 h 4071735"/>
              <a:gd name="connsiteX1504" fmla="*/ 7877875 w 11856555"/>
              <a:gd name="connsiteY1504" fmla="*/ 535507 h 4071735"/>
              <a:gd name="connsiteX1505" fmla="*/ 7858604 w 11856555"/>
              <a:gd name="connsiteY1505" fmla="*/ 528463 h 4071735"/>
              <a:gd name="connsiteX1506" fmla="*/ 7818750 w 11856555"/>
              <a:gd name="connsiteY1506" fmla="*/ 526174 h 4071735"/>
              <a:gd name="connsiteX1507" fmla="*/ 7807619 w 11856555"/>
              <a:gd name="connsiteY1507" fmla="*/ 537946 h 4071735"/>
              <a:gd name="connsiteX1508" fmla="*/ 7798912 w 11856555"/>
              <a:gd name="connsiteY1508" fmla="*/ 542360 h 4071735"/>
              <a:gd name="connsiteX1509" fmla="*/ 7800090 w 11856555"/>
              <a:gd name="connsiteY1509" fmla="*/ 535594 h 4071735"/>
              <a:gd name="connsiteX1510" fmla="*/ 7818750 w 11856555"/>
              <a:gd name="connsiteY1510" fmla="*/ 526174 h 4071735"/>
              <a:gd name="connsiteX1511" fmla="*/ 7891828 w 11856555"/>
              <a:gd name="connsiteY1511" fmla="*/ 522581 h 4071735"/>
              <a:gd name="connsiteX1512" fmla="*/ 7891828 w 11856555"/>
              <a:gd name="connsiteY1512" fmla="*/ 522581 h 4071735"/>
              <a:gd name="connsiteX1513" fmla="*/ 11044812 w 11856555"/>
              <a:gd name="connsiteY1513" fmla="*/ 521984 h 4071735"/>
              <a:gd name="connsiteX1514" fmla="*/ 11044812 w 11856555"/>
              <a:gd name="connsiteY1514" fmla="*/ 521984 h 4071735"/>
              <a:gd name="connsiteX1515" fmla="*/ 10853381 w 11856555"/>
              <a:gd name="connsiteY1515" fmla="*/ 517247 h 4071735"/>
              <a:gd name="connsiteX1516" fmla="*/ 10825001 w 11856555"/>
              <a:gd name="connsiteY1516" fmla="*/ 576617 h 4071735"/>
              <a:gd name="connsiteX1517" fmla="*/ 10855473 w 11856555"/>
              <a:gd name="connsiteY1517" fmla="*/ 518202 h 4071735"/>
              <a:gd name="connsiteX1518" fmla="*/ 10853381 w 11856555"/>
              <a:gd name="connsiteY1518" fmla="*/ 517247 h 4071735"/>
              <a:gd name="connsiteX1519" fmla="*/ 9188315 w 11856555"/>
              <a:gd name="connsiteY1519" fmla="*/ 494666 h 4071735"/>
              <a:gd name="connsiteX1520" fmla="*/ 9188315 w 11856555"/>
              <a:gd name="connsiteY1520" fmla="*/ 494666 h 4071735"/>
              <a:gd name="connsiteX1521" fmla="*/ 9214932 w 11856555"/>
              <a:gd name="connsiteY1521" fmla="*/ 493755 h 4071735"/>
              <a:gd name="connsiteX1522" fmla="*/ 9198973 w 11856555"/>
              <a:gd name="connsiteY1522" fmla="*/ 508319 h 4071735"/>
              <a:gd name="connsiteX1523" fmla="*/ 9217187 w 11856555"/>
              <a:gd name="connsiteY1523" fmla="*/ 500855 h 4071735"/>
              <a:gd name="connsiteX1524" fmla="*/ 9214932 w 11856555"/>
              <a:gd name="connsiteY1524" fmla="*/ 493755 h 4071735"/>
              <a:gd name="connsiteX1525" fmla="*/ 6091142 w 11856555"/>
              <a:gd name="connsiteY1525" fmla="*/ 443563 h 4071735"/>
              <a:gd name="connsiteX1526" fmla="*/ 6090786 w 11856555"/>
              <a:gd name="connsiteY1526" fmla="*/ 444045 h 4071735"/>
              <a:gd name="connsiteX1527" fmla="*/ 6089725 w 11856555"/>
              <a:gd name="connsiteY1527" fmla="*/ 443990 h 4071735"/>
              <a:gd name="connsiteX1528" fmla="*/ 9468412 w 11856555"/>
              <a:gd name="connsiteY1528" fmla="*/ 430645 h 4071735"/>
              <a:gd name="connsiteX1529" fmla="*/ 9481178 w 11856555"/>
              <a:gd name="connsiteY1529" fmla="*/ 433522 h 4071735"/>
              <a:gd name="connsiteX1530" fmla="*/ 9455212 w 11856555"/>
              <a:gd name="connsiteY1530" fmla="*/ 438757 h 4071735"/>
              <a:gd name="connsiteX1531" fmla="*/ 9468412 w 11856555"/>
              <a:gd name="connsiteY1531" fmla="*/ 430645 h 4071735"/>
              <a:gd name="connsiteX1532" fmla="*/ 8316976 w 11856555"/>
              <a:gd name="connsiteY1532" fmla="*/ 420445 h 4071735"/>
              <a:gd name="connsiteX1533" fmla="*/ 8316864 w 11856555"/>
              <a:gd name="connsiteY1533" fmla="*/ 420598 h 4071735"/>
              <a:gd name="connsiteX1534" fmla="*/ 8316481 w 11856555"/>
              <a:gd name="connsiteY1534" fmla="*/ 420595 h 4071735"/>
              <a:gd name="connsiteX1535" fmla="*/ 6533407 w 11856555"/>
              <a:gd name="connsiteY1535" fmla="*/ 363995 h 4071735"/>
              <a:gd name="connsiteX1536" fmla="*/ 6522621 w 11856555"/>
              <a:gd name="connsiteY1536" fmla="*/ 370067 h 4071735"/>
              <a:gd name="connsiteX1537" fmla="*/ 6539737 w 11856555"/>
              <a:gd name="connsiteY1537" fmla="*/ 371463 h 4071735"/>
              <a:gd name="connsiteX1538" fmla="*/ 6533407 w 11856555"/>
              <a:gd name="connsiteY1538" fmla="*/ 363995 h 4071735"/>
              <a:gd name="connsiteX1539" fmla="*/ 6596333 w 11856555"/>
              <a:gd name="connsiteY1539" fmla="*/ 363682 h 4071735"/>
              <a:gd name="connsiteX1540" fmla="*/ 6570481 w 11856555"/>
              <a:gd name="connsiteY1540" fmla="*/ 377484 h 4071735"/>
              <a:gd name="connsiteX1541" fmla="*/ 6605296 w 11856555"/>
              <a:gd name="connsiteY1541" fmla="*/ 365621 h 4071735"/>
              <a:gd name="connsiteX1542" fmla="*/ 6596333 w 11856555"/>
              <a:gd name="connsiteY1542" fmla="*/ 363682 h 4071735"/>
              <a:gd name="connsiteX1543" fmla="*/ 6642632 w 11856555"/>
              <a:gd name="connsiteY1543" fmla="*/ 360833 h 4071735"/>
              <a:gd name="connsiteX1544" fmla="*/ 6633653 w 11856555"/>
              <a:gd name="connsiteY1544" fmla="*/ 366014 h 4071735"/>
              <a:gd name="connsiteX1545" fmla="*/ 6652384 w 11856555"/>
              <a:gd name="connsiteY1545" fmla="*/ 364345 h 4071735"/>
              <a:gd name="connsiteX1546" fmla="*/ 6642632 w 11856555"/>
              <a:gd name="connsiteY1546" fmla="*/ 360833 h 4071735"/>
              <a:gd name="connsiteX1547" fmla="*/ 7066244 w 11856555"/>
              <a:gd name="connsiteY1547" fmla="*/ 355666 h 4071735"/>
              <a:gd name="connsiteX1548" fmla="*/ 7055243 w 11856555"/>
              <a:gd name="connsiteY1548" fmla="*/ 372254 h 4071735"/>
              <a:gd name="connsiteX1549" fmla="*/ 7072685 w 11856555"/>
              <a:gd name="connsiteY1549" fmla="*/ 356097 h 4071735"/>
              <a:gd name="connsiteX1550" fmla="*/ 7066244 w 11856555"/>
              <a:gd name="connsiteY1550" fmla="*/ 355666 h 4071735"/>
              <a:gd name="connsiteX1551" fmla="*/ 10966342 w 11856555"/>
              <a:gd name="connsiteY1551" fmla="*/ 351193 h 4071735"/>
              <a:gd name="connsiteX1552" fmla="*/ 10958655 w 11856555"/>
              <a:gd name="connsiteY1552" fmla="*/ 360273 h 4071735"/>
              <a:gd name="connsiteX1553" fmla="*/ 10974997 w 11856555"/>
              <a:gd name="connsiteY1553" fmla="*/ 352976 h 4071735"/>
              <a:gd name="connsiteX1554" fmla="*/ 10966342 w 11856555"/>
              <a:gd name="connsiteY1554" fmla="*/ 351193 h 4071735"/>
              <a:gd name="connsiteX1555" fmla="*/ 6257433 w 11856555"/>
              <a:gd name="connsiteY1555" fmla="*/ 349480 h 4071735"/>
              <a:gd name="connsiteX1556" fmla="*/ 6250883 w 11856555"/>
              <a:gd name="connsiteY1556" fmla="*/ 350475 h 4071735"/>
              <a:gd name="connsiteX1557" fmla="*/ 6257433 w 11856555"/>
              <a:gd name="connsiteY1557" fmla="*/ 349480 h 4071735"/>
              <a:gd name="connsiteX1558" fmla="*/ 8759241 w 11856555"/>
              <a:gd name="connsiteY1558" fmla="*/ 340879 h 4071735"/>
              <a:gd name="connsiteX1559" fmla="*/ 8748454 w 11856555"/>
              <a:gd name="connsiteY1559" fmla="*/ 346951 h 4071735"/>
              <a:gd name="connsiteX1560" fmla="*/ 8765570 w 11856555"/>
              <a:gd name="connsiteY1560" fmla="*/ 348347 h 4071735"/>
              <a:gd name="connsiteX1561" fmla="*/ 8759241 w 11856555"/>
              <a:gd name="connsiteY1561" fmla="*/ 340879 h 4071735"/>
              <a:gd name="connsiteX1562" fmla="*/ 8822167 w 11856555"/>
              <a:gd name="connsiteY1562" fmla="*/ 340565 h 4071735"/>
              <a:gd name="connsiteX1563" fmla="*/ 8813336 w 11856555"/>
              <a:gd name="connsiteY1563" fmla="*/ 344090 h 4071735"/>
              <a:gd name="connsiteX1564" fmla="*/ 8796316 w 11856555"/>
              <a:gd name="connsiteY1564" fmla="*/ 354368 h 4071735"/>
              <a:gd name="connsiteX1565" fmla="*/ 8831131 w 11856555"/>
              <a:gd name="connsiteY1565" fmla="*/ 342505 h 4071735"/>
              <a:gd name="connsiteX1566" fmla="*/ 8822167 w 11856555"/>
              <a:gd name="connsiteY1566" fmla="*/ 340565 h 4071735"/>
              <a:gd name="connsiteX1567" fmla="*/ 8868466 w 11856555"/>
              <a:gd name="connsiteY1567" fmla="*/ 337717 h 4071735"/>
              <a:gd name="connsiteX1568" fmla="*/ 8859487 w 11856555"/>
              <a:gd name="connsiteY1568" fmla="*/ 342898 h 4071735"/>
              <a:gd name="connsiteX1569" fmla="*/ 8878219 w 11856555"/>
              <a:gd name="connsiteY1569" fmla="*/ 341229 h 4071735"/>
              <a:gd name="connsiteX1570" fmla="*/ 8868466 w 11856555"/>
              <a:gd name="connsiteY1570" fmla="*/ 337717 h 4071735"/>
              <a:gd name="connsiteX1571" fmla="*/ 9292078 w 11856555"/>
              <a:gd name="connsiteY1571" fmla="*/ 332550 h 4071735"/>
              <a:gd name="connsiteX1572" fmla="*/ 9281077 w 11856555"/>
              <a:gd name="connsiteY1572" fmla="*/ 349136 h 4071735"/>
              <a:gd name="connsiteX1573" fmla="*/ 9298518 w 11856555"/>
              <a:gd name="connsiteY1573" fmla="*/ 332980 h 4071735"/>
              <a:gd name="connsiteX1574" fmla="*/ 9292078 w 11856555"/>
              <a:gd name="connsiteY1574" fmla="*/ 332550 h 4071735"/>
              <a:gd name="connsiteX1575" fmla="*/ 8483267 w 11856555"/>
              <a:gd name="connsiteY1575" fmla="*/ 326364 h 4071735"/>
              <a:gd name="connsiteX1576" fmla="*/ 8476717 w 11856555"/>
              <a:gd name="connsiteY1576" fmla="*/ 327357 h 4071735"/>
              <a:gd name="connsiteX1577" fmla="*/ 8483267 w 11856555"/>
              <a:gd name="connsiteY1577" fmla="*/ 326364 h 4071735"/>
              <a:gd name="connsiteX1578" fmla="*/ 10948064 w 11856555"/>
              <a:gd name="connsiteY1578" fmla="*/ 326171 h 4071735"/>
              <a:gd name="connsiteX1579" fmla="*/ 10948064 w 11856555"/>
              <a:gd name="connsiteY1579" fmla="*/ 326171 h 4071735"/>
              <a:gd name="connsiteX1580" fmla="*/ 9887418 w 11856555"/>
              <a:gd name="connsiteY1580" fmla="*/ 325771 h 4071735"/>
              <a:gd name="connsiteX1581" fmla="*/ 9870994 w 11856555"/>
              <a:gd name="connsiteY1581" fmla="*/ 337456 h 4071735"/>
              <a:gd name="connsiteX1582" fmla="*/ 9896961 w 11856555"/>
              <a:gd name="connsiteY1582" fmla="*/ 332221 h 4071735"/>
              <a:gd name="connsiteX1583" fmla="*/ 9887418 w 11856555"/>
              <a:gd name="connsiteY1583" fmla="*/ 325771 h 4071735"/>
              <a:gd name="connsiteX1584" fmla="*/ 6665887 w 11856555"/>
              <a:gd name="connsiteY1584" fmla="*/ 325175 h 4071735"/>
              <a:gd name="connsiteX1585" fmla="*/ 6706190 w 11856555"/>
              <a:gd name="connsiteY1585" fmla="*/ 353709 h 4071735"/>
              <a:gd name="connsiteX1586" fmla="*/ 6665887 w 11856555"/>
              <a:gd name="connsiteY1586" fmla="*/ 325175 h 4071735"/>
              <a:gd name="connsiteX1587" fmla="*/ 9916509 w 11856555"/>
              <a:gd name="connsiteY1587" fmla="*/ 315878 h 4071735"/>
              <a:gd name="connsiteX1588" fmla="*/ 9900192 w 11856555"/>
              <a:gd name="connsiteY1588" fmla="*/ 326092 h 4071735"/>
              <a:gd name="connsiteX1589" fmla="*/ 9935781 w 11856555"/>
              <a:gd name="connsiteY1589" fmla="*/ 322921 h 4071735"/>
              <a:gd name="connsiteX1590" fmla="*/ 9916509 w 11856555"/>
              <a:gd name="connsiteY1590" fmla="*/ 315878 h 4071735"/>
              <a:gd name="connsiteX1591" fmla="*/ 9872909 w 11856555"/>
              <a:gd name="connsiteY1591" fmla="*/ 313922 h 4071735"/>
              <a:gd name="connsiteX1592" fmla="*/ 9861779 w 11856555"/>
              <a:gd name="connsiteY1592" fmla="*/ 325693 h 4071735"/>
              <a:gd name="connsiteX1593" fmla="*/ 9853069 w 11856555"/>
              <a:gd name="connsiteY1593" fmla="*/ 330108 h 4071735"/>
              <a:gd name="connsiteX1594" fmla="*/ 9854249 w 11856555"/>
              <a:gd name="connsiteY1594" fmla="*/ 323342 h 4071735"/>
              <a:gd name="connsiteX1595" fmla="*/ 9872909 w 11856555"/>
              <a:gd name="connsiteY1595" fmla="*/ 313922 h 4071735"/>
              <a:gd name="connsiteX1596" fmla="*/ 9949735 w 11856555"/>
              <a:gd name="connsiteY1596" fmla="*/ 309996 h 4071735"/>
              <a:gd name="connsiteX1597" fmla="*/ 9938144 w 11856555"/>
              <a:gd name="connsiteY1597" fmla="*/ 311029 h 4071735"/>
              <a:gd name="connsiteX1598" fmla="*/ 9949735 w 11856555"/>
              <a:gd name="connsiteY1598" fmla="*/ 309996 h 4071735"/>
              <a:gd name="connsiteX1599" fmla="*/ 8891721 w 11856555"/>
              <a:gd name="connsiteY1599" fmla="*/ 302058 h 4071735"/>
              <a:gd name="connsiteX1600" fmla="*/ 8932024 w 11856555"/>
              <a:gd name="connsiteY1600" fmla="*/ 330593 h 4071735"/>
              <a:gd name="connsiteX1601" fmla="*/ 8891721 w 11856555"/>
              <a:gd name="connsiteY1601" fmla="*/ 302058 h 4071735"/>
              <a:gd name="connsiteX1602" fmla="*/ 10374883 w 11856555"/>
              <a:gd name="connsiteY1602" fmla="*/ 207860 h 4071735"/>
              <a:gd name="connsiteX1603" fmla="*/ 10374507 w 11856555"/>
              <a:gd name="connsiteY1603" fmla="*/ 208370 h 4071735"/>
              <a:gd name="connsiteX1604" fmla="*/ 10373221 w 11856555"/>
              <a:gd name="connsiteY1604" fmla="*/ 208360 h 4071735"/>
              <a:gd name="connsiteX1605" fmla="*/ 10817148 w 11856555"/>
              <a:gd name="connsiteY1605" fmla="*/ 128293 h 4071735"/>
              <a:gd name="connsiteX1606" fmla="*/ 10806360 w 11856555"/>
              <a:gd name="connsiteY1606" fmla="*/ 134364 h 4071735"/>
              <a:gd name="connsiteX1607" fmla="*/ 10823477 w 11856555"/>
              <a:gd name="connsiteY1607" fmla="*/ 135760 h 4071735"/>
              <a:gd name="connsiteX1608" fmla="*/ 10817148 w 11856555"/>
              <a:gd name="connsiteY1608" fmla="*/ 128293 h 4071735"/>
              <a:gd name="connsiteX1609" fmla="*/ 10880075 w 11856555"/>
              <a:gd name="connsiteY1609" fmla="*/ 127979 h 4071735"/>
              <a:gd name="connsiteX1610" fmla="*/ 10854222 w 11856555"/>
              <a:gd name="connsiteY1610" fmla="*/ 141781 h 4071735"/>
              <a:gd name="connsiteX1611" fmla="*/ 10889039 w 11856555"/>
              <a:gd name="connsiteY1611" fmla="*/ 129918 h 4071735"/>
              <a:gd name="connsiteX1612" fmla="*/ 10880075 w 11856555"/>
              <a:gd name="connsiteY1612" fmla="*/ 127979 h 4071735"/>
              <a:gd name="connsiteX1613" fmla="*/ 10926373 w 11856555"/>
              <a:gd name="connsiteY1613" fmla="*/ 125130 h 4071735"/>
              <a:gd name="connsiteX1614" fmla="*/ 10917394 w 11856555"/>
              <a:gd name="connsiteY1614" fmla="*/ 130312 h 4071735"/>
              <a:gd name="connsiteX1615" fmla="*/ 10936126 w 11856555"/>
              <a:gd name="connsiteY1615" fmla="*/ 128642 h 4071735"/>
              <a:gd name="connsiteX1616" fmla="*/ 10926373 w 11856555"/>
              <a:gd name="connsiteY1616" fmla="*/ 125130 h 4071735"/>
              <a:gd name="connsiteX1617" fmla="*/ 11349985 w 11856555"/>
              <a:gd name="connsiteY1617" fmla="*/ 119964 h 4071735"/>
              <a:gd name="connsiteX1618" fmla="*/ 11338984 w 11856555"/>
              <a:gd name="connsiteY1618" fmla="*/ 136550 h 4071735"/>
              <a:gd name="connsiteX1619" fmla="*/ 11356425 w 11856555"/>
              <a:gd name="connsiteY1619" fmla="*/ 120395 h 4071735"/>
              <a:gd name="connsiteX1620" fmla="*/ 11349985 w 11856555"/>
              <a:gd name="connsiteY1620" fmla="*/ 119964 h 4071735"/>
              <a:gd name="connsiteX1621" fmla="*/ 10949628 w 11856555"/>
              <a:gd name="connsiteY1621" fmla="*/ 89473 h 4071735"/>
              <a:gd name="connsiteX1622" fmla="*/ 10989933 w 11856555"/>
              <a:gd name="connsiteY1622" fmla="*/ 118007 h 4071735"/>
              <a:gd name="connsiteX1623" fmla="*/ 10949628 w 11856555"/>
              <a:gd name="connsiteY1623" fmla="*/ 89473 h 4071735"/>
              <a:gd name="connsiteX1624" fmla="*/ 11264419 w 11856555"/>
              <a:gd name="connsiteY1624" fmla="*/ 40 h 4071735"/>
              <a:gd name="connsiteX1625" fmla="*/ 11218008 w 11856555"/>
              <a:gd name="connsiteY1625" fmla="*/ 71398 h 4071735"/>
              <a:gd name="connsiteX1626" fmla="*/ 11509640 w 11856555"/>
              <a:gd name="connsiteY1626" fmla="*/ 60013 h 4071735"/>
              <a:gd name="connsiteX1627" fmla="*/ 11234148 w 11856555"/>
              <a:gd name="connsiteY1627" fmla="*/ 210144 h 4071735"/>
              <a:gd name="connsiteX1628" fmla="*/ 10968927 w 11856555"/>
              <a:gd name="connsiteY1628" fmla="*/ 327232 h 4071735"/>
              <a:gd name="connsiteX1629" fmla="*/ 11049923 w 11856555"/>
              <a:gd name="connsiteY1629" fmla="*/ 346299 h 4071735"/>
              <a:gd name="connsiteX1630" fmla="*/ 11248090 w 11856555"/>
              <a:gd name="connsiteY1630" fmla="*/ 366606 h 4071735"/>
              <a:gd name="connsiteX1631" fmla="*/ 11022271 w 11856555"/>
              <a:gd name="connsiteY1631" fmla="*/ 459742 h 4071735"/>
              <a:gd name="connsiteX1632" fmla="*/ 10954513 w 11856555"/>
              <a:gd name="connsiteY1632" fmla="*/ 483303 h 4071735"/>
              <a:gd name="connsiteX1633" fmla="*/ 10869249 w 11856555"/>
              <a:gd name="connsiteY1633" fmla="*/ 543470 h 4071735"/>
              <a:gd name="connsiteX1634" fmla="*/ 10903290 w 11856555"/>
              <a:gd name="connsiteY1634" fmla="*/ 522913 h 4071735"/>
              <a:gd name="connsiteX1635" fmla="*/ 10892952 w 11856555"/>
              <a:gd name="connsiteY1635" fmla="*/ 576404 h 4071735"/>
              <a:gd name="connsiteX1636" fmla="*/ 11169154 w 11856555"/>
              <a:gd name="connsiteY1636" fmla="*/ 455415 h 4071735"/>
              <a:gd name="connsiteX1637" fmla="*/ 11254155 w 11856555"/>
              <a:gd name="connsiteY1637" fmla="*/ 477045 h 4071735"/>
              <a:gd name="connsiteX1638" fmla="*/ 11250602 w 11856555"/>
              <a:gd name="connsiteY1638" fmla="*/ 500725 h 4071735"/>
              <a:gd name="connsiteX1639" fmla="*/ 10927307 w 11856555"/>
              <a:gd name="connsiteY1639" fmla="*/ 707685 h 4071735"/>
              <a:gd name="connsiteX1640" fmla="*/ 11634359 w 11856555"/>
              <a:gd name="connsiteY1640" fmla="*/ 675305 h 4071735"/>
              <a:gd name="connsiteX1641" fmla="*/ 11662035 w 11856555"/>
              <a:gd name="connsiteY1641" fmla="*/ 669910 h 4071735"/>
              <a:gd name="connsiteX1642" fmla="*/ 11653450 w 11856555"/>
              <a:gd name="connsiteY1642" fmla="*/ 678023 h 4071735"/>
              <a:gd name="connsiteX1643" fmla="*/ 11840311 w 11856555"/>
              <a:gd name="connsiteY1643" fmla="*/ 719781 h 4071735"/>
              <a:gd name="connsiteX1644" fmla="*/ 11822758 w 11856555"/>
              <a:gd name="connsiteY1644" fmla="*/ 729377 h 4071735"/>
              <a:gd name="connsiteX1645" fmla="*/ 11798890 w 11856555"/>
              <a:gd name="connsiteY1645" fmla="*/ 731654 h 4071735"/>
              <a:gd name="connsiteX1646" fmla="*/ 11795613 w 11856555"/>
              <a:gd name="connsiteY1646" fmla="*/ 726685 h 4071735"/>
              <a:gd name="connsiteX1647" fmla="*/ 11798167 w 11856555"/>
              <a:gd name="connsiteY1647" fmla="*/ 731722 h 4071735"/>
              <a:gd name="connsiteX1648" fmla="*/ 11793624 w 11856555"/>
              <a:gd name="connsiteY1648" fmla="*/ 732155 h 4071735"/>
              <a:gd name="connsiteX1649" fmla="*/ 11773911 w 11856555"/>
              <a:gd name="connsiteY1649" fmla="*/ 737381 h 4071735"/>
              <a:gd name="connsiteX1650" fmla="*/ 11803799 w 11856555"/>
              <a:gd name="connsiteY1650" fmla="*/ 739097 h 4071735"/>
              <a:gd name="connsiteX1651" fmla="*/ 11801819 w 11856555"/>
              <a:gd name="connsiteY1651" fmla="*/ 736094 h 4071735"/>
              <a:gd name="connsiteX1652" fmla="*/ 11808385 w 11856555"/>
              <a:gd name="connsiteY1652" fmla="*/ 737595 h 4071735"/>
              <a:gd name="connsiteX1653" fmla="*/ 11835400 w 11856555"/>
              <a:gd name="connsiteY1653" fmla="*/ 749424 h 4071735"/>
              <a:gd name="connsiteX1654" fmla="*/ 11844184 w 11856555"/>
              <a:gd name="connsiteY1654" fmla="*/ 763244 h 4071735"/>
              <a:gd name="connsiteX1655" fmla="*/ 11605054 w 11856555"/>
              <a:gd name="connsiteY1655" fmla="*/ 918895 h 4071735"/>
              <a:gd name="connsiteX1656" fmla="*/ 11660346 w 11856555"/>
              <a:gd name="connsiteY1656" fmla="*/ 946093 h 4071735"/>
              <a:gd name="connsiteX1657" fmla="*/ 11418701 w 11856555"/>
              <a:gd name="connsiteY1657" fmla="*/ 1052320 h 4071735"/>
              <a:gd name="connsiteX1658" fmla="*/ 11267167 w 11856555"/>
              <a:gd name="connsiteY1658" fmla="*/ 1089188 h 4071735"/>
              <a:gd name="connsiteX1659" fmla="*/ 11320906 w 11856555"/>
              <a:gd name="connsiteY1659" fmla="*/ 1099001 h 4071735"/>
              <a:gd name="connsiteX1660" fmla="*/ 11252441 w 11856555"/>
              <a:gd name="connsiteY1660" fmla="*/ 1140256 h 4071735"/>
              <a:gd name="connsiteX1661" fmla="*/ 11215628 w 11856555"/>
              <a:gd name="connsiteY1661" fmla="*/ 1143634 h 4071735"/>
              <a:gd name="connsiteX1662" fmla="*/ 10772722 w 11856555"/>
              <a:gd name="connsiteY1662" fmla="*/ 1204252 h 4071735"/>
              <a:gd name="connsiteX1663" fmla="*/ 10721781 w 11856555"/>
              <a:gd name="connsiteY1663" fmla="*/ 1218953 h 4071735"/>
              <a:gd name="connsiteX1664" fmla="*/ 10672222 w 11856555"/>
              <a:gd name="connsiteY1664" fmla="*/ 1223846 h 4071735"/>
              <a:gd name="connsiteX1665" fmla="*/ 10619469 w 11856555"/>
              <a:gd name="connsiteY1665" fmla="*/ 1233863 h 4071735"/>
              <a:gd name="connsiteX1666" fmla="*/ 10608262 w 11856555"/>
              <a:gd name="connsiteY1666" fmla="*/ 1229814 h 4071735"/>
              <a:gd name="connsiteX1667" fmla="*/ 10606192 w 11856555"/>
              <a:gd name="connsiteY1667" fmla="*/ 1233563 h 4071735"/>
              <a:gd name="connsiteX1668" fmla="*/ 10607615 w 11856555"/>
              <a:gd name="connsiteY1668" fmla="*/ 1236114 h 4071735"/>
              <a:gd name="connsiteX1669" fmla="*/ 10583970 w 11856555"/>
              <a:gd name="connsiteY1669" fmla="*/ 1240602 h 4071735"/>
              <a:gd name="connsiteX1670" fmla="*/ 10613708 w 11856555"/>
              <a:gd name="connsiteY1670" fmla="*/ 1245044 h 4071735"/>
              <a:gd name="connsiteX1671" fmla="*/ 10620520 w 11856555"/>
              <a:gd name="connsiteY1671" fmla="*/ 1252229 h 4071735"/>
              <a:gd name="connsiteX1672" fmla="*/ 10451161 w 11856555"/>
              <a:gd name="connsiteY1672" fmla="*/ 1293279 h 4071735"/>
              <a:gd name="connsiteX1673" fmla="*/ 10391870 w 11856555"/>
              <a:gd name="connsiteY1673" fmla="*/ 1314628 h 4071735"/>
              <a:gd name="connsiteX1674" fmla="*/ 10341028 w 11856555"/>
              <a:gd name="connsiteY1674" fmla="*/ 1324312 h 4071735"/>
              <a:gd name="connsiteX1675" fmla="*/ 10237428 w 11856555"/>
              <a:gd name="connsiteY1675" fmla="*/ 1356178 h 4071735"/>
              <a:gd name="connsiteX1676" fmla="*/ 10104758 w 11856555"/>
              <a:gd name="connsiteY1676" fmla="*/ 1350477 h 4071735"/>
              <a:gd name="connsiteX1677" fmla="*/ 10055730 w 11856555"/>
              <a:gd name="connsiteY1677" fmla="*/ 1372369 h 4071735"/>
              <a:gd name="connsiteX1678" fmla="*/ 10058910 w 11856555"/>
              <a:gd name="connsiteY1678" fmla="*/ 1364539 h 4071735"/>
              <a:gd name="connsiteX1679" fmla="*/ 10069683 w 11856555"/>
              <a:gd name="connsiteY1679" fmla="*/ 1359444 h 4071735"/>
              <a:gd name="connsiteX1680" fmla="*/ 10060674 w 11856555"/>
              <a:gd name="connsiteY1680" fmla="*/ 1357808 h 4071735"/>
              <a:gd name="connsiteX1681" fmla="*/ 10059692 w 11856555"/>
              <a:gd name="connsiteY1681" fmla="*/ 1354583 h 4071735"/>
              <a:gd name="connsiteX1682" fmla="*/ 10054606 w 11856555"/>
              <a:gd name="connsiteY1682" fmla="*/ 1357235 h 4071735"/>
              <a:gd name="connsiteX1683" fmla="*/ 10026402 w 11856555"/>
              <a:gd name="connsiteY1683" fmla="*/ 1364031 h 4071735"/>
              <a:gd name="connsiteX1684" fmla="*/ 9811571 w 11856555"/>
              <a:gd name="connsiteY1684" fmla="*/ 1429172 h 4071735"/>
              <a:gd name="connsiteX1685" fmla="*/ 9667979 w 11856555"/>
              <a:gd name="connsiteY1685" fmla="*/ 1491615 h 4071735"/>
              <a:gd name="connsiteX1686" fmla="*/ 9668172 w 11856555"/>
              <a:gd name="connsiteY1686" fmla="*/ 1514962 h 4071735"/>
              <a:gd name="connsiteX1687" fmla="*/ 9718231 w 11856555"/>
              <a:gd name="connsiteY1687" fmla="*/ 1504661 h 4071735"/>
              <a:gd name="connsiteX1688" fmla="*/ 10096264 w 11856555"/>
              <a:gd name="connsiteY1688" fmla="*/ 1378979 h 4071735"/>
              <a:gd name="connsiteX1689" fmla="*/ 10138340 w 11856555"/>
              <a:gd name="connsiteY1689" fmla="*/ 1362621 h 4071735"/>
              <a:gd name="connsiteX1690" fmla="*/ 10153352 w 11856555"/>
              <a:gd name="connsiteY1690" fmla="*/ 1379156 h 4071735"/>
              <a:gd name="connsiteX1691" fmla="*/ 10185804 w 11856555"/>
              <a:gd name="connsiteY1691" fmla="*/ 1383002 h 4071735"/>
              <a:gd name="connsiteX1692" fmla="*/ 10247902 w 11856555"/>
              <a:gd name="connsiteY1692" fmla="*/ 1370653 h 4071735"/>
              <a:gd name="connsiteX1693" fmla="*/ 10102039 w 11856555"/>
              <a:gd name="connsiteY1693" fmla="*/ 1447096 h 4071735"/>
              <a:gd name="connsiteX1694" fmla="*/ 10301693 w 11856555"/>
              <a:gd name="connsiteY1694" fmla="*/ 1420542 h 4071735"/>
              <a:gd name="connsiteX1695" fmla="*/ 10230706 w 11856555"/>
              <a:gd name="connsiteY1695" fmla="*/ 1450233 h 4071735"/>
              <a:gd name="connsiteX1696" fmla="*/ 10250223 w 11856555"/>
              <a:gd name="connsiteY1696" fmla="*/ 1469327 h 4071735"/>
              <a:gd name="connsiteX1697" fmla="*/ 10243686 w 11856555"/>
              <a:gd name="connsiteY1697" fmla="*/ 1473433 h 4071735"/>
              <a:gd name="connsiteX1698" fmla="*/ 10244388 w 11856555"/>
              <a:gd name="connsiteY1698" fmla="*/ 1489900 h 4071735"/>
              <a:gd name="connsiteX1699" fmla="*/ 10262950 w 11856555"/>
              <a:gd name="connsiteY1699" fmla="*/ 1486025 h 4071735"/>
              <a:gd name="connsiteX1700" fmla="*/ 10256798 w 11856555"/>
              <a:gd name="connsiteY1700" fmla="*/ 1488793 h 4071735"/>
              <a:gd name="connsiteX1701" fmla="*/ 10268072 w 11856555"/>
              <a:gd name="connsiteY1701" fmla="*/ 1485264 h 4071735"/>
              <a:gd name="connsiteX1702" fmla="*/ 10274684 w 11856555"/>
              <a:gd name="connsiteY1702" fmla="*/ 1490069 h 4071735"/>
              <a:gd name="connsiteX1703" fmla="*/ 10240237 w 11856555"/>
              <a:gd name="connsiteY1703" fmla="*/ 1492642 h 4071735"/>
              <a:gd name="connsiteX1704" fmla="*/ 10219593 w 11856555"/>
              <a:gd name="connsiteY1704" fmla="*/ 1495029 h 4071735"/>
              <a:gd name="connsiteX1705" fmla="*/ 10237189 w 11856555"/>
              <a:gd name="connsiteY1705" fmla="*/ 1507549 h 4071735"/>
              <a:gd name="connsiteX1706" fmla="*/ 10233227 w 11856555"/>
              <a:gd name="connsiteY1706" fmla="*/ 1512296 h 4071735"/>
              <a:gd name="connsiteX1707" fmla="*/ 10199888 w 11856555"/>
              <a:gd name="connsiteY1707" fmla="*/ 1549353 h 4071735"/>
              <a:gd name="connsiteX1708" fmla="*/ 10848853 w 11856555"/>
              <a:gd name="connsiteY1708" fmla="*/ 1395149 h 4071735"/>
              <a:gd name="connsiteX1709" fmla="*/ 10839097 w 11856555"/>
              <a:gd name="connsiteY1709" fmla="*/ 1433985 h 4071735"/>
              <a:gd name="connsiteX1710" fmla="*/ 10967312 w 11856555"/>
              <a:gd name="connsiteY1710" fmla="*/ 1410877 h 4071735"/>
              <a:gd name="connsiteX1711" fmla="*/ 10928875 w 11856555"/>
              <a:gd name="connsiteY1711" fmla="*/ 1466871 h 4071735"/>
              <a:gd name="connsiteX1712" fmla="*/ 11244410 w 11856555"/>
              <a:gd name="connsiteY1712" fmla="*/ 1427072 h 4071735"/>
              <a:gd name="connsiteX1713" fmla="*/ 11223933 w 11856555"/>
              <a:gd name="connsiteY1713" fmla="*/ 1472704 h 4071735"/>
              <a:gd name="connsiteX1714" fmla="*/ 11296662 w 11856555"/>
              <a:gd name="connsiteY1714" fmla="*/ 1483746 h 4071735"/>
              <a:gd name="connsiteX1715" fmla="*/ 11264386 w 11856555"/>
              <a:gd name="connsiteY1715" fmla="*/ 1503917 h 4071735"/>
              <a:gd name="connsiteX1716" fmla="*/ 11239698 w 11856555"/>
              <a:gd name="connsiteY1716" fmla="*/ 1500219 h 4071735"/>
              <a:gd name="connsiteX1717" fmla="*/ 11233796 w 11856555"/>
              <a:gd name="connsiteY1717" fmla="*/ 1496330 h 4071735"/>
              <a:gd name="connsiteX1718" fmla="*/ 11239360 w 11856555"/>
              <a:gd name="connsiteY1718" fmla="*/ 1500169 h 4071735"/>
              <a:gd name="connsiteX1719" fmla="*/ 11239698 w 11856555"/>
              <a:gd name="connsiteY1719" fmla="*/ 1500219 h 4071735"/>
              <a:gd name="connsiteX1720" fmla="*/ 11242128 w 11856555"/>
              <a:gd name="connsiteY1720" fmla="*/ 1501822 h 4071735"/>
              <a:gd name="connsiteX1721" fmla="*/ 11259907 w 11856555"/>
              <a:gd name="connsiteY1721" fmla="*/ 1516227 h 4071735"/>
              <a:gd name="connsiteX1722" fmla="*/ 10769325 w 11856555"/>
              <a:gd name="connsiteY1722" fmla="*/ 1667999 h 4071735"/>
              <a:gd name="connsiteX1723" fmla="*/ 10990100 w 11856555"/>
              <a:gd name="connsiteY1723" fmla="*/ 1645406 h 4071735"/>
              <a:gd name="connsiteX1724" fmla="*/ 10890431 w 11856555"/>
              <a:gd name="connsiteY1724" fmla="*/ 1692254 h 4071735"/>
              <a:gd name="connsiteX1725" fmla="*/ 11001851 w 11856555"/>
              <a:gd name="connsiteY1725" fmla="*/ 1734894 h 4071735"/>
              <a:gd name="connsiteX1726" fmla="*/ 10995811 w 11856555"/>
              <a:gd name="connsiteY1726" fmla="*/ 1742812 h 4071735"/>
              <a:gd name="connsiteX1727" fmla="*/ 10993681 w 11856555"/>
              <a:gd name="connsiteY1727" fmla="*/ 1742878 h 4071735"/>
              <a:gd name="connsiteX1728" fmla="*/ 10981761 w 11856555"/>
              <a:gd name="connsiteY1728" fmla="*/ 1742525 h 4071735"/>
              <a:gd name="connsiteX1729" fmla="*/ 10993186 w 11856555"/>
              <a:gd name="connsiteY1729" fmla="*/ 1746253 h 4071735"/>
              <a:gd name="connsiteX1730" fmla="*/ 10995811 w 11856555"/>
              <a:gd name="connsiteY1730" fmla="*/ 1742812 h 4071735"/>
              <a:gd name="connsiteX1731" fmla="*/ 11013127 w 11856555"/>
              <a:gd name="connsiteY1731" fmla="*/ 1742285 h 4071735"/>
              <a:gd name="connsiteX1732" fmla="*/ 11046482 w 11856555"/>
              <a:gd name="connsiteY1732" fmla="*/ 1748439 h 4071735"/>
              <a:gd name="connsiteX1733" fmla="*/ 11020901 w 11856555"/>
              <a:gd name="connsiteY1733" fmla="*/ 1800368 h 4071735"/>
              <a:gd name="connsiteX1734" fmla="*/ 11080650 w 11856555"/>
              <a:gd name="connsiteY1734" fmla="*/ 1771679 h 4071735"/>
              <a:gd name="connsiteX1735" fmla="*/ 11123425 w 11856555"/>
              <a:gd name="connsiteY1735" fmla="*/ 1780279 h 4071735"/>
              <a:gd name="connsiteX1736" fmla="*/ 11164268 w 11856555"/>
              <a:gd name="connsiteY1736" fmla="*/ 1773923 h 4071735"/>
              <a:gd name="connsiteX1737" fmla="*/ 11160290 w 11856555"/>
              <a:gd name="connsiteY1737" fmla="*/ 1796708 h 4071735"/>
              <a:gd name="connsiteX1738" fmla="*/ 11223589 w 11856555"/>
              <a:gd name="connsiteY1738" fmla="*/ 1829034 h 4071735"/>
              <a:gd name="connsiteX1739" fmla="*/ 11493512 w 11856555"/>
              <a:gd name="connsiteY1739" fmla="*/ 1913038 h 4071735"/>
              <a:gd name="connsiteX1740" fmla="*/ 10961142 w 11856555"/>
              <a:gd name="connsiteY1740" fmla="*/ 1998445 h 4071735"/>
              <a:gd name="connsiteX1741" fmla="*/ 11032707 w 11856555"/>
              <a:gd name="connsiteY1741" fmla="*/ 2038795 h 4071735"/>
              <a:gd name="connsiteX1742" fmla="*/ 11210070 w 11856555"/>
              <a:gd name="connsiteY1742" fmla="*/ 2122287 h 4071735"/>
              <a:gd name="connsiteX1743" fmla="*/ 10994656 w 11856555"/>
              <a:gd name="connsiteY1743" fmla="*/ 2141483 h 4071735"/>
              <a:gd name="connsiteX1744" fmla="*/ 10930968 w 11856555"/>
              <a:gd name="connsiteY1744" fmla="*/ 2147158 h 4071735"/>
              <a:gd name="connsiteX1745" fmla="*/ 10888595 w 11856555"/>
              <a:gd name="connsiteY1745" fmla="*/ 2158965 h 4071735"/>
              <a:gd name="connsiteX1746" fmla="*/ 10871360 w 11856555"/>
              <a:gd name="connsiteY1746" fmla="*/ 2166119 h 4071735"/>
              <a:gd name="connsiteX1747" fmla="*/ 10871293 w 11856555"/>
              <a:gd name="connsiteY1747" fmla="*/ 2166074 h 4071735"/>
              <a:gd name="connsiteX1748" fmla="*/ 10871160 w 11856555"/>
              <a:gd name="connsiteY1748" fmla="*/ 2166203 h 4071735"/>
              <a:gd name="connsiteX1749" fmla="*/ 10860318 w 11856555"/>
              <a:gd name="connsiteY1749" fmla="*/ 2170703 h 4071735"/>
              <a:gd name="connsiteX1750" fmla="*/ 10847385 w 11856555"/>
              <a:gd name="connsiteY1750" fmla="*/ 2183810 h 4071735"/>
              <a:gd name="connsiteX1751" fmla="*/ 10863468 w 11856555"/>
              <a:gd name="connsiteY1751" fmla="*/ 2173616 h 4071735"/>
              <a:gd name="connsiteX1752" fmla="*/ 10871160 w 11856555"/>
              <a:gd name="connsiteY1752" fmla="*/ 2166203 h 4071735"/>
              <a:gd name="connsiteX1753" fmla="*/ 10871360 w 11856555"/>
              <a:gd name="connsiteY1753" fmla="*/ 2166119 h 4071735"/>
              <a:gd name="connsiteX1754" fmla="*/ 10880327 w 11856555"/>
              <a:gd name="connsiteY1754" fmla="*/ 2172113 h 4071735"/>
              <a:gd name="connsiteX1755" fmla="*/ 10865727 w 11856555"/>
              <a:gd name="connsiteY1755" fmla="*/ 2220142 h 4071735"/>
              <a:gd name="connsiteX1756" fmla="*/ 10904870 w 11856555"/>
              <a:gd name="connsiteY1756" fmla="*/ 2193290 h 4071735"/>
              <a:gd name="connsiteX1757" fmla="*/ 10911262 w 11856555"/>
              <a:gd name="connsiteY1757" fmla="*/ 2189466 h 4071735"/>
              <a:gd name="connsiteX1758" fmla="*/ 10912880 w 11856555"/>
              <a:gd name="connsiteY1758" fmla="*/ 2198418 h 4071735"/>
              <a:gd name="connsiteX1759" fmla="*/ 11130168 w 11856555"/>
              <a:gd name="connsiteY1759" fmla="*/ 2179055 h 4071735"/>
              <a:gd name="connsiteX1760" fmla="*/ 11202508 w 11856555"/>
              <a:gd name="connsiteY1760" fmla="*/ 2228099 h 4071735"/>
              <a:gd name="connsiteX1761" fmla="*/ 11196822 w 11856555"/>
              <a:gd name="connsiteY1761" fmla="*/ 2249047 h 4071735"/>
              <a:gd name="connsiteX1762" fmla="*/ 10543274 w 11856555"/>
              <a:gd name="connsiteY1762" fmla="*/ 2415345 h 4071735"/>
              <a:gd name="connsiteX1763" fmla="*/ 9816668 w 11856555"/>
              <a:gd name="connsiteY1763" fmla="*/ 2588151 h 4071735"/>
              <a:gd name="connsiteX1764" fmla="*/ 9889789 w 11856555"/>
              <a:gd name="connsiteY1764" fmla="*/ 2561191 h 4071735"/>
              <a:gd name="connsiteX1765" fmla="*/ 9902968 w 11856555"/>
              <a:gd name="connsiteY1765" fmla="*/ 2539573 h 4071735"/>
              <a:gd name="connsiteX1766" fmla="*/ 9490413 w 11856555"/>
              <a:gd name="connsiteY1766" fmla="*/ 2634746 h 4071735"/>
              <a:gd name="connsiteX1767" fmla="*/ 7884833 w 11856555"/>
              <a:gd name="connsiteY1767" fmla="*/ 3028982 h 4071735"/>
              <a:gd name="connsiteX1768" fmla="*/ 6245571 w 11856555"/>
              <a:gd name="connsiteY1768" fmla="*/ 3535237 h 4071735"/>
              <a:gd name="connsiteX1769" fmla="*/ 5741751 w 11856555"/>
              <a:gd name="connsiteY1769" fmla="*/ 3696984 h 4071735"/>
              <a:gd name="connsiteX1770" fmla="*/ 5744417 w 11856555"/>
              <a:gd name="connsiteY1770" fmla="*/ 3692835 h 4071735"/>
              <a:gd name="connsiteX1771" fmla="*/ 5732281 w 11856555"/>
              <a:gd name="connsiteY1771" fmla="*/ 3691726 h 4071735"/>
              <a:gd name="connsiteX1772" fmla="*/ 5723190 w 11856555"/>
              <a:gd name="connsiteY1772" fmla="*/ 3702943 h 4071735"/>
              <a:gd name="connsiteX1773" fmla="*/ 5720838 w 11856555"/>
              <a:gd name="connsiteY1773" fmla="*/ 3703697 h 4071735"/>
              <a:gd name="connsiteX1774" fmla="*/ 5155202 w 11856555"/>
              <a:gd name="connsiteY1774" fmla="*/ 3818352 h 4071735"/>
              <a:gd name="connsiteX1775" fmla="*/ 5322113 w 11856555"/>
              <a:gd name="connsiteY1775" fmla="*/ 3742149 h 4071735"/>
              <a:gd name="connsiteX1776" fmla="*/ 5657716 w 11856555"/>
              <a:gd name="connsiteY1776" fmla="*/ 3585932 h 4071735"/>
              <a:gd name="connsiteX1777" fmla="*/ 5733092 w 11856555"/>
              <a:gd name="connsiteY1777" fmla="*/ 3561903 h 4071735"/>
              <a:gd name="connsiteX1778" fmla="*/ 5753090 w 11856555"/>
              <a:gd name="connsiteY1778" fmla="*/ 3561735 h 4071735"/>
              <a:gd name="connsiteX1779" fmla="*/ 5860174 w 11856555"/>
              <a:gd name="connsiteY1779" fmla="*/ 3529925 h 4071735"/>
              <a:gd name="connsiteX1780" fmla="*/ 5884517 w 11856555"/>
              <a:gd name="connsiteY1780" fmla="*/ 3519180 h 4071735"/>
              <a:gd name="connsiteX1781" fmla="*/ 5953138 w 11856555"/>
              <a:gd name="connsiteY1781" fmla="*/ 3504882 h 4071735"/>
              <a:gd name="connsiteX1782" fmla="*/ 5995690 w 11856555"/>
              <a:gd name="connsiteY1782" fmla="*/ 3503977 h 4071735"/>
              <a:gd name="connsiteX1783" fmla="*/ 5969916 w 11856555"/>
              <a:gd name="connsiteY1783" fmla="*/ 3532558 h 4071735"/>
              <a:gd name="connsiteX1784" fmla="*/ 6081663 w 11856555"/>
              <a:gd name="connsiteY1784" fmla="*/ 3472950 h 4071735"/>
              <a:gd name="connsiteX1785" fmla="*/ 6630829 w 11856555"/>
              <a:gd name="connsiteY1785" fmla="*/ 3321797 h 4071735"/>
              <a:gd name="connsiteX1786" fmla="*/ 7395160 w 11856555"/>
              <a:gd name="connsiteY1786" fmla="*/ 3063856 h 4071735"/>
              <a:gd name="connsiteX1787" fmla="*/ 7560398 w 11856555"/>
              <a:gd name="connsiteY1787" fmla="*/ 2992045 h 4071735"/>
              <a:gd name="connsiteX1788" fmla="*/ 7607812 w 11856555"/>
              <a:gd name="connsiteY1788" fmla="*/ 2969572 h 4071735"/>
              <a:gd name="connsiteX1789" fmla="*/ 7635377 w 11856555"/>
              <a:gd name="connsiteY1789" fmla="*/ 2961134 h 4071735"/>
              <a:gd name="connsiteX1790" fmla="*/ 8161879 w 11856555"/>
              <a:gd name="connsiteY1790" fmla="*/ 2811543 h 4071735"/>
              <a:gd name="connsiteX1791" fmla="*/ 7669379 w 11856555"/>
              <a:gd name="connsiteY1791" fmla="*/ 2940391 h 4071735"/>
              <a:gd name="connsiteX1792" fmla="*/ 7607812 w 11856555"/>
              <a:gd name="connsiteY1792" fmla="*/ 2969572 h 4071735"/>
              <a:gd name="connsiteX1793" fmla="*/ 7109363 w 11856555"/>
              <a:gd name="connsiteY1793" fmla="*/ 3122180 h 4071735"/>
              <a:gd name="connsiteX1794" fmla="*/ 6056602 w 11856555"/>
              <a:gd name="connsiteY1794" fmla="*/ 3445980 h 4071735"/>
              <a:gd name="connsiteX1795" fmla="*/ 5970021 w 11856555"/>
              <a:gd name="connsiteY1795" fmla="*/ 3481440 h 4071735"/>
              <a:gd name="connsiteX1796" fmla="*/ 5932753 w 11856555"/>
              <a:gd name="connsiteY1796" fmla="*/ 3497889 h 4071735"/>
              <a:gd name="connsiteX1797" fmla="*/ 5912180 w 11856555"/>
              <a:gd name="connsiteY1797" fmla="*/ 3496450 h 4071735"/>
              <a:gd name="connsiteX1798" fmla="*/ 5899899 w 11856555"/>
              <a:gd name="connsiteY1798" fmla="*/ 3509592 h 4071735"/>
              <a:gd name="connsiteX1799" fmla="*/ 5916469 w 11856555"/>
              <a:gd name="connsiteY1799" fmla="*/ 3504830 h 4071735"/>
              <a:gd name="connsiteX1800" fmla="*/ 5930300 w 11856555"/>
              <a:gd name="connsiteY1800" fmla="*/ 3498973 h 4071735"/>
              <a:gd name="connsiteX1801" fmla="*/ 5884517 w 11856555"/>
              <a:gd name="connsiteY1801" fmla="*/ 3519180 h 4071735"/>
              <a:gd name="connsiteX1802" fmla="*/ 5874595 w 11856555"/>
              <a:gd name="connsiteY1802" fmla="*/ 3521247 h 4071735"/>
              <a:gd name="connsiteX1803" fmla="*/ 5772106 w 11856555"/>
              <a:gd name="connsiteY1803" fmla="*/ 3549466 h 4071735"/>
              <a:gd name="connsiteX1804" fmla="*/ 5733092 w 11856555"/>
              <a:gd name="connsiteY1804" fmla="*/ 3561903 h 4071735"/>
              <a:gd name="connsiteX1805" fmla="*/ 5708716 w 11856555"/>
              <a:gd name="connsiteY1805" fmla="*/ 3562109 h 4071735"/>
              <a:gd name="connsiteX1806" fmla="*/ 5697646 w 11856555"/>
              <a:gd name="connsiteY1806" fmla="*/ 3557235 h 4071735"/>
              <a:gd name="connsiteX1807" fmla="*/ 5701536 w 11856555"/>
              <a:gd name="connsiteY1807" fmla="*/ 3550632 h 4071735"/>
              <a:gd name="connsiteX1808" fmla="*/ 5689490 w 11856555"/>
              <a:gd name="connsiteY1808" fmla="*/ 3553166 h 4071735"/>
              <a:gd name="connsiteX1809" fmla="*/ 5689286 w 11856555"/>
              <a:gd name="connsiteY1809" fmla="*/ 3553553 h 4071735"/>
              <a:gd name="connsiteX1810" fmla="*/ 5674796 w 11856555"/>
              <a:gd name="connsiteY1810" fmla="*/ 3547174 h 4071735"/>
              <a:gd name="connsiteX1811" fmla="*/ 5349956 w 11856555"/>
              <a:gd name="connsiteY1811" fmla="*/ 3652054 h 4071735"/>
              <a:gd name="connsiteX1812" fmla="*/ 5381158 w 11856555"/>
              <a:gd name="connsiteY1812" fmla="*/ 3599624 h 4071735"/>
              <a:gd name="connsiteX1813" fmla="*/ 5262176 w 11856555"/>
              <a:gd name="connsiteY1813" fmla="*/ 3662795 h 4071735"/>
              <a:gd name="connsiteX1814" fmla="*/ 5188237 w 11856555"/>
              <a:gd name="connsiteY1814" fmla="*/ 3667331 h 4071735"/>
              <a:gd name="connsiteX1815" fmla="*/ 5177337 w 11856555"/>
              <a:gd name="connsiteY1815" fmla="*/ 3674625 h 4071735"/>
              <a:gd name="connsiteX1816" fmla="*/ 5174637 w 11856555"/>
              <a:gd name="connsiteY1816" fmla="*/ 3660376 h 4071735"/>
              <a:gd name="connsiteX1817" fmla="*/ 5174520 w 11856555"/>
              <a:gd name="connsiteY1817" fmla="*/ 3659056 h 4071735"/>
              <a:gd name="connsiteX1818" fmla="*/ 5180395 w 11856555"/>
              <a:gd name="connsiteY1818" fmla="*/ 3658767 h 4071735"/>
              <a:gd name="connsiteX1819" fmla="*/ 5187573 w 11856555"/>
              <a:gd name="connsiteY1819" fmla="*/ 3651921 h 4071735"/>
              <a:gd name="connsiteX1820" fmla="*/ 5181025 w 11856555"/>
              <a:gd name="connsiteY1820" fmla="*/ 3649949 h 4071735"/>
              <a:gd name="connsiteX1821" fmla="*/ 5174278 w 11856555"/>
              <a:gd name="connsiteY1821" fmla="*/ 3656334 h 4071735"/>
              <a:gd name="connsiteX1822" fmla="*/ 5172733 w 11856555"/>
              <a:gd name="connsiteY1822" fmla="*/ 3639005 h 4071735"/>
              <a:gd name="connsiteX1823" fmla="*/ 5176401 w 11856555"/>
              <a:gd name="connsiteY1823" fmla="*/ 3632472 h 4071735"/>
              <a:gd name="connsiteX1824" fmla="*/ 5153663 w 11856555"/>
              <a:gd name="connsiteY1824" fmla="*/ 3631580 h 4071735"/>
              <a:gd name="connsiteX1825" fmla="*/ 5161091 w 11856555"/>
              <a:gd name="connsiteY1825" fmla="*/ 3651359 h 4071735"/>
              <a:gd name="connsiteX1826" fmla="*/ 5133767 w 11856555"/>
              <a:gd name="connsiteY1826" fmla="*/ 3662556 h 4071735"/>
              <a:gd name="connsiteX1827" fmla="*/ 5099210 w 11856555"/>
              <a:gd name="connsiteY1827" fmla="*/ 3677317 h 4071735"/>
              <a:gd name="connsiteX1828" fmla="*/ 5012464 w 11856555"/>
              <a:gd name="connsiteY1828" fmla="*/ 3699650 h 4071735"/>
              <a:gd name="connsiteX1829" fmla="*/ 4915831 w 11856555"/>
              <a:gd name="connsiteY1829" fmla="*/ 3717023 h 4071735"/>
              <a:gd name="connsiteX1830" fmla="*/ 4888537 w 11856555"/>
              <a:gd name="connsiteY1830" fmla="*/ 3688790 h 4071735"/>
              <a:gd name="connsiteX1831" fmla="*/ 4878961 w 11856555"/>
              <a:gd name="connsiteY1831" fmla="*/ 3700890 h 4071735"/>
              <a:gd name="connsiteX1832" fmla="*/ 4877405 w 11856555"/>
              <a:gd name="connsiteY1832" fmla="*/ 3698954 h 4071735"/>
              <a:gd name="connsiteX1833" fmla="*/ 4877659 w 11856555"/>
              <a:gd name="connsiteY1833" fmla="*/ 3701806 h 4071735"/>
              <a:gd name="connsiteX1834" fmla="*/ 4877923 w 11856555"/>
              <a:gd name="connsiteY1834" fmla="*/ 3702203 h 4071735"/>
              <a:gd name="connsiteX1835" fmla="*/ 4865230 w 11856555"/>
              <a:gd name="connsiteY1835" fmla="*/ 3718247 h 4071735"/>
              <a:gd name="connsiteX1836" fmla="*/ 4849395 w 11856555"/>
              <a:gd name="connsiteY1836" fmla="*/ 3732081 h 4071735"/>
              <a:gd name="connsiteX1837" fmla="*/ 4842771 w 11856555"/>
              <a:gd name="connsiteY1837" fmla="*/ 3715501 h 4071735"/>
              <a:gd name="connsiteX1838" fmla="*/ 4835147 w 11856555"/>
              <a:gd name="connsiteY1838" fmla="*/ 3704416 h 4071735"/>
              <a:gd name="connsiteX1839" fmla="*/ 4850793 w 11856555"/>
              <a:gd name="connsiteY1839" fmla="*/ 3690647 h 4071735"/>
              <a:gd name="connsiteX1840" fmla="*/ 4826567 w 11856555"/>
              <a:gd name="connsiteY1840" fmla="*/ 3689931 h 4071735"/>
              <a:gd name="connsiteX1841" fmla="*/ 4930691 w 11856555"/>
              <a:gd name="connsiteY1841" fmla="*/ 3671892 h 4071735"/>
              <a:gd name="connsiteX1842" fmla="*/ 5166007 w 11856555"/>
              <a:gd name="connsiteY1842" fmla="*/ 3537024 h 4071735"/>
              <a:gd name="connsiteX1843" fmla="*/ 5153992 w 11856555"/>
              <a:gd name="connsiteY1843" fmla="*/ 3529332 h 4071735"/>
              <a:gd name="connsiteX1844" fmla="*/ 5162195 w 11856555"/>
              <a:gd name="connsiteY1844" fmla="*/ 3557806 h 4071735"/>
              <a:gd name="connsiteX1845" fmla="*/ 5465460 w 11856555"/>
              <a:gd name="connsiteY1845" fmla="*/ 3422724 h 4071735"/>
              <a:gd name="connsiteX1846" fmla="*/ 4878377 w 11856555"/>
              <a:gd name="connsiteY1846" fmla="*/ 3550973 h 4071735"/>
              <a:gd name="connsiteX1847" fmla="*/ 4258318 w 11856555"/>
              <a:gd name="connsiteY1847" fmla="*/ 3732902 h 4071735"/>
              <a:gd name="connsiteX1848" fmla="*/ 3890607 w 11856555"/>
              <a:gd name="connsiteY1848" fmla="*/ 3847740 h 4071735"/>
              <a:gd name="connsiteX1849" fmla="*/ 3888819 w 11856555"/>
              <a:gd name="connsiteY1849" fmla="*/ 3846734 h 4071735"/>
              <a:gd name="connsiteX1850" fmla="*/ 3886773 w 11856555"/>
              <a:gd name="connsiteY1850" fmla="*/ 3848938 h 4071735"/>
              <a:gd name="connsiteX1851" fmla="*/ 3681645 w 11856555"/>
              <a:gd name="connsiteY1851" fmla="*/ 3913001 h 4071735"/>
              <a:gd name="connsiteX1852" fmla="*/ 3686509 w 11856555"/>
              <a:gd name="connsiteY1852" fmla="*/ 3905422 h 4071735"/>
              <a:gd name="connsiteX1853" fmla="*/ 3664805 w 11856555"/>
              <a:gd name="connsiteY1853" fmla="*/ 3916117 h 4071735"/>
              <a:gd name="connsiteX1854" fmla="*/ 3670491 w 11856555"/>
              <a:gd name="connsiteY1854" fmla="*/ 3916485 h 4071735"/>
              <a:gd name="connsiteX1855" fmla="*/ 3661318 w 11856555"/>
              <a:gd name="connsiteY1855" fmla="*/ 3919348 h 4071735"/>
              <a:gd name="connsiteX1856" fmla="*/ 3095683 w 11856555"/>
              <a:gd name="connsiteY1856" fmla="*/ 4034003 h 4071735"/>
              <a:gd name="connsiteX1857" fmla="*/ 3262591 w 11856555"/>
              <a:gd name="connsiteY1857" fmla="*/ 3957800 h 4071735"/>
              <a:gd name="connsiteX1858" fmla="*/ 3598196 w 11856555"/>
              <a:gd name="connsiteY1858" fmla="*/ 3801582 h 4071735"/>
              <a:gd name="connsiteX1859" fmla="*/ 3673571 w 11856555"/>
              <a:gd name="connsiteY1859" fmla="*/ 3777554 h 4071735"/>
              <a:gd name="connsiteX1860" fmla="*/ 3693569 w 11856555"/>
              <a:gd name="connsiteY1860" fmla="*/ 3777387 h 4071735"/>
              <a:gd name="connsiteX1861" fmla="*/ 3800655 w 11856555"/>
              <a:gd name="connsiteY1861" fmla="*/ 3745576 h 4071735"/>
              <a:gd name="connsiteX1862" fmla="*/ 3825001 w 11856555"/>
              <a:gd name="connsiteY1862" fmla="*/ 3734830 h 4071735"/>
              <a:gd name="connsiteX1863" fmla="*/ 3893618 w 11856555"/>
              <a:gd name="connsiteY1863" fmla="*/ 3720532 h 4071735"/>
              <a:gd name="connsiteX1864" fmla="*/ 3936169 w 11856555"/>
              <a:gd name="connsiteY1864" fmla="*/ 3719627 h 4071735"/>
              <a:gd name="connsiteX1865" fmla="*/ 3910396 w 11856555"/>
              <a:gd name="connsiteY1865" fmla="*/ 3748208 h 4071735"/>
              <a:gd name="connsiteX1866" fmla="*/ 4022143 w 11856555"/>
              <a:gd name="connsiteY1866" fmla="*/ 3688602 h 4071735"/>
              <a:gd name="connsiteX1867" fmla="*/ 4571309 w 11856555"/>
              <a:gd name="connsiteY1867" fmla="*/ 3537448 h 4071735"/>
              <a:gd name="connsiteX1868" fmla="*/ 6035116 w 11856555"/>
              <a:gd name="connsiteY1868" fmla="*/ 3056548 h 4071735"/>
              <a:gd name="connsiteX1869" fmla="*/ 6015868 w 11856555"/>
              <a:gd name="connsiteY1869" fmla="*/ 3052423 h 4071735"/>
              <a:gd name="connsiteX1870" fmla="*/ 3997084 w 11856555"/>
              <a:gd name="connsiteY1870" fmla="*/ 3661630 h 4071735"/>
              <a:gd name="connsiteX1871" fmla="*/ 3910502 w 11856555"/>
              <a:gd name="connsiteY1871" fmla="*/ 3697090 h 4071735"/>
              <a:gd name="connsiteX1872" fmla="*/ 3825001 w 11856555"/>
              <a:gd name="connsiteY1872" fmla="*/ 3734830 h 4071735"/>
              <a:gd name="connsiteX1873" fmla="*/ 3815074 w 11856555"/>
              <a:gd name="connsiteY1873" fmla="*/ 3736897 h 4071735"/>
              <a:gd name="connsiteX1874" fmla="*/ 3712586 w 11856555"/>
              <a:gd name="connsiteY1874" fmla="*/ 3765116 h 4071735"/>
              <a:gd name="connsiteX1875" fmla="*/ 3673571 w 11856555"/>
              <a:gd name="connsiteY1875" fmla="*/ 3777554 h 4071735"/>
              <a:gd name="connsiteX1876" fmla="*/ 3649196 w 11856555"/>
              <a:gd name="connsiteY1876" fmla="*/ 3777759 h 4071735"/>
              <a:gd name="connsiteX1877" fmla="*/ 3637977 w 11856555"/>
              <a:gd name="connsiteY1877" fmla="*/ 3772819 h 4071735"/>
              <a:gd name="connsiteX1878" fmla="*/ 3643629 w 11856555"/>
              <a:gd name="connsiteY1878" fmla="*/ 3763218 h 4071735"/>
              <a:gd name="connsiteX1879" fmla="*/ 3631584 w 11856555"/>
              <a:gd name="connsiteY1879" fmla="*/ 3765752 h 4071735"/>
              <a:gd name="connsiteX1880" fmla="*/ 3629765 w 11856555"/>
              <a:gd name="connsiteY1880" fmla="*/ 3769203 h 4071735"/>
              <a:gd name="connsiteX1881" fmla="*/ 3615275 w 11856555"/>
              <a:gd name="connsiteY1881" fmla="*/ 3762824 h 4071735"/>
              <a:gd name="connsiteX1882" fmla="*/ 3290436 w 11856555"/>
              <a:gd name="connsiteY1882" fmla="*/ 3867704 h 4071735"/>
              <a:gd name="connsiteX1883" fmla="*/ 3321639 w 11856555"/>
              <a:gd name="connsiteY1883" fmla="*/ 3815275 h 4071735"/>
              <a:gd name="connsiteX1884" fmla="*/ 3202657 w 11856555"/>
              <a:gd name="connsiteY1884" fmla="*/ 3878446 h 4071735"/>
              <a:gd name="connsiteX1885" fmla="*/ 3128718 w 11856555"/>
              <a:gd name="connsiteY1885" fmla="*/ 3882982 h 4071735"/>
              <a:gd name="connsiteX1886" fmla="*/ 3117819 w 11856555"/>
              <a:gd name="connsiteY1886" fmla="*/ 3890275 h 4071735"/>
              <a:gd name="connsiteX1887" fmla="*/ 3115118 w 11856555"/>
              <a:gd name="connsiteY1887" fmla="*/ 3876026 h 4071735"/>
              <a:gd name="connsiteX1888" fmla="*/ 3114736 w 11856555"/>
              <a:gd name="connsiteY1888" fmla="*/ 3871735 h 4071735"/>
              <a:gd name="connsiteX1889" fmla="*/ 3122490 w 11856555"/>
              <a:gd name="connsiteY1889" fmla="*/ 3871353 h 4071735"/>
              <a:gd name="connsiteX1890" fmla="*/ 3129667 w 11856555"/>
              <a:gd name="connsiteY1890" fmla="*/ 3864508 h 4071735"/>
              <a:gd name="connsiteX1891" fmla="*/ 3123119 w 11856555"/>
              <a:gd name="connsiteY1891" fmla="*/ 3862535 h 4071735"/>
              <a:gd name="connsiteX1892" fmla="*/ 3114632 w 11856555"/>
              <a:gd name="connsiteY1892" fmla="*/ 3870569 h 4071735"/>
              <a:gd name="connsiteX1893" fmla="*/ 3113214 w 11856555"/>
              <a:gd name="connsiteY1893" fmla="*/ 3854657 h 4071735"/>
              <a:gd name="connsiteX1894" fmla="*/ 3116880 w 11856555"/>
              <a:gd name="connsiteY1894" fmla="*/ 3848124 h 4071735"/>
              <a:gd name="connsiteX1895" fmla="*/ 3094144 w 11856555"/>
              <a:gd name="connsiteY1895" fmla="*/ 3847229 h 4071735"/>
              <a:gd name="connsiteX1896" fmla="*/ 3101571 w 11856555"/>
              <a:gd name="connsiteY1896" fmla="*/ 3867012 h 4071735"/>
              <a:gd name="connsiteX1897" fmla="*/ 3074244 w 11856555"/>
              <a:gd name="connsiteY1897" fmla="*/ 3878207 h 4071735"/>
              <a:gd name="connsiteX1898" fmla="*/ 3039689 w 11856555"/>
              <a:gd name="connsiteY1898" fmla="*/ 3892968 h 4071735"/>
              <a:gd name="connsiteX1899" fmla="*/ 2952942 w 11856555"/>
              <a:gd name="connsiteY1899" fmla="*/ 3915301 h 4071735"/>
              <a:gd name="connsiteX1900" fmla="*/ 2856312 w 11856555"/>
              <a:gd name="connsiteY1900" fmla="*/ 3932673 h 4071735"/>
              <a:gd name="connsiteX1901" fmla="*/ 2829017 w 11856555"/>
              <a:gd name="connsiteY1901" fmla="*/ 3904441 h 4071735"/>
              <a:gd name="connsiteX1902" fmla="*/ 2821465 w 11856555"/>
              <a:gd name="connsiteY1902" fmla="*/ 3913984 h 4071735"/>
              <a:gd name="connsiteX1903" fmla="*/ 2819500 w 11856555"/>
              <a:gd name="connsiteY1903" fmla="*/ 3911541 h 4071735"/>
              <a:gd name="connsiteX1904" fmla="*/ 2819755 w 11856555"/>
              <a:gd name="connsiteY1904" fmla="*/ 3914392 h 4071735"/>
              <a:gd name="connsiteX1905" fmla="*/ 2820389 w 11856555"/>
              <a:gd name="connsiteY1905" fmla="*/ 3915345 h 4071735"/>
              <a:gd name="connsiteX1906" fmla="*/ 2805708 w 11856555"/>
              <a:gd name="connsiteY1906" fmla="*/ 3933898 h 4071735"/>
              <a:gd name="connsiteX1907" fmla="*/ 2789873 w 11856555"/>
              <a:gd name="connsiteY1907" fmla="*/ 3947733 h 4071735"/>
              <a:gd name="connsiteX1908" fmla="*/ 2783251 w 11856555"/>
              <a:gd name="connsiteY1908" fmla="*/ 3931152 h 4071735"/>
              <a:gd name="connsiteX1909" fmla="*/ 2775626 w 11856555"/>
              <a:gd name="connsiteY1909" fmla="*/ 3920066 h 4071735"/>
              <a:gd name="connsiteX1910" fmla="*/ 2791273 w 11856555"/>
              <a:gd name="connsiteY1910" fmla="*/ 3906297 h 4071735"/>
              <a:gd name="connsiteX1911" fmla="*/ 2767047 w 11856555"/>
              <a:gd name="connsiteY1911" fmla="*/ 3905582 h 4071735"/>
              <a:gd name="connsiteX1912" fmla="*/ 2871171 w 11856555"/>
              <a:gd name="connsiteY1912" fmla="*/ 3887543 h 4071735"/>
              <a:gd name="connsiteX1913" fmla="*/ 3106486 w 11856555"/>
              <a:gd name="connsiteY1913" fmla="*/ 3752674 h 4071735"/>
              <a:gd name="connsiteX1914" fmla="*/ 3094471 w 11856555"/>
              <a:gd name="connsiteY1914" fmla="*/ 3744983 h 4071735"/>
              <a:gd name="connsiteX1915" fmla="*/ 3102673 w 11856555"/>
              <a:gd name="connsiteY1915" fmla="*/ 3773457 h 4071735"/>
              <a:gd name="connsiteX1916" fmla="*/ 3405941 w 11856555"/>
              <a:gd name="connsiteY1916" fmla="*/ 3638374 h 4071735"/>
              <a:gd name="connsiteX1917" fmla="*/ 3060370 w 11856555"/>
              <a:gd name="connsiteY1917" fmla="*/ 3701293 h 4071735"/>
              <a:gd name="connsiteX1918" fmla="*/ 3181654 w 11856555"/>
              <a:gd name="connsiteY1918" fmla="*/ 3629521 h 4071735"/>
              <a:gd name="connsiteX1919" fmla="*/ 3248152 w 11856555"/>
              <a:gd name="connsiteY1919" fmla="*/ 3597384 h 4071735"/>
              <a:gd name="connsiteX1920" fmla="*/ 3259641 w 11856555"/>
              <a:gd name="connsiteY1920" fmla="*/ 3596287 h 4071735"/>
              <a:gd name="connsiteX1921" fmla="*/ 3322941 w 11856555"/>
              <a:gd name="connsiteY1921" fmla="*/ 3575679 h 4071735"/>
              <a:gd name="connsiteX1922" fmla="*/ 3269755 w 11856555"/>
              <a:gd name="connsiteY1922" fmla="*/ 3586944 h 4071735"/>
              <a:gd name="connsiteX1923" fmla="*/ 3248152 w 11856555"/>
              <a:gd name="connsiteY1923" fmla="*/ 3597384 h 4071735"/>
              <a:gd name="connsiteX1924" fmla="*/ 3223663 w 11856555"/>
              <a:gd name="connsiteY1924" fmla="*/ 3599721 h 4071735"/>
              <a:gd name="connsiteX1925" fmla="*/ 3211842 w 11856555"/>
              <a:gd name="connsiteY1925" fmla="*/ 3600181 h 4071735"/>
              <a:gd name="connsiteX1926" fmla="*/ 3224507 w 11856555"/>
              <a:gd name="connsiteY1926" fmla="*/ 3572768 h 4071735"/>
              <a:gd name="connsiteX1927" fmla="*/ 3238088 w 11856555"/>
              <a:gd name="connsiteY1927" fmla="*/ 3582146 h 4071735"/>
              <a:gd name="connsiteX1928" fmla="*/ 3240514 w 11856555"/>
              <a:gd name="connsiteY1928" fmla="*/ 3577921 h 4071735"/>
              <a:gd name="connsiteX1929" fmla="*/ 3237810 w 11856555"/>
              <a:gd name="connsiteY1929" fmla="*/ 3594946 h 4071735"/>
              <a:gd name="connsiteX1930" fmla="*/ 3373393 w 11856555"/>
              <a:gd name="connsiteY1930" fmla="*/ 3527376 h 4071735"/>
              <a:gd name="connsiteX1931" fmla="*/ 3345486 w 11856555"/>
              <a:gd name="connsiteY1931" fmla="*/ 3553227 h 4071735"/>
              <a:gd name="connsiteX1932" fmla="*/ 3886584 w 11856555"/>
              <a:gd name="connsiteY1932" fmla="*/ 3332700 h 4071735"/>
              <a:gd name="connsiteX1933" fmla="*/ 3853969 w 11856555"/>
              <a:gd name="connsiteY1933" fmla="*/ 3326845 h 4071735"/>
              <a:gd name="connsiteX1934" fmla="*/ 3848089 w 11856555"/>
              <a:gd name="connsiteY1934" fmla="*/ 3324449 h 4071735"/>
              <a:gd name="connsiteX1935" fmla="*/ 3908224 w 11856555"/>
              <a:gd name="connsiteY1935" fmla="*/ 3342453 h 4071735"/>
              <a:gd name="connsiteX1936" fmla="*/ 4067907 w 11856555"/>
              <a:gd name="connsiteY1936" fmla="*/ 3267259 h 4071735"/>
              <a:gd name="connsiteX1937" fmla="*/ 4133394 w 11856555"/>
              <a:gd name="connsiteY1937" fmla="*/ 3234545 h 4071735"/>
              <a:gd name="connsiteX1938" fmla="*/ 4175380 w 11856555"/>
              <a:gd name="connsiteY1938" fmla="*/ 3219306 h 4071735"/>
              <a:gd name="connsiteX1939" fmla="*/ 4204588 w 11856555"/>
              <a:gd name="connsiteY1939" fmla="*/ 3214149 h 4071735"/>
              <a:gd name="connsiteX1940" fmla="*/ 4210582 w 11856555"/>
              <a:gd name="connsiteY1940" fmla="*/ 3239577 h 4071735"/>
              <a:gd name="connsiteX1941" fmla="*/ 4373355 w 11856555"/>
              <a:gd name="connsiteY1941" fmla="*/ 3201709 h 4071735"/>
              <a:gd name="connsiteX1942" fmla="*/ 4428680 w 11856555"/>
              <a:gd name="connsiteY1942" fmla="*/ 3155162 h 4071735"/>
              <a:gd name="connsiteX1943" fmla="*/ 4465558 w 11856555"/>
              <a:gd name="connsiteY1943" fmla="*/ 3133652 h 4071735"/>
              <a:gd name="connsiteX1944" fmla="*/ 4474689 w 11856555"/>
              <a:gd name="connsiteY1944" fmla="*/ 3133750 h 4071735"/>
              <a:gd name="connsiteX1945" fmla="*/ 4474757 w 11856555"/>
              <a:gd name="connsiteY1945" fmla="*/ 3137231 h 4071735"/>
              <a:gd name="connsiteX1946" fmla="*/ 4482741 w 11856555"/>
              <a:gd name="connsiteY1946" fmla="*/ 3134310 h 4071735"/>
              <a:gd name="connsiteX1947" fmla="*/ 4483211 w 11856555"/>
              <a:gd name="connsiteY1947" fmla="*/ 3133841 h 4071735"/>
              <a:gd name="connsiteX1948" fmla="*/ 4496828 w 11856555"/>
              <a:gd name="connsiteY1948" fmla="*/ 3133987 h 4071735"/>
              <a:gd name="connsiteX1949" fmla="*/ 4502378 w 11856555"/>
              <a:gd name="connsiteY1949" fmla="*/ 3133603 h 4071735"/>
              <a:gd name="connsiteX1950" fmla="*/ 4500088 w 11856555"/>
              <a:gd name="connsiteY1950" fmla="*/ 3140768 h 4071735"/>
              <a:gd name="connsiteX1951" fmla="*/ 4509804 w 11856555"/>
              <a:gd name="connsiteY1951" fmla="*/ 3135887 h 4071735"/>
              <a:gd name="connsiteX1952" fmla="*/ 4508866 w 11856555"/>
              <a:gd name="connsiteY1952" fmla="*/ 3133155 h 4071735"/>
              <a:gd name="connsiteX1953" fmla="*/ 4517657 w 11856555"/>
              <a:gd name="connsiteY1953" fmla="*/ 3132547 h 4071735"/>
              <a:gd name="connsiteX1954" fmla="*/ 4513259 w 11856555"/>
              <a:gd name="connsiteY1954" fmla="*/ 3143246 h 4071735"/>
              <a:gd name="connsiteX1955" fmla="*/ 4499248 w 11856555"/>
              <a:gd name="connsiteY1955" fmla="*/ 3152525 h 4071735"/>
              <a:gd name="connsiteX1956" fmla="*/ 4551246 w 11856555"/>
              <a:gd name="connsiteY1956" fmla="*/ 3121607 h 4071735"/>
              <a:gd name="connsiteX1957" fmla="*/ 4533500 w 11856555"/>
              <a:gd name="connsiteY1957" fmla="*/ 3131454 h 4071735"/>
              <a:gd name="connsiteX1958" fmla="*/ 4517657 w 11856555"/>
              <a:gd name="connsiteY1958" fmla="*/ 3132547 h 4071735"/>
              <a:gd name="connsiteX1959" fmla="*/ 4519494 w 11856555"/>
              <a:gd name="connsiteY1959" fmla="*/ 3128088 h 4071735"/>
              <a:gd name="connsiteX1960" fmla="*/ 4527476 w 11856555"/>
              <a:gd name="connsiteY1960" fmla="*/ 3109122 h 4071735"/>
              <a:gd name="connsiteX1961" fmla="*/ 4474494 w 11856555"/>
              <a:gd name="connsiteY1961" fmla="*/ 3123700 h 4071735"/>
              <a:gd name="connsiteX1962" fmla="*/ 4474587 w 11856555"/>
              <a:gd name="connsiteY1962" fmla="*/ 3128491 h 4071735"/>
              <a:gd name="connsiteX1963" fmla="*/ 4474112 w 11856555"/>
              <a:gd name="connsiteY1963" fmla="*/ 3128663 h 4071735"/>
              <a:gd name="connsiteX1964" fmla="*/ 4465558 w 11856555"/>
              <a:gd name="connsiteY1964" fmla="*/ 3133652 h 4071735"/>
              <a:gd name="connsiteX1965" fmla="*/ 4388459 w 11856555"/>
              <a:gd name="connsiteY1965" fmla="*/ 3132827 h 4071735"/>
              <a:gd name="connsiteX1966" fmla="*/ 4219922 w 11856555"/>
              <a:gd name="connsiteY1966" fmla="*/ 3174489 h 4071735"/>
              <a:gd name="connsiteX1967" fmla="*/ 4186981 w 11856555"/>
              <a:gd name="connsiteY1967" fmla="*/ 3212157 h 4071735"/>
              <a:gd name="connsiteX1968" fmla="*/ 4160515 w 11856555"/>
              <a:gd name="connsiteY1968" fmla="*/ 3220996 h 4071735"/>
              <a:gd name="connsiteX1969" fmla="*/ 4133394 w 11856555"/>
              <a:gd name="connsiteY1969" fmla="*/ 3234545 h 4071735"/>
              <a:gd name="connsiteX1970" fmla="*/ 4125885 w 11856555"/>
              <a:gd name="connsiteY1970" fmla="*/ 3237269 h 4071735"/>
              <a:gd name="connsiteX1971" fmla="*/ 4045745 w 11856555"/>
              <a:gd name="connsiteY1971" fmla="*/ 3254267 h 4071735"/>
              <a:gd name="connsiteX1972" fmla="*/ 4064800 w 11856555"/>
              <a:gd name="connsiteY1972" fmla="*/ 3235046 h 4071735"/>
              <a:gd name="connsiteX1973" fmla="*/ 4039820 w 11856555"/>
              <a:gd name="connsiteY1973" fmla="*/ 3235446 h 4071735"/>
              <a:gd name="connsiteX1974" fmla="*/ 4036801 w 11856555"/>
              <a:gd name="connsiteY1974" fmla="*/ 3236814 h 4071735"/>
              <a:gd name="connsiteX1975" fmla="*/ 4037157 w 11856555"/>
              <a:gd name="connsiteY1975" fmla="*/ 3232085 h 4071735"/>
              <a:gd name="connsiteX1976" fmla="*/ 4170085 w 11856555"/>
              <a:gd name="connsiteY1976" fmla="*/ 3187697 h 4071735"/>
              <a:gd name="connsiteX1977" fmla="*/ 4154728 w 11856555"/>
              <a:gd name="connsiteY1977" fmla="*/ 3187835 h 4071735"/>
              <a:gd name="connsiteX1978" fmla="*/ 4105838 w 11856555"/>
              <a:gd name="connsiteY1978" fmla="*/ 3197809 h 4071735"/>
              <a:gd name="connsiteX1979" fmla="*/ 4110152 w 11856555"/>
              <a:gd name="connsiteY1979" fmla="*/ 3190484 h 4071735"/>
              <a:gd name="connsiteX1980" fmla="*/ 4105334 w 11856555"/>
              <a:gd name="connsiteY1980" fmla="*/ 3192008 h 4071735"/>
              <a:gd name="connsiteX1981" fmla="*/ 4099385 w 11856555"/>
              <a:gd name="connsiteY1981" fmla="*/ 3199124 h 4071735"/>
              <a:gd name="connsiteX1982" fmla="*/ 4096345 w 11856555"/>
              <a:gd name="connsiteY1982" fmla="*/ 3199745 h 4071735"/>
              <a:gd name="connsiteX1983" fmla="*/ 4005698 w 11856555"/>
              <a:gd name="connsiteY1983" fmla="*/ 3228630 h 4071735"/>
              <a:gd name="connsiteX1984" fmla="*/ 3888074 w 11856555"/>
              <a:gd name="connsiteY1984" fmla="*/ 3285840 h 4071735"/>
              <a:gd name="connsiteX1985" fmla="*/ 3609098 w 11856555"/>
              <a:gd name="connsiteY1985" fmla="*/ 3354507 h 4071735"/>
              <a:gd name="connsiteX1986" fmla="*/ 3041522 w 11856555"/>
              <a:gd name="connsiteY1986" fmla="*/ 3489778 h 4071735"/>
              <a:gd name="connsiteX1987" fmla="*/ 3060062 w 11856555"/>
              <a:gd name="connsiteY1987" fmla="*/ 3464762 h 4071735"/>
              <a:gd name="connsiteX1988" fmla="*/ 3026862 w 11856555"/>
              <a:gd name="connsiteY1988" fmla="*/ 3473562 h 4071735"/>
              <a:gd name="connsiteX1989" fmla="*/ 3044687 w 11856555"/>
              <a:gd name="connsiteY1989" fmla="*/ 3504099 h 4071735"/>
              <a:gd name="connsiteX1990" fmla="*/ 2978933 w 11856555"/>
              <a:gd name="connsiteY1990" fmla="*/ 3486593 h 4071735"/>
              <a:gd name="connsiteX1991" fmla="*/ 2086710 w 11856555"/>
              <a:gd name="connsiteY1991" fmla="*/ 3750092 h 4071735"/>
              <a:gd name="connsiteX1992" fmla="*/ 1753628 w 11856555"/>
              <a:gd name="connsiteY1992" fmla="*/ 3849864 h 4071735"/>
              <a:gd name="connsiteX1993" fmla="*/ 1666423 w 11856555"/>
              <a:gd name="connsiteY1993" fmla="*/ 3876074 h 4071735"/>
              <a:gd name="connsiteX1994" fmla="*/ 1667115 w 11856555"/>
              <a:gd name="connsiteY1994" fmla="*/ 3872176 h 4071735"/>
              <a:gd name="connsiteX1995" fmla="*/ 1659889 w 11856555"/>
              <a:gd name="connsiteY1995" fmla="*/ 3873185 h 4071735"/>
              <a:gd name="connsiteX1996" fmla="*/ 1657601 w 11856555"/>
              <a:gd name="connsiteY1996" fmla="*/ 3878726 h 4071735"/>
              <a:gd name="connsiteX1997" fmla="*/ 1587879 w 11856555"/>
              <a:gd name="connsiteY1997" fmla="*/ 3899680 h 4071735"/>
              <a:gd name="connsiteX1998" fmla="*/ 1430380 w 11856555"/>
              <a:gd name="connsiteY1998" fmla="*/ 3948761 h 4071735"/>
              <a:gd name="connsiteX1999" fmla="*/ 864745 w 11856555"/>
              <a:gd name="connsiteY1999" fmla="*/ 4063416 h 4071735"/>
              <a:gd name="connsiteX2000" fmla="*/ 1031654 w 11856555"/>
              <a:gd name="connsiteY2000" fmla="*/ 3987211 h 4071735"/>
              <a:gd name="connsiteX2001" fmla="*/ 1367259 w 11856555"/>
              <a:gd name="connsiteY2001" fmla="*/ 3830995 h 4071735"/>
              <a:gd name="connsiteX2002" fmla="*/ 1436366 w 11856555"/>
              <a:gd name="connsiteY2002" fmla="*/ 3808964 h 4071735"/>
              <a:gd name="connsiteX2003" fmla="*/ 1454907 w 11856555"/>
              <a:gd name="connsiteY2003" fmla="*/ 3811361 h 4071735"/>
              <a:gd name="connsiteX2004" fmla="*/ 1564421 w 11856555"/>
              <a:gd name="connsiteY2004" fmla="*/ 3799325 h 4071735"/>
              <a:gd name="connsiteX2005" fmla="*/ 1688621 w 11856555"/>
              <a:gd name="connsiteY2005" fmla="*/ 3767460 h 4071735"/>
              <a:gd name="connsiteX2006" fmla="*/ 1679456 w 11856555"/>
              <a:gd name="connsiteY2006" fmla="*/ 3777620 h 4071735"/>
              <a:gd name="connsiteX2007" fmla="*/ 1699252 w 11856555"/>
              <a:gd name="connsiteY2007" fmla="*/ 3767689 h 4071735"/>
              <a:gd name="connsiteX2008" fmla="*/ 1711881 w 11856555"/>
              <a:gd name="connsiteY2008" fmla="*/ 3760678 h 4071735"/>
              <a:gd name="connsiteX2009" fmla="*/ 1851072 w 11856555"/>
              <a:gd name="connsiteY2009" fmla="*/ 3714505 h 4071735"/>
              <a:gd name="connsiteX2010" fmla="*/ 1887885 w 11856555"/>
              <a:gd name="connsiteY2010" fmla="*/ 3700694 h 4071735"/>
              <a:gd name="connsiteX2011" fmla="*/ 1913737 w 11856555"/>
              <a:gd name="connsiteY2011" fmla="*/ 3692356 h 4071735"/>
              <a:gd name="connsiteX2012" fmla="*/ 1940866 w 11856555"/>
              <a:gd name="connsiteY2012" fmla="*/ 3680816 h 4071735"/>
              <a:gd name="connsiteX2013" fmla="*/ 2000796 w 11856555"/>
              <a:gd name="connsiteY2013" fmla="*/ 3658332 h 4071735"/>
              <a:gd name="connsiteX2014" fmla="*/ 2244492 w 11856555"/>
              <a:gd name="connsiteY2014" fmla="*/ 3559985 h 4071735"/>
              <a:gd name="connsiteX2015" fmla="*/ 2260535 w 11856555"/>
              <a:gd name="connsiteY2015" fmla="*/ 3553615 h 4071735"/>
              <a:gd name="connsiteX2016" fmla="*/ 2303165 w 11856555"/>
              <a:gd name="connsiteY2016" fmla="*/ 3548335 h 4071735"/>
              <a:gd name="connsiteX2017" fmla="*/ 2340372 w 11856555"/>
              <a:gd name="connsiteY2017" fmla="*/ 3566861 h 4071735"/>
              <a:gd name="connsiteX2018" fmla="*/ 2521965 w 11856555"/>
              <a:gd name="connsiteY2018" fmla="*/ 3488099 h 4071735"/>
              <a:gd name="connsiteX2019" fmla="*/ 2587995 w 11856555"/>
              <a:gd name="connsiteY2019" fmla="*/ 3455665 h 4071735"/>
              <a:gd name="connsiteX2020" fmla="*/ 2612587 w 11856555"/>
              <a:gd name="connsiteY2020" fmla="*/ 3448783 h 4071735"/>
              <a:gd name="connsiteX2021" fmla="*/ 2871782 w 11856555"/>
              <a:gd name="connsiteY2021" fmla="*/ 3364721 h 4071735"/>
              <a:gd name="connsiteX2022" fmla="*/ 2610559 w 11856555"/>
              <a:gd name="connsiteY2022" fmla="*/ 3444582 h 4071735"/>
              <a:gd name="connsiteX2023" fmla="*/ 2587995 w 11856555"/>
              <a:gd name="connsiteY2023" fmla="*/ 3455665 h 4071735"/>
              <a:gd name="connsiteX2024" fmla="*/ 2452096 w 11856555"/>
              <a:gd name="connsiteY2024" fmla="*/ 3493704 h 4071735"/>
              <a:gd name="connsiteX2025" fmla="*/ 2311051 w 11856555"/>
              <a:gd name="connsiteY2025" fmla="*/ 3534428 h 4071735"/>
              <a:gd name="connsiteX2026" fmla="*/ 2283807 w 11856555"/>
              <a:gd name="connsiteY2026" fmla="*/ 3544374 h 4071735"/>
              <a:gd name="connsiteX2027" fmla="*/ 2260535 w 11856555"/>
              <a:gd name="connsiteY2027" fmla="*/ 3553615 h 4071735"/>
              <a:gd name="connsiteX2028" fmla="*/ 2243242 w 11856555"/>
              <a:gd name="connsiteY2028" fmla="*/ 3555757 h 4071735"/>
              <a:gd name="connsiteX2029" fmla="*/ 1995854 w 11856555"/>
              <a:gd name="connsiteY2029" fmla="*/ 3657425 h 4071735"/>
              <a:gd name="connsiteX2030" fmla="*/ 1940866 w 11856555"/>
              <a:gd name="connsiteY2030" fmla="*/ 3680816 h 4071735"/>
              <a:gd name="connsiteX2031" fmla="*/ 1887885 w 11856555"/>
              <a:gd name="connsiteY2031" fmla="*/ 3700694 h 4071735"/>
              <a:gd name="connsiteX2032" fmla="*/ 1843230 w 11856555"/>
              <a:gd name="connsiteY2032" fmla="*/ 3715095 h 4071735"/>
              <a:gd name="connsiteX2033" fmla="*/ 1791204 w 11856555"/>
              <a:gd name="connsiteY2033" fmla="*/ 3718014 h 4071735"/>
              <a:gd name="connsiteX2034" fmla="*/ 1737342 w 11856555"/>
              <a:gd name="connsiteY2034" fmla="*/ 3746543 h 4071735"/>
              <a:gd name="connsiteX2035" fmla="*/ 1711881 w 11856555"/>
              <a:gd name="connsiteY2035" fmla="*/ 3760678 h 4071735"/>
              <a:gd name="connsiteX2036" fmla="*/ 1701047 w 11856555"/>
              <a:gd name="connsiteY2036" fmla="*/ 3764272 h 4071735"/>
              <a:gd name="connsiteX2037" fmla="*/ 1688621 w 11856555"/>
              <a:gd name="connsiteY2037" fmla="*/ 3767460 h 4071735"/>
              <a:gd name="connsiteX2038" fmla="*/ 1705231 w 11856555"/>
              <a:gd name="connsiteY2038" fmla="*/ 3749040 h 4071735"/>
              <a:gd name="connsiteX2039" fmla="*/ 1481646 w 11856555"/>
              <a:gd name="connsiteY2039" fmla="*/ 3794529 h 4071735"/>
              <a:gd name="connsiteX2040" fmla="*/ 1436366 w 11856555"/>
              <a:gd name="connsiteY2040" fmla="*/ 3808964 h 4071735"/>
              <a:gd name="connsiteX2041" fmla="*/ 1414599 w 11856555"/>
              <a:gd name="connsiteY2041" fmla="*/ 3806150 h 4071735"/>
              <a:gd name="connsiteX2042" fmla="*/ 1400988 w 11856555"/>
              <a:gd name="connsiteY2042" fmla="*/ 3799400 h 4071735"/>
              <a:gd name="connsiteX2043" fmla="*/ 1411439 w 11856555"/>
              <a:gd name="connsiteY2043" fmla="*/ 3797122 h 4071735"/>
              <a:gd name="connsiteX2044" fmla="*/ 1417795 w 11856555"/>
              <a:gd name="connsiteY2044" fmla="*/ 3786334 h 4071735"/>
              <a:gd name="connsiteX2045" fmla="*/ 1405748 w 11856555"/>
              <a:gd name="connsiteY2045" fmla="*/ 3788869 h 4071735"/>
              <a:gd name="connsiteX2046" fmla="*/ 1400362 w 11856555"/>
              <a:gd name="connsiteY2046" fmla="*/ 3799089 h 4071735"/>
              <a:gd name="connsiteX2047" fmla="*/ 1386209 w 11856555"/>
              <a:gd name="connsiteY2047" fmla="*/ 3792070 h 4071735"/>
              <a:gd name="connsiteX2048" fmla="*/ 1365189 w 11856555"/>
              <a:gd name="connsiteY2048" fmla="*/ 3809425 h 4071735"/>
              <a:gd name="connsiteX2049" fmla="*/ 1347352 w 11856555"/>
              <a:gd name="connsiteY2049" fmla="*/ 3818970 h 4071735"/>
              <a:gd name="connsiteX2050" fmla="*/ 1347066 w 11856555"/>
              <a:gd name="connsiteY2050" fmla="*/ 3818923 h 4071735"/>
              <a:gd name="connsiteX2051" fmla="*/ 1345038 w 11856555"/>
              <a:gd name="connsiteY2051" fmla="*/ 3820209 h 4071735"/>
              <a:gd name="connsiteX2052" fmla="*/ 1327260 w 11856555"/>
              <a:gd name="connsiteY2052" fmla="*/ 3829721 h 4071735"/>
              <a:gd name="connsiteX2053" fmla="*/ 1061371 w 11856555"/>
              <a:gd name="connsiteY2053" fmla="*/ 3896949 h 4071735"/>
              <a:gd name="connsiteX2054" fmla="*/ 1092572 w 11856555"/>
              <a:gd name="connsiteY2054" fmla="*/ 3844520 h 4071735"/>
              <a:gd name="connsiteX2055" fmla="*/ 973590 w 11856555"/>
              <a:gd name="connsiteY2055" fmla="*/ 3907691 h 4071735"/>
              <a:gd name="connsiteX2056" fmla="*/ 899654 w 11856555"/>
              <a:gd name="connsiteY2056" fmla="*/ 3912227 h 4071735"/>
              <a:gd name="connsiteX2057" fmla="*/ 888753 w 11856555"/>
              <a:gd name="connsiteY2057" fmla="*/ 3919522 h 4071735"/>
              <a:gd name="connsiteX2058" fmla="*/ 886053 w 11856555"/>
              <a:gd name="connsiteY2058" fmla="*/ 3905271 h 4071735"/>
              <a:gd name="connsiteX2059" fmla="*/ 887814 w 11856555"/>
              <a:gd name="connsiteY2059" fmla="*/ 3877369 h 4071735"/>
              <a:gd name="connsiteX2060" fmla="*/ 865078 w 11856555"/>
              <a:gd name="connsiteY2060" fmla="*/ 3876475 h 4071735"/>
              <a:gd name="connsiteX2061" fmla="*/ 872505 w 11856555"/>
              <a:gd name="connsiteY2061" fmla="*/ 3896256 h 4071735"/>
              <a:gd name="connsiteX2062" fmla="*/ 845181 w 11856555"/>
              <a:gd name="connsiteY2062" fmla="*/ 3907453 h 4071735"/>
              <a:gd name="connsiteX2063" fmla="*/ 810624 w 11856555"/>
              <a:gd name="connsiteY2063" fmla="*/ 3922213 h 4071735"/>
              <a:gd name="connsiteX2064" fmla="*/ 723876 w 11856555"/>
              <a:gd name="connsiteY2064" fmla="*/ 3944546 h 4071735"/>
              <a:gd name="connsiteX2065" fmla="*/ 627246 w 11856555"/>
              <a:gd name="connsiteY2065" fmla="*/ 3961919 h 4071735"/>
              <a:gd name="connsiteX2066" fmla="*/ 599950 w 11856555"/>
              <a:gd name="connsiteY2066" fmla="*/ 3933687 h 4071735"/>
              <a:gd name="connsiteX2067" fmla="*/ 596445 w 11856555"/>
              <a:gd name="connsiteY2067" fmla="*/ 3938116 h 4071735"/>
              <a:gd name="connsiteX2068" fmla="*/ 593665 w 11856555"/>
              <a:gd name="connsiteY2068" fmla="*/ 3934658 h 4071735"/>
              <a:gd name="connsiteX2069" fmla="*/ 593920 w 11856555"/>
              <a:gd name="connsiteY2069" fmla="*/ 3937509 h 4071735"/>
              <a:gd name="connsiteX2070" fmla="*/ 595293 w 11856555"/>
              <a:gd name="connsiteY2070" fmla="*/ 3939573 h 4071735"/>
              <a:gd name="connsiteX2071" fmla="*/ 576642 w 11856555"/>
              <a:gd name="connsiteY2071" fmla="*/ 3963143 h 4071735"/>
              <a:gd name="connsiteX2072" fmla="*/ 560809 w 11856555"/>
              <a:gd name="connsiteY2072" fmla="*/ 3976978 h 4071735"/>
              <a:gd name="connsiteX2073" fmla="*/ 554186 w 11856555"/>
              <a:gd name="connsiteY2073" fmla="*/ 3960398 h 4071735"/>
              <a:gd name="connsiteX2074" fmla="*/ 546561 w 11856555"/>
              <a:gd name="connsiteY2074" fmla="*/ 3949311 h 4071735"/>
              <a:gd name="connsiteX2075" fmla="*/ 562208 w 11856555"/>
              <a:gd name="connsiteY2075" fmla="*/ 3935543 h 4071735"/>
              <a:gd name="connsiteX2076" fmla="*/ 537983 w 11856555"/>
              <a:gd name="connsiteY2076" fmla="*/ 3934828 h 4071735"/>
              <a:gd name="connsiteX2077" fmla="*/ 642104 w 11856555"/>
              <a:gd name="connsiteY2077" fmla="*/ 3916787 h 4071735"/>
              <a:gd name="connsiteX2078" fmla="*/ 877420 w 11856555"/>
              <a:gd name="connsiteY2078" fmla="*/ 3781919 h 4071735"/>
              <a:gd name="connsiteX2079" fmla="*/ 865406 w 11856555"/>
              <a:gd name="connsiteY2079" fmla="*/ 3774229 h 4071735"/>
              <a:gd name="connsiteX2080" fmla="*/ 873608 w 11856555"/>
              <a:gd name="connsiteY2080" fmla="*/ 3802702 h 4071735"/>
              <a:gd name="connsiteX2081" fmla="*/ 1176876 w 11856555"/>
              <a:gd name="connsiteY2081" fmla="*/ 3667620 h 4071735"/>
              <a:gd name="connsiteX2082" fmla="*/ 831305 w 11856555"/>
              <a:gd name="connsiteY2082" fmla="*/ 3730539 h 4071735"/>
              <a:gd name="connsiteX2083" fmla="*/ 952588 w 11856555"/>
              <a:gd name="connsiteY2083" fmla="*/ 3658766 h 4071735"/>
              <a:gd name="connsiteX2084" fmla="*/ 1019087 w 11856555"/>
              <a:gd name="connsiteY2084" fmla="*/ 3626629 h 4071735"/>
              <a:gd name="connsiteX2085" fmla="*/ 1030578 w 11856555"/>
              <a:gd name="connsiteY2085" fmla="*/ 3625533 h 4071735"/>
              <a:gd name="connsiteX2086" fmla="*/ 1093879 w 11856555"/>
              <a:gd name="connsiteY2086" fmla="*/ 3604924 h 4071735"/>
              <a:gd name="connsiteX2087" fmla="*/ 1040691 w 11856555"/>
              <a:gd name="connsiteY2087" fmla="*/ 3616189 h 4071735"/>
              <a:gd name="connsiteX2088" fmla="*/ 1019087 w 11856555"/>
              <a:gd name="connsiteY2088" fmla="*/ 3626629 h 4071735"/>
              <a:gd name="connsiteX2089" fmla="*/ 994597 w 11856555"/>
              <a:gd name="connsiteY2089" fmla="*/ 3628967 h 4071735"/>
              <a:gd name="connsiteX2090" fmla="*/ 982780 w 11856555"/>
              <a:gd name="connsiteY2090" fmla="*/ 3629426 h 4071735"/>
              <a:gd name="connsiteX2091" fmla="*/ 995440 w 11856555"/>
              <a:gd name="connsiteY2091" fmla="*/ 3602014 h 4071735"/>
              <a:gd name="connsiteX2092" fmla="*/ 1009021 w 11856555"/>
              <a:gd name="connsiteY2092" fmla="*/ 3611391 h 4071735"/>
              <a:gd name="connsiteX2093" fmla="*/ 1011448 w 11856555"/>
              <a:gd name="connsiteY2093" fmla="*/ 3607165 h 4071735"/>
              <a:gd name="connsiteX2094" fmla="*/ 1008746 w 11856555"/>
              <a:gd name="connsiteY2094" fmla="*/ 3624192 h 4071735"/>
              <a:gd name="connsiteX2095" fmla="*/ 1144327 w 11856555"/>
              <a:gd name="connsiteY2095" fmla="*/ 3556622 h 4071735"/>
              <a:gd name="connsiteX2096" fmla="*/ 1116422 w 11856555"/>
              <a:gd name="connsiteY2096" fmla="*/ 3582472 h 4071735"/>
              <a:gd name="connsiteX2097" fmla="*/ 1657520 w 11856555"/>
              <a:gd name="connsiteY2097" fmla="*/ 3361946 h 4071735"/>
              <a:gd name="connsiteX2098" fmla="*/ 1624901 w 11856555"/>
              <a:gd name="connsiteY2098" fmla="*/ 3356091 h 4071735"/>
              <a:gd name="connsiteX2099" fmla="*/ 1619024 w 11856555"/>
              <a:gd name="connsiteY2099" fmla="*/ 3353694 h 4071735"/>
              <a:gd name="connsiteX2100" fmla="*/ 1679159 w 11856555"/>
              <a:gd name="connsiteY2100" fmla="*/ 3371699 h 4071735"/>
              <a:gd name="connsiteX2101" fmla="*/ 1838842 w 11856555"/>
              <a:gd name="connsiteY2101" fmla="*/ 3296505 h 4071735"/>
              <a:gd name="connsiteX2102" fmla="*/ 1904328 w 11856555"/>
              <a:gd name="connsiteY2102" fmla="*/ 3263791 h 4071735"/>
              <a:gd name="connsiteX2103" fmla="*/ 1946319 w 11856555"/>
              <a:gd name="connsiteY2103" fmla="*/ 3248551 h 4071735"/>
              <a:gd name="connsiteX2104" fmla="*/ 1979196 w 11856555"/>
              <a:gd name="connsiteY2104" fmla="*/ 3242746 h 4071735"/>
              <a:gd name="connsiteX2105" fmla="*/ 1931452 w 11856555"/>
              <a:gd name="connsiteY2105" fmla="*/ 3250240 h 4071735"/>
              <a:gd name="connsiteX2106" fmla="*/ 1904328 w 11856555"/>
              <a:gd name="connsiteY2106" fmla="*/ 3263791 h 4071735"/>
              <a:gd name="connsiteX2107" fmla="*/ 1896821 w 11856555"/>
              <a:gd name="connsiteY2107" fmla="*/ 3266514 h 4071735"/>
              <a:gd name="connsiteX2108" fmla="*/ 1816679 w 11856555"/>
              <a:gd name="connsiteY2108" fmla="*/ 3283512 h 4071735"/>
              <a:gd name="connsiteX2109" fmla="*/ 1835735 w 11856555"/>
              <a:gd name="connsiteY2109" fmla="*/ 3264291 h 4071735"/>
              <a:gd name="connsiteX2110" fmla="*/ 1810756 w 11856555"/>
              <a:gd name="connsiteY2110" fmla="*/ 3264693 h 4071735"/>
              <a:gd name="connsiteX2111" fmla="*/ 1807736 w 11856555"/>
              <a:gd name="connsiteY2111" fmla="*/ 3266059 h 4071735"/>
              <a:gd name="connsiteX2112" fmla="*/ 1808091 w 11856555"/>
              <a:gd name="connsiteY2112" fmla="*/ 3261330 h 4071735"/>
              <a:gd name="connsiteX2113" fmla="*/ 1941023 w 11856555"/>
              <a:gd name="connsiteY2113" fmla="*/ 3216943 h 4071735"/>
              <a:gd name="connsiteX2114" fmla="*/ 1925666 w 11856555"/>
              <a:gd name="connsiteY2114" fmla="*/ 3217079 h 4071735"/>
              <a:gd name="connsiteX2115" fmla="*/ 1875366 w 11856555"/>
              <a:gd name="connsiteY2115" fmla="*/ 3227340 h 4071735"/>
              <a:gd name="connsiteX2116" fmla="*/ 1879553 w 11856555"/>
              <a:gd name="connsiteY2116" fmla="*/ 3221690 h 4071735"/>
              <a:gd name="connsiteX2117" fmla="*/ 1868623 w 11856555"/>
              <a:gd name="connsiteY2117" fmla="*/ 3228140 h 4071735"/>
              <a:gd name="connsiteX2118" fmla="*/ 1868550 w 11856555"/>
              <a:gd name="connsiteY2118" fmla="*/ 3228732 h 4071735"/>
              <a:gd name="connsiteX2119" fmla="*/ 1867283 w 11856555"/>
              <a:gd name="connsiteY2119" fmla="*/ 3228989 h 4071735"/>
              <a:gd name="connsiteX2120" fmla="*/ 1776634 w 11856555"/>
              <a:gd name="connsiteY2120" fmla="*/ 3257875 h 4071735"/>
              <a:gd name="connsiteX2121" fmla="*/ 1659010 w 11856555"/>
              <a:gd name="connsiteY2121" fmla="*/ 3315085 h 4071735"/>
              <a:gd name="connsiteX2122" fmla="*/ 1380032 w 11856555"/>
              <a:gd name="connsiteY2122" fmla="*/ 3383752 h 4071735"/>
              <a:gd name="connsiteX2123" fmla="*/ 812457 w 11856555"/>
              <a:gd name="connsiteY2123" fmla="*/ 3519023 h 4071735"/>
              <a:gd name="connsiteX2124" fmla="*/ 830996 w 11856555"/>
              <a:gd name="connsiteY2124" fmla="*/ 3494007 h 4071735"/>
              <a:gd name="connsiteX2125" fmla="*/ 797794 w 11856555"/>
              <a:gd name="connsiteY2125" fmla="*/ 3502807 h 4071735"/>
              <a:gd name="connsiteX2126" fmla="*/ 815620 w 11856555"/>
              <a:gd name="connsiteY2126" fmla="*/ 3533344 h 4071735"/>
              <a:gd name="connsiteX2127" fmla="*/ 749868 w 11856555"/>
              <a:gd name="connsiteY2127" fmla="*/ 3515839 h 4071735"/>
              <a:gd name="connsiteX2128" fmla="*/ 644453 w 11856555"/>
              <a:gd name="connsiteY2128" fmla="*/ 3519392 h 4071735"/>
              <a:gd name="connsiteX2129" fmla="*/ 791943 w 11856555"/>
              <a:gd name="connsiteY2129" fmla="*/ 3431503 h 4071735"/>
              <a:gd name="connsiteX2130" fmla="*/ 829851 w 11856555"/>
              <a:gd name="connsiteY2130" fmla="*/ 3421154 h 4071735"/>
              <a:gd name="connsiteX2131" fmla="*/ 830492 w 11856555"/>
              <a:gd name="connsiteY2131" fmla="*/ 3423459 h 4071735"/>
              <a:gd name="connsiteX2132" fmla="*/ 890295 w 11856555"/>
              <a:gd name="connsiteY2132" fmla="*/ 3439074 h 4071735"/>
              <a:gd name="connsiteX2133" fmla="*/ 874858 w 11856555"/>
              <a:gd name="connsiteY2133" fmla="*/ 3414166 h 4071735"/>
              <a:gd name="connsiteX2134" fmla="*/ 804978 w 11856555"/>
              <a:gd name="connsiteY2134" fmla="*/ 3421854 h 4071735"/>
              <a:gd name="connsiteX2135" fmla="*/ 757749 w 11856555"/>
              <a:gd name="connsiteY2135" fmla="*/ 3440366 h 4071735"/>
              <a:gd name="connsiteX2136" fmla="*/ 760887 w 11856555"/>
              <a:gd name="connsiteY2136" fmla="*/ 3434910 h 4071735"/>
              <a:gd name="connsiteX2137" fmla="*/ 758350 w 11856555"/>
              <a:gd name="connsiteY2137" fmla="*/ 3436231 h 4071735"/>
              <a:gd name="connsiteX2138" fmla="*/ 756613 w 11856555"/>
              <a:gd name="connsiteY2138" fmla="*/ 3440810 h 4071735"/>
              <a:gd name="connsiteX2139" fmla="*/ 752842 w 11856555"/>
              <a:gd name="connsiteY2139" fmla="*/ 3442289 h 4071735"/>
              <a:gd name="connsiteX2140" fmla="*/ 751861 w 11856555"/>
              <a:gd name="connsiteY2140" fmla="*/ 3442698 h 4071735"/>
              <a:gd name="connsiteX2141" fmla="*/ 746667 w 11856555"/>
              <a:gd name="connsiteY2141" fmla="*/ 3440193 h 4071735"/>
              <a:gd name="connsiteX2142" fmla="*/ 742838 w 11856555"/>
              <a:gd name="connsiteY2142" fmla="*/ 3441902 h 4071735"/>
              <a:gd name="connsiteX2143" fmla="*/ 746026 w 11856555"/>
              <a:gd name="connsiteY2143" fmla="*/ 3445130 h 4071735"/>
              <a:gd name="connsiteX2144" fmla="*/ 716348 w 11856555"/>
              <a:gd name="connsiteY2144" fmla="*/ 3457496 h 4071735"/>
              <a:gd name="connsiteX2145" fmla="*/ 596273 w 11856555"/>
              <a:gd name="connsiteY2145" fmla="*/ 3444832 h 4071735"/>
              <a:gd name="connsiteX2146" fmla="*/ 599502 w 11856555"/>
              <a:gd name="connsiteY2146" fmla="*/ 3438703 h 4071735"/>
              <a:gd name="connsiteX2147" fmla="*/ 644848 w 11856555"/>
              <a:gd name="connsiteY2147" fmla="*/ 3396696 h 4071735"/>
              <a:gd name="connsiteX2148" fmla="*/ 611714 w 11856555"/>
              <a:gd name="connsiteY2148" fmla="*/ 3395634 h 4071735"/>
              <a:gd name="connsiteX2149" fmla="*/ 598992 w 11856555"/>
              <a:gd name="connsiteY2149" fmla="*/ 3395703 h 4071735"/>
              <a:gd name="connsiteX2150" fmla="*/ 583939 w 11856555"/>
              <a:gd name="connsiteY2150" fmla="*/ 3380585 h 4071735"/>
              <a:gd name="connsiteX2151" fmla="*/ 561138 w 11856555"/>
              <a:gd name="connsiteY2151" fmla="*/ 3389553 h 4071735"/>
              <a:gd name="connsiteX2152" fmla="*/ 771784 w 11856555"/>
              <a:gd name="connsiteY2152" fmla="*/ 3189712 h 4071735"/>
              <a:gd name="connsiteX2153" fmla="*/ 725021 w 11856555"/>
              <a:gd name="connsiteY2153" fmla="*/ 3173436 h 4071735"/>
              <a:gd name="connsiteX2154" fmla="*/ 903624 w 11856555"/>
              <a:gd name="connsiteY2154" fmla="*/ 3037780 h 4071735"/>
              <a:gd name="connsiteX2155" fmla="*/ 1021249 w 11856555"/>
              <a:gd name="connsiteY2155" fmla="*/ 2980571 h 4071735"/>
              <a:gd name="connsiteX2156" fmla="*/ 977651 w 11856555"/>
              <a:gd name="connsiteY2156" fmla="*/ 2978615 h 4071735"/>
              <a:gd name="connsiteX2157" fmla="*/ 1097519 w 11856555"/>
              <a:gd name="connsiteY2157" fmla="*/ 2890951 h 4071735"/>
              <a:gd name="connsiteX2158" fmla="*/ 1125101 w 11856555"/>
              <a:gd name="connsiteY2158" fmla="*/ 2880195 h 4071735"/>
              <a:gd name="connsiteX2159" fmla="*/ 1282137 w 11856555"/>
              <a:gd name="connsiteY2159" fmla="*/ 2832532 h 4071735"/>
              <a:gd name="connsiteX2160" fmla="*/ 1408097 w 11856555"/>
              <a:gd name="connsiteY2160" fmla="*/ 2803497 h 4071735"/>
              <a:gd name="connsiteX2161" fmla="*/ 1550849 w 11856555"/>
              <a:gd name="connsiteY2161" fmla="*/ 2758149 h 4071735"/>
              <a:gd name="connsiteX2162" fmla="*/ 1538386 w 11856555"/>
              <a:gd name="connsiteY2162" fmla="*/ 2761953 h 4071735"/>
              <a:gd name="connsiteX2163" fmla="*/ 1513102 w 11856555"/>
              <a:gd name="connsiteY2163" fmla="*/ 2757431 h 4071735"/>
              <a:gd name="connsiteX2164" fmla="*/ 1513111 w 11856555"/>
              <a:gd name="connsiteY2164" fmla="*/ 2757427 h 4071735"/>
              <a:gd name="connsiteX2165" fmla="*/ 1925043 w 11856555"/>
              <a:gd name="connsiteY2165" fmla="*/ 2529132 h 4071735"/>
              <a:gd name="connsiteX2166" fmla="*/ 1783427 w 11856555"/>
              <a:gd name="connsiteY2166" fmla="*/ 2557768 h 4071735"/>
              <a:gd name="connsiteX2167" fmla="*/ 1777335 w 11856555"/>
              <a:gd name="connsiteY2167" fmla="*/ 2560218 h 4071735"/>
              <a:gd name="connsiteX2168" fmla="*/ 1792833 w 11856555"/>
              <a:gd name="connsiteY2168" fmla="*/ 2547120 h 4071735"/>
              <a:gd name="connsiteX2169" fmla="*/ 1821761 w 11856555"/>
              <a:gd name="connsiteY2169" fmla="*/ 2535414 h 4071735"/>
              <a:gd name="connsiteX2170" fmla="*/ 1805230 w 11856555"/>
              <a:gd name="connsiteY2170" fmla="*/ 2519976 h 4071735"/>
              <a:gd name="connsiteX2171" fmla="*/ 1809140 w 11856555"/>
              <a:gd name="connsiteY2171" fmla="*/ 2516468 h 4071735"/>
              <a:gd name="connsiteX2172" fmla="*/ 1807094 w 11856555"/>
              <a:gd name="connsiteY2172" fmla="*/ 2500581 h 4071735"/>
              <a:gd name="connsiteX2173" fmla="*/ 1794183 w 11856555"/>
              <a:gd name="connsiteY2173" fmla="*/ 2504800 h 4071735"/>
              <a:gd name="connsiteX2174" fmla="*/ 1798059 w 11856555"/>
              <a:gd name="connsiteY2174" fmla="*/ 2502481 h 4071735"/>
              <a:gd name="connsiteX2175" fmla="*/ 1788383 w 11856555"/>
              <a:gd name="connsiteY2175" fmla="*/ 2506696 h 4071735"/>
              <a:gd name="connsiteX2176" fmla="*/ 1788234 w 11856555"/>
              <a:gd name="connsiteY2176" fmla="*/ 2506744 h 4071735"/>
              <a:gd name="connsiteX2177" fmla="*/ 1782797 w 11856555"/>
              <a:gd name="connsiteY2177" fmla="*/ 2503214 h 4071735"/>
              <a:gd name="connsiteX2178" fmla="*/ 1811035 w 11856555"/>
              <a:gd name="connsiteY2178" fmla="*/ 2497811 h 4071735"/>
              <a:gd name="connsiteX2179" fmla="*/ 1827513 w 11856555"/>
              <a:gd name="connsiteY2179" fmla="*/ 2494016 h 4071735"/>
              <a:gd name="connsiteX2180" fmla="*/ 1762792 w 11856555"/>
              <a:gd name="connsiteY2180" fmla="*/ 2488101 h 4071735"/>
              <a:gd name="connsiteX2181" fmla="*/ 1848249 w 11856555"/>
              <a:gd name="connsiteY2181" fmla="*/ 2451280 h 4071735"/>
              <a:gd name="connsiteX2182" fmla="*/ 1329952 w 11856555"/>
              <a:gd name="connsiteY2182" fmla="*/ 2652252 h 4071735"/>
              <a:gd name="connsiteX2183" fmla="*/ 1285686 w 11856555"/>
              <a:gd name="connsiteY2183" fmla="*/ 2608374 h 4071735"/>
              <a:gd name="connsiteX2184" fmla="*/ 1269718 w 11856555"/>
              <a:gd name="connsiteY2184" fmla="*/ 2626553 h 4071735"/>
              <a:gd name="connsiteX2185" fmla="*/ 1268447 w 11856555"/>
              <a:gd name="connsiteY2185" fmla="*/ 2624147 h 4071735"/>
              <a:gd name="connsiteX2186" fmla="*/ 1256772 w 11856555"/>
              <a:gd name="connsiteY2186" fmla="*/ 2614967 h 4071735"/>
              <a:gd name="connsiteX2187" fmla="*/ 957385 w 11856555"/>
              <a:gd name="connsiteY2187" fmla="*/ 2708817 h 4071735"/>
              <a:gd name="connsiteX2188" fmla="*/ 343754 w 11856555"/>
              <a:gd name="connsiteY2188" fmla="*/ 2856953 h 4071735"/>
              <a:gd name="connsiteX2189" fmla="*/ 524616 w 11856555"/>
              <a:gd name="connsiteY2189" fmla="*/ 2767824 h 4071735"/>
              <a:gd name="connsiteX2190" fmla="*/ 1010420 w 11856555"/>
              <a:gd name="connsiteY2190" fmla="*/ 2604793 h 4071735"/>
              <a:gd name="connsiteX2191" fmla="*/ 1210920 w 11856555"/>
              <a:gd name="connsiteY2191" fmla="*/ 2481789 h 4071735"/>
              <a:gd name="connsiteX2192" fmla="*/ 922579 w 11856555"/>
              <a:gd name="connsiteY2192" fmla="*/ 2551291 h 4071735"/>
              <a:gd name="connsiteX2193" fmla="*/ 569061 w 11856555"/>
              <a:gd name="connsiteY2193" fmla="*/ 2673328 h 4071735"/>
              <a:gd name="connsiteX2194" fmla="*/ 603751 w 11856555"/>
              <a:gd name="connsiteY2194" fmla="*/ 2617669 h 4071735"/>
              <a:gd name="connsiteX2195" fmla="*/ 476176 w 11856555"/>
              <a:gd name="connsiteY2195" fmla="*/ 2690367 h 4071735"/>
              <a:gd name="connsiteX2196" fmla="*/ 412680 w 11856555"/>
              <a:gd name="connsiteY2196" fmla="*/ 2719389 h 4071735"/>
              <a:gd name="connsiteX2197" fmla="*/ 380411 w 11856555"/>
              <a:gd name="connsiteY2197" fmla="*/ 2670106 h 4071735"/>
              <a:gd name="connsiteX2198" fmla="*/ 381436 w 11856555"/>
              <a:gd name="connsiteY2198" fmla="*/ 2667019 h 4071735"/>
              <a:gd name="connsiteX2199" fmla="*/ 382286 w 11856555"/>
              <a:gd name="connsiteY2199" fmla="*/ 2666973 h 4071735"/>
              <a:gd name="connsiteX2200" fmla="*/ 390401 w 11856555"/>
              <a:gd name="connsiteY2200" fmla="*/ 2660043 h 4071735"/>
              <a:gd name="connsiteX2201" fmla="*/ 372184 w 11856555"/>
              <a:gd name="connsiteY2201" fmla="*/ 2667509 h 4071735"/>
              <a:gd name="connsiteX2202" fmla="*/ 381237 w 11856555"/>
              <a:gd name="connsiteY2202" fmla="*/ 2667028 h 4071735"/>
              <a:gd name="connsiteX2203" fmla="*/ 367188 w 11856555"/>
              <a:gd name="connsiteY2203" fmla="*/ 2682921 h 4071735"/>
              <a:gd name="connsiteX2204" fmla="*/ 356941 w 11856555"/>
              <a:gd name="connsiteY2204" fmla="*/ 2665946 h 4071735"/>
              <a:gd name="connsiteX2205" fmla="*/ 366241 w 11856555"/>
              <a:gd name="connsiteY2205" fmla="*/ 2685561 h 4071735"/>
              <a:gd name="connsiteX2206" fmla="*/ 335173 w 11856555"/>
              <a:gd name="connsiteY2206" fmla="*/ 2697091 h 4071735"/>
              <a:gd name="connsiteX2207" fmla="*/ 298999 w 11856555"/>
              <a:gd name="connsiteY2207" fmla="*/ 2714917 h 4071735"/>
              <a:gd name="connsiteX2208" fmla="*/ 205276 w 11856555"/>
              <a:gd name="connsiteY2208" fmla="*/ 2743711 h 4071735"/>
              <a:gd name="connsiteX2209" fmla="*/ 101927 w 11856555"/>
              <a:gd name="connsiteY2209" fmla="*/ 2770445 h 4071735"/>
              <a:gd name="connsiteX2210" fmla="*/ 46829 w 11856555"/>
              <a:gd name="connsiteY2210" fmla="*/ 2777818 h 4071735"/>
              <a:gd name="connsiteX2211" fmla="*/ 29569 w 11856555"/>
              <a:gd name="connsiteY2211" fmla="*/ 2793661 h 4071735"/>
              <a:gd name="connsiteX2212" fmla="*/ 20920 w 11856555"/>
              <a:gd name="connsiteY2212" fmla="*/ 2775107 h 4071735"/>
              <a:gd name="connsiteX2213" fmla="*/ 13714 w 11856555"/>
              <a:gd name="connsiteY2213" fmla="*/ 2766189 h 4071735"/>
              <a:gd name="connsiteX2214" fmla="*/ 21177 w 11856555"/>
              <a:gd name="connsiteY2214" fmla="*/ 2759461 h 4071735"/>
              <a:gd name="connsiteX2215" fmla="*/ 4072 w 11856555"/>
              <a:gd name="connsiteY2215" fmla="*/ 2752880 h 4071735"/>
              <a:gd name="connsiteX2216" fmla="*/ 116527 w 11856555"/>
              <a:gd name="connsiteY2216" fmla="*/ 2722414 h 4071735"/>
              <a:gd name="connsiteX2217" fmla="*/ 370641 w 11856555"/>
              <a:gd name="connsiteY2217" fmla="*/ 2565429 h 4071735"/>
              <a:gd name="connsiteX2218" fmla="*/ 356755 w 11856555"/>
              <a:gd name="connsiteY2218" fmla="*/ 2557905 h 4071735"/>
              <a:gd name="connsiteX2219" fmla="*/ 364955 w 11856555"/>
              <a:gd name="connsiteY2219" fmla="*/ 2586378 h 4071735"/>
              <a:gd name="connsiteX2220" fmla="*/ 567665 w 11856555"/>
              <a:gd name="connsiteY2220" fmla="*/ 2525239 h 4071735"/>
              <a:gd name="connsiteX2221" fmla="*/ 629367 w 11856555"/>
              <a:gd name="connsiteY2221" fmla="*/ 2485112 h 4071735"/>
              <a:gd name="connsiteX2222" fmla="*/ 629692 w 11856555"/>
              <a:gd name="connsiteY2222" fmla="*/ 2485030 h 4071735"/>
              <a:gd name="connsiteX2223" fmla="*/ 640574 w 11856555"/>
              <a:gd name="connsiteY2223" fmla="*/ 2480044 h 4071735"/>
              <a:gd name="connsiteX2224" fmla="*/ 638477 w 11856555"/>
              <a:gd name="connsiteY2224" fmla="*/ 2479188 h 4071735"/>
              <a:gd name="connsiteX2225" fmla="*/ 648976 w 11856555"/>
              <a:gd name="connsiteY2225" fmla="*/ 2472360 h 4071735"/>
              <a:gd name="connsiteX2226" fmla="*/ 696643 w 11856555"/>
              <a:gd name="connsiteY2226" fmla="*/ 2431242 h 4071735"/>
              <a:gd name="connsiteX2227" fmla="*/ 318906 w 11856555"/>
              <a:gd name="connsiteY2227" fmla="*/ 2514550 h 4071735"/>
              <a:gd name="connsiteX2228" fmla="*/ 451630 w 11856555"/>
              <a:gd name="connsiteY2228" fmla="*/ 2430805 h 4071735"/>
              <a:gd name="connsiteX2229" fmla="*/ 518679 w 11856555"/>
              <a:gd name="connsiteY2229" fmla="*/ 2396603 h 4071735"/>
              <a:gd name="connsiteX2230" fmla="*/ 534310 w 11856555"/>
              <a:gd name="connsiteY2230" fmla="*/ 2394598 h 4071735"/>
              <a:gd name="connsiteX2231" fmla="*/ 579855 w 11856555"/>
              <a:gd name="connsiteY2231" fmla="*/ 2384608 h 4071735"/>
              <a:gd name="connsiteX2232" fmla="*/ 601260 w 11856555"/>
              <a:gd name="connsiteY2232" fmla="*/ 2372077 h 4071735"/>
              <a:gd name="connsiteX2233" fmla="*/ 599010 w 11856555"/>
              <a:gd name="connsiteY2233" fmla="*/ 2378885 h 4071735"/>
              <a:gd name="connsiteX2234" fmla="*/ 606606 w 11856555"/>
              <a:gd name="connsiteY2234" fmla="*/ 2395457 h 4071735"/>
              <a:gd name="connsiteX2235" fmla="*/ 633300 w 11856555"/>
              <a:gd name="connsiteY2235" fmla="*/ 2388150 h 4071735"/>
              <a:gd name="connsiteX2236" fmla="*/ 622717 w 11856555"/>
              <a:gd name="connsiteY2236" fmla="*/ 2376354 h 4071735"/>
              <a:gd name="connsiteX2237" fmla="*/ 634460 w 11856555"/>
              <a:gd name="connsiteY2237" fmla="*/ 2374677 h 4071735"/>
              <a:gd name="connsiteX2238" fmla="*/ 687733 w 11856555"/>
              <a:gd name="connsiteY2238" fmla="*/ 2373625 h 4071735"/>
              <a:gd name="connsiteX2239" fmla="*/ 628506 w 11856555"/>
              <a:gd name="connsiteY2239" fmla="*/ 2368561 h 4071735"/>
              <a:gd name="connsiteX2240" fmla="*/ 621659 w 11856555"/>
              <a:gd name="connsiteY2240" fmla="*/ 2375174 h 4071735"/>
              <a:gd name="connsiteX2241" fmla="*/ 621019 w 11856555"/>
              <a:gd name="connsiteY2241" fmla="*/ 2374460 h 4071735"/>
              <a:gd name="connsiteX2242" fmla="*/ 602400 w 11856555"/>
              <a:gd name="connsiteY2242" fmla="*/ 2371410 h 4071735"/>
              <a:gd name="connsiteX2243" fmla="*/ 606153 w 11856555"/>
              <a:gd name="connsiteY2243" fmla="*/ 2369213 h 4071735"/>
              <a:gd name="connsiteX2244" fmla="*/ 547120 w 11856555"/>
              <a:gd name="connsiteY2244" fmla="*/ 2382094 h 4071735"/>
              <a:gd name="connsiteX2245" fmla="*/ 518679 w 11856555"/>
              <a:gd name="connsiteY2245" fmla="*/ 2396603 h 4071735"/>
              <a:gd name="connsiteX2246" fmla="*/ 494701 w 11856555"/>
              <a:gd name="connsiteY2246" fmla="*/ 2399678 h 4071735"/>
              <a:gd name="connsiteX2247" fmla="*/ 486206 w 11856555"/>
              <a:gd name="connsiteY2247" fmla="*/ 2400344 h 4071735"/>
              <a:gd name="connsiteX2248" fmla="*/ 500482 w 11856555"/>
              <a:gd name="connsiteY2248" fmla="*/ 2369868 h 4071735"/>
              <a:gd name="connsiteX2249" fmla="*/ 515806 w 11856555"/>
              <a:gd name="connsiteY2249" fmla="*/ 2377629 h 4071735"/>
              <a:gd name="connsiteX2250" fmla="*/ 520200 w 11856555"/>
              <a:gd name="connsiteY2250" fmla="*/ 2370391 h 4071735"/>
              <a:gd name="connsiteX2251" fmla="*/ 517274 w 11856555"/>
              <a:gd name="connsiteY2251" fmla="*/ 2388815 h 4071735"/>
              <a:gd name="connsiteX2252" fmla="*/ 665193 w 11856555"/>
              <a:gd name="connsiteY2252" fmla="*/ 2311383 h 4071735"/>
              <a:gd name="connsiteX2253" fmla="*/ 633801 w 11856555"/>
              <a:gd name="connsiteY2253" fmla="*/ 2340465 h 4071735"/>
              <a:gd name="connsiteX2254" fmla="*/ 1229546 w 11856555"/>
              <a:gd name="connsiteY2254" fmla="*/ 2097546 h 4071735"/>
              <a:gd name="connsiteX2255" fmla="*/ 1187302 w 11856555"/>
              <a:gd name="connsiteY2255" fmla="*/ 2089628 h 4071735"/>
              <a:gd name="connsiteX2256" fmla="*/ 1251183 w 11856555"/>
              <a:gd name="connsiteY2256" fmla="*/ 2107300 h 4071735"/>
              <a:gd name="connsiteX2257" fmla="*/ 1862289 w 11856555"/>
              <a:gd name="connsiteY2257" fmla="*/ 1903751 h 4071735"/>
              <a:gd name="connsiteX2258" fmla="*/ 1930489 w 11856555"/>
              <a:gd name="connsiteY2258" fmla="*/ 1850723 h 4071735"/>
              <a:gd name="connsiteX2259" fmla="*/ 1954362 w 11856555"/>
              <a:gd name="connsiteY2259" fmla="*/ 1846091 h 4071735"/>
              <a:gd name="connsiteX2260" fmla="*/ 1935995 w 11856555"/>
              <a:gd name="connsiteY2260" fmla="*/ 1848550 h 4071735"/>
              <a:gd name="connsiteX2261" fmla="*/ 1931425 w 11856555"/>
              <a:gd name="connsiteY2261" fmla="*/ 1849995 h 4071735"/>
              <a:gd name="connsiteX2262" fmla="*/ 1934191 w 11856555"/>
              <a:gd name="connsiteY2262" fmla="*/ 1847844 h 4071735"/>
              <a:gd name="connsiteX2263" fmla="*/ 1937164 w 11856555"/>
              <a:gd name="connsiteY2263" fmla="*/ 1838817 h 4071735"/>
              <a:gd name="connsiteX2264" fmla="*/ 1359898 w 11856555"/>
              <a:gd name="connsiteY2264" fmla="*/ 1992475 h 4071735"/>
              <a:gd name="connsiteX2265" fmla="*/ 1229419 w 11856555"/>
              <a:gd name="connsiteY2265" fmla="*/ 2053750 h 4071735"/>
              <a:gd name="connsiteX2266" fmla="*/ 922861 w 11856555"/>
              <a:gd name="connsiteY2266" fmla="*/ 2130716 h 4071735"/>
              <a:gd name="connsiteX2267" fmla="*/ 299799 w 11856555"/>
              <a:gd name="connsiteY2267" fmla="*/ 2300136 h 4071735"/>
              <a:gd name="connsiteX2268" fmla="*/ 322085 w 11856555"/>
              <a:gd name="connsiteY2268" fmla="*/ 2274787 h 4071735"/>
              <a:gd name="connsiteX2269" fmla="*/ 285138 w 11856555"/>
              <a:gd name="connsiteY2269" fmla="*/ 2283920 h 4071735"/>
              <a:gd name="connsiteX2270" fmla="*/ 304837 w 11856555"/>
              <a:gd name="connsiteY2270" fmla="*/ 2314290 h 4071735"/>
              <a:gd name="connsiteX2271" fmla="*/ 223051 w 11856555"/>
              <a:gd name="connsiteY2271" fmla="*/ 2326095 h 4071735"/>
              <a:gd name="connsiteX2272" fmla="*/ 230864 w 11856555"/>
              <a:gd name="connsiteY2272" fmla="*/ 2306383 h 4071735"/>
              <a:gd name="connsiteX2273" fmla="*/ 245978 w 11856555"/>
              <a:gd name="connsiteY2273" fmla="*/ 2305297 h 4071735"/>
              <a:gd name="connsiteX2274" fmla="*/ 268537 w 11856555"/>
              <a:gd name="connsiteY2274" fmla="*/ 2288319 h 4071735"/>
              <a:gd name="connsiteX2275" fmla="*/ 246609 w 11856555"/>
              <a:gd name="connsiteY2275" fmla="*/ 2296480 h 4071735"/>
              <a:gd name="connsiteX2276" fmla="*/ 232045 w 11856555"/>
              <a:gd name="connsiteY2276" fmla="*/ 2303402 h 4071735"/>
              <a:gd name="connsiteX2277" fmla="*/ 232107 w 11856555"/>
              <a:gd name="connsiteY2277" fmla="*/ 2303247 h 4071735"/>
              <a:gd name="connsiteX2278" fmla="*/ 115971 w 11856555"/>
              <a:gd name="connsiteY2278" fmla="*/ 2313596 h 4071735"/>
              <a:gd name="connsiteX2279" fmla="*/ 280633 w 11856555"/>
              <a:gd name="connsiteY2279" fmla="*/ 2230765 h 4071735"/>
              <a:gd name="connsiteX2280" fmla="*/ 294665 w 11856555"/>
              <a:gd name="connsiteY2280" fmla="*/ 2213247 h 4071735"/>
              <a:gd name="connsiteX2281" fmla="*/ 298123 w 11856555"/>
              <a:gd name="connsiteY2281" fmla="*/ 2238955 h 4071735"/>
              <a:gd name="connsiteX2282" fmla="*/ 454997 w 11856555"/>
              <a:gd name="connsiteY2282" fmla="*/ 2162569 h 4071735"/>
              <a:gd name="connsiteX2283" fmla="*/ 469990 w 11856555"/>
              <a:gd name="connsiteY2283" fmla="*/ 2151504 h 4071735"/>
              <a:gd name="connsiteX2284" fmla="*/ 463979 w 11856555"/>
              <a:gd name="connsiteY2284" fmla="*/ 2159195 h 4071735"/>
              <a:gd name="connsiteX2285" fmla="*/ 485896 w 11856555"/>
              <a:gd name="connsiteY2285" fmla="*/ 2163812 h 4071735"/>
              <a:gd name="connsiteX2286" fmla="*/ 491501 w 11856555"/>
              <a:gd name="connsiteY2286" fmla="*/ 2140315 h 4071735"/>
              <a:gd name="connsiteX2287" fmla="*/ 479569 w 11856555"/>
              <a:gd name="connsiteY2287" fmla="*/ 2143757 h 4071735"/>
              <a:gd name="connsiteX2288" fmla="*/ 428814 w 11856555"/>
              <a:gd name="connsiteY2288" fmla="*/ 2136683 h 4071735"/>
              <a:gd name="connsiteX2289" fmla="*/ 293709 w 11856555"/>
              <a:gd name="connsiteY2289" fmla="*/ 2167888 h 4071735"/>
              <a:gd name="connsiteX2290" fmla="*/ 279713 w 11856555"/>
              <a:gd name="connsiteY2290" fmla="*/ 2179396 h 4071735"/>
              <a:gd name="connsiteX2291" fmla="*/ 270118 w 11856555"/>
              <a:gd name="connsiteY2291" fmla="*/ 2178935 h 4071735"/>
              <a:gd name="connsiteX2292" fmla="*/ 51321 w 11856555"/>
              <a:gd name="connsiteY2292" fmla="*/ 2202538 h 4071735"/>
              <a:gd name="connsiteX2293" fmla="*/ 23806 w 11856555"/>
              <a:gd name="connsiteY2293" fmla="*/ 2190388 h 4071735"/>
              <a:gd name="connsiteX2294" fmla="*/ 141946 w 11856555"/>
              <a:gd name="connsiteY2294" fmla="*/ 2138973 h 4071735"/>
              <a:gd name="connsiteX2295" fmla="*/ 122051 w 11856555"/>
              <a:gd name="connsiteY2295" fmla="*/ 2169951 h 4071735"/>
              <a:gd name="connsiteX2296" fmla="*/ 132244 w 11856555"/>
              <a:gd name="connsiteY2296" fmla="*/ 2167180 h 4071735"/>
              <a:gd name="connsiteX2297" fmla="*/ 135958 w 11856555"/>
              <a:gd name="connsiteY2297" fmla="*/ 2167435 h 4071735"/>
              <a:gd name="connsiteX2298" fmla="*/ 136228 w 11856555"/>
              <a:gd name="connsiteY2298" fmla="*/ 2166096 h 4071735"/>
              <a:gd name="connsiteX2299" fmla="*/ 180722 w 11856555"/>
              <a:gd name="connsiteY2299" fmla="*/ 2153999 h 4071735"/>
              <a:gd name="connsiteX2300" fmla="*/ 245241 w 11856555"/>
              <a:gd name="connsiteY2300" fmla="*/ 2141481 h 4071735"/>
              <a:gd name="connsiteX2301" fmla="*/ 246262 w 11856555"/>
              <a:gd name="connsiteY2301" fmla="*/ 2144281 h 4071735"/>
              <a:gd name="connsiteX2302" fmla="*/ 246859 w 11856555"/>
              <a:gd name="connsiteY2302" fmla="*/ 2141167 h 4071735"/>
              <a:gd name="connsiteX2303" fmla="*/ 249016 w 11856555"/>
              <a:gd name="connsiteY2303" fmla="*/ 2140749 h 4071735"/>
              <a:gd name="connsiteX2304" fmla="*/ 358784 w 11856555"/>
              <a:gd name="connsiteY2304" fmla="*/ 2093367 h 4071735"/>
              <a:gd name="connsiteX2305" fmla="*/ 379713 w 11856555"/>
              <a:gd name="connsiteY2305" fmla="*/ 2073979 h 4071735"/>
              <a:gd name="connsiteX2306" fmla="*/ 330830 w 11856555"/>
              <a:gd name="connsiteY2306" fmla="*/ 2078819 h 4071735"/>
              <a:gd name="connsiteX2307" fmla="*/ 309292 w 11856555"/>
              <a:gd name="connsiteY2307" fmla="*/ 2081795 h 4071735"/>
              <a:gd name="connsiteX2308" fmla="*/ 317164 w 11856555"/>
              <a:gd name="connsiteY2308" fmla="*/ 2059463 h 4071735"/>
              <a:gd name="connsiteX2309" fmla="*/ 557602 w 11856555"/>
              <a:gd name="connsiteY2309" fmla="*/ 1993877 h 4071735"/>
              <a:gd name="connsiteX2310" fmla="*/ 510840 w 11856555"/>
              <a:gd name="connsiteY2310" fmla="*/ 1977599 h 4071735"/>
              <a:gd name="connsiteX2311" fmla="*/ 540587 w 11856555"/>
              <a:gd name="connsiteY2311" fmla="*/ 1966462 h 4071735"/>
              <a:gd name="connsiteX2312" fmla="*/ 547320 w 11856555"/>
              <a:gd name="connsiteY2312" fmla="*/ 1953389 h 4071735"/>
              <a:gd name="connsiteX2313" fmla="*/ 549521 w 11856555"/>
              <a:gd name="connsiteY2313" fmla="*/ 1956813 h 4071735"/>
              <a:gd name="connsiteX2314" fmla="*/ 556119 w 11856555"/>
              <a:gd name="connsiteY2314" fmla="*/ 1956042 h 4071735"/>
              <a:gd name="connsiteX2315" fmla="*/ 555240 w 11856555"/>
              <a:gd name="connsiteY2315" fmla="*/ 1948819 h 4071735"/>
              <a:gd name="connsiteX2316" fmla="*/ 553165 w 11856555"/>
              <a:gd name="connsiteY2316" fmla="*/ 1942370 h 4071735"/>
              <a:gd name="connsiteX2317" fmla="*/ 562926 w 11856555"/>
              <a:gd name="connsiteY2317" fmla="*/ 1924497 h 4071735"/>
              <a:gd name="connsiteX2318" fmla="*/ 602047 w 11856555"/>
              <a:gd name="connsiteY2318" fmla="*/ 1899381 h 4071735"/>
              <a:gd name="connsiteX2319" fmla="*/ 819160 w 11856555"/>
              <a:gd name="connsiteY2319" fmla="*/ 1851558 h 4071735"/>
              <a:gd name="connsiteX2320" fmla="*/ 849443 w 11856555"/>
              <a:gd name="connsiteY2320" fmla="*/ 1845830 h 4071735"/>
              <a:gd name="connsiteX2321" fmla="*/ 850474 w 11856555"/>
              <a:gd name="connsiteY2321" fmla="*/ 1845757 h 4071735"/>
              <a:gd name="connsiteX2322" fmla="*/ 851000 w 11856555"/>
              <a:gd name="connsiteY2322" fmla="*/ 1845534 h 4071735"/>
              <a:gd name="connsiteX2323" fmla="*/ 900566 w 11856555"/>
              <a:gd name="connsiteY2323" fmla="*/ 1836159 h 4071735"/>
              <a:gd name="connsiteX2324" fmla="*/ 1062723 w 11856555"/>
              <a:gd name="connsiteY2324" fmla="*/ 1814522 h 4071735"/>
              <a:gd name="connsiteX2325" fmla="*/ 1239761 w 11856555"/>
              <a:gd name="connsiteY2325" fmla="*/ 1780494 h 4071735"/>
              <a:gd name="connsiteX2326" fmla="*/ 1337258 w 11856555"/>
              <a:gd name="connsiteY2326" fmla="*/ 1762362 h 4071735"/>
              <a:gd name="connsiteX2327" fmla="*/ 1321286 w 11856555"/>
              <a:gd name="connsiteY2327" fmla="*/ 1771038 h 4071735"/>
              <a:gd name="connsiteX2328" fmla="*/ 1318772 w 11856555"/>
              <a:gd name="connsiteY2328" fmla="*/ 1789244 h 4071735"/>
              <a:gd name="connsiteX2329" fmla="*/ 1319364 w 11856555"/>
              <a:gd name="connsiteY2329" fmla="*/ 1793273 h 4071735"/>
              <a:gd name="connsiteX2330" fmla="*/ 1335083 w 11856555"/>
              <a:gd name="connsiteY2330" fmla="*/ 1788309 h 4071735"/>
              <a:gd name="connsiteX2331" fmla="*/ 1340809 w 11856555"/>
              <a:gd name="connsiteY2331" fmla="*/ 1779945 h 4071735"/>
              <a:gd name="connsiteX2332" fmla="*/ 1344331 w 11856555"/>
              <a:gd name="connsiteY2332" fmla="*/ 1764468 h 4071735"/>
              <a:gd name="connsiteX2333" fmla="*/ 1338310 w 11856555"/>
              <a:gd name="connsiteY2333" fmla="*/ 1762166 h 4071735"/>
              <a:gd name="connsiteX2334" fmla="*/ 1382045 w 11856555"/>
              <a:gd name="connsiteY2334" fmla="*/ 1754033 h 4071735"/>
              <a:gd name="connsiteX2335" fmla="*/ 1387801 w 11856555"/>
              <a:gd name="connsiteY2335" fmla="*/ 1753839 h 4071735"/>
              <a:gd name="connsiteX2336" fmla="*/ 1382326 w 11856555"/>
              <a:gd name="connsiteY2336" fmla="*/ 1756836 h 4071735"/>
              <a:gd name="connsiteX2337" fmla="*/ 1401573 w 11856555"/>
              <a:gd name="connsiteY2337" fmla="*/ 1760963 h 4071735"/>
              <a:gd name="connsiteX2338" fmla="*/ 1394883 w 11856555"/>
              <a:gd name="connsiteY2338" fmla="*/ 1753599 h 4071735"/>
              <a:gd name="connsiteX2339" fmla="*/ 1440042 w 11856555"/>
              <a:gd name="connsiteY2339" fmla="*/ 1752071 h 4071735"/>
              <a:gd name="connsiteX2340" fmla="*/ 1479147 w 11856555"/>
              <a:gd name="connsiteY2340" fmla="*/ 1762811 h 4071735"/>
              <a:gd name="connsiteX2341" fmla="*/ 1544774 w 11856555"/>
              <a:gd name="connsiteY2341" fmla="*/ 1736521 h 4071735"/>
              <a:gd name="connsiteX2342" fmla="*/ 1509765 w 11856555"/>
              <a:gd name="connsiteY2342" fmla="*/ 1725038 h 4071735"/>
              <a:gd name="connsiteX2343" fmla="*/ 1584978 w 11856555"/>
              <a:gd name="connsiteY2343" fmla="*/ 1692416 h 4071735"/>
              <a:gd name="connsiteX2344" fmla="*/ 1614473 w 11856555"/>
              <a:gd name="connsiteY2344" fmla="*/ 1674982 h 4071735"/>
              <a:gd name="connsiteX2345" fmla="*/ 1614866 w 11856555"/>
              <a:gd name="connsiteY2345" fmla="*/ 1675164 h 4071735"/>
              <a:gd name="connsiteX2346" fmla="*/ 1617096 w 11856555"/>
              <a:gd name="connsiteY2346" fmla="*/ 1687363 h 4071735"/>
              <a:gd name="connsiteX2347" fmla="*/ 1624678 w 11856555"/>
              <a:gd name="connsiteY2347" fmla="*/ 1679752 h 4071735"/>
              <a:gd name="connsiteX2348" fmla="*/ 1624678 w 11856555"/>
              <a:gd name="connsiteY2348" fmla="*/ 1679752 h 4071735"/>
              <a:gd name="connsiteX2349" fmla="*/ 1614866 w 11856555"/>
              <a:gd name="connsiteY2349" fmla="*/ 1675164 h 4071735"/>
              <a:gd name="connsiteX2350" fmla="*/ 1614796 w 11856555"/>
              <a:gd name="connsiteY2350" fmla="*/ 1674792 h 4071735"/>
              <a:gd name="connsiteX2351" fmla="*/ 1614473 w 11856555"/>
              <a:gd name="connsiteY2351" fmla="*/ 1674982 h 4071735"/>
              <a:gd name="connsiteX2352" fmla="*/ 1610730 w 11856555"/>
              <a:gd name="connsiteY2352" fmla="*/ 1673232 h 4071735"/>
              <a:gd name="connsiteX2353" fmla="*/ 1401210 w 11856555"/>
              <a:gd name="connsiteY2353" fmla="*/ 1699949 h 4071735"/>
              <a:gd name="connsiteX2354" fmla="*/ 1383896 w 11856555"/>
              <a:gd name="connsiteY2354" fmla="*/ 1706993 h 4071735"/>
              <a:gd name="connsiteX2355" fmla="*/ 1383289 w 11856555"/>
              <a:gd name="connsiteY2355" fmla="*/ 1706738 h 4071735"/>
              <a:gd name="connsiteX2356" fmla="*/ 1365341 w 11856555"/>
              <a:gd name="connsiteY2356" fmla="*/ 1714544 h 4071735"/>
              <a:gd name="connsiteX2357" fmla="*/ 1383896 w 11856555"/>
              <a:gd name="connsiteY2357" fmla="*/ 1706993 h 4071735"/>
              <a:gd name="connsiteX2358" fmla="*/ 1401188 w 11856555"/>
              <a:gd name="connsiteY2358" fmla="*/ 1714270 h 4071735"/>
              <a:gd name="connsiteX2359" fmla="*/ 1220266 w 11856555"/>
              <a:gd name="connsiteY2359" fmla="*/ 1739154 h 4071735"/>
              <a:gd name="connsiteX2360" fmla="*/ 1224594 w 11856555"/>
              <a:gd name="connsiteY2360" fmla="*/ 1724165 h 4071735"/>
              <a:gd name="connsiteX2361" fmla="*/ 1240936 w 11856555"/>
              <a:gd name="connsiteY2361" fmla="*/ 1716867 h 4071735"/>
              <a:gd name="connsiteX2362" fmla="*/ 1186047 w 11856555"/>
              <a:gd name="connsiteY2362" fmla="*/ 1722307 h 4071735"/>
              <a:gd name="connsiteX2363" fmla="*/ 1141476 w 11856555"/>
              <a:gd name="connsiteY2363" fmla="*/ 1725891 h 4071735"/>
              <a:gd name="connsiteX2364" fmla="*/ 1141658 w 11856555"/>
              <a:gd name="connsiteY2364" fmla="*/ 1725714 h 4071735"/>
              <a:gd name="connsiteX2365" fmla="*/ 1122926 w 11856555"/>
              <a:gd name="connsiteY2365" fmla="*/ 1727383 h 4071735"/>
              <a:gd name="connsiteX2366" fmla="*/ 1122937 w 11856555"/>
              <a:gd name="connsiteY2366" fmla="*/ 1727389 h 4071735"/>
              <a:gd name="connsiteX2367" fmla="*/ 1066439 w 11856555"/>
              <a:gd name="connsiteY2367" fmla="*/ 1734060 h 4071735"/>
              <a:gd name="connsiteX2368" fmla="*/ 1030043 w 11856555"/>
              <a:gd name="connsiteY2368" fmla="*/ 1744423 h 4071735"/>
              <a:gd name="connsiteX2369" fmla="*/ 1015836 w 11856555"/>
              <a:gd name="connsiteY2369" fmla="*/ 1766086 h 4071735"/>
              <a:gd name="connsiteX2370" fmla="*/ 996012 w 11856555"/>
              <a:gd name="connsiteY2370" fmla="*/ 1789768 h 4071735"/>
              <a:gd name="connsiteX2371" fmla="*/ 975103 w 11856555"/>
              <a:gd name="connsiteY2371" fmla="*/ 1787696 h 4071735"/>
              <a:gd name="connsiteX2372" fmla="*/ 949418 w 11856555"/>
              <a:gd name="connsiteY2372" fmla="*/ 1783505 h 4071735"/>
              <a:gd name="connsiteX2373" fmla="*/ 950567 w 11856555"/>
              <a:gd name="connsiteY2373" fmla="*/ 1779949 h 4071735"/>
              <a:gd name="connsiteX2374" fmla="*/ 956635 w 11856555"/>
              <a:gd name="connsiteY2374" fmla="*/ 1781720 h 4071735"/>
              <a:gd name="connsiteX2375" fmla="*/ 961418 w 11856555"/>
              <a:gd name="connsiteY2375" fmla="*/ 1776857 h 4071735"/>
              <a:gd name="connsiteX2376" fmla="*/ 957686 w 11856555"/>
              <a:gd name="connsiteY2376" fmla="*/ 1766817 h 4071735"/>
              <a:gd name="connsiteX2377" fmla="*/ 960740 w 11856555"/>
              <a:gd name="connsiteY2377" fmla="*/ 1764881 h 4071735"/>
              <a:gd name="connsiteX2378" fmla="*/ 949430 w 11856555"/>
              <a:gd name="connsiteY2378" fmla="*/ 1772049 h 4071735"/>
              <a:gd name="connsiteX2379" fmla="*/ 954074 w 11856555"/>
              <a:gd name="connsiteY2379" fmla="*/ 1769105 h 4071735"/>
              <a:gd name="connsiteX2380" fmla="*/ 950567 w 11856555"/>
              <a:gd name="connsiteY2380" fmla="*/ 1779949 h 4071735"/>
              <a:gd name="connsiteX2381" fmla="*/ 944911 w 11856555"/>
              <a:gd name="connsiteY2381" fmla="*/ 1778297 h 4071735"/>
              <a:gd name="connsiteX2382" fmla="*/ 947815 w 11856555"/>
              <a:gd name="connsiteY2382" fmla="*/ 1775113 h 4071735"/>
              <a:gd name="connsiteX2383" fmla="*/ 933404 w 11856555"/>
              <a:gd name="connsiteY2383" fmla="*/ 1774938 h 4071735"/>
              <a:gd name="connsiteX2384" fmla="*/ 944911 w 11856555"/>
              <a:gd name="connsiteY2384" fmla="*/ 1778297 h 4071735"/>
              <a:gd name="connsiteX2385" fmla="*/ 903844 w 11856555"/>
              <a:gd name="connsiteY2385" fmla="*/ 1823329 h 4071735"/>
              <a:gd name="connsiteX2386" fmla="*/ 851000 w 11856555"/>
              <a:gd name="connsiteY2386" fmla="*/ 1845534 h 4071735"/>
              <a:gd name="connsiteX2387" fmla="*/ 849443 w 11856555"/>
              <a:gd name="connsiteY2387" fmla="*/ 1845830 h 4071735"/>
              <a:gd name="connsiteX2388" fmla="*/ 790835 w 11856555"/>
              <a:gd name="connsiteY2388" fmla="*/ 1849987 h 4071735"/>
              <a:gd name="connsiteX2389" fmla="*/ 728061 w 11856555"/>
              <a:gd name="connsiteY2389" fmla="*/ 1843615 h 4071735"/>
              <a:gd name="connsiteX2390" fmla="*/ 691254 w 11856555"/>
              <a:gd name="connsiteY2390" fmla="*/ 1838111 h 4071735"/>
              <a:gd name="connsiteX2391" fmla="*/ 744688 w 11856555"/>
              <a:gd name="connsiteY2391" fmla="*/ 1820959 h 4071735"/>
              <a:gd name="connsiteX2392" fmla="*/ 862038 w 11856555"/>
              <a:gd name="connsiteY2392" fmla="*/ 1744791 h 4071735"/>
              <a:gd name="connsiteX2393" fmla="*/ 850409 w 11856555"/>
              <a:gd name="connsiteY2393" fmla="*/ 1783793 h 4071735"/>
              <a:gd name="connsiteX2394" fmla="*/ 908868 w 11856555"/>
              <a:gd name="connsiteY2394" fmla="*/ 1740618 h 4071735"/>
              <a:gd name="connsiteX2395" fmla="*/ 902599 w 11856555"/>
              <a:gd name="connsiteY2395" fmla="*/ 1732672 h 4071735"/>
              <a:gd name="connsiteX2396" fmla="*/ 904417 w 11856555"/>
              <a:gd name="connsiteY2396" fmla="*/ 1730093 h 4071735"/>
              <a:gd name="connsiteX2397" fmla="*/ 917153 w 11856555"/>
              <a:gd name="connsiteY2397" fmla="*/ 1726327 h 4071735"/>
              <a:gd name="connsiteX2398" fmla="*/ 907013 w 11856555"/>
              <a:gd name="connsiteY2398" fmla="*/ 1726409 h 4071735"/>
              <a:gd name="connsiteX2399" fmla="*/ 904417 w 11856555"/>
              <a:gd name="connsiteY2399" fmla="*/ 1730093 h 4071735"/>
              <a:gd name="connsiteX2400" fmla="*/ 889228 w 11856555"/>
              <a:gd name="connsiteY2400" fmla="*/ 1734581 h 4071735"/>
              <a:gd name="connsiteX2401" fmla="*/ 837689 w 11856555"/>
              <a:gd name="connsiteY2401" fmla="*/ 1746961 h 4071735"/>
              <a:gd name="connsiteX2402" fmla="*/ 1235514 w 11856555"/>
              <a:gd name="connsiteY2402" fmla="*/ 1656020 h 4071735"/>
              <a:gd name="connsiteX2403" fmla="*/ 1759621 w 11856555"/>
              <a:gd name="connsiteY2403" fmla="*/ 1477895 h 4071735"/>
              <a:gd name="connsiteX2404" fmla="*/ 1735472 w 11856555"/>
              <a:gd name="connsiteY2404" fmla="*/ 1479682 h 4071735"/>
              <a:gd name="connsiteX2405" fmla="*/ 1723782 w 11856555"/>
              <a:gd name="connsiteY2405" fmla="*/ 1481851 h 4071735"/>
              <a:gd name="connsiteX2406" fmla="*/ 1748811 w 11856555"/>
              <a:gd name="connsiteY2406" fmla="*/ 1470462 h 4071735"/>
              <a:gd name="connsiteX2407" fmla="*/ 1785913 w 11856555"/>
              <a:gd name="connsiteY2407" fmla="*/ 1455110 h 4071735"/>
              <a:gd name="connsiteX2408" fmla="*/ 1771054 w 11856555"/>
              <a:gd name="connsiteY2408" fmla="*/ 1500240 h 4071735"/>
              <a:gd name="connsiteX2409" fmla="*/ 1799507 w 11856555"/>
              <a:gd name="connsiteY2409" fmla="*/ 1471394 h 4071735"/>
              <a:gd name="connsiteX2410" fmla="*/ 1814030 w 11856555"/>
              <a:gd name="connsiteY2410" fmla="*/ 1475009 h 4071735"/>
              <a:gd name="connsiteX2411" fmla="*/ 1814228 w 11856555"/>
              <a:gd name="connsiteY2411" fmla="*/ 1468284 h 4071735"/>
              <a:gd name="connsiteX2412" fmla="*/ 1807943 w 11856555"/>
              <a:gd name="connsiteY2412" fmla="*/ 1464859 h 4071735"/>
              <a:gd name="connsiteX2413" fmla="*/ 1827946 w 11856555"/>
              <a:gd name="connsiteY2413" fmla="*/ 1450086 h 4071735"/>
              <a:gd name="connsiteX2414" fmla="*/ 1833689 w 11856555"/>
              <a:gd name="connsiteY2414" fmla="*/ 1447780 h 4071735"/>
              <a:gd name="connsiteX2415" fmla="*/ 1831957 w 11856555"/>
              <a:gd name="connsiteY2415" fmla="*/ 1455388 h 4071735"/>
              <a:gd name="connsiteX2416" fmla="*/ 1858192 w 11856555"/>
              <a:gd name="connsiteY2416" fmla="*/ 1439906 h 4071735"/>
              <a:gd name="connsiteX2417" fmla="*/ 1851109 w 11856555"/>
              <a:gd name="connsiteY2417" fmla="*/ 1440786 h 4071735"/>
              <a:gd name="connsiteX2418" fmla="*/ 1877618 w 11856555"/>
              <a:gd name="connsiteY2418" fmla="*/ 1430144 h 4071735"/>
              <a:gd name="connsiteX2419" fmla="*/ 1923438 w 11856555"/>
              <a:gd name="connsiteY2419" fmla="*/ 1422594 h 4071735"/>
              <a:gd name="connsiteX2420" fmla="*/ 1960623 w 11856555"/>
              <a:gd name="connsiteY2420" fmla="*/ 1411944 h 4071735"/>
              <a:gd name="connsiteX2421" fmla="*/ 1963172 w 11856555"/>
              <a:gd name="connsiteY2421" fmla="*/ 1413138 h 4071735"/>
              <a:gd name="connsiteX2422" fmla="*/ 1968776 w 11856555"/>
              <a:gd name="connsiteY2422" fmla="*/ 1409609 h 4071735"/>
              <a:gd name="connsiteX2423" fmla="*/ 1960623 w 11856555"/>
              <a:gd name="connsiteY2423" fmla="*/ 1411944 h 4071735"/>
              <a:gd name="connsiteX2424" fmla="*/ 1957988 w 11856555"/>
              <a:gd name="connsiteY2424" fmla="*/ 1410708 h 4071735"/>
              <a:gd name="connsiteX2425" fmla="*/ 1948043 w 11856555"/>
              <a:gd name="connsiteY2425" fmla="*/ 1367649 h 4071735"/>
              <a:gd name="connsiteX2426" fmla="*/ 2436802 w 11856555"/>
              <a:gd name="connsiteY2426" fmla="*/ 1298861 h 4071735"/>
              <a:gd name="connsiteX2427" fmla="*/ 2456936 w 11856555"/>
              <a:gd name="connsiteY2427" fmla="*/ 1305605 h 4071735"/>
              <a:gd name="connsiteX2428" fmla="*/ 2463981 w 11856555"/>
              <a:gd name="connsiteY2428" fmla="*/ 1304782 h 4071735"/>
              <a:gd name="connsiteX2429" fmla="*/ 2478716 w 11856555"/>
              <a:gd name="connsiteY2429" fmla="*/ 1287453 h 4071735"/>
              <a:gd name="connsiteX2430" fmla="*/ 2547398 w 11856555"/>
              <a:gd name="connsiteY2430" fmla="*/ 1249989 h 4071735"/>
              <a:gd name="connsiteX2431" fmla="*/ 2535769 w 11856555"/>
              <a:gd name="connsiteY2431" fmla="*/ 1288992 h 4071735"/>
              <a:gd name="connsiteX2432" fmla="*/ 2649632 w 11856555"/>
              <a:gd name="connsiteY2432" fmla="*/ 1246812 h 4071735"/>
              <a:gd name="connsiteX2433" fmla="*/ 2675832 w 11856555"/>
              <a:gd name="connsiteY2433" fmla="*/ 1230783 h 4071735"/>
              <a:gd name="connsiteX2434" fmla="*/ 2680069 w 11856555"/>
              <a:gd name="connsiteY2434" fmla="*/ 1255690 h 4071735"/>
              <a:gd name="connsiteX2435" fmla="*/ 2721927 w 11856555"/>
              <a:gd name="connsiteY2435" fmla="*/ 1216915 h 4071735"/>
              <a:gd name="connsiteX2436" fmla="*/ 2693478 w 11856555"/>
              <a:gd name="connsiteY2436" fmla="*/ 1215480 h 4071735"/>
              <a:gd name="connsiteX2437" fmla="*/ 2675521 w 11856555"/>
              <a:gd name="connsiteY2437" fmla="*/ 1227695 h 4071735"/>
              <a:gd name="connsiteX2438" fmla="*/ 2671610 w 11856555"/>
              <a:gd name="connsiteY2438" fmla="*/ 1224319 h 4071735"/>
              <a:gd name="connsiteX2439" fmla="*/ 2653462 w 11856555"/>
              <a:gd name="connsiteY2439" fmla="*/ 1211333 h 4071735"/>
              <a:gd name="connsiteX2440" fmla="*/ 2669287 w 11856555"/>
              <a:gd name="connsiteY2440" fmla="*/ 1198241 h 4071735"/>
              <a:gd name="connsiteX2441" fmla="*/ 2738971 w 11856555"/>
              <a:gd name="connsiteY2441" fmla="*/ 1177794 h 4071735"/>
              <a:gd name="connsiteX2442" fmla="*/ 2741582 w 11856555"/>
              <a:gd name="connsiteY2442" fmla="*/ 1177078 h 4071735"/>
              <a:gd name="connsiteX2443" fmla="*/ 2741165 w 11856555"/>
              <a:gd name="connsiteY2443" fmla="*/ 1177776 h 4071735"/>
              <a:gd name="connsiteX2444" fmla="*/ 2733231 w 11856555"/>
              <a:gd name="connsiteY2444" fmla="*/ 1195464 h 4071735"/>
              <a:gd name="connsiteX2445" fmla="*/ 2796986 w 11856555"/>
              <a:gd name="connsiteY2445" fmla="*/ 1169340 h 4071735"/>
              <a:gd name="connsiteX2446" fmla="*/ 2775170 w 11856555"/>
              <a:gd name="connsiteY2446" fmla="*/ 1167860 h 4071735"/>
              <a:gd name="connsiteX2447" fmla="*/ 2741582 w 11856555"/>
              <a:gd name="connsiteY2447" fmla="*/ 1177078 h 4071735"/>
              <a:gd name="connsiteX2448" fmla="*/ 2746727 w 11856555"/>
              <a:gd name="connsiteY2448" fmla="*/ 1168478 h 4071735"/>
              <a:gd name="connsiteX2449" fmla="*/ 2760945 w 11856555"/>
              <a:gd name="connsiteY2449" fmla="*/ 1146267 h 4071735"/>
              <a:gd name="connsiteX2450" fmla="*/ 2861064 w 11856555"/>
              <a:gd name="connsiteY2450" fmla="*/ 1125663 h 4071735"/>
              <a:gd name="connsiteX2451" fmla="*/ 2861987 w 11856555"/>
              <a:gd name="connsiteY2451" fmla="*/ 1136042 h 4071735"/>
              <a:gd name="connsiteX2452" fmla="*/ 2849097 w 11856555"/>
              <a:gd name="connsiteY2452" fmla="*/ 1144024 h 4071735"/>
              <a:gd name="connsiteX2453" fmla="*/ 2839788 w 11856555"/>
              <a:gd name="connsiteY2453" fmla="*/ 1156965 h 4071735"/>
              <a:gd name="connsiteX2454" fmla="*/ 2828291 w 11856555"/>
              <a:gd name="connsiteY2454" fmla="*/ 1163081 h 4071735"/>
              <a:gd name="connsiteX2455" fmla="*/ 2830961 w 11856555"/>
              <a:gd name="connsiteY2455" fmla="*/ 1169232 h 4071735"/>
              <a:gd name="connsiteX2456" fmla="*/ 2839788 w 11856555"/>
              <a:gd name="connsiteY2456" fmla="*/ 1156965 h 4071735"/>
              <a:gd name="connsiteX2457" fmla="*/ 2845187 w 11856555"/>
              <a:gd name="connsiteY2457" fmla="*/ 1154092 h 4071735"/>
              <a:gd name="connsiteX2458" fmla="*/ 2862497 w 11856555"/>
              <a:gd name="connsiteY2458" fmla="*/ 1141780 h 4071735"/>
              <a:gd name="connsiteX2459" fmla="*/ 2861987 w 11856555"/>
              <a:gd name="connsiteY2459" fmla="*/ 1136042 h 4071735"/>
              <a:gd name="connsiteX2460" fmla="*/ 2879659 w 11856555"/>
              <a:gd name="connsiteY2460" fmla="*/ 1125101 h 4071735"/>
              <a:gd name="connsiteX2461" fmla="*/ 2941867 w 11856555"/>
              <a:gd name="connsiteY2461" fmla="*/ 1121382 h 4071735"/>
              <a:gd name="connsiteX2462" fmla="*/ 2928431 w 11856555"/>
              <a:gd name="connsiteY2462" fmla="*/ 1140104 h 4071735"/>
              <a:gd name="connsiteX2463" fmla="*/ 2986308 w 11856555"/>
              <a:gd name="connsiteY2463" fmla="*/ 1111582 h 4071735"/>
              <a:gd name="connsiteX2464" fmla="*/ 2964965 w 11856555"/>
              <a:gd name="connsiteY2464" fmla="*/ 1142551 h 4071735"/>
              <a:gd name="connsiteX2465" fmla="*/ 2910988 w 11856555"/>
              <a:gd name="connsiteY2465" fmla="*/ 1166114 h 4071735"/>
              <a:gd name="connsiteX2466" fmla="*/ 2909070 w 11856555"/>
              <a:gd name="connsiteY2466" fmla="*/ 1166150 h 4071735"/>
              <a:gd name="connsiteX2467" fmla="*/ 2893034 w 11856555"/>
              <a:gd name="connsiteY2467" fmla="*/ 1166621 h 4071735"/>
              <a:gd name="connsiteX2468" fmla="*/ 2908884 w 11856555"/>
              <a:gd name="connsiteY2468" fmla="*/ 1167034 h 4071735"/>
              <a:gd name="connsiteX2469" fmla="*/ 2910988 w 11856555"/>
              <a:gd name="connsiteY2469" fmla="*/ 1166114 h 4071735"/>
              <a:gd name="connsiteX2470" fmla="*/ 2942259 w 11856555"/>
              <a:gd name="connsiteY2470" fmla="*/ 1165520 h 4071735"/>
              <a:gd name="connsiteX2471" fmla="*/ 2967019 w 11856555"/>
              <a:gd name="connsiteY2471" fmla="*/ 1165526 h 4071735"/>
              <a:gd name="connsiteX2472" fmla="*/ 2966604 w 11856555"/>
              <a:gd name="connsiteY2472" fmla="*/ 1165906 h 4071735"/>
              <a:gd name="connsiteX2473" fmla="*/ 2967931 w 11856555"/>
              <a:gd name="connsiteY2473" fmla="*/ 1165526 h 4071735"/>
              <a:gd name="connsiteX2474" fmla="*/ 2974448 w 11856555"/>
              <a:gd name="connsiteY2474" fmla="*/ 1165527 h 4071735"/>
              <a:gd name="connsiteX2475" fmla="*/ 2987467 w 11856555"/>
              <a:gd name="connsiteY2475" fmla="*/ 1166968 h 4071735"/>
              <a:gd name="connsiteX2476" fmla="*/ 2982137 w 11856555"/>
              <a:gd name="connsiteY2476" fmla="*/ 1158429 h 4071735"/>
              <a:gd name="connsiteX2477" fmla="*/ 2991849 w 11856555"/>
              <a:gd name="connsiteY2477" fmla="*/ 1149968 h 4071735"/>
              <a:gd name="connsiteX2478" fmla="*/ 3060006 w 11856555"/>
              <a:gd name="connsiteY2478" fmla="*/ 1114460 h 4071735"/>
              <a:gd name="connsiteX2479" fmla="*/ 3057976 w 11856555"/>
              <a:gd name="connsiteY2479" fmla="*/ 1143815 h 4071735"/>
              <a:gd name="connsiteX2480" fmla="*/ 3054393 w 11856555"/>
              <a:gd name="connsiteY2480" fmla="*/ 1152608 h 4071735"/>
              <a:gd name="connsiteX2481" fmla="*/ 3074472 w 11856555"/>
              <a:gd name="connsiteY2481" fmla="*/ 1147532 h 4071735"/>
              <a:gd name="connsiteX2482" fmla="*/ 3069539 w 11856555"/>
              <a:gd name="connsiteY2482" fmla="*/ 1146082 h 4071735"/>
              <a:gd name="connsiteX2483" fmla="*/ 3071730 w 11856555"/>
              <a:gd name="connsiteY2483" fmla="*/ 1145541 h 4071735"/>
              <a:gd name="connsiteX2484" fmla="*/ 3129635 w 11856555"/>
              <a:gd name="connsiteY2484" fmla="*/ 1130935 h 4071735"/>
              <a:gd name="connsiteX2485" fmla="*/ 3111227 w 11856555"/>
              <a:gd name="connsiteY2485" fmla="*/ 1115053 h 4071735"/>
              <a:gd name="connsiteX2486" fmla="*/ 3463581 w 11856555"/>
              <a:gd name="connsiteY2486" fmla="*/ 1022323 h 4071735"/>
              <a:gd name="connsiteX2487" fmla="*/ 3446074 w 11856555"/>
              <a:gd name="connsiteY2487" fmla="*/ 1058930 h 4071735"/>
              <a:gd name="connsiteX2488" fmla="*/ 3601613 w 11856555"/>
              <a:gd name="connsiteY2488" fmla="*/ 1024626 h 4071735"/>
              <a:gd name="connsiteX2489" fmla="*/ 3518937 w 11856555"/>
              <a:gd name="connsiteY2489" fmla="*/ 1029072 h 4071735"/>
              <a:gd name="connsiteX2490" fmla="*/ 3967920 w 11856555"/>
              <a:gd name="connsiteY2490" fmla="*/ 918973 h 4071735"/>
              <a:gd name="connsiteX2491" fmla="*/ 3934044 w 11856555"/>
              <a:gd name="connsiteY2491" fmla="*/ 941340 h 4071735"/>
              <a:gd name="connsiteX2492" fmla="*/ 3933014 w 11856555"/>
              <a:gd name="connsiteY2492" fmla="*/ 941861 h 4071735"/>
              <a:gd name="connsiteX2493" fmla="*/ 3924255 w 11856555"/>
              <a:gd name="connsiteY2493" fmla="*/ 937464 h 4071735"/>
              <a:gd name="connsiteX2494" fmla="*/ 3915147 w 11856555"/>
              <a:gd name="connsiteY2494" fmla="*/ 941197 h 4071735"/>
              <a:gd name="connsiteX2495" fmla="*/ 3934139 w 11856555"/>
              <a:gd name="connsiteY2495" fmla="*/ 942426 h 4071735"/>
              <a:gd name="connsiteX2496" fmla="*/ 3934004 w 11856555"/>
              <a:gd name="connsiteY2496" fmla="*/ 942359 h 4071735"/>
              <a:gd name="connsiteX2497" fmla="*/ 3938616 w 11856555"/>
              <a:gd name="connsiteY2497" fmla="*/ 941707 h 4071735"/>
              <a:gd name="connsiteX2498" fmla="*/ 3999182 w 11856555"/>
              <a:gd name="connsiteY2498" fmla="*/ 930789 h 4071735"/>
              <a:gd name="connsiteX2499" fmla="*/ 4338097 w 11856555"/>
              <a:gd name="connsiteY2499" fmla="*/ 856781 h 4071735"/>
              <a:gd name="connsiteX2500" fmla="*/ 4315493 w 11856555"/>
              <a:gd name="connsiteY2500" fmla="*/ 814987 h 4071735"/>
              <a:gd name="connsiteX2501" fmla="*/ 4342233 w 11856555"/>
              <a:gd name="connsiteY2501" fmla="*/ 818445 h 4071735"/>
              <a:gd name="connsiteX2502" fmla="*/ 4518827 w 11856555"/>
              <a:gd name="connsiteY2502" fmla="*/ 808551 h 4071735"/>
              <a:gd name="connsiteX2503" fmla="*/ 4848445 w 11856555"/>
              <a:gd name="connsiteY2503" fmla="*/ 714927 h 4071735"/>
              <a:gd name="connsiteX2504" fmla="*/ 4882323 w 11856555"/>
              <a:gd name="connsiteY2504" fmla="*/ 737936 h 4071735"/>
              <a:gd name="connsiteX2505" fmla="*/ 4882730 w 11856555"/>
              <a:gd name="connsiteY2505" fmla="*/ 737459 h 4071735"/>
              <a:gd name="connsiteX2506" fmla="*/ 4885173 w 11856555"/>
              <a:gd name="connsiteY2506" fmla="*/ 743049 h 4071735"/>
              <a:gd name="connsiteX2507" fmla="*/ 4904574 w 11856555"/>
              <a:gd name="connsiteY2507" fmla="*/ 730369 h 4071735"/>
              <a:gd name="connsiteX2508" fmla="*/ 4884832 w 11856555"/>
              <a:gd name="connsiteY2508" fmla="*/ 734994 h 4071735"/>
              <a:gd name="connsiteX2509" fmla="*/ 4898593 w 11856555"/>
              <a:gd name="connsiteY2509" fmla="*/ 718855 h 4071735"/>
              <a:gd name="connsiteX2510" fmla="*/ 4984928 w 11856555"/>
              <a:gd name="connsiteY2510" fmla="*/ 699844 h 4071735"/>
              <a:gd name="connsiteX2511" fmla="*/ 4957280 w 11856555"/>
              <a:gd name="connsiteY2511" fmla="*/ 728593 h 4071735"/>
              <a:gd name="connsiteX2512" fmla="*/ 5016257 w 11856555"/>
              <a:gd name="connsiteY2512" fmla="*/ 691211 h 4071735"/>
              <a:gd name="connsiteX2513" fmla="*/ 5000623 w 11856555"/>
              <a:gd name="connsiteY2513" fmla="*/ 727650 h 4071735"/>
              <a:gd name="connsiteX2514" fmla="*/ 5580536 w 11856555"/>
              <a:gd name="connsiteY2514" fmla="*/ 582519 h 4071735"/>
              <a:gd name="connsiteX2515" fmla="*/ 5555410 w 11856555"/>
              <a:gd name="connsiteY2515" fmla="*/ 575996 h 4071735"/>
              <a:gd name="connsiteX2516" fmla="*/ 5576823 w 11856555"/>
              <a:gd name="connsiteY2516" fmla="*/ 565143 h 4071735"/>
              <a:gd name="connsiteX2517" fmla="*/ 5575756 w 11856555"/>
              <a:gd name="connsiteY2517" fmla="*/ 571262 h 4071735"/>
              <a:gd name="connsiteX2518" fmla="*/ 5706753 w 11856555"/>
              <a:gd name="connsiteY2518" fmla="*/ 515782 h 4071735"/>
              <a:gd name="connsiteX2519" fmla="*/ 5754357 w 11856555"/>
              <a:gd name="connsiteY2519" fmla="*/ 520301 h 4071735"/>
              <a:gd name="connsiteX2520" fmla="*/ 5732587 w 11856555"/>
              <a:gd name="connsiteY2520" fmla="*/ 551446 h 4071735"/>
              <a:gd name="connsiteX2521" fmla="*/ 5863907 w 11856555"/>
              <a:gd name="connsiteY2521" fmla="*/ 478415 h 4071735"/>
              <a:gd name="connsiteX2522" fmla="*/ 5903760 w 11856555"/>
              <a:gd name="connsiteY2522" fmla="*/ 480704 h 4071735"/>
              <a:gd name="connsiteX2523" fmla="*/ 5863974 w 11856555"/>
              <a:gd name="connsiteY2523" fmla="*/ 457964 h 4071735"/>
              <a:gd name="connsiteX2524" fmla="*/ 6075330 w 11856555"/>
              <a:gd name="connsiteY2524" fmla="*/ 443237 h 4071735"/>
              <a:gd name="connsiteX2525" fmla="*/ 6089725 w 11856555"/>
              <a:gd name="connsiteY2525" fmla="*/ 443990 h 4071735"/>
              <a:gd name="connsiteX2526" fmla="*/ 6077351 w 11856555"/>
              <a:gd name="connsiteY2526" fmla="*/ 447712 h 4071735"/>
              <a:gd name="connsiteX2527" fmla="*/ 6064334 w 11856555"/>
              <a:gd name="connsiteY2527" fmla="*/ 460554 h 4071735"/>
              <a:gd name="connsiteX2528" fmla="*/ 6081033 w 11856555"/>
              <a:gd name="connsiteY2528" fmla="*/ 457240 h 4071735"/>
              <a:gd name="connsiteX2529" fmla="*/ 6090786 w 11856555"/>
              <a:gd name="connsiteY2529" fmla="*/ 444045 h 4071735"/>
              <a:gd name="connsiteX2530" fmla="*/ 6108258 w 11856555"/>
              <a:gd name="connsiteY2530" fmla="*/ 444958 h 4071735"/>
              <a:gd name="connsiteX2531" fmla="*/ 6255920 w 11856555"/>
              <a:gd name="connsiteY2531" fmla="*/ 364629 h 4071735"/>
              <a:gd name="connsiteX2532" fmla="*/ 6120081 w 11856555"/>
              <a:gd name="connsiteY2532" fmla="*/ 429302 h 4071735"/>
              <a:gd name="connsiteX2533" fmla="*/ 6399325 w 11856555"/>
              <a:gd name="connsiteY2533" fmla="*/ 262711 h 4071735"/>
              <a:gd name="connsiteX2534" fmla="*/ 6414887 w 11856555"/>
              <a:gd name="connsiteY2534" fmla="*/ 262848 h 4071735"/>
              <a:gd name="connsiteX2535" fmla="*/ 6390596 w 11856555"/>
              <a:gd name="connsiteY2535" fmla="*/ 329263 h 4071735"/>
              <a:gd name="connsiteX2536" fmla="*/ 6700768 w 11856555"/>
              <a:gd name="connsiteY2536" fmla="*/ 292863 h 4071735"/>
              <a:gd name="connsiteX2537" fmla="*/ 6697490 w 11856555"/>
              <a:gd name="connsiteY2537" fmla="*/ 300086 h 4071735"/>
              <a:gd name="connsiteX2538" fmla="*/ 6693793 w 11856555"/>
              <a:gd name="connsiteY2538" fmla="*/ 301332 h 4071735"/>
              <a:gd name="connsiteX2539" fmla="*/ 6681197 w 11856555"/>
              <a:gd name="connsiteY2539" fmla="*/ 306288 h 4071735"/>
              <a:gd name="connsiteX2540" fmla="*/ 6693865 w 11856555"/>
              <a:gd name="connsiteY2540" fmla="*/ 308079 h 4071735"/>
              <a:gd name="connsiteX2541" fmla="*/ 6697490 w 11856555"/>
              <a:gd name="connsiteY2541" fmla="*/ 300086 h 4071735"/>
              <a:gd name="connsiteX2542" fmla="*/ 6713670 w 11856555"/>
              <a:gd name="connsiteY2542" fmla="*/ 294633 h 4071735"/>
              <a:gd name="connsiteX2543" fmla="*/ 6749728 w 11856555"/>
              <a:gd name="connsiteY2543" fmla="*/ 291420 h 4071735"/>
              <a:gd name="connsiteX2544" fmla="*/ 6730284 w 11856555"/>
              <a:gd name="connsiteY2544" fmla="*/ 348642 h 4071735"/>
              <a:gd name="connsiteX2545" fmla="*/ 6911145 w 11856555"/>
              <a:gd name="connsiteY2545" fmla="*/ 259513 h 4071735"/>
              <a:gd name="connsiteX2546" fmla="*/ 6873034 w 11856555"/>
              <a:gd name="connsiteY2546" fmla="*/ 297955 h 4071735"/>
              <a:gd name="connsiteX2547" fmla="*/ 6941759 w 11856555"/>
              <a:gd name="connsiteY2547" fmla="*/ 306433 h 4071735"/>
              <a:gd name="connsiteX2548" fmla="*/ 7233392 w 11856555"/>
              <a:gd name="connsiteY2548" fmla="*/ 295048 h 4071735"/>
              <a:gd name="connsiteX2549" fmla="*/ 6957899 w 11856555"/>
              <a:gd name="connsiteY2549" fmla="*/ 445179 h 4071735"/>
              <a:gd name="connsiteX2550" fmla="*/ 6692678 w 11856555"/>
              <a:gd name="connsiteY2550" fmla="*/ 562268 h 4071735"/>
              <a:gd name="connsiteX2551" fmla="*/ 6773675 w 11856555"/>
              <a:gd name="connsiteY2551" fmla="*/ 581335 h 4071735"/>
              <a:gd name="connsiteX2552" fmla="*/ 6971841 w 11856555"/>
              <a:gd name="connsiteY2552" fmla="*/ 601642 h 4071735"/>
              <a:gd name="connsiteX2553" fmla="*/ 6746023 w 11856555"/>
              <a:gd name="connsiteY2553" fmla="*/ 694777 h 4071735"/>
              <a:gd name="connsiteX2554" fmla="*/ 6678266 w 11856555"/>
              <a:gd name="connsiteY2554" fmla="*/ 718338 h 4071735"/>
              <a:gd name="connsiteX2555" fmla="*/ 6593000 w 11856555"/>
              <a:gd name="connsiteY2555" fmla="*/ 778505 h 4071735"/>
              <a:gd name="connsiteX2556" fmla="*/ 6627041 w 11856555"/>
              <a:gd name="connsiteY2556" fmla="*/ 757948 h 4071735"/>
              <a:gd name="connsiteX2557" fmla="*/ 6616705 w 11856555"/>
              <a:gd name="connsiteY2557" fmla="*/ 811438 h 4071735"/>
              <a:gd name="connsiteX2558" fmla="*/ 6892906 w 11856555"/>
              <a:gd name="connsiteY2558" fmla="*/ 690449 h 4071735"/>
              <a:gd name="connsiteX2559" fmla="*/ 6977906 w 11856555"/>
              <a:gd name="connsiteY2559" fmla="*/ 712080 h 4071735"/>
              <a:gd name="connsiteX2560" fmla="*/ 7070532 w 11856555"/>
              <a:gd name="connsiteY2560" fmla="*/ 692145 h 4071735"/>
              <a:gd name="connsiteX2561" fmla="*/ 7207016 w 11856555"/>
              <a:gd name="connsiteY2561" fmla="*/ 677061 h 4071735"/>
              <a:gd name="connsiteX2562" fmla="*/ 7179369 w 11856555"/>
              <a:gd name="connsiteY2562" fmla="*/ 705809 h 4071735"/>
              <a:gd name="connsiteX2563" fmla="*/ 7238344 w 11856555"/>
              <a:gd name="connsiteY2563" fmla="*/ 668429 h 4071735"/>
              <a:gd name="connsiteX2564" fmla="*/ 7222710 w 11856555"/>
              <a:gd name="connsiteY2564" fmla="*/ 704868 h 4071735"/>
              <a:gd name="connsiteX2565" fmla="*/ 7802623 w 11856555"/>
              <a:gd name="connsiteY2565" fmla="*/ 559735 h 4071735"/>
              <a:gd name="connsiteX2566" fmla="*/ 7777498 w 11856555"/>
              <a:gd name="connsiteY2566" fmla="*/ 553214 h 4071735"/>
              <a:gd name="connsiteX2567" fmla="*/ 7798912 w 11856555"/>
              <a:gd name="connsiteY2567" fmla="*/ 542360 h 4071735"/>
              <a:gd name="connsiteX2568" fmla="*/ 7797845 w 11856555"/>
              <a:gd name="connsiteY2568" fmla="*/ 548480 h 4071735"/>
              <a:gd name="connsiteX2569" fmla="*/ 7928840 w 11856555"/>
              <a:gd name="connsiteY2569" fmla="*/ 492999 h 4071735"/>
              <a:gd name="connsiteX2570" fmla="*/ 7976445 w 11856555"/>
              <a:gd name="connsiteY2570" fmla="*/ 497519 h 4071735"/>
              <a:gd name="connsiteX2571" fmla="*/ 7954675 w 11856555"/>
              <a:gd name="connsiteY2571" fmla="*/ 528663 h 4071735"/>
              <a:gd name="connsiteX2572" fmla="*/ 8085995 w 11856555"/>
              <a:gd name="connsiteY2572" fmla="*/ 455631 h 4071735"/>
              <a:gd name="connsiteX2573" fmla="*/ 8125848 w 11856555"/>
              <a:gd name="connsiteY2573" fmla="*/ 457921 h 4071735"/>
              <a:gd name="connsiteX2574" fmla="*/ 8086061 w 11856555"/>
              <a:gd name="connsiteY2574" fmla="*/ 435182 h 4071735"/>
              <a:gd name="connsiteX2575" fmla="*/ 8297418 w 11856555"/>
              <a:gd name="connsiteY2575" fmla="*/ 420455 h 4071735"/>
              <a:gd name="connsiteX2576" fmla="*/ 8316481 w 11856555"/>
              <a:gd name="connsiteY2576" fmla="*/ 420595 h 4071735"/>
              <a:gd name="connsiteX2577" fmla="*/ 8303185 w 11856555"/>
              <a:gd name="connsiteY2577" fmla="*/ 424596 h 4071735"/>
              <a:gd name="connsiteX2578" fmla="*/ 8290169 w 11856555"/>
              <a:gd name="connsiteY2578" fmla="*/ 437437 h 4071735"/>
              <a:gd name="connsiteX2579" fmla="*/ 8306866 w 11856555"/>
              <a:gd name="connsiteY2579" fmla="*/ 434125 h 4071735"/>
              <a:gd name="connsiteX2580" fmla="*/ 8316864 w 11856555"/>
              <a:gd name="connsiteY2580" fmla="*/ 420598 h 4071735"/>
              <a:gd name="connsiteX2581" fmla="*/ 8321909 w 11856555"/>
              <a:gd name="connsiteY2581" fmla="*/ 420634 h 4071735"/>
              <a:gd name="connsiteX2582" fmla="*/ 8330347 w 11856555"/>
              <a:gd name="connsiteY2582" fmla="*/ 422175 h 4071735"/>
              <a:gd name="connsiteX2583" fmla="*/ 8478008 w 11856555"/>
              <a:gd name="connsiteY2583" fmla="*/ 341845 h 4071735"/>
              <a:gd name="connsiteX2584" fmla="*/ 8342167 w 11856555"/>
              <a:gd name="connsiteY2584" fmla="*/ 406519 h 4071735"/>
              <a:gd name="connsiteX2585" fmla="*/ 8636976 w 11856555"/>
              <a:gd name="connsiteY2585" fmla="*/ 240065 h 4071735"/>
              <a:gd name="connsiteX2586" fmla="*/ 8612685 w 11856555"/>
              <a:gd name="connsiteY2586" fmla="*/ 306481 h 4071735"/>
              <a:gd name="connsiteX2587" fmla="*/ 8922856 w 11856555"/>
              <a:gd name="connsiteY2587" fmla="*/ 270080 h 4071735"/>
              <a:gd name="connsiteX2588" fmla="*/ 8919578 w 11856555"/>
              <a:gd name="connsiteY2588" fmla="*/ 277304 h 4071735"/>
              <a:gd name="connsiteX2589" fmla="*/ 8915882 w 11856555"/>
              <a:gd name="connsiteY2589" fmla="*/ 278550 h 4071735"/>
              <a:gd name="connsiteX2590" fmla="*/ 8903284 w 11856555"/>
              <a:gd name="connsiteY2590" fmla="*/ 283506 h 4071735"/>
              <a:gd name="connsiteX2591" fmla="*/ 8915951 w 11856555"/>
              <a:gd name="connsiteY2591" fmla="*/ 285297 h 4071735"/>
              <a:gd name="connsiteX2592" fmla="*/ 8919578 w 11856555"/>
              <a:gd name="connsiteY2592" fmla="*/ 277304 h 4071735"/>
              <a:gd name="connsiteX2593" fmla="*/ 8935758 w 11856555"/>
              <a:gd name="connsiteY2593" fmla="*/ 271850 h 4071735"/>
              <a:gd name="connsiteX2594" fmla="*/ 8971816 w 11856555"/>
              <a:gd name="connsiteY2594" fmla="*/ 268637 h 4071735"/>
              <a:gd name="connsiteX2595" fmla="*/ 8952370 w 11856555"/>
              <a:gd name="connsiteY2595" fmla="*/ 325859 h 4071735"/>
              <a:gd name="connsiteX2596" fmla="*/ 9133233 w 11856555"/>
              <a:gd name="connsiteY2596" fmla="*/ 236731 h 4071735"/>
              <a:gd name="connsiteX2597" fmla="*/ 9095122 w 11856555"/>
              <a:gd name="connsiteY2597" fmla="*/ 275172 h 4071735"/>
              <a:gd name="connsiteX2598" fmla="*/ 9163848 w 11856555"/>
              <a:gd name="connsiteY2598" fmla="*/ 283651 h 4071735"/>
              <a:gd name="connsiteX2599" fmla="*/ 9455480 w 11856555"/>
              <a:gd name="connsiteY2599" fmla="*/ 272266 h 4071735"/>
              <a:gd name="connsiteX2600" fmla="*/ 9179987 w 11856555"/>
              <a:gd name="connsiteY2600" fmla="*/ 422395 h 4071735"/>
              <a:gd name="connsiteX2601" fmla="*/ 8914766 w 11856555"/>
              <a:gd name="connsiteY2601" fmla="*/ 539485 h 4071735"/>
              <a:gd name="connsiteX2602" fmla="*/ 8922044 w 11856555"/>
              <a:gd name="connsiteY2602" fmla="*/ 547184 h 4071735"/>
              <a:gd name="connsiteX2603" fmla="*/ 8917672 w 11856555"/>
              <a:gd name="connsiteY2603" fmla="*/ 550908 h 4071735"/>
              <a:gd name="connsiteX2604" fmla="*/ 8933258 w 11856555"/>
              <a:gd name="connsiteY2604" fmla="*/ 558965 h 4071735"/>
              <a:gd name="connsiteX2605" fmla="*/ 8932666 w 11856555"/>
              <a:gd name="connsiteY2605" fmla="*/ 556093 h 4071735"/>
              <a:gd name="connsiteX2606" fmla="*/ 8957148 w 11856555"/>
              <a:gd name="connsiteY2606" fmla="*/ 557248 h 4071735"/>
              <a:gd name="connsiteX2607" fmla="*/ 9124692 w 11856555"/>
              <a:gd name="connsiteY2607" fmla="*/ 479892 h 4071735"/>
              <a:gd name="connsiteX2608" fmla="*/ 9261176 w 11856555"/>
              <a:gd name="connsiteY2608" fmla="*/ 464808 h 4071735"/>
              <a:gd name="connsiteX2609" fmla="*/ 9233529 w 11856555"/>
              <a:gd name="connsiteY2609" fmla="*/ 493556 h 4071735"/>
              <a:gd name="connsiteX2610" fmla="*/ 9292505 w 11856555"/>
              <a:gd name="connsiteY2610" fmla="*/ 456176 h 4071735"/>
              <a:gd name="connsiteX2611" fmla="*/ 9276871 w 11856555"/>
              <a:gd name="connsiteY2611" fmla="*/ 492615 h 4071735"/>
              <a:gd name="connsiteX2612" fmla="*/ 9856784 w 11856555"/>
              <a:gd name="connsiteY2612" fmla="*/ 347482 h 4071735"/>
              <a:gd name="connsiteX2613" fmla="*/ 9831658 w 11856555"/>
              <a:gd name="connsiteY2613" fmla="*/ 340961 h 4071735"/>
              <a:gd name="connsiteX2614" fmla="*/ 9853069 w 11856555"/>
              <a:gd name="connsiteY2614" fmla="*/ 330108 h 4071735"/>
              <a:gd name="connsiteX2615" fmla="*/ 9852004 w 11856555"/>
              <a:gd name="connsiteY2615" fmla="*/ 336227 h 4071735"/>
              <a:gd name="connsiteX2616" fmla="*/ 9983000 w 11856555"/>
              <a:gd name="connsiteY2616" fmla="*/ 280747 h 4071735"/>
              <a:gd name="connsiteX2617" fmla="*/ 10030604 w 11856555"/>
              <a:gd name="connsiteY2617" fmla="*/ 285267 h 4071735"/>
              <a:gd name="connsiteX2618" fmla="*/ 10008836 w 11856555"/>
              <a:gd name="connsiteY2618" fmla="*/ 316412 h 4071735"/>
              <a:gd name="connsiteX2619" fmla="*/ 10140155 w 11856555"/>
              <a:gd name="connsiteY2619" fmla="*/ 243378 h 4071735"/>
              <a:gd name="connsiteX2620" fmla="*/ 10180008 w 11856555"/>
              <a:gd name="connsiteY2620" fmla="*/ 245669 h 4071735"/>
              <a:gd name="connsiteX2621" fmla="*/ 10140220 w 11856555"/>
              <a:gd name="connsiteY2621" fmla="*/ 222929 h 4071735"/>
              <a:gd name="connsiteX2622" fmla="*/ 10351579 w 11856555"/>
              <a:gd name="connsiteY2622" fmla="*/ 208202 h 4071735"/>
              <a:gd name="connsiteX2623" fmla="*/ 10373221 w 11856555"/>
              <a:gd name="connsiteY2623" fmla="*/ 208360 h 4071735"/>
              <a:gd name="connsiteX2624" fmla="*/ 10361093 w 11856555"/>
              <a:gd name="connsiteY2624" fmla="*/ 212010 h 4071735"/>
              <a:gd name="connsiteX2625" fmla="*/ 10348078 w 11856555"/>
              <a:gd name="connsiteY2625" fmla="*/ 224851 h 4071735"/>
              <a:gd name="connsiteX2626" fmla="*/ 10364774 w 11856555"/>
              <a:gd name="connsiteY2626" fmla="*/ 221538 h 4071735"/>
              <a:gd name="connsiteX2627" fmla="*/ 10374507 w 11856555"/>
              <a:gd name="connsiteY2627" fmla="*/ 208370 h 4071735"/>
              <a:gd name="connsiteX2628" fmla="*/ 10376069 w 11856555"/>
              <a:gd name="connsiteY2628" fmla="*/ 208382 h 4071735"/>
              <a:gd name="connsiteX2629" fmla="*/ 10384507 w 11856555"/>
              <a:gd name="connsiteY2629" fmla="*/ 209922 h 4071735"/>
              <a:gd name="connsiteX2630" fmla="*/ 10532168 w 11856555"/>
              <a:gd name="connsiteY2630" fmla="*/ 129593 h 4071735"/>
              <a:gd name="connsiteX2631" fmla="*/ 10396329 w 11856555"/>
              <a:gd name="connsiteY2631" fmla="*/ 194266 h 4071735"/>
              <a:gd name="connsiteX2632" fmla="*/ 10691135 w 11856555"/>
              <a:gd name="connsiteY2632" fmla="*/ 27813 h 4071735"/>
              <a:gd name="connsiteX2633" fmla="*/ 10666845 w 11856555"/>
              <a:gd name="connsiteY2633" fmla="*/ 94228 h 4071735"/>
              <a:gd name="connsiteX2634" fmla="*/ 10977017 w 11856555"/>
              <a:gd name="connsiteY2634" fmla="*/ 57827 h 4071735"/>
              <a:gd name="connsiteX2635" fmla="*/ 10973739 w 11856555"/>
              <a:gd name="connsiteY2635" fmla="*/ 65051 h 4071735"/>
              <a:gd name="connsiteX2636" fmla="*/ 10970044 w 11856555"/>
              <a:gd name="connsiteY2636" fmla="*/ 66298 h 4071735"/>
              <a:gd name="connsiteX2637" fmla="*/ 10957445 w 11856555"/>
              <a:gd name="connsiteY2637" fmla="*/ 71253 h 4071735"/>
              <a:gd name="connsiteX2638" fmla="*/ 10970113 w 11856555"/>
              <a:gd name="connsiteY2638" fmla="*/ 73045 h 4071735"/>
              <a:gd name="connsiteX2639" fmla="*/ 10973739 w 11856555"/>
              <a:gd name="connsiteY2639" fmla="*/ 65051 h 4071735"/>
              <a:gd name="connsiteX2640" fmla="*/ 10989918 w 11856555"/>
              <a:gd name="connsiteY2640" fmla="*/ 59598 h 4071735"/>
              <a:gd name="connsiteX2641" fmla="*/ 11025976 w 11856555"/>
              <a:gd name="connsiteY2641" fmla="*/ 56385 h 4071735"/>
              <a:gd name="connsiteX2642" fmla="*/ 11006532 w 11856555"/>
              <a:gd name="connsiteY2642" fmla="*/ 113606 h 4071735"/>
              <a:gd name="connsiteX2643" fmla="*/ 11187393 w 11856555"/>
              <a:gd name="connsiteY2643" fmla="*/ 24478 h 4071735"/>
              <a:gd name="connsiteX2644" fmla="*/ 11149282 w 11856555"/>
              <a:gd name="connsiteY2644" fmla="*/ 62919 h 4071735"/>
              <a:gd name="connsiteX2645" fmla="*/ 11264419 w 11856555"/>
              <a:gd name="connsiteY2645" fmla="*/ 40 h 407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Lst>
            <a:rect l="l" t="t" r="r" b="b"/>
            <a:pathLst>
              <a:path w="11856555" h="4071735">
                <a:moveTo>
                  <a:pt x="560809" y="3976978"/>
                </a:moveTo>
                <a:lnTo>
                  <a:pt x="563867" y="3984634"/>
                </a:lnTo>
                <a:cubicBezTo>
                  <a:pt x="564188" y="3990538"/>
                  <a:pt x="560602" y="3992682"/>
                  <a:pt x="550123" y="3986314"/>
                </a:cubicBezTo>
                <a:close/>
                <a:moveTo>
                  <a:pt x="2789873" y="3947733"/>
                </a:moveTo>
                <a:lnTo>
                  <a:pt x="2792933" y="3955388"/>
                </a:lnTo>
                <a:cubicBezTo>
                  <a:pt x="2793251" y="3961292"/>
                  <a:pt x="2789667" y="3963436"/>
                  <a:pt x="2779189" y="3957068"/>
                </a:cubicBezTo>
                <a:close/>
                <a:moveTo>
                  <a:pt x="539016" y="3942128"/>
                </a:moveTo>
                <a:cubicBezTo>
                  <a:pt x="541006" y="3943091"/>
                  <a:pt x="543513" y="3945492"/>
                  <a:pt x="546164" y="3948735"/>
                </a:cubicBezTo>
                <a:lnTo>
                  <a:pt x="546561" y="3949311"/>
                </a:lnTo>
                <a:lnTo>
                  <a:pt x="536302" y="3958341"/>
                </a:lnTo>
                <a:cubicBezTo>
                  <a:pt x="533136" y="3944020"/>
                  <a:pt x="535038" y="3940199"/>
                  <a:pt x="539016" y="3942128"/>
                </a:cubicBezTo>
                <a:close/>
                <a:moveTo>
                  <a:pt x="596445" y="3938116"/>
                </a:moveTo>
                <a:lnTo>
                  <a:pt x="603219" y="3946538"/>
                </a:lnTo>
                <a:cubicBezTo>
                  <a:pt x="602412" y="3948070"/>
                  <a:pt x="600660" y="3946947"/>
                  <a:pt x="598823" y="3944875"/>
                </a:cubicBezTo>
                <a:lnTo>
                  <a:pt x="595293" y="3939573"/>
                </a:lnTo>
                <a:close/>
                <a:moveTo>
                  <a:pt x="1448542" y="3927428"/>
                </a:moveTo>
                <a:cubicBezTo>
                  <a:pt x="1444626" y="3928508"/>
                  <a:pt x="1441137" y="3931739"/>
                  <a:pt x="1438974" y="3939233"/>
                </a:cubicBezTo>
                <a:cubicBezTo>
                  <a:pt x="1446981" y="3944360"/>
                  <a:pt x="1461710" y="3940127"/>
                  <a:pt x="1460677" y="3928537"/>
                </a:cubicBezTo>
                <a:cubicBezTo>
                  <a:pt x="1456802" y="3927423"/>
                  <a:pt x="1452456" y="3926349"/>
                  <a:pt x="1448542" y="3927428"/>
                </a:cubicBezTo>
                <a:close/>
                <a:moveTo>
                  <a:pt x="889638" y="3924201"/>
                </a:moveTo>
                <a:lnTo>
                  <a:pt x="892720" y="3932422"/>
                </a:lnTo>
                <a:cubicBezTo>
                  <a:pt x="892447" y="3934637"/>
                  <a:pt x="891368" y="3931812"/>
                  <a:pt x="890064" y="3926452"/>
                </a:cubicBezTo>
                <a:close/>
                <a:moveTo>
                  <a:pt x="888753" y="3919522"/>
                </a:moveTo>
                <a:lnTo>
                  <a:pt x="889638" y="3924201"/>
                </a:lnTo>
                <a:lnTo>
                  <a:pt x="888058" y="3919986"/>
                </a:lnTo>
                <a:close/>
                <a:moveTo>
                  <a:pt x="2821465" y="3913984"/>
                </a:moveTo>
                <a:lnTo>
                  <a:pt x="2829056" y="3923420"/>
                </a:lnTo>
                <a:cubicBezTo>
                  <a:pt x="2828248" y="3924952"/>
                  <a:pt x="2826495" y="3923831"/>
                  <a:pt x="2824658" y="3921758"/>
                </a:cubicBezTo>
                <a:lnTo>
                  <a:pt x="2820389" y="3915345"/>
                </a:lnTo>
                <a:close/>
                <a:moveTo>
                  <a:pt x="3681645" y="3913001"/>
                </a:moveTo>
                <a:lnTo>
                  <a:pt x="3679049" y="3917039"/>
                </a:lnTo>
                <a:lnTo>
                  <a:pt x="3670491" y="3916485"/>
                </a:lnTo>
                <a:close/>
                <a:moveTo>
                  <a:pt x="2768082" y="3912883"/>
                </a:moveTo>
                <a:cubicBezTo>
                  <a:pt x="2770070" y="3913847"/>
                  <a:pt x="2772578" y="3916247"/>
                  <a:pt x="2775228" y="3919489"/>
                </a:cubicBezTo>
                <a:lnTo>
                  <a:pt x="2775626" y="3920066"/>
                </a:lnTo>
                <a:lnTo>
                  <a:pt x="2765366" y="3929096"/>
                </a:lnTo>
                <a:cubicBezTo>
                  <a:pt x="2762203" y="3914776"/>
                  <a:pt x="2764105" y="3910955"/>
                  <a:pt x="2768082" y="3912883"/>
                </a:cubicBezTo>
                <a:close/>
                <a:moveTo>
                  <a:pt x="3118704" y="3894956"/>
                </a:moveTo>
                <a:lnTo>
                  <a:pt x="3121786" y="3903176"/>
                </a:lnTo>
                <a:cubicBezTo>
                  <a:pt x="3121513" y="3905391"/>
                  <a:pt x="3120435" y="3902566"/>
                  <a:pt x="3119130" y="3897207"/>
                </a:cubicBezTo>
                <a:close/>
                <a:moveTo>
                  <a:pt x="3117819" y="3890275"/>
                </a:moveTo>
                <a:lnTo>
                  <a:pt x="3118704" y="3894956"/>
                </a:lnTo>
                <a:lnTo>
                  <a:pt x="3117124" y="3890740"/>
                </a:lnTo>
                <a:close/>
                <a:moveTo>
                  <a:pt x="897285" y="3885652"/>
                </a:moveTo>
                <a:cubicBezTo>
                  <a:pt x="894209" y="3885562"/>
                  <a:pt x="890591" y="3887343"/>
                  <a:pt x="887491" y="3894920"/>
                </a:cubicBezTo>
                <a:cubicBezTo>
                  <a:pt x="895499" y="3900049"/>
                  <a:pt x="898470" y="3891022"/>
                  <a:pt x="903833" y="3887624"/>
                </a:cubicBezTo>
                <a:cubicBezTo>
                  <a:pt x="902896" y="3887707"/>
                  <a:pt x="900362" y="3885742"/>
                  <a:pt x="897285" y="3885652"/>
                </a:cubicBezTo>
                <a:close/>
                <a:moveTo>
                  <a:pt x="1666423" y="3876074"/>
                </a:moveTo>
                <a:lnTo>
                  <a:pt x="1665071" y="3883675"/>
                </a:lnTo>
                <a:cubicBezTo>
                  <a:pt x="1661850" y="3887247"/>
                  <a:pt x="1657297" y="3889114"/>
                  <a:pt x="1655035" y="3884934"/>
                </a:cubicBezTo>
                <a:lnTo>
                  <a:pt x="1657601" y="3878726"/>
                </a:lnTo>
                <a:close/>
                <a:moveTo>
                  <a:pt x="3114632" y="3870569"/>
                </a:moveTo>
                <a:lnTo>
                  <a:pt x="3114736" y="3871735"/>
                </a:lnTo>
                <a:lnTo>
                  <a:pt x="3113326" y="3871804"/>
                </a:lnTo>
                <a:close/>
                <a:moveTo>
                  <a:pt x="1184558" y="3857133"/>
                </a:moveTo>
                <a:cubicBezTo>
                  <a:pt x="1181078" y="3857808"/>
                  <a:pt x="1177994" y="3860274"/>
                  <a:pt x="1175701" y="3866318"/>
                </a:cubicBezTo>
                <a:cubicBezTo>
                  <a:pt x="1183710" y="3871444"/>
                  <a:pt x="1196564" y="3867378"/>
                  <a:pt x="1195790" y="3858686"/>
                </a:cubicBezTo>
                <a:cubicBezTo>
                  <a:pt x="1191913" y="3857571"/>
                  <a:pt x="1188037" y="3856458"/>
                  <a:pt x="1184558" y="3857133"/>
                </a:cubicBezTo>
                <a:close/>
                <a:moveTo>
                  <a:pt x="3890607" y="3847740"/>
                </a:moveTo>
                <a:lnTo>
                  <a:pt x="3892951" y="3849059"/>
                </a:lnTo>
                <a:cubicBezTo>
                  <a:pt x="3899085" y="3854353"/>
                  <a:pt x="3885392" y="3870176"/>
                  <a:pt x="3880870" y="3861818"/>
                </a:cubicBezTo>
                <a:cubicBezTo>
                  <a:pt x="3882484" y="3858754"/>
                  <a:pt x="3883907" y="3853516"/>
                  <a:pt x="3885723" y="3850068"/>
                </a:cubicBezTo>
                <a:lnTo>
                  <a:pt x="3886773" y="3848938"/>
                </a:lnTo>
                <a:close/>
                <a:moveTo>
                  <a:pt x="1249142" y="3834356"/>
                </a:moveTo>
                <a:cubicBezTo>
                  <a:pt x="1246924" y="3833961"/>
                  <a:pt x="1244840" y="3834420"/>
                  <a:pt x="1242781" y="3835151"/>
                </a:cubicBezTo>
                <a:cubicBezTo>
                  <a:pt x="1238664" y="3836612"/>
                  <a:pt x="1234643" y="3839161"/>
                  <a:pt x="1229829" y="3838129"/>
                </a:cubicBezTo>
                <a:cubicBezTo>
                  <a:pt x="1230862" y="3849720"/>
                  <a:pt x="1249337" y="3845154"/>
                  <a:pt x="1256312" y="3838691"/>
                </a:cubicBezTo>
                <a:cubicBezTo>
                  <a:pt x="1253714" y="3836002"/>
                  <a:pt x="1251361" y="3834752"/>
                  <a:pt x="1249142" y="3834356"/>
                </a:cubicBezTo>
                <a:close/>
                <a:moveTo>
                  <a:pt x="3410394" y="3834015"/>
                </a:moveTo>
                <a:cubicBezTo>
                  <a:pt x="3406913" y="3834691"/>
                  <a:pt x="3403830" y="3837155"/>
                  <a:pt x="3401536" y="3843201"/>
                </a:cubicBezTo>
                <a:cubicBezTo>
                  <a:pt x="3409547" y="3848328"/>
                  <a:pt x="3422397" y="3844263"/>
                  <a:pt x="3421625" y="3835571"/>
                </a:cubicBezTo>
                <a:cubicBezTo>
                  <a:pt x="3417751" y="3834455"/>
                  <a:pt x="3413876" y="3833340"/>
                  <a:pt x="3410394" y="3834015"/>
                </a:cubicBezTo>
                <a:close/>
                <a:moveTo>
                  <a:pt x="1347352" y="3818970"/>
                </a:moveTo>
                <a:lnTo>
                  <a:pt x="1358563" y="3820818"/>
                </a:lnTo>
                <a:cubicBezTo>
                  <a:pt x="1353717" y="3830010"/>
                  <a:pt x="1345967" y="3827780"/>
                  <a:pt x="1336343" y="3825718"/>
                </a:cubicBezTo>
                <a:lnTo>
                  <a:pt x="1345038" y="3820209"/>
                </a:lnTo>
                <a:close/>
                <a:moveTo>
                  <a:pt x="3474974" y="3811240"/>
                </a:moveTo>
                <a:cubicBezTo>
                  <a:pt x="3472758" y="3810845"/>
                  <a:pt x="3470675" y="3811304"/>
                  <a:pt x="3468618" y="3812035"/>
                </a:cubicBezTo>
                <a:cubicBezTo>
                  <a:pt x="3464498" y="3813496"/>
                  <a:pt x="3460477" y="3816045"/>
                  <a:pt x="3455667" y="3815013"/>
                </a:cubicBezTo>
                <a:cubicBezTo>
                  <a:pt x="3456699" y="3826603"/>
                  <a:pt x="3475171" y="3822037"/>
                  <a:pt x="3482146" y="3815575"/>
                </a:cubicBezTo>
                <a:cubicBezTo>
                  <a:pt x="3479549" y="3812886"/>
                  <a:pt x="3477196" y="3811636"/>
                  <a:pt x="3474974" y="3811240"/>
                </a:cubicBezTo>
                <a:close/>
                <a:moveTo>
                  <a:pt x="1400362" y="3799089"/>
                </a:moveTo>
                <a:lnTo>
                  <a:pt x="1400988" y="3799400"/>
                </a:lnTo>
                <a:lnTo>
                  <a:pt x="1400096" y="3799594"/>
                </a:lnTo>
                <a:close/>
                <a:moveTo>
                  <a:pt x="3572901" y="3795806"/>
                </a:moveTo>
                <a:cubicBezTo>
                  <a:pt x="3576709" y="3796196"/>
                  <a:pt x="3580650" y="3798036"/>
                  <a:pt x="3584396" y="3797702"/>
                </a:cubicBezTo>
                <a:cubicBezTo>
                  <a:pt x="3579552" y="3806895"/>
                  <a:pt x="3571802" y="3804664"/>
                  <a:pt x="3562180" y="3802601"/>
                </a:cubicBezTo>
                <a:cubicBezTo>
                  <a:pt x="3565407" y="3796473"/>
                  <a:pt x="3569089" y="3795414"/>
                  <a:pt x="3572901" y="3795806"/>
                </a:cubicBezTo>
                <a:close/>
                <a:moveTo>
                  <a:pt x="3629765" y="3769203"/>
                </a:moveTo>
                <a:lnTo>
                  <a:pt x="3637977" y="3772819"/>
                </a:lnTo>
                <a:lnTo>
                  <a:pt x="3637276" y="3774006"/>
                </a:lnTo>
                <a:cubicBezTo>
                  <a:pt x="3633425" y="3775810"/>
                  <a:pt x="3628743" y="3776227"/>
                  <a:pt x="3625930" y="3776478"/>
                </a:cubicBezTo>
                <a:close/>
                <a:moveTo>
                  <a:pt x="1746374" y="3765817"/>
                </a:moveTo>
                <a:cubicBezTo>
                  <a:pt x="1740755" y="3766318"/>
                  <a:pt x="1735135" y="3766818"/>
                  <a:pt x="1730291" y="3776011"/>
                </a:cubicBezTo>
                <a:cubicBezTo>
                  <a:pt x="1738300" y="3781139"/>
                  <a:pt x="1741273" y="3772112"/>
                  <a:pt x="1746374" y="3765817"/>
                </a:cubicBezTo>
                <a:close/>
                <a:moveTo>
                  <a:pt x="1545496" y="3757433"/>
                </a:moveTo>
                <a:cubicBezTo>
                  <a:pt x="1541491" y="3754869"/>
                  <a:pt x="1538277" y="3755885"/>
                  <a:pt x="1535363" y="3757606"/>
                </a:cubicBezTo>
                <a:cubicBezTo>
                  <a:pt x="1532447" y="3759326"/>
                  <a:pt x="1529832" y="3761748"/>
                  <a:pt x="1527022" y="3761998"/>
                </a:cubicBezTo>
                <a:cubicBezTo>
                  <a:pt x="1517398" y="3759936"/>
                  <a:pt x="1543040" y="3772253"/>
                  <a:pt x="1545496" y="3757433"/>
                </a:cubicBezTo>
                <a:close/>
                <a:moveTo>
                  <a:pt x="1824630" y="3743511"/>
                </a:moveTo>
                <a:cubicBezTo>
                  <a:pt x="1821949" y="3745210"/>
                  <a:pt x="1820398" y="3748999"/>
                  <a:pt x="1820787" y="3753345"/>
                </a:cubicBezTo>
                <a:cubicBezTo>
                  <a:pt x="1826921" y="3758639"/>
                  <a:pt x="1832025" y="3752343"/>
                  <a:pt x="1835255" y="3746214"/>
                </a:cubicBezTo>
                <a:cubicBezTo>
                  <a:pt x="1831121" y="3742202"/>
                  <a:pt x="1827309" y="3741811"/>
                  <a:pt x="1824630" y="3743511"/>
                </a:cubicBezTo>
                <a:close/>
                <a:moveTo>
                  <a:pt x="3972211" y="3742700"/>
                </a:moveTo>
                <a:cubicBezTo>
                  <a:pt x="3966591" y="3743200"/>
                  <a:pt x="3960970" y="3743701"/>
                  <a:pt x="3956125" y="3752894"/>
                </a:cubicBezTo>
                <a:cubicBezTo>
                  <a:pt x="3964134" y="3758022"/>
                  <a:pt x="3967109" y="3748995"/>
                  <a:pt x="3972211" y="3742700"/>
                </a:cubicBezTo>
                <a:close/>
                <a:moveTo>
                  <a:pt x="3771332" y="3734315"/>
                </a:moveTo>
                <a:cubicBezTo>
                  <a:pt x="3767327" y="3731753"/>
                  <a:pt x="3764113" y="3732769"/>
                  <a:pt x="3761200" y="3734489"/>
                </a:cubicBezTo>
                <a:cubicBezTo>
                  <a:pt x="3758283" y="3736208"/>
                  <a:pt x="3755667" y="3738632"/>
                  <a:pt x="3752858" y="3738882"/>
                </a:cubicBezTo>
                <a:cubicBezTo>
                  <a:pt x="3743231" y="3736819"/>
                  <a:pt x="3768875" y="3749137"/>
                  <a:pt x="3771332" y="3734315"/>
                </a:cubicBezTo>
                <a:close/>
                <a:moveTo>
                  <a:pt x="1628439" y="3732154"/>
                </a:moveTo>
                <a:cubicBezTo>
                  <a:pt x="1621684" y="3733120"/>
                  <a:pt x="1616322" y="3736519"/>
                  <a:pt x="1616159" y="3745295"/>
                </a:cubicBezTo>
                <a:cubicBezTo>
                  <a:pt x="1626881" y="3738497"/>
                  <a:pt x="1638638" y="3743292"/>
                  <a:pt x="1649102" y="3733598"/>
                </a:cubicBezTo>
                <a:cubicBezTo>
                  <a:pt x="1643353" y="3732650"/>
                  <a:pt x="1635198" y="3731186"/>
                  <a:pt x="1628439" y="3732154"/>
                </a:cubicBezTo>
                <a:close/>
                <a:moveTo>
                  <a:pt x="4849395" y="3732081"/>
                </a:moveTo>
                <a:lnTo>
                  <a:pt x="4852454" y="3739737"/>
                </a:lnTo>
                <a:cubicBezTo>
                  <a:pt x="4852770" y="3745641"/>
                  <a:pt x="4849189" y="3747785"/>
                  <a:pt x="4838707" y="3741418"/>
                </a:cubicBezTo>
                <a:close/>
                <a:moveTo>
                  <a:pt x="4050463" y="3720395"/>
                </a:moveTo>
                <a:cubicBezTo>
                  <a:pt x="4047784" y="3722093"/>
                  <a:pt x="4046234" y="3725882"/>
                  <a:pt x="4046620" y="3730229"/>
                </a:cubicBezTo>
                <a:cubicBezTo>
                  <a:pt x="4052754" y="3735522"/>
                  <a:pt x="4057858" y="3729228"/>
                  <a:pt x="4061086" y="3723098"/>
                </a:cubicBezTo>
                <a:cubicBezTo>
                  <a:pt x="4056954" y="3719086"/>
                  <a:pt x="4053143" y="3718696"/>
                  <a:pt x="4050463" y="3720395"/>
                </a:cubicBezTo>
                <a:close/>
                <a:moveTo>
                  <a:pt x="1129668" y="3716227"/>
                </a:moveTo>
                <a:cubicBezTo>
                  <a:pt x="1128116" y="3715682"/>
                  <a:pt x="1126091" y="3716136"/>
                  <a:pt x="1123947" y="3717239"/>
                </a:cubicBezTo>
                <a:cubicBezTo>
                  <a:pt x="1119660" y="3719445"/>
                  <a:pt x="1114896" y="3724251"/>
                  <a:pt x="1112473" y="3728848"/>
                </a:cubicBezTo>
                <a:cubicBezTo>
                  <a:pt x="1120483" y="3733975"/>
                  <a:pt x="1127201" y="3724616"/>
                  <a:pt x="1132562" y="3721217"/>
                </a:cubicBezTo>
                <a:cubicBezTo>
                  <a:pt x="1132303" y="3718320"/>
                  <a:pt x="1131223" y="3716774"/>
                  <a:pt x="1129668" y="3716227"/>
                </a:cubicBezTo>
                <a:close/>
                <a:moveTo>
                  <a:pt x="3854276" y="3709037"/>
                </a:moveTo>
                <a:cubicBezTo>
                  <a:pt x="3847517" y="3710004"/>
                  <a:pt x="3842156" y="3713403"/>
                  <a:pt x="3841994" y="3722179"/>
                </a:cubicBezTo>
                <a:cubicBezTo>
                  <a:pt x="3852716" y="3715381"/>
                  <a:pt x="3864471" y="3720176"/>
                  <a:pt x="3874934" y="3710481"/>
                </a:cubicBezTo>
                <a:cubicBezTo>
                  <a:pt x="3869186" y="3709534"/>
                  <a:pt x="3861036" y="3708070"/>
                  <a:pt x="3854276" y="3709037"/>
                </a:cubicBezTo>
                <a:close/>
                <a:moveTo>
                  <a:pt x="1946545" y="3702667"/>
                </a:moveTo>
                <a:cubicBezTo>
                  <a:pt x="1935390" y="3704619"/>
                  <a:pt x="1943383" y="3730738"/>
                  <a:pt x="1964312" y="3711350"/>
                </a:cubicBezTo>
                <a:cubicBezTo>
                  <a:pt x="1956108" y="3704049"/>
                  <a:pt x="1950262" y="3702015"/>
                  <a:pt x="1946545" y="3702667"/>
                </a:cubicBezTo>
                <a:close/>
                <a:moveTo>
                  <a:pt x="1915785" y="3702521"/>
                </a:moveTo>
                <a:cubicBezTo>
                  <a:pt x="1915710" y="3699618"/>
                  <a:pt x="1908866" y="3722132"/>
                  <a:pt x="1901722" y="3708166"/>
                </a:cubicBezTo>
                <a:cubicBezTo>
                  <a:pt x="1858572" y="3732454"/>
                  <a:pt x="1859863" y="3746941"/>
                  <a:pt x="1907210" y="3748564"/>
                </a:cubicBezTo>
                <a:cubicBezTo>
                  <a:pt x="1913436" y="3715153"/>
                  <a:pt x="1915828" y="3704262"/>
                  <a:pt x="1915785" y="3702521"/>
                </a:cubicBezTo>
                <a:close/>
                <a:moveTo>
                  <a:pt x="4878961" y="3700890"/>
                </a:moveTo>
                <a:lnTo>
                  <a:pt x="4886958" y="3710834"/>
                </a:lnTo>
                <a:cubicBezTo>
                  <a:pt x="4886155" y="3712365"/>
                  <a:pt x="4884400" y="3711245"/>
                  <a:pt x="4882564" y="3709171"/>
                </a:cubicBezTo>
                <a:lnTo>
                  <a:pt x="4877923" y="3702203"/>
                </a:lnTo>
                <a:close/>
                <a:moveTo>
                  <a:pt x="4827601" y="3697232"/>
                </a:moveTo>
                <a:cubicBezTo>
                  <a:pt x="4829589" y="3698196"/>
                  <a:pt x="4832097" y="3700597"/>
                  <a:pt x="4834750" y="3703838"/>
                </a:cubicBezTo>
                <a:lnTo>
                  <a:pt x="4835147" y="3704416"/>
                </a:lnTo>
                <a:lnTo>
                  <a:pt x="4824886" y="3713446"/>
                </a:lnTo>
                <a:cubicBezTo>
                  <a:pt x="4821721" y="3699125"/>
                  <a:pt x="4823625" y="3695304"/>
                  <a:pt x="4827601" y="3697232"/>
                </a:cubicBezTo>
                <a:close/>
                <a:moveTo>
                  <a:pt x="5741751" y="3696984"/>
                </a:moveTo>
                <a:lnTo>
                  <a:pt x="5736954" y="3704452"/>
                </a:lnTo>
                <a:cubicBezTo>
                  <a:pt x="5732401" y="3706318"/>
                  <a:pt x="5726718" y="3706094"/>
                  <a:pt x="5722712" y="3703530"/>
                </a:cubicBezTo>
                <a:lnTo>
                  <a:pt x="5723190" y="3702943"/>
                </a:lnTo>
                <a:close/>
                <a:moveTo>
                  <a:pt x="3355504" y="3693111"/>
                </a:moveTo>
                <a:cubicBezTo>
                  <a:pt x="3353950" y="3692565"/>
                  <a:pt x="3351927" y="3693019"/>
                  <a:pt x="3349784" y="3694123"/>
                </a:cubicBezTo>
                <a:cubicBezTo>
                  <a:pt x="3345494" y="3696329"/>
                  <a:pt x="3340732" y="3701135"/>
                  <a:pt x="3338306" y="3705732"/>
                </a:cubicBezTo>
                <a:cubicBezTo>
                  <a:pt x="3346319" y="3710859"/>
                  <a:pt x="3353035" y="3701499"/>
                  <a:pt x="3358395" y="3698101"/>
                </a:cubicBezTo>
                <a:cubicBezTo>
                  <a:pt x="3358138" y="3695204"/>
                  <a:pt x="3357057" y="3693658"/>
                  <a:pt x="3355504" y="3693111"/>
                </a:cubicBezTo>
                <a:close/>
                <a:moveTo>
                  <a:pt x="4172379" y="3679550"/>
                </a:moveTo>
                <a:cubicBezTo>
                  <a:pt x="4161224" y="3681502"/>
                  <a:pt x="4169217" y="3707622"/>
                  <a:pt x="4190145" y="3688233"/>
                </a:cubicBezTo>
                <a:cubicBezTo>
                  <a:pt x="4181942" y="3680933"/>
                  <a:pt x="4176096" y="3678899"/>
                  <a:pt x="4172379" y="3679550"/>
                </a:cubicBezTo>
                <a:close/>
                <a:moveTo>
                  <a:pt x="4141618" y="3679404"/>
                </a:moveTo>
                <a:cubicBezTo>
                  <a:pt x="4141544" y="3676502"/>
                  <a:pt x="4134699" y="3699016"/>
                  <a:pt x="4127557" y="3685050"/>
                </a:cubicBezTo>
                <a:cubicBezTo>
                  <a:pt x="4084406" y="3709338"/>
                  <a:pt x="4085698" y="3723825"/>
                  <a:pt x="4133042" y="3725447"/>
                </a:cubicBezTo>
                <a:cubicBezTo>
                  <a:pt x="4139270" y="3692037"/>
                  <a:pt x="4141662" y="3681146"/>
                  <a:pt x="4141618" y="3679404"/>
                </a:cubicBezTo>
                <a:close/>
                <a:moveTo>
                  <a:pt x="5178225" y="3679306"/>
                </a:moveTo>
                <a:lnTo>
                  <a:pt x="5181305" y="3687525"/>
                </a:lnTo>
                <a:cubicBezTo>
                  <a:pt x="5181031" y="3689740"/>
                  <a:pt x="5179953" y="3686917"/>
                  <a:pt x="5178651" y="3681556"/>
                </a:cubicBezTo>
                <a:close/>
                <a:moveTo>
                  <a:pt x="5177337" y="3674625"/>
                </a:moveTo>
                <a:lnTo>
                  <a:pt x="5178225" y="3679306"/>
                </a:lnTo>
                <a:lnTo>
                  <a:pt x="5176644" y="3675089"/>
                </a:lnTo>
                <a:close/>
                <a:moveTo>
                  <a:pt x="2033654" y="3673776"/>
                </a:moveTo>
                <a:cubicBezTo>
                  <a:pt x="2030908" y="3674751"/>
                  <a:pt x="2028358" y="3677899"/>
                  <a:pt x="2025932" y="3682495"/>
                </a:cubicBezTo>
                <a:cubicBezTo>
                  <a:pt x="2031552" y="3681994"/>
                  <a:pt x="2037691" y="3687289"/>
                  <a:pt x="2042535" y="3678095"/>
                </a:cubicBezTo>
                <a:cubicBezTo>
                  <a:pt x="2039340" y="3673999"/>
                  <a:pt x="2036400" y="3672801"/>
                  <a:pt x="2033654" y="3673776"/>
                </a:cubicBezTo>
                <a:close/>
                <a:moveTo>
                  <a:pt x="5174278" y="3656334"/>
                </a:moveTo>
                <a:lnTo>
                  <a:pt x="5174520" y="3659056"/>
                </a:lnTo>
                <a:lnTo>
                  <a:pt x="5171232" y="3659217"/>
                </a:lnTo>
                <a:close/>
                <a:moveTo>
                  <a:pt x="4259486" y="3650660"/>
                </a:moveTo>
                <a:cubicBezTo>
                  <a:pt x="4256740" y="3651634"/>
                  <a:pt x="4254189" y="3654782"/>
                  <a:pt x="4251766" y="3659379"/>
                </a:cubicBezTo>
                <a:cubicBezTo>
                  <a:pt x="4257386" y="3658878"/>
                  <a:pt x="4263522" y="3664172"/>
                  <a:pt x="4268366" y="3654979"/>
                </a:cubicBezTo>
                <a:cubicBezTo>
                  <a:pt x="4265170" y="3650884"/>
                  <a:pt x="4262231" y="3649686"/>
                  <a:pt x="4259486" y="3650660"/>
                </a:cubicBezTo>
                <a:close/>
                <a:moveTo>
                  <a:pt x="2141952" y="3650618"/>
                </a:moveTo>
                <a:cubicBezTo>
                  <a:pt x="2139894" y="3649706"/>
                  <a:pt x="2137377" y="3649931"/>
                  <a:pt x="2134748" y="3650895"/>
                </a:cubicBezTo>
                <a:cubicBezTo>
                  <a:pt x="2129493" y="3652824"/>
                  <a:pt x="2123793" y="3657713"/>
                  <a:pt x="2120431" y="3662393"/>
                </a:cubicBezTo>
                <a:cubicBezTo>
                  <a:pt x="2132187" y="3667185"/>
                  <a:pt x="2139164" y="3660724"/>
                  <a:pt x="2146399" y="3657157"/>
                </a:cubicBezTo>
                <a:cubicBezTo>
                  <a:pt x="2145609" y="3653577"/>
                  <a:pt x="2144010" y="3651530"/>
                  <a:pt x="2141952" y="3650618"/>
                </a:cubicBezTo>
                <a:close/>
                <a:moveTo>
                  <a:pt x="5946724" y="3634150"/>
                </a:moveTo>
                <a:cubicBezTo>
                  <a:pt x="5947903" y="3633815"/>
                  <a:pt x="5949255" y="3634426"/>
                  <a:pt x="5950854" y="3636473"/>
                </a:cubicBezTo>
                <a:cubicBezTo>
                  <a:pt x="5956990" y="3641766"/>
                  <a:pt x="5943296" y="3657589"/>
                  <a:pt x="5938776" y="3649232"/>
                </a:cubicBezTo>
                <a:cubicBezTo>
                  <a:pt x="5941197" y="3644634"/>
                  <a:pt x="5943185" y="3635149"/>
                  <a:pt x="5946724" y="3634150"/>
                </a:cubicBezTo>
                <a:close/>
                <a:moveTo>
                  <a:pt x="4367785" y="3627502"/>
                </a:moveTo>
                <a:cubicBezTo>
                  <a:pt x="4365726" y="3626590"/>
                  <a:pt x="4363210" y="3626815"/>
                  <a:pt x="4360584" y="3627779"/>
                </a:cubicBezTo>
                <a:cubicBezTo>
                  <a:pt x="4355325" y="3629707"/>
                  <a:pt x="4349623" y="3634595"/>
                  <a:pt x="4346266" y="3639277"/>
                </a:cubicBezTo>
                <a:cubicBezTo>
                  <a:pt x="4358021" y="3644069"/>
                  <a:pt x="4364997" y="3637607"/>
                  <a:pt x="4372230" y="3634042"/>
                </a:cubicBezTo>
                <a:cubicBezTo>
                  <a:pt x="4371441" y="3630462"/>
                  <a:pt x="4369842" y="3628414"/>
                  <a:pt x="4367785" y="3627502"/>
                </a:cubicBezTo>
                <a:close/>
                <a:moveTo>
                  <a:pt x="5468299" y="3621429"/>
                </a:moveTo>
                <a:cubicBezTo>
                  <a:pt x="5464819" y="3622104"/>
                  <a:pt x="5461734" y="3624570"/>
                  <a:pt x="5459440" y="3630615"/>
                </a:cubicBezTo>
                <a:cubicBezTo>
                  <a:pt x="5467450" y="3635742"/>
                  <a:pt x="5480304" y="3631676"/>
                  <a:pt x="5479529" y="3622984"/>
                </a:cubicBezTo>
                <a:cubicBezTo>
                  <a:pt x="5475654" y="3621869"/>
                  <a:pt x="5471779" y="3620753"/>
                  <a:pt x="5468299" y="3621429"/>
                </a:cubicBezTo>
                <a:close/>
                <a:moveTo>
                  <a:pt x="1112661" y="3617494"/>
                </a:moveTo>
                <a:lnTo>
                  <a:pt x="1113667" y="3617764"/>
                </a:lnTo>
                <a:lnTo>
                  <a:pt x="1113794" y="3617925"/>
                </a:lnTo>
                <a:lnTo>
                  <a:pt x="1112027" y="3617909"/>
                </a:lnTo>
                <a:close/>
                <a:moveTo>
                  <a:pt x="5532881" y="3598654"/>
                </a:moveTo>
                <a:cubicBezTo>
                  <a:pt x="5530663" y="3598258"/>
                  <a:pt x="5528582" y="3598718"/>
                  <a:pt x="5526521" y="3599448"/>
                </a:cubicBezTo>
                <a:cubicBezTo>
                  <a:pt x="5522403" y="3600910"/>
                  <a:pt x="5518384" y="3603458"/>
                  <a:pt x="5513573" y="3602426"/>
                </a:cubicBezTo>
                <a:cubicBezTo>
                  <a:pt x="5514603" y="3614017"/>
                  <a:pt x="5533075" y="3609451"/>
                  <a:pt x="5540051" y="3602988"/>
                </a:cubicBezTo>
                <a:cubicBezTo>
                  <a:pt x="5537452" y="3600299"/>
                  <a:pt x="5535102" y="3599049"/>
                  <a:pt x="5532881" y="3598654"/>
                </a:cubicBezTo>
                <a:close/>
                <a:moveTo>
                  <a:pt x="3338496" y="3594377"/>
                </a:moveTo>
                <a:lnTo>
                  <a:pt x="3339504" y="3594647"/>
                </a:lnTo>
                <a:lnTo>
                  <a:pt x="3339632" y="3594809"/>
                </a:lnTo>
                <a:lnTo>
                  <a:pt x="3337864" y="3594793"/>
                </a:lnTo>
                <a:close/>
                <a:moveTo>
                  <a:pt x="1022506" y="3587921"/>
                </a:moveTo>
                <a:lnTo>
                  <a:pt x="1011448" y="3607165"/>
                </a:lnTo>
                <a:lnTo>
                  <a:pt x="1011921" y="3604196"/>
                </a:lnTo>
                <a:cubicBezTo>
                  <a:pt x="1016127" y="3595791"/>
                  <a:pt x="1021570" y="3588003"/>
                  <a:pt x="1022506" y="3587921"/>
                </a:cubicBezTo>
                <a:close/>
                <a:moveTo>
                  <a:pt x="2318945" y="3585928"/>
                </a:moveTo>
                <a:cubicBezTo>
                  <a:pt x="2317104" y="3586457"/>
                  <a:pt x="2314891" y="3588114"/>
                  <a:pt x="2311952" y="3586916"/>
                </a:cubicBezTo>
                <a:cubicBezTo>
                  <a:pt x="2307106" y="3596109"/>
                  <a:pt x="2318863" y="3600902"/>
                  <a:pt x="2323707" y="3591709"/>
                </a:cubicBezTo>
                <a:cubicBezTo>
                  <a:pt x="2322255" y="3585999"/>
                  <a:pt x="2320786" y="3585400"/>
                  <a:pt x="2318945" y="3585928"/>
                </a:cubicBezTo>
                <a:close/>
                <a:moveTo>
                  <a:pt x="1074954" y="3583247"/>
                </a:moveTo>
                <a:cubicBezTo>
                  <a:pt x="1070691" y="3577786"/>
                  <a:pt x="1060486" y="3590377"/>
                  <a:pt x="1064748" y="3595838"/>
                </a:cubicBezTo>
                <a:cubicBezTo>
                  <a:pt x="1071143" y="3604029"/>
                  <a:pt x="1074954" y="3583247"/>
                  <a:pt x="1074954" y="3583247"/>
                </a:cubicBezTo>
                <a:close/>
                <a:moveTo>
                  <a:pt x="5630805" y="3583219"/>
                </a:moveTo>
                <a:cubicBezTo>
                  <a:pt x="5634617" y="3583609"/>
                  <a:pt x="5638555" y="3585449"/>
                  <a:pt x="5642302" y="3585115"/>
                </a:cubicBezTo>
                <a:cubicBezTo>
                  <a:pt x="5637456" y="3594309"/>
                  <a:pt x="5629708" y="3592078"/>
                  <a:pt x="5620083" y="3590017"/>
                </a:cubicBezTo>
                <a:cubicBezTo>
                  <a:pt x="5623317" y="3583886"/>
                  <a:pt x="5626995" y="3582829"/>
                  <a:pt x="5630805" y="3583219"/>
                </a:cubicBezTo>
                <a:close/>
                <a:moveTo>
                  <a:pt x="1095558" y="3581410"/>
                </a:moveTo>
                <a:cubicBezTo>
                  <a:pt x="1078117" y="3597567"/>
                  <a:pt x="1121717" y="3599523"/>
                  <a:pt x="1095558" y="3581410"/>
                </a:cubicBezTo>
                <a:close/>
                <a:moveTo>
                  <a:pt x="1193301" y="3578982"/>
                </a:moveTo>
                <a:cubicBezTo>
                  <a:pt x="1189016" y="3579404"/>
                  <a:pt x="1183316" y="3580984"/>
                  <a:pt x="1176913" y="3583288"/>
                </a:cubicBezTo>
                <a:cubicBezTo>
                  <a:pt x="1164106" y="3587897"/>
                  <a:pt x="1148491" y="3595403"/>
                  <a:pt x="1135775" y="3602332"/>
                </a:cubicBezTo>
                <a:lnTo>
                  <a:pt x="1112661" y="3617494"/>
                </a:lnTo>
                <a:lnTo>
                  <a:pt x="1095988" y="3613043"/>
                </a:lnTo>
                <a:cubicBezTo>
                  <a:pt x="1092191" y="3615115"/>
                  <a:pt x="1092084" y="3621877"/>
                  <a:pt x="1100464" y="3636463"/>
                </a:cubicBezTo>
                <a:cubicBezTo>
                  <a:pt x="1117646" y="3638583"/>
                  <a:pt x="1124142" y="3635996"/>
                  <a:pt x="1124744" y="3631835"/>
                </a:cubicBezTo>
                <a:lnTo>
                  <a:pt x="1113794" y="3617925"/>
                </a:lnTo>
                <a:lnTo>
                  <a:pt x="1125491" y="3618033"/>
                </a:lnTo>
                <a:cubicBezTo>
                  <a:pt x="1140218" y="3612477"/>
                  <a:pt x="1158180" y="3595544"/>
                  <a:pt x="1174359" y="3618197"/>
                </a:cubicBezTo>
                <a:cubicBezTo>
                  <a:pt x="1206262" y="3586879"/>
                  <a:pt x="1206152" y="3577716"/>
                  <a:pt x="1193301" y="3578982"/>
                </a:cubicBezTo>
                <a:close/>
                <a:moveTo>
                  <a:pt x="4544778" y="3562811"/>
                </a:moveTo>
                <a:cubicBezTo>
                  <a:pt x="4542936" y="3563341"/>
                  <a:pt x="4540725" y="3564998"/>
                  <a:pt x="4537784" y="3563800"/>
                </a:cubicBezTo>
                <a:cubicBezTo>
                  <a:pt x="4532941" y="3572992"/>
                  <a:pt x="4544696" y="3577787"/>
                  <a:pt x="4549542" y="3568592"/>
                </a:cubicBezTo>
                <a:cubicBezTo>
                  <a:pt x="4548087" y="3562882"/>
                  <a:pt x="4546617" y="3562283"/>
                  <a:pt x="4544778" y="3562811"/>
                </a:cubicBezTo>
                <a:close/>
                <a:moveTo>
                  <a:pt x="3300789" y="3560131"/>
                </a:moveTo>
                <a:cubicBezTo>
                  <a:pt x="3296526" y="3554669"/>
                  <a:pt x="3286318" y="3567260"/>
                  <a:pt x="3290581" y="3572722"/>
                </a:cubicBezTo>
                <a:cubicBezTo>
                  <a:pt x="3296977" y="3580913"/>
                  <a:pt x="3300789" y="3560131"/>
                  <a:pt x="3300789" y="3560131"/>
                </a:cubicBezTo>
                <a:close/>
                <a:moveTo>
                  <a:pt x="3251569" y="3558675"/>
                </a:moveTo>
                <a:lnTo>
                  <a:pt x="3240514" y="3577921"/>
                </a:lnTo>
                <a:lnTo>
                  <a:pt x="3240985" y="3574952"/>
                </a:lnTo>
                <a:cubicBezTo>
                  <a:pt x="3245192" y="3566545"/>
                  <a:pt x="3250633" y="3558758"/>
                  <a:pt x="3251569" y="3558675"/>
                </a:cubicBezTo>
                <a:close/>
                <a:moveTo>
                  <a:pt x="3321395" y="3558295"/>
                </a:moveTo>
                <a:cubicBezTo>
                  <a:pt x="3303955" y="3574451"/>
                  <a:pt x="3347552" y="3576407"/>
                  <a:pt x="3321395" y="3558295"/>
                </a:cubicBezTo>
                <a:close/>
                <a:moveTo>
                  <a:pt x="3419133" y="3555865"/>
                </a:moveTo>
                <a:cubicBezTo>
                  <a:pt x="3414849" y="3556287"/>
                  <a:pt x="3409150" y="3557867"/>
                  <a:pt x="3402745" y="3560171"/>
                </a:cubicBezTo>
                <a:cubicBezTo>
                  <a:pt x="3389941" y="3564780"/>
                  <a:pt x="3374326" y="3572287"/>
                  <a:pt x="3361607" y="3579216"/>
                </a:cubicBezTo>
                <a:lnTo>
                  <a:pt x="3338496" y="3594377"/>
                </a:lnTo>
                <a:lnTo>
                  <a:pt x="3321823" y="3589925"/>
                </a:lnTo>
                <a:cubicBezTo>
                  <a:pt x="3318025" y="3591998"/>
                  <a:pt x="3317920" y="3598760"/>
                  <a:pt x="3326297" y="3613346"/>
                </a:cubicBezTo>
                <a:cubicBezTo>
                  <a:pt x="3343480" y="3615466"/>
                  <a:pt x="3349975" y="3612879"/>
                  <a:pt x="3350580" y="3608718"/>
                </a:cubicBezTo>
                <a:lnTo>
                  <a:pt x="3339632" y="3594809"/>
                </a:lnTo>
                <a:lnTo>
                  <a:pt x="3351327" y="3594916"/>
                </a:lnTo>
                <a:cubicBezTo>
                  <a:pt x="3366052" y="3589361"/>
                  <a:pt x="3384015" y="3572426"/>
                  <a:pt x="3400195" y="3595079"/>
                </a:cubicBezTo>
                <a:cubicBezTo>
                  <a:pt x="3432094" y="3563762"/>
                  <a:pt x="3431989" y="3554600"/>
                  <a:pt x="3419133" y="3555865"/>
                </a:cubicBezTo>
                <a:close/>
                <a:moveTo>
                  <a:pt x="1276224" y="3553630"/>
                </a:moveTo>
                <a:cubicBezTo>
                  <a:pt x="1260205" y="3543375"/>
                  <a:pt x="1199292" y="3601371"/>
                  <a:pt x="1203879" y="3589282"/>
                </a:cubicBezTo>
                <a:cubicBezTo>
                  <a:pt x="1190251" y="3584654"/>
                  <a:pt x="1283518" y="3614310"/>
                  <a:pt x="1277191" y="3585668"/>
                </a:cubicBezTo>
                <a:cubicBezTo>
                  <a:pt x="1305420" y="3542267"/>
                  <a:pt x="1265434" y="3580876"/>
                  <a:pt x="1243217" y="3585776"/>
                </a:cubicBezTo>
                <a:cubicBezTo>
                  <a:pt x="1251033" y="3567556"/>
                  <a:pt x="1261496" y="3557862"/>
                  <a:pt x="1276224" y="3553630"/>
                </a:cubicBezTo>
                <a:close/>
                <a:moveTo>
                  <a:pt x="5689286" y="3553553"/>
                </a:moveTo>
                <a:lnTo>
                  <a:pt x="5697646" y="3557235"/>
                </a:lnTo>
                <a:lnTo>
                  <a:pt x="5695182" y="3561420"/>
                </a:lnTo>
                <a:cubicBezTo>
                  <a:pt x="5691329" y="3563223"/>
                  <a:pt x="5686646" y="3563641"/>
                  <a:pt x="5683837" y="3563891"/>
                </a:cubicBezTo>
                <a:close/>
                <a:moveTo>
                  <a:pt x="1311528" y="3543274"/>
                </a:moveTo>
                <a:cubicBezTo>
                  <a:pt x="1309058" y="3544680"/>
                  <a:pt x="1305663" y="3550275"/>
                  <a:pt x="1301607" y="3563050"/>
                </a:cubicBezTo>
                <a:cubicBezTo>
                  <a:pt x="1318030" y="3572539"/>
                  <a:pt x="1318941" y="3539054"/>
                  <a:pt x="1311528" y="3543274"/>
                </a:cubicBezTo>
                <a:close/>
                <a:moveTo>
                  <a:pt x="1348964" y="3540942"/>
                </a:moveTo>
                <a:cubicBezTo>
                  <a:pt x="1345419" y="3540893"/>
                  <a:pt x="1342205" y="3541910"/>
                  <a:pt x="1339653" y="3545057"/>
                </a:cubicBezTo>
                <a:cubicBezTo>
                  <a:pt x="1347920" y="3553082"/>
                  <a:pt x="1355414" y="3552414"/>
                  <a:pt x="1360258" y="3543221"/>
                </a:cubicBezTo>
                <a:cubicBezTo>
                  <a:pt x="1356384" y="3542105"/>
                  <a:pt x="1352508" y="3540991"/>
                  <a:pt x="1348964" y="3540942"/>
                </a:cubicBezTo>
                <a:close/>
                <a:moveTo>
                  <a:pt x="3502058" y="3530514"/>
                </a:moveTo>
                <a:cubicBezTo>
                  <a:pt x="3486042" y="3520258"/>
                  <a:pt x="3425129" y="3578254"/>
                  <a:pt x="3429715" y="3566164"/>
                </a:cubicBezTo>
                <a:cubicBezTo>
                  <a:pt x="3416085" y="3561538"/>
                  <a:pt x="3509354" y="3591193"/>
                  <a:pt x="3503028" y="3562552"/>
                </a:cubicBezTo>
                <a:cubicBezTo>
                  <a:pt x="3531255" y="3519149"/>
                  <a:pt x="3491271" y="3557759"/>
                  <a:pt x="3469049" y="3562658"/>
                </a:cubicBezTo>
                <a:cubicBezTo>
                  <a:pt x="3476866" y="3544441"/>
                  <a:pt x="3487332" y="3534745"/>
                  <a:pt x="3502058" y="3530514"/>
                </a:cubicBezTo>
                <a:close/>
                <a:moveTo>
                  <a:pt x="6030115" y="3530113"/>
                </a:moveTo>
                <a:cubicBezTo>
                  <a:pt x="6024496" y="3530614"/>
                  <a:pt x="6018877" y="3531115"/>
                  <a:pt x="6014033" y="3540309"/>
                </a:cubicBezTo>
                <a:cubicBezTo>
                  <a:pt x="6022040" y="3545435"/>
                  <a:pt x="6025011" y="3536409"/>
                  <a:pt x="6030115" y="3530113"/>
                </a:cubicBezTo>
                <a:close/>
                <a:moveTo>
                  <a:pt x="1385113" y="3523380"/>
                </a:moveTo>
                <a:cubicBezTo>
                  <a:pt x="1380205" y="3522483"/>
                  <a:pt x="1376198" y="3522955"/>
                  <a:pt x="1373056" y="3524284"/>
                </a:cubicBezTo>
                <a:cubicBezTo>
                  <a:pt x="1354208" y="3532260"/>
                  <a:pt x="1366522" y="3571137"/>
                  <a:pt x="1402568" y="3530689"/>
                </a:cubicBezTo>
                <a:cubicBezTo>
                  <a:pt x="1395827" y="3526544"/>
                  <a:pt x="1390020" y="3524278"/>
                  <a:pt x="1385113" y="3523380"/>
                </a:cubicBezTo>
                <a:close/>
                <a:moveTo>
                  <a:pt x="5829234" y="3521729"/>
                </a:moveTo>
                <a:cubicBezTo>
                  <a:pt x="5825231" y="3519166"/>
                  <a:pt x="5822019" y="3520182"/>
                  <a:pt x="5819103" y="3521903"/>
                </a:cubicBezTo>
                <a:cubicBezTo>
                  <a:pt x="5816187" y="3523623"/>
                  <a:pt x="5813572" y="3526045"/>
                  <a:pt x="5810764" y="3526296"/>
                </a:cubicBezTo>
                <a:cubicBezTo>
                  <a:pt x="5801140" y="3524233"/>
                  <a:pt x="5826779" y="3536550"/>
                  <a:pt x="5829234" y="3521729"/>
                </a:cubicBezTo>
                <a:close/>
                <a:moveTo>
                  <a:pt x="3537362" y="3520158"/>
                </a:moveTo>
                <a:cubicBezTo>
                  <a:pt x="3534893" y="3521564"/>
                  <a:pt x="3531498" y="3527160"/>
                  <a:pt x="3527443" y="3539934"/>
                </a:cubicBezTo>
                <a:cubicBezTo>
                  <a:pt x="3543864" y="3549422"/>
                  <a:pt x="3544774" y="3515939"/>
                  <a:pt x="3537362" y="3520158"/>
                </a:cubicBezTo>
                <a:close/>
                <a:moveTo>
                  <a:pt x="1276037" y="3519103"/>
                </a:moveTo>
                <a:cubicBezTo>
                  <a:pt x="1274271" y="3518484"/>
                  <a:pt x="1271939" y="3518783"/>
                  <a:pt x="1269412" y="3519557"/>
                </a:cubicBezTo>
                <a:cubicBezTo>
                  <a:pt x="1264356" y="3521101"/>
                  <a:pt x="1258527" y="3524542"/>
                  <a:pt x="1254911" y="3526324"/>
                </a:cubicBezTo>
                <a:cubicBezTo>
                  <a:pt x="1257558" y="3534850"/>
                  <a:pt x="1273643" y="3524654"/>
                  <a:pt x="1279261" y="3524154"/>
                </a:cubicBezTo>
                <a:cubicBezTo>
                  <a:pt x="1279002" y="3521256"/>
                  <a:pt x="1277805" y="3519720"/>
                  <a:pt x="1276037" y="3519103"/>
                </a:cubicBezTo>
                <a:close/>
                <a:moveTo>
                  <a:pt x="3574797" y="3517825"/>
                </a:moveTo>
                <a:cubicBezTo>
                  <a:pt x="3571255" y="3517775"/>
                  <a:pt x="3568040" y="3518793"/>
                  <a:pt x="3565487" y="3521941"/>
                </a:cubicBezTo>
                <a:cubicBezTo>
                  <a:pt x="3573755" y="3529965"/>
                  <a:pt x="3581248" y="3529297"/>
                  <a:pt x="3586093" y="3520105"/>
                </a:cubicBezTo>
                <a:cubicBezTo>
                  <a:pt x="3582219" y="3518989"/>
                  <a:pt x="3578344" y="3517875"/>
                  <a:pt x="3574797" y="3517825"/>
                </a:cubicBezTo>
                <a:close/>
                <a:moveTo>
                  <a:pt x="1426882" y="3512871"/>
                </a:moveTo>
                <a:cubicBezTo>
                  <a:pt x="1425324" y="3511960"/>
                  <a:pt x="1423344" y="3512228"/>
                  <a:pt x="1421316" y="3513320"/>
                </a:cubicBezTo>
                <a:cubicBezTo>
                  <a:pt x="1417262" y="3515508"/>
                  <a:pt x="1413031" y="3520996"/>
                  <a:pt x="1411674" y="3526957"/>
                </a:cubicBezTo>
                <a:cubicBezTo>
                  <a:pt x="1423431" y="3531750"/>
                  <a:pt x="1420266" y="3517430"/>
                  <a:pt x="1429890" y="3519494"/>
                </a:cubicBezTo>
                <a:cubicBezTo>
                  <a:pt x="1429568" y="3515872"/>
                  <a:pt x="1428436" y="3513782"/>
                  <a:pt x="1426882" y="3512871"/>
                </a:cubicBezTo>
                <a:close/>
                <a:moveTo>
                  <a:pt x="790819" y="3509271"/>
                </a:moveTo>
                <a:cubicBezTo>
                  <a:pt x="777449" y="3507540"/>
                  <a:pt x="763496" y="3520466"/>
                  <a:pt x="750643" y="3524532"/>
                </a:cubicBezTo>
                <a:cubicBezTo>
                  <a:pt x="758651" y="3529659"/>
                  <a:pt x="780871" y="3524758"/>
                  <a:pt x="790819" y="3509271"/>
                </a:cubicBezTo>
                <a:close/>
                <a:moveTo>
                  <a:pt x="6108369" y="3507808"/>
                </a:moveTo>
                <a:cubicBezTo>
                  <a:pt x="6105689" y="3509507"/>
                  <a:pt x="6104138" y="3513297"/>
                  <a:pt x="6104525" y="3517642"/>
                </a:cubicBezTo>
                <a:cubicBezTo>
                  <a:pt x="6110661" y="3522936"/>
                  <a:pt x="6115764" y="3516640"/>
                  <a:pt x="6118994" y="3510511"/>
                </a:cubicBezTo>
                <a:cubicBezTo>
                  <a:pt x="6114861" y="3506499"/>
                  <a:pt x="6111049" y="3506109"/>
                  <a:pt x="6108369" y="3507808"/>
                </a:cubicBezTo>
                <a:close/>
                <a:moveTo>
                  <a:pt x="3610948" y="3500263"/>
                </a:moveTo>
                <a:cubicBezTo>
                  <a:pt x="3606041" y="3499366"/>
                  <a:pt x="3602032" y="3499838"/>
                  <a:pt x="3598891" y="3501167"/>
                </a:cubicBezTo>
                <a:cubicBezTo>
                  <a:pt x="3580045" y="3509143"/>
                  <a:pt x="3592357" y="3548021"/>
                  <a:pt x="3628399" y="3507572"/>
                </a:cubicBezTo>
                <a:cubicBezTo>
                  <a:pt x="3621659" y="3503427"/>
                  <a:pt x="3615852" y="3501161"/>
                  <a:pt x="3610948" y="3500263"/>
                </a:cubicBezTo>
                <a:close/>
                <a:moveTo>
                  <a:pt x="5932753" y="3497889"/>
                </a:moveTo>
                <a:lnTo>
                  <a:pt x="5932842" y="3497896"/>
                </a:lnTo>
                <a:lnTo>
                  <a:pt x="5930300" y="3498973"/>
                </a:lnTo>
                <a:close/>
                <a:moveTo>
                  <a:pt x="3501874" y="3495987"/>
                </a:moveTo>
                <a:cubicBezTo>
                  <a:pt x="3500108" y="3495368"/>
                  <a:pt x="3497773" y="3495667"/>
                  <a:pt x="3495248" y="3496440"/>
                </a:cubicBezTo>
                <a:cubicBezTo>
                  <a:pt x="3490192" y="3497984"/>
                  <a:pt x="3484363" y="3501425"/>
                  <a:pt x="3480745" y="3503207"/>
                </a:cubicBezTo>
                <a:cubicBezTo>
                  <a:pt x="3483394" y="3511732"/>
                  <a:pt x="3499478" y="3501538"/>
                  <a:pt x="3505097" y="3501037"/>
                </a:cubicBezTo>
                <a:cubicBezTo>
                  <a:pt x="3504840" y="3498140"/>
                  <a:pt x="3503640" y="3496604"/>
                  <a:pt x="3501874" y="3495987"/>
                </a:cubicBezTo>
                <a:close/>
                <a:moveTo>
                  <a:pt x="1503268" y="3495432"/>
                </a:moveTo>
                <a:cubicBezTo>
                  <a:pt x="1492029" y="3496433"/>
                  <a:pt x="1482663" y="3497267"/>
                  <a:pt x="1473556" y="3501000"/>
                </a:cubicBezTo>
                <a:cubicBezTo>
                  <a:pt x="1473489" y="3521449"/>
                  <a:pt x="1497065" y="3510587"/>
                  <a:pt x="1503268" y="3495432"/>
                </a:cubicBezTo>
                <a:close/>
                <a:moveTo>
                  <a:pt x="3652715" y="3489755"/>
                </a:moveTo>
                <a:cubicBezTo>
                  <a:pt x="3651160" y="3488843"/>
                  <a:pt x="3649178" y="3489111"/>
                  <a:pt x="3647152" y="3490204"/>
                </a:cubicBezTo>
                <a:cubicBezTo>
                  <a:pt x="3643098" y="3492390"/>
                  <a:pt x="3638866" y="3497878"/>
                  <a:pt x="3637508" y="3503841"/>
                </a:cubicBezTo>
                <a:cubicBezTo>
                  <a:pt x="3649264" y="3508633"/>
                  <a:pt x="3646100" y="3494313"/>
                  <a:pt x="3655727" y="3496376"/>
                </a:cubicBezTo>
                <a:cubicBezTo>
                  <a:pt x="3655403" y="3492755"/>
                  <a:pt x="3654271" y="3490665"/>
                  <a:pt x="3652715" y="3489755"/>
                </a:cubicBezTo>
                <a:close/>
                <a:moveTo>
                  <a:pt x="3016656" y="3486152"/>
                </a:moveTo>
                <a:cubicBezTo>
                  <a:pt x="3003285" y="3484423"/>
                  <a:pt x="2989333" y="3497350"/>
                  <a:pt x="2976477" y="3501415"/>
                </a:cubicBezTo>
                <a:cubicBezTo>
                  <a:pt x="2984487" y="3506543"/>
                  <a:pt x="3006706" y="3501642"/>
                  <a:pt x="3016656" y="3486152"/>
                </a:cubicBezTo>
                <a:close/>
                <a:moveTo>
                  <a:pt x="1535530" y="3486031"/>
                </a:moveTo>
                <a:cubicBezTo>
                  <a:pt x="1530909" y="3483840"/>
                  <a:pt x="1547270" y="3496621"/>
                  <a:pt x="1548480" y="3494323"/>
                </a:cubicBezTo>
                <a:cubicBezTo>
                  <a:pt x="1540940" y="3489153"/>
                  <a:pt x="1537070" y="3486761"/>
                  <a:pt x="1535530" y="3486031"/>
                </a:cubicBezTo>
                <a:close/>
                <a:moveTo>
                  <a:pt x="1523098" y="3484903"/>
                </a:moveTo>
                <a:cubicBezTo>
                  <a:pt x="1515863" y="3488467"/>
                  <a:pt x="1510501" y="3491866"/>
                  <a:pt x="1505399" y="3498162"/>
                </a:cubicBezTo>
                <a:cubicBezTo>
                  <a:pt x="1515022" y="3500224"/>
                  <a:pt x="1522258" y="3496660"/>
                  <a:pt x="1523098" y="3484903"/>
                </a:cubicBezTo>
                <a:close/>
                <a:moveTo>
                  <a:pt x="788827" y="3484259"/>
                </a:moveTo>
                <a:cubicBezTo>
                  <a:pt x="785347" y="3484934"/>
                  <a:pt x="782326" y="3488124"/>
                  <a:pt x="780163" y="3495617"/>
                </a:cubicBezTo>
                <a:cubicBezTo>
                  <a:pt x="788172" y="3500744"/>
                  <a:pt x="793016" y="3491551"/>
                  <a:pt x="800251" y="3487985"/>
                </a:cubicBezTo>
                <a:cubicBezTo>
                  <a:pt x="796247" y="3485423"/>
                  <a:pt x="792305" y="3483583"/>
                  <a:pt x="788827" y="3484259"/>
                </a:cubicBezTo>
                <a:close/>
                <a:moveTo>
                  <a:pt x="5413409" y="3480525"/>
                </a:moveTo>
                <a:cubicBezTo>
                  <a:pt x="5411858" y="3479978"/>
                  <a:pt x="5409831" y="3480433"/>
                  <a:pt x="5407687" y="3481536"/>
                </a:cubicBezTo>
                <a:cubicBezTo>
                  <a:pt x="5403400" y="3483743"/>
                  <a:pt x="5398637" y="3488548"/>
                  <a:pt x="5396216" y="3493145"/>
                </a:cubicBezTo>
                <a:cubicBezTo>
                  <a:pt x="5404222" y="3498273"/>
                  <a:pt x="5410941" y="3488913"/>
                  <a:pt x="5416303" y="3485515"/>
                </a:cubicBezTo>
                <a:cubicBezTo>
                  <a:pt x="5416044" y="3482617"/>
                  <a:pt x="5414961" y="3481071"/>
                  <a:pt x="5413409" y="3480525"/>
                </a:cubicBezTo>
                <a:close/>
                <a:moveTo>
                  <a:pt x="740198" y="3476180"/>
                </a:moveTo>
                <a:cubicBezTo>
                  <a:pt x="736952" y="3476833"/>
                  <a:pt x="732464" y="3479423"/>
                  <a:pt x="729653" y="3479674"/>
                </a:cubicBezTo>
                <a:cubicBezTo>
                  <a:pt x="729070" y="3494328"/>
                  <a:pt x="739018" y="3478839"/>
                  <a:pt x="743281" y="3484301"/>
                </a:cubicBezTo>
                <a:cubicBezTo>
                  <a:pt x="745446" y="3476808"/>
                  <a:pt x="743442" y="3475525"/>
                  <a:pt x="740198" y="3476180"/>
                </a:cubicBezTo>
                <a:close/>
                <a:moveTo>
                  <a:pt x="757233" y="3471376"/>
                </a:moveTo>
                <a:cubicBezTo>
                  <a:pt x="753745" y="3474607"/>
                  <a:pt x="777965" y="3513336"/>
                  <a:pt x="757233" y="3471376"/>
                </a:cubicBezTo>
                <a:close/>
                <a:moveTo>
                  <a:pt x="1552178" y="3468256"/>
                </a:moveTo>
                <a:cubicBezTo>
                  <a:pt x="1549267" y="3468699"/>
                  <a:pt x="1545479" y="3471226"/>
                  <a:pt x="1541313" y="3477439"/>
                </a:cubicBezTo>
                <a:cubicBezTo>
                  <a:pt x="1561757" y="3484378"/>
                  <a:pt x="1560909" y="3466931"/>
                  <a:pt x="1552178" y="3468256"/>
                </a:cubicBezTo>
                <a:close/>
                <a:moveTo>
                  <a:pt x="6230283" y="3466964"/>
                </a:moveTo>
                <a:cubicBezTo>
                  <a:pt x="6219129" y="3468916"/>
                  <a:pt x="6227121" y="3495036"/>
                  <a:pt x="6248050" y="3475647"/>
                </a:cubicBezTo>
                <a:cubicBezTo>
                  <a:pt x="6239848" y="3468347"/>
                  <a:pt x="6234002" y="3466313"/>
                  <a:pt x="6230283" y="3466964"/>
                </a:cubicBezTo>
                <a:close/>
                <a:moveTo>
                  <a:pt x="6199524" y="3466819"/>
                </a:moveTo>
                <a:cubicBezTo>
                  <a:pt x="6199450" y="3463915"/>
                  <a:pt x="6192606" y="3486429"/>
                  <a:pt x="6185461" y="3472463"/>
                </a:cubicBezTo>
                <a:cubicBezTo>
                  <a:pt x="6142312" y="3496751"/>
                  <a:pt x="6143603" y="3511239"/>
                  <a:pt x="6190949" y="3512862"/>
                </a:cubicBezTo>
                <a:cubicBezTo>
                  <a:pt x="6197176" y="3479450"/>
                  <a:pt x="6199569" y="3468560"/>
                  <a:pt x="6199524" y="3466819"/>
                </a:cubicBezTo>
                <a:close/>
                <a:moveTo>
                  <a:pt x="5222833" y="3460637"/>
                </a:moveTo>
                <a:cubicBezTo>
                  <a:pt x="5230405" y="3461194"/>
                  <a:pt x="5250303" y="3465991"/>
                  <a:pt x="5221624" y="3461975"/>
                </a:cubicBezTo>
                <a:cubicBezTo>
                  <a:pt x="5219154" y="3460735"/>
                  <a:pt x="5220308" y="3460450"/>
                  <a:pt x="5222833" y="3460637"/>
                </a:cubicBezTo>
                <a:close/>
                <a:moveTo>
                  <a:pt x="854793" y="3456476"/>
                </a:moveTo>
                <a:cubicBezTo>
                  <a:pt x="851441" y="3458600"/>
                  <a:pt x="848211" y="3464729"/>
                  <a:pt x="855156" y="3468490"/>
                </a:cubicBezTo>
                <a:cubicBezTo>
                  <a:pt x="861615" y="3456232"/>
                  <a:pt x="858144" y="3454351"/>
                  <a:pt x="854793" y="3456476"/>
                </a:cubicBezTo>
                <a:close/>
                <a:moveTo>
                  <a:pt x="1710223" y="3444864"/>
                </a:moveTo>
                <a:cubicBezTo>
                  <a:pt x="1702989" y="3448429"/>
                  <a:pt x="1708608" y="3447928"/>
                  <a:pt x="1703763" y="3457121"/>
                </a:cubicBezTo>
                <a:cubicBezTo>
                  <a:pt x="1712030" y="3465147"/>
                  <a:pt x="1721719" y="3446760"/>
                  <a:pt x="1710223" y="3444864"/>
                </a:cubicBezTo>
                <a:close/>
                <a:moveTo>
                  <a:pt x="926889" y="3443526"/>
                </a:moveTo>
                <a:cubicBezTo>
                  <a:pt x="922042" y="3445738"/>
                  <a:pt x="918601" y="3454806"/>
                  <a:pt x="914580" y="3457355"/>
                </a:cubicBezTo>
                <a:cubicBezTo>
                  <a:pt x="922847" y="3465380"/>
                  <a:pt x="925561" y="3453456"/>
                  <a:pt x="932280" y="3444095"/>
                </a:cubicBezTo>
                <a:cubicBezTo>
                  <a:pt x="930277" y="3442814"/>
                  <a:pt x="928504" y="3442789"/>
                  <a:pt x="926889" y="3443526"/>
                </a:cubicBezTo>
                <a:close/>
                <a:moveTo>
                  <a:pt x="751861" y="3442698"/>
                </a:moveTo>
                <a:lnTo>
                  <a:pt x="751939" y="3442735"/>
                </a:lnTo>
                <a:cubicBezTo>
                  <a:pt x="752924" y="3444198"/>
                  <a:pt x="752634" y="3446232"/>
                  <a:pt x="749548" y="3448698"/>
                </a:cubicBezTo>
                <a:lnTo>
                  <a:pt x="746026" y="3445130"/>
                </a:lnTo>
                <a:close/>
                <a:moveTo>
                  <a:pt x="757749" y="3440366"/>
                </a:moveTo>
                <a:lnTo>
                  <a:pt x="754910" y="3445298"/>
                </a:lnTo>
                <a:lnTo>
                  <a:pt x="756613" y="3440810"/>
                </a:lnTo>
                <a:close/>
                <a:moveTo>
                  <a:pt x="5269716" y="3440167"/>
                </a:moveTo>
                <a:cubicBezTo>
                  <a:pt x="5273121" y="3441323"/>
                  <a:pt x="5279596" y="3445127"/>
                  <a:pt x="5278917" y="3448109"/>
                </a:cubicBezTo>
                <a:cubicBezTo>
                  <a:pt x="5265966" y="3440502"/>
                  <a:pt x="5266307" y="3439011"/>
                  <a:pt x="5269716" y="3440167"/>
                </a:cubicBezTo>
                <a:close/>
                <a:moveTo>
                  <a:pt x="6317393" y="3438073"/>
                </a:moveTo>
                <a:cubicBezTo>
                  <a:pt x="6314648" y="3439049"/>
                  <a:pt x="6312095" y="3442197"/>
                  <a:pt x="6309673" y="3446792"/>
                </a:cubicBezTo>
                <a:cubicBezTo>
                  <a:pt x="6315293" y="3446291"/>
                  <a:pt x="6321428" y="3451585"/>
                  <a:pt x="6326273" y="3442392"/>
                </a:cubicBezTo>
                <a:cubicBezTo>
                  <a:pt x="6323077" y="3438297"/>
                  <a:pt x="6320138" y="3437099"/>
                  <a:pt x="6317393" y="3438073"/>
                </a:cubicBezTo>
                <a:close/>
                <a:moveTo>
                  <a:pt x="1104273" y="3430230"/>
                </a:moveTo>
                <a:cubicBezTo>
                  <a:pt x="1099653" y="3431371"/>
                  <a:pt x="1095632" y="3433920"/>
                  <a:pt x="1092273" y="3438600"/>
                </a:cubicBezTo>
                <a:cubicBezTo>
                  <a:pt x="1104288" y="3446290"/>
                  <a:pt x="1111780" y="3445622"/>
                  <a:pt x="1119856" y="3430300"/>
                </a:cubicBezTo>
                <a:cubicBezTo>
                  <a:pt x="1114107" y="3429353"/>
                  <a:pt x="1108891" y="3429088"/>
                  <a:pt x="1104273" y="3430230"/>
                </a:cubicBezTo>
                <a:close/>
                <a:moveTo>
                  <a:pt x="1533773" y="3420295"/>
                </a:moveTo>
                <a:cubicBezTo>
                  <a:pt x="1532219" y="3419748"/>
                  <a:pt x="1530195" y="3420202"/>
                  <a:pt x="1528051" y="3421305"/>
                </a:cubicBezTo>
                <a:cubicBezTo>
                  <a:pt x="1523764" y="3423513"/>
                  <a:pt x="1518999" y="3428318"/>
                  <a:pt x="1516577" y="3432915"/>
                </a:cubicBezTo>
                <a:cubicBezTo>
                  <a:pt x="1524585" y="3438042"/>
                  <a:pt x="1528656" y="3420157"/>
                  <a:pt x="1536666" y="3425283"/>
                </a:cubicBezTo>
                <a:cubicBezTo>
                  <a:pt x="1536407" y="3422387"/>
                  <a:pt x="1535325" y="3420841"/>
                  <a:pt x="1533773" y="3420295"/>
                </a:cubicBezTo>
                <a:close/>
                <a:moveTo>
                  <a:pt x="948710" y="3419267"/>
                </a:moveTo>
                <a:cubicBezTo>
                  <a:pt x="941306" y="3423577"/>
                  <a:pt x="933507" y="3436684"/>
                  <a:pt x="947522" y="3445657"/>
                </a:cubicBezTo>
                <a:cubicBezTo>
                  <a:pt x="963123" y="3419442"/>
                  <a:pt x="956116" y="3414957"/>
                  <a:pt x="948710" y="3419267"/>
                </a:cubicBezTo>
                <a:close/>
                <a:moveTo>
                  <a:pt x="829233" y="3418922"/>
                </a:moveTo>
                <a:cubicBezTo>
                  <a:pt x="829183" y="3418374"/>
                  <a:pt x="829499" y="3418938"/>
                  <a:pt x="830161" y="3421069"/>
                </a:cubicBezTo>
                <a:lnTo>
                  <a:pt x="829851" y="3421154"/>
                </a:lnTo>
                <a:close/>
                <a:moveTo>
                  <a:pt x="6425691" y="3414916"/>
                </a:moveTo>
                <a:cubicBezTo>
                  <a:pt x="6423633" y="3414004"/>
                  <a:pt x="6421116" y="3414228"/>
                  <a:pt x="6418487" y="3415192"/>
                </a:cubicBezTo>
                <a:cubicBezTo>
                  <a:pt x="6413232" y="3417120"/>
                  <a:pt x="6407531" y="3422009"/>
                  <a:pt x="6404172" y="3426689"/>
                </a:cubicBezTo>
                <a:cubicBezTo>
                  <a:pt x="6415927" y="3431483"/>
                  <a:pt x="6422904" y="3425021"/>
                  <a:pt x="6430138" y="3421455"/>
                </a:cubicBezTo>
                <a:cubicBezTo>
                  <a:pt x="6429347" y="3417875"/>
                  <a:pt x="6427748" y="3415828"/>
                  <a:pt x="6425691" y="3414916"/>
                </a:cubicBezTo>
                <a:close/>
                <a:moveTo>
                  <a:pt x="901391" y="3409977"/>
                </a:moveTo>
                <a:cubicBezTo>
                  <a:pt x="897951" y="3408459"/>
                  <a:pt x="895722" y="3415228"/>
                  <a:pt x="905022" y="3434843"/>
                </a:cubicBezTo>
                <a:cubicBezTo>
                  <a:pt x="909481" y="3421303"/>
                  <a:pt x="904831" y="3411496"/>
                  <a:pt x="901391" y="3409977"/>
                </a:cubicBezTo>
                <a:close/>
                <a:moveTo>
                  <a:pt x="3330107" y="3407113"/>
                </a:moveTo>
                <a:cubicBezTo>
                  <a:pt x="3325489" y="3408254"/>
                  <a:pt x="3321466" y="3410803"/>
                  <a:pt x="3318110" y="3415484"/>
                </a:cubicBezTo>
                <a:cubicBezTo>
                  <a:pt x="3330124" y="3423174"/>
                  <a:pt x="3337615" y="3422506"/>
                  <a:pt x="3345690" y="3407184"/>
                </a:cubicBezTo>
                <a:cubicBezTo>
                  <a:pt x="3339939" y="3406237"/>
                  <a:pt x="3334726" y="3405970"/>
                  <a:pt x="3330107" y="3407113"/>
                </a:cubicBezTo>
                <a:close/>
                <a:moveTo>
                  <a:pt x="1070184" y="3402601"/>
                </a:moveTo>
                <a:cubicBezTo>
                  <a:pt x="1064308" y="3400204"/>
                  <a:pt x="1060477" y="3400911"/>
                  <a:pt x="1058260" y="3402844"/>
                </a:cubicBezTo>
                <a:cubicBezTo>
                  <a:pt x="1051608" y="3408638"/>
                  <a:pt x="1059479" y="3425460"/>
                  <a:pt x="1070184" y="3402601"/>
                </a:cubicBezTo>
                <a:close/>
                <a:moveTo>
                  <a:pt x="2859637" y="3397928"/>
                </a:moveTo>
                <a:cubicBezTo>
                  <a:pt x="2859121" y="3392134"/>
                  <a:pt x="2826370" y="3427177"/>
                  <a:pt x="2859637" y="3397928"/>
                </a:cubicBezTo>
                <a:close/>
                <a:moveTo>
                  <a:pt x="3759608" y="3397177"/>
                </a:moveTo>
                <a:cubicBezTo>
                  <a:pt x="3758055" y="3396631"/>
                  <a:pt x="3756030" y="3397086"/>
                  <a:pt x="3753887" y="3398189"/>
                </a:cubicBezTo>
                <a:cubicBezTo>
                  <a:pt x="3749599" y="3400397"/>
                  <a:pt x="3744834" y="3405202"/>
                  <a:pt x="3742412" y="3409799"/>
                </a:cubicBezTo>
                <a:cubicBezTo>
                  <a:pt x="3750421" y="3414926"/>
                  <a:pt x="3754490" y="3397040"/>
                  <a:pt x="3762501" y="3402167"/>
                </a:cubicBezTo>
                <a:cubicBezTo>
                  <a:pt x="3762242" y="3399270"/>
                  <a:pt x="3761160" y="3397724"/>
                  <a:pt x="3759608" y="3397177"/>
                </a:cubicBezTo>
                <a:close/>
                <a:moveTo>
                  <a:pt x="598992" y="3395703"/>
                </a:moveTo>
                <a:lnTo>
                  <a:pt x="603639" y="3400368"/>
                </a:lnTo>
                <a:cubicBezTo>
                  <a:pt x="597436" y="3415524"/>
                  <a:pt x="596405" y="3403934"/>
                  <a:pt x="585165" y="3404935"/>
                </a:cubicBezTo>
                <a:cubicBezTo>
                  <a:pt x="587522" y="3399615"/>
                  <a:pt x="591295" y="3396906"/>
                  <a:pt x="595909" y="3395719"/>
                </a:cubicBezTo>
                <a:close/>
                <a:moveTo>
                  <a:pt x="1213762" y="3394280"/>
                </a:moveTo>
                <a:cubicBezTo>
                  <a:pt x="1209555" y="3394746"/>
                  <a:pt x="1204488" y="3400125"/>
                  <a:pt x="1199625" y="3414431"/>
                </a:cubicBezTo>
                <a:cubicBezTo>
                  <a:pt x="1231260" y="3435707"/>
                  <a:pt x="1226381" y="3392881"/>
                  <a:pt x="1213762" y="3394280"/>
                </a:cubicBezTo>
                <a:close/>
                <a:moveTo>
                  <a:pt x="3275487" y="3390076"/>
                </a:moveTo>
                <a:cubicBezTo>
                  <a:pt x="3272509" y="3391072"/>
                  <a:pt x="3270021" y="3394945"/>
                  <a:pt x="3276963" y="3398705"/>
                </a:cubicBezTo>
                <a:cubicBezTo>
                  <a:pt x="3281940" y="3390962"/>
                  <a:pt x="3278468" y="3389080"/>
                  <a:pt x="3275487" y="3390076"/>
                </a:cubicBezTo>
                <a:close/>
                <a:moveTo>
                  <a:pt x="991095" y="3387381"/>
                </a:moveTo>
                <a:cubicBezTo>
                  <a:pt x="982571" y="3382117"/>
                  <a:pt x="952402" y="3405066"/>
                  <a:pt x="989122" y="3403984"/>
                </a:cubicBezTo>
                <a:cubicBezTo>
                  <a:pt x="994371" y="3394025"/>
                  <a:pt x="993935" y="3389135"/>
                  <a:pt x="991095" y="3387381"/>
                </a:cubicBezTo>
                <a:close/>
                <a:moveTo>
                  <a:pt x="3288552" y="3384395"/>
                </a:moveTo>
                <a:cubicBezTo>
                  <a:pt x="3287008" y="3384305"/>
                  <a:pt x="3285231" y="3385558"/>
                  <a:pt x="3283684" y="3389346"/>
                </a:cubicBezTo>
                <a:cubicBezTo>
                  <a:pt x="3295696" y="3397038"/>
                  <a:pt x="3293177" y="3384667"/>
                  <a:pt x="3288552" y="3384395"/>
                </a:cubicBezTo>
                <a:close/>
                <a:moveTo>
                  <a:pt x="1670825" y="3384123"/>
                </a:moveTo>
                <a:cubicBezTo>
                  <a:pt x="1663205" y="3383342"/>
                  <a:pt x="1655646" y="3383285"/>
                  <a:pt x="1648484" y="3385019"/>
                </a:cubicBezTo>
                <a:cubicBezTo>
                  <a:pt x="1641322" y="3386753"/>
                  <a:pt x="1634557" y="3390277"/>
                  <a:pt x="1628517" y="3396656"/>
                </a:cubicBezTo>
                <a:cubicBezTo>
                  <a:pt x="1645117" y="3392256"/>
                  <a:pt x="1652610" y="3391588"/>
                  <a:pt x="1670825" y="3384123"/>
                </a:cubicBezTo>
                <a:close/>
                <a:moveTo>
                  <a:pt x="1025004" y="3375279"/>
                </a:moveTo>
                <a:cubicBezTo>
                  <a:pt x="1020774" y="3372506"/>
                  <a:pt x="1033028" y="3414675"/>
                  <a:pt x="1035694" y="3396914"/>
                </a:cubicBezTo>
                <a:cubicBezTo>
                  <a:pt x="1029655" y="3382120"/>
                  <a:pt x="1026414" y="3376203"/>
                  <a:pt x="1025004" y="3375279"/>
                </a:cubicBezTo>
                <a:close/>
                <a:moveTo>
                  <a:pt x="3439597" y="3371164"/>
                </a:moveTo>
                <a:cubicBezTo>
                  <a:pt x="3435390" y="3371630"/>
                  <a:pt x="3430322" y="3377009"/>
                  <a:pt x="3425463" y="3391315"/>
                </a:cubicBezTo>
                <a:cubicBezTo>
                  <a:pt x="3457095" y="3412589"/>
                  <a:pt x="3452215" y="3369765"/>
                  <a:pt x="3439597" y="3371164"/>
                </a:cubicBezTo>
                <a:close/>
                <a:moveTo>
                  <a:pt x="1049971" y="3366437"/>
                </a:moveTo>
                <a:cubicBezTo>
                  <a:pt x="1046158" y="3387219"/>
                  <a:pt x="1064698" y="3362204"/>
                  <a:pt x="1049971" y="3366437"/>
                </a:cubicBezTo>
                <a:close/>
                <a:moveTo>
                  <a:pt x="3896662" y="3361008"/>
                </a:moveTo>
                <a:cubicBezTo>
                  <a:pt x="3889037" y="3360227"/>
                  <a:pt x="3881482" y="3360170"/>
                  <a:pt x="3874321" y="3361903"/>
                </a:cubicBezTo>
                <a:cubicBezTo>
                  <a:pt x="3867157" y="3363637"/>
                  <a:pt x="3860391" y="3367161"/>
                  <a:pt x="3854350" y="3373539"/>
                </a:cubicBezTo>
                <a:cubicBezTo>
                  <a:pt x="3870953" y="3369139"/>
                  <a:pt x="3878444" y="3368471"/>
                  <a:pt x="3896662" y="3361008"/>
                </a:cubicBezTo>
                <a:close/>
                <a:moveTo>
                  <a:pt x="1978930" y="3355774"/>
                </a:moveTo>
                <a:cubicBezTo>
                  <a:pt x="1978925" y="3358745"/>
                  <a:pt x="1980810" y="3369460"/>
                  <a:pt x="1983063" y="3370903"/>
                </a:cubicBezTo>
                <a:cubicBezTo>
                  <a:pt x="1981353" y="3362294"/>
                  <a:pt x="1980246" y="3357829"/>
                  <a:pt x="1979615" y="3356014"/>
                </a:cubicBezTo>
                <a:cubicBezTo>
                  <a:pt x="1979138" y="3354653"/>
                  <a:pt x="1978930" y="3354783"/>
                  <a:pt x="1978930" y="3355774"/>
                </a:cubicBezTo>
                <a:close/>
                <a:moveTo>
                  <a:pt x="1765781" y="3351249"/>
                </a:moveTo>
                <a:cubicBezTo>
                  <a:pt x="1753239" y="3347575"/>
                  <a:pt x="1714554" y="3366355"/>
                  <a:pt x="1765325" y="3364021"/>
                </a:cubicBezTo>
                <a:cubicBezTo>
                  <a:pt x="1771236" y="3356194"/>
                  <a:pt x="1769959" y="3352473"/>
                  <a:pt x="1765781" y="3351249"/>
                </a:cubicBezTo>
                <a:close/>
                <a:moveTo>
                  <a:pt x="6602683" y="3350226"/>
                </a:moveTo>
                <a:cubicBezTo>
                  <a:pt x="6600843" y="3350754"/>
                  <a:pt x="6598629" y="3352411"/>
                  <a:pt x="6595691" y="3351213"/>
                </a:cubicBezTo>
                <a:cubicBezTo>
                  <a:pt x="6590845" y="3360405"/>
                  <a:pt x="6602601" y="3365200"/>
                  <a:pt x="6607446" y="3356007"/>
                </a:cubicBezTo>
                <a:cubicBezTo>
                  <a:pt x="6605994" y="3350296"/>
                  <a:pt x="6604524" y="3349697"/>
                  <a:pt x="6602683" y="3350226"/>
                </a:cubicBezTo>
                <a:close/>
                <a:moveTo>
                  <a:pt x="1367568" y="3349818"/>
                </a:moveTo>
                <a:cubicBezTo>
                  <a:pt x="1364597" y="3358843"/>
                  <a:pt x="1358720" y="3356446"/>
                  <a:pt x="1355748" y="3365473"/>
                </a:cubicBezTo>
                <a:cubicBezTo>
                  <a:pt x="1361884" y="3370767"/>
                  <a:pt x="1379582" y="3357508"/>
                  <a:pt x="1367568" y="3349818"/>
                </a:cubicBezTo>
                <a:close/>
                <a:moveTo>
                  <a:pt x="5550576" y="3348973"/>
                </a:moveTo>
                <a:cubicBezTo>
                  <a:pt x="5546797" y="3346296"/>
                  <a:pt x="5535207" y="3363209"/>
                  <a:pt x="5550465" y="3359661"/>
                </a:cubicBezTo>
                <a:cubicBezTo>
                  <a:pt x="5552227" y="3352933"/>
                  <a:pt x="5551836" y="3349863"/>
                  <a:pt x="5550576" y="3348973"/>
                </a:cubicBezTo>
                <a:close/>
                <a:moveTo>
                  <a:pt x="5216915" y="3345576"/>
                </a:moveTo>
                <a:cubicBezTo>
                  <a:pt x="5258575" y="3368147"/>
                  <a:pt x="5150257" y="3360276"/>
                  <a:pt x="5216915" y="3345576"/>
                </a:cubicBezTo>
                <a:close/>
                <a:moveTo>
                  <a:pt x="5527523" y="3343817"/>
                </a:moveTo>
                <a:cubicBezTo>
                  <a:pt x="5522386" y="3346465"/>
                  <a:pt x="5513296" y="3355672"/>
                  <a:pt x="5499052" y="3375923"/>
                </a:cubicBezTo>
                <a:cubicBezTo>
                  <a:pt x="5522691" y="3386960"/>
                  <a:pt x="5542918" y="3335874"/>
                  <a:pt x="5527523" y="3343817"/>
                </a:cubicBezTo>
                <a:close/>
                <a:moveTo>
                  <a:pt x="3593402" y="3326701"/>
                </a:moveTo>
                <a:cubicBezTo>
                  <a:pt x="3590432" y="3335727"/>
                  <a:pt x="3584556" y="3333330"/>
                  <a:pt x="3581582" y="3342355"/>
                </a:cubicBezTo>
                <a:cubicBezTo>
                  <a:pt x="3587717" y="3347651"/>
                  <a:pt x="3605417" y="3334391"/>
                  <a:pt x="3593402" y="3326701"/>
                </a:cubicBezTo>
                <a:close/>
                <a:moveTo>
                  <a:pt x="1485814" y="3307520"/>
                </a:moveTo>
                <a:cubicBezTo>
                  <a:pt x="1483206" y="3307388"/>
                  <a:pt x="1480994" y="3309046"/>
                  <a:pt x="1479507" y="3313558"/>
                </a:cubicBezTo>
                <a:cubicBezTo>
                  <a:pt x="1485644" y="3318851"/>
                  <a:pt x="1491263" y="3318350"/>
                  <a:pt x="1494493" y="3312222"/>
                </a:cubicBezTo>
                <a:cubicBezTo>
                  <a:pt x="1491426" y="3309575"/>
                  <a:pt x="1488422" y="3307652"/>
                  <a:pt x="1485814" y="3307520"/>
                </a:cubicBezTo>
                <a:close/>
                <a:moveTo>
                  <a:pt x="1557479" y="3306610"/>
                </a:moveTo>
                <a:cubicBezTo>
                  <a:pt x="1550820" y="3308664"/>
                  <a:pt x="1537158" y="3314263"/>
                  <a:pt x="1536478" y="3317243"/>
                </a:cubicBezTo>
                <a:cubicBezTo>
                  <a:pt x="1563800" y="3306046"/>
                  <a:pt x="1564141" y="3304557"/>
                  <a:pt x="1557479" y="3306610"/>
                </a:cubicBezTo>
                <a:close/>
                <a:moveTo>
                  <a:pt x="5346599" y="3302852"/>
                </a:moveTo>
                <a:cubicBezTo>
                  <a:pt x="5348138" y="3303217"/>
                  <a:pt x="5349202" y="3304583"/>
                  <a:pt x="5349460" y="3307480"/>
                </a:cubicBezTo>
                <a:cubicBezTo>
                  <a:pt x="5341711" y="3305250"/>
                  <a:pt x="5337380" y="3320238"/>
                  <a:pt x="5329114" y="3312214"/>
                </a:cubicBezTo>
                <a:cubicBezTo>
                  <a:pt x="5331795" y="3310515"/>
                  <a:pt x="5336624" y="3306433"/>
                  <a:pt x="5340911" y="3304227"/>
                </a:cubicBezTo>
                <a:cubicBezTo>
                  <a:pt x="5343055" y="3303123"/>
                  <a:pt x="5345063" y="3302488"/>
                  <a:pt x="5346599" y="3302852"/>
                </a:cubicBezTo>
                <a:close/>
                <a:moveTo>
                  <a:pt x="689044" y="3296746"/>
                </a:moveTo>
                <a:cubicBezTo>
                  <a:pt x="686161" y="3298828"/>
                  <a:pt x="681123" y="3305849"/>
                  <a:pt x="682576" y="3311560"/>
                </a:cubicBezTo>
                <a:cubicBezTo>
                  <a:pt x="692653" y="3297520"/>
                  <a:pt x="691926" y="3294664"/>
                  <a:pt x="689044" y="3296746"/>
                </a:cubicBezTo>
                <a:close/>
                <a:moveTo>
                  <a:pt x="1923676" y="3287119"/>
                </a:moveTo>
                <a:cubicBezTo>
                  <a:pt x="1919525" y="3288220"/>
                  <a:pt x="1915505" y="3290769"/>
                  <a:pt x="1912143" y="3295448"/>
                </a:cubicBezTo>
                <a:cubicBezTo>
                  <a:pt x="1920154" y="3300576"/>
                  <a:pt x="1929261" y="3296843"/>
                  <a:pt x="1935981" y="3287484"/>
                </a:cubicBezTo>
                <a:cubicBezTo>
                  <a:pt x="1932104" y="3286368"/>
                  <a:pt x="1927825" y="3286020"/>
                  <a:pt x="1923676" y="3287119"/>
                </a:cubicBezTo>
                <a:close/>
                <a:moveTo>
                  <a:pt x="3711649" y="3284403"/>
                </a:moveTo>
                <a:cubicBezTo>
                  <a:pt x="3709042" y="3284271"/>
                  <a:pt x="3706830" y="3285928"/>
                  <a:pt x="3705345" y="3290441"/>
                </a:cubicBezTo>
                <a:cubicBezTo>
                  <a:pt x="3711479" y="3295735"/>
                  <a:pt x="3717100" y="3295234"/>
                  <a:pt x="3720328" y="3289106"/>
                </a:cubicBezTo>
                <a:cubicBezTo>
                  <a:pt x="3717262" y="3286459"/>
                  <a:pt x="3714258" y="3284536"/>
                  <a:pt x="3711649" y="3284403"/>
                </a:cubicBezTo>
                <a:close/>
                <a:moveTo>
                  <a:pt x="3783313" y="3283494"/>
                </a:moveTo>
                <a:cubicBezTo>
                  <a:pt x="3776654" y="3285547"/>
                  <a:pt x="3762991" y="3291145"/>
                  <a:pt x="3762312" y="3294126"/>
                </a:cubicBezTo>
                <a:cubicBezTo>
                  <a:pt x="3789637" y="3282930"/>
                  <a:pt x="3789976" y="3281440"/>
                  <a:pt x="3783313" y="3283494"/>
                </a:cubicBezTo>
                <a:close/>
                <a:moveTo>
                  <a:pt x="1807736" y="3266059"/>
                </a:moveTo>
                <a:lnTo>
                  <a:pt x="1806796" y="3278552"/>
                </a:lnTo>
                <a:cubicBezTo>
                  <a:pt x="1800322" y="3274748"/>
                  <a:pt x="1798759" y="3271785"/>
                  <a:pt x="1800092" y="3269521"/>
                </a:cubicBezTo>
                <a:close/>
                <a:moveTo>
                  <a:pt x="1765462" y="3238428"/>
                </a:moveTo>
                <a:cubicBezTo>
                  <a:pt x="1756095" y="3239263"/>
                  <a:pt x="1745114" y="3243162"/>
                  <a:pt x="1736781" y="3255587"/>
                </a:cubicBezTo>
                <a:cubicBezTo>
                  <a:pt x="1746146" y="3254752"/>
                  <a:pt x="1757128" y="3250853"/>
                  <a:pt x="1765462" y="3238428"/>
                </a:cubicBezTo>
                <a:close/>
                <a:moveTo>
                  <a:pt x="4036801" y="3236814"/>
                </a:moveTo>
                <a:lnTo>
                  <a:pt x="4035860" y="3249306"/>
                </a:lnTo>
                <a:cubicBezTo>
                  <a:pt x="4029389" y="3245502"/>
                  <a:pt x="4027825" y="3242539"/>
                  <a:pt x="4029157" y="3240275"/>
                </a:cubicBezTo>
                <a:close/>
                <a:moveTo>
                  <a:pt x="1875366" y="3227340"/>
                </a:moveTo>
                <a:lnTo>
                  <a:pt x="1867386" y="3238107"/>
                </a:lnTo>
                <a:lnTo>
                  <a:pt x="1868550" y="3228732"/>
                </a:lnTo>
                <a:close/>
                <a:moveTo>
                  <a:pt x="3991296" y="3215311"/>
                </a:moveTo>
                <a:cubicBezTo>
                  <a:pt x="3981930" y="3216146"/>
                  <a:pt x="3970951" y="3220045"/>
                  <a:pt x="3962616" y="3232470"/>
                </a:cubicBezTo>
                <a:cubicBezTo>
                  <a:pt x="3971982" y="3231635"/>
                  <a:pt x="3982965" y="3227736"/>
                  <a:pt x="3991296" y="3215311"/>
                </a:cubicBezTo>
                <a:close/>
                <a:moveTo>
                  <a:pt x="1951930" y="3214877"/>
                </a:moveTo>
                <a:cubicBezTo>
                  <a:pt x="1943364" y="3216734"/>
                  <a:pt x="1935789" y="3221789"/>
                  <a:pt x="1954911" y="3224467"/>
                </a:cubicBezTo>
                <a:cubicBezTo>
                  <a:pt x="1970058" y="3214357"/>
                  <a:pt x="1960498" y="3213018"/>
                  <a:pt x="1951930" y="3214877"/>
                </a:cubicBezTo>
                <a:close/>
                <a:moveTo>
                  <a:pt x="4192497" y="3210314"/>
                </a:moveTo>
                <a:cubicBezTo>
                  <a:pt x="4200732" y="3208833"/>
                  <a:pt x="4206264" y="3209664"/>
                  <a:pt x="4208257" y="3213501"/>
                </a:cubicBezTo>
                <a:lnTo>
                  <a:pt x="4204588" y="3214149"/>
                </a:lnTo>
                <a:lnTo>
                  <a:pt x="4204512" y="3213835"/>
                </a:lnTo>
                <a:cubicBezTo>
                  <a:pt x="4199910" y="3209864"/>
                  <a:pt x="4192886" y="3210490"/>
                  <a:pt x="4183906" y="3215671"/>
                </a:cubicBezTo>
                <a:lnTo>
                  <a:pt x="4186981" y="3212157"/>
                </a:lnTo>
                <a:close/>
                <a:moveTo>
                  <a:pt x="4105838" y="3197809"/>
                </a:moveTo>
                <a:lnTo>
                  <a:pt x="4105388" y="3198573"/>
                </a:lnTo>
                <a:cubicBezTo>
                  <a:pt x="4102673" y="3202558"/>
                  <a:pt x="4098727" y="3207930"/>
                  <a:pt x="4093220" y="3214991"/>
                </a:cubicBezTo>
                <a:cubicBezTo>
                  <a:pt x="4090281" y="3213792"/>
                  <a:pt x="4091564" y="3209663"/>
                  <a:pt x="4094455" y="3205024"/>
                </a:cubicBezTo>
                <a:lnTo>
                  <a:pt x="4099385" y="3199124"/>
                </a:lnTo>
                <a:close/>
                <a:moveTo>
                  <a:pt x="4177763" y="3191759"/>
                </a:moveTo>
                <a:cubicBezTo>
                  <a:pt x="4169197" y="3193617"/>
                  <a:pt x="4161623" y="3198674"/>
                  <a:pt x="4180742" y="3201350"/>
                </a:cubicBezTo>
                <a:cubicBezTo>
                  <a:pt x="4195890" y="3191240"/>
                  <a:pt x="4186332" y="3189901"/>
                  <a:pt x="4177763" y="3191759"/>
                </a:cubicBezTo>
                <a:close/>
                <a:moveTo>
                  <a:pt x="2092298" y="3177178"/>
                </a:moveTo>
                <a:cubicBezTo>
                  <a:pt x="2136156" y="3182030"/>
                  <a:pt x="2086937" y="3180576"/>
                  <a:pt x="2092298" y="3177178"/>
                </a:cubicBezTo>
                <a:close/>
                <a:moveTo>
                  <a:pt x="773736" y="3165947"/>
                </a:moveTo>
                <a:cubicBezTo>
                  <a:pt x="768487" y="3164635"/>
                  <a:pt x="760529" y="3174652"/>
                  <a:pt x="759512" y="3179124"/>
                </a:cubicBezTo>
                <a:cubicBezTo>
                  <a:pt x="768619" y="3175391"/>
                  <a:pt x="768360" y="3172494"/>
                  <a:pt x="777727" y="3171659"/>
                </a:cubicBezTo>
                <a:cubicBezTo>
                  <a:pt x="776937" y="3168080"/>
                  <a:pt x="775487" y="3166384"/>
                  <a:pt x="773736" y="3165947"/>
                </a:cubicBezTo>
                <a:close/>
                <a:moveTo>
                  <a:pt x="4318131" y="3154062"/>
                </a:moveTo>
                <a:cubicBezTo>
                  <a:pt x="4361989" y="3158914"/>
                  <a:pt x="4312770" y="3157460"/>
                  <a:pt x="4318131" y="3154062"/>
                </a:cubicBezTo>
                <a:close/>
                <a:moveTo>
                  <a:pt x="2245575" y="3153356"/>
                </a:moveTo>
                <a:lnTo>
                  <a:pt x="2239724" y="3156768"/>
                </a:lnTo>
                <a:lnTo>
                  <a:pt x="2162624" y="3155943"/>
                </a:lnTo>
                <a:cubicBezTo>
                  <a:pt x="2082063" y="3157647"/>
                  <a:pt x="1994538" y="3171287"/>
                  <a:pt x="1958074" y="3238787"/>
                </a:cubicBezTo>
                <a:cubicBezTo>
                  <a:pt x="1976033" y="3228426"/>
                  <a:pt x="1986170" y="3236283"/>
                  <a:pt x="1984750" y="3262694"/>
                </a:cubicBezTo>
                <a:cubicBezTo>
                  <a:pt x="2024734" y="3224086"/>
                  <a:pt x="2138933" y="3234353"/>
                  <a:pt x="2147524" y="3224825"/>
                </a:cubicBezTo>
                <a:cubicBezTo>
                  <a:pt x="2140580" y="3221065"/>
                  <a:pt x="2170680" y="3198669"/>
                  <a:pt x="2202848" y="3178278"/>
                </a:cubicBezTo>
                <a:lnTo>
                  <a:pt x="2239724" y="3156768"/>
                </a:lnTo>
                <a:lnTo>
                  <a:pt x="2246300" y="3156839"/>
                </a:lnTo>
                <a:close/>
                <a:moveTo>
                  <a:pt x="7270825" y="3138456"/>
                </a:moveTo>
                <a:cubicBezTo>
                  <a:pt x="7266376" y="3138853"/>
                  <a:pt x="7262613" y="3144299"/>
                  <a:pt x="7272883" y="3153605"/>
                </a:cubicBezTo>
                <a:cubicBezTo>
                  <a:pt x="7280409" y="3142713"/>
                  <a:pt x="7275273" y="3138060"/>
                  <a:pt x="7270825" y="3138456"/>
                </a:cubicBezTo>
                <a:close/>
                <a:moveTo>
                  <a:pt x="4506289" y="3125613"/>
                </a:moveTo>
                <a:lnTo>
                  <a:pt x="4508866" y="3133155"/>
                </a:lnTo>
                <a:lnTo>
                  <a:pt x="4502378" y="3133603"/>
                </a:lnTo>
                <a:lnTo>
                  <a:pt x="4502486" y="3133253"/>
                </a:lnTo>
                <a:cubicBezTo>
                  <a:pt x="4502527" y="3131058"/>
                  <a:pt x="4502804" y="3128845"/>
                  <a:pt x="4506289" y="3125613"/>
                </a:cubicBezTo>
                <a:close/>
                <a:moveTo>
                  <a:pt x="4496408" y="3120652"/>
                </a:moveTo>
                <a:lnTo>
                  <a:pt x="4483211" y="3133841"/>
                </a:lnTo>
                <a:lnTo>
                  <a:pt x="4474689" y="3133750"/>
                </a:lnTo>
                <a:lnTo>
                  <a:pt x="4474587" y="3128491"/>
                </a:lnTo>
                <a:close/>
                <a:moveTo>
                  <a:pt x="7404727" y="3092757"/>
                </a:moveTo>
                <a:cubicBezTo>
                  <a:pt x="7403171" y="3092166"/>
                  <a:pt x="7401138" y="3092528"/>
                  <a:pt x="7398977" y="3093452"/>
                </a:cubicBezTo>
                <a:cubicBezTo>
                  <a:pt x="7394658" y="3095296"/>
                  <a:pt x="7389830" y="3099377"/>
                  <a:pt x="7387279" y="3102525"/>
                </a:cubicBezTo>
                <a:cubicBezTo>
                  <a:pt x="7395544" y="3110549"/>
                  <a:pt x="7399616" y="3092663"/>
                  <a:pt x="7407625" y="3097790"/>
                </a:cubicBezTo>
                <a:cubicBezTo>
                  <a:pt x="7407366" y="3094894"/>
                  <a:pt x="7406285" y="3093348"/>
                  <a:pt x="7404727" y="3092757"/>
                </a:cubicBezTo>
                <a:close/>
                <a:moveTo>
                  <a:pt x="6096673" y="3048143"/>
                </a:moveTo>
                <a:cubicBezTo>
                  <a:pt x="6096076" y="3046736"/>
                  <a:pt x="6090238" y="3047440"/>
                  <a:pt x="6081989" y="3049224"/>
                </a:cubicBezTo>
                <a:cubicBezTo>
                  <a:pt x="6057243" y="3054578"/>
                  <a:pt x="6010797" y="3069668"/>
                  <a:pt x="6019033" y="3066744"/>
                </a:cubicBezTo>
                <a:cubicBezTo>
                  <a:pt x="6026459" y="3086525"/>
                  <a:pt x="6095574" y="3057003"/>
                  <a:pt x="6096931" y="3051040"/>
                </a:cubicBezTo>
                <a:cubicBezTo>
                  <a:pt x="6095057" y="3051207"/>
                  <a:pt x="6095057" y="3051207"/>
                  <a:pt x="6096673" y="3048143"/>
                </a:cubicBezTo>
                <a:close/>
                <a:moveTo>
                  <a:pt x="7937544" y="2927270"/>
                </a:moveTo>
                <a:cubicBezTo>
                  <a:pt x="7937607" y="2928634"/>
                  <a:pt x="7938047" y="2932246"/>
                  <a:pt x="7939160" y="2939448"/>
                </a:cubicBezTo>
                <a:cubicBezTo>
                  <a:pt x="7940566" y="2939323"/>
                  <a:pt x="7937356" y="2923181"/>
                  <a:pt x="7937544" y="2927270"/>
                </a:cubicBezTo>
                <a:close/>
                <a:moveTo>
                  <a:pt x="7980565" y="2906188"/>
                </a:moveTo>
                <a:cubicBezTo>
                  <a:pt x="7971039" y="2905211"/>
                  <a:pt x="7965192" y="2913764"/>
                  <a:pt x="7991608" y="2934774"/>
                </a:cubicBezTo>
                <a:cubicBezTo>
                  <a:pt x="8003301" y="2917669"/>
                  <a:pt x="7990093" y="2907164"/>
                  <a:pt x="7980565" y="2906188"/>
                </a:cubicBezTo>
                <a:close/>
                <a:moveTo>
                  <a:pt x="8021041" y="2891630"/>
                </a:moveTo>
                <a:cubicBezTo>
                  <a:pt x="8015688" y="2892471"/>
                  <a:pt x="8009924" y="2896636"/>
                  <a:pt x="8011504" y="2903796"/>
                </a:cubicBezTo>
                <a:cubicBezTo>
                  <a:pt x="8017382" y="2906193"/>
                  <a:pt x="8022485" y="2899896"/>
                  <a:pt x="8028105" y="2899395"/>
                </a:cubicBezTo>
                <a:cubicBezTo>
                  <a:pt x="8031335" y="2893267"/>
                  <a:pt x="8026394" y="2890787"/>
                  <a:pt x="8021041" y="2891630"/>
                </a:cubicBezTo>
                <a:close/>
                <a:moveTo>
                  <a:pt x="1109464" y="2884942"/>
                </a:moveTo>
                <a:lnTo>
                  <a:pt x="1058541" y="2904134"/>
                </a:lnTo>
                <a:cubicBezTo>
                  <a:pt x="932282" y="2952176"/>
                  <a:pt x="821263" y="2995471"/>
                  <a:pt x="787619" y="3007231"/>
                </a:cubicBezTo>
                <a:cubicBezTo>
                  <a:pt x="880327" y="2961734"/>
                  <a:pt x="976462" y="2926882"/>
                  <a:pt x="1073843" y="2895753"/>
                </a:cubicBezTo>
                <a:close/>
                <a:moveTo>
                  <a:pt x="8186481" y="2829065"/>
                </a:moveTo>
                <a:cubicBezTo>
                  <a:pt x="8179097" y="2828626"/>
                  <a:pt x="8167869" y="2841673"/>
                  <a:pt x="8160457" y="2837953"/>
                </a:cubicBezTo>
                <a:cubicBezTo>
                  <a:pt x="8165752" y="2855005"/>
                  <a:pt x="8180804" y="2833220"/>
                  <a:pt x="8192301" y="2835117"/>
                </a:cubicBezTo>
                <a:cubicBezTo>
                  <a:pt x="8190977" y="2830853"/>
                  <a:pt x="8188943" y="2829211"/>
                  <a:pt x="8186481" y="2829065"/>
                </a:cubicBezTo>
                <a:close/>
                <a:moveTo>
                  <a:pt x="8298195" y="2812127"/>
                </a:moveTo>
                <a:cubicBezTo>
                  <a:pt x="8296271" y="2812709"/>
                  <a:pt x="8294293" y="2814346"/>
                  <a:pt x="8292678" y="2817410"/>
                </a:cubicBezTo>
                <a:cubicBezTo>
                  <a:pt x="8296682" y="2819973"/>
                  <a:pt x="8298814" y="2822704"/>
                  <a:pt x="8302817" y="2825268"/>
                </a:cubicBezTo>
                <a:cubicBezTo>
                  <a:pt x="8307113" y="2820505"/>
                  <a:pt x="8306193" y="2815476"/>
                  <a:pt x="8303392" y="2813170"/>
                </a:cubicBezTo>
                <a:cubicBezTo>
                  <a:pt x="8301991" y="2812016"/>
                  <a:pt x="8300120" y="2811545"/>
                  <a:pt x="8298195" y="2812127"/>
                </a:cubicBezTo>
                <a:close/>
                <a:moveTo>
                  <a:pt x="8251072" y="2811731"/>
                </a:moveTo>
                <a:cubicBezTo>
                  <a:pt x="8250135" y="2811085"/>
                  <a:pt x="8249618" y="2811242"/>
                  <a:pt x="8250011" y="2812678"/>
                </a:cubicBezTo>
                <a:cubicBezTo>
                  <a:pt x="8250536" y="2814594"/>
                  <a:pt x="8252680" y="2818784"/>
                  <a:pt x="8257604" y="2826376"/>
                </a:cubicBezTo>
                <a:cubicBezTo>
                  <a:pt x="8260475" y="2822835"/>
                  <a:pt x="8253883" y="2813668"/>
                  <a:pt x="8251072" y="2811731"/>
                </a:cubicBezTo>
                <a:close/>
                <a:moveTo>
                  <a:pt x="29569" y="2793661"/>
                </a:moveTo>
                <a:lnTo>
                  <a:pt x="32338" y="2799599"/>
                </a:lnTo>
                <a:cubicBezTo>
                  <a:pt x="32994" y="2805975"/>
                  <a:pt x="29372" y="2809036"/>
                  <a:pt x="18084" y="2804200"/>
                </a:cubicBezTo>
                <a:close/>
                <a:moveTo>
                  <a:pt x="8388797" y="2786347"/>
                </a:moveTo>
                <a:cubicBezTo>
                  <a:pt x="8384012" y="2788281"/>
                  <a:pt x="8394670" y="2796639"/>
                  <a:pt x="8399515" y="2787446"/>
                </a:cubicBezTo>
                <a:cubicBezTo>
                  <a:pt x="8393702" y="2785774"/>
                  <a:pt x="8390392" y="2785705"/>
                  <a:pt x="8388797" y="2786347"/>
                </a:cubicBezTo>
                <a:close/>
                <a:moveTo>
                  <a:pt x="8443437" y="2771850"/>
                </a:moveTo>
                <a:cubicBezTo>
                  <a:pt x="8441161" y="2772783"/>
                  <a:pt x="8439013" y="2775165"/>
                  <a:pt x="8436461" y="2778312"/>
                </a:cubicBezTo>
                <a:cubicBezTo>
                  <a:pt x="8442598" y="2783607"/>
                  <a:pt x="8446086" y="2780376"/>
                  <a:pt x="8451188" y="2774080"/>
                </a:cubicBezTo>
                <a:cubicBezTo>
                  <a:pt x="8448121" y="2771433"/>
                  <a:pt x="8445714" y="2770918"/>
                  <a:pt x="8443437" y="2771850"/>
                </a:cubicBezTo>
                <a:close/>
                <a:moveTo>
                  <a:pt x="1489924" y="2765261"/>
                </a:moveTo>
                <a:lnTo>
                  <a:pt x="1486639" y="2771172"/>
                </a:lnTo>
                <a:cubicBezTo>
                  <a:pt x="1484126" y="2772126"/>
                  <a:pt x="1481252" y="2771652"/>
                  <a:pt x="1480187" y="2770286"/>
                </a:cubicBezTo>
                <a:lnTo>
                  <a:pt x="1481152" y="2768224"/>
                </a:lnTo>
                <a:close/>
                <a:moveTo>
                  <a:pt x="8425756" y="2764117"/>
                </a:moveTo>
                <a:cubicBezTo>
                  <a:pt x="8421784" y="2767209"/>
                  <a:pt x="8422752" y="2778075"/>
                  <a:pt x="8427354" y="2782045"/>
                </a:cubicBezTo>
                <a:cubicBezTo>
                  <a:pt x="8432456" y="2775749"/>
                  <a:pt x="8428194" y="2770288"/>
                  <a:pt x="8431423" y="2764159"/>
                </a:cubicBezTo>
                <a:cubicBezTo>
                  <a:pt x="8428953" y="2762920"/>
                  <a:pt x="8427080" y="2763087"/>
                  <a:pt x="8425756" y="2764117"/>
                </a:cubicBezTo>
                <a:close/>
                <a:moveTo>
                  <a:pt x="4163" y="2758211"/>
                </a:moveTo>
                <a:cubicBezTo>
                  <a:pt x="6272" y="2758866"/>
                  <a:pt x="9006" y="2760985"/>
                  <a:pt x="11940" y="2763992"/>
                </a:cubicBezTo>
                <a:lnTo>
                  <a:pt x="13714" y="2766189"/>
                </a:lnTo>
                <a:lnTo>
                  <a:pt x="2390" y="2776393"/>
                </a:lnTo>
                <a:cubicBezTo>
                  <a:pt x="-1774" y="2761432"/>
                  <a:pt x="-55" y="2756898"/>
                  <a:pt x="4163" y="2758211"/>
                </a:cubicBezTo>
                <a:close/>
                <a:moveTo>
                  <a:pt x="8476995" y="2756448"/>
                </a:moveTo>
                <a:cubicBezTo>
                  <a:pt x="8472990" y="2753884"/>
                  <a:pt x="8474119" y="2755974"/>
                  <a:pt x="8492399" y="2770408"/>
                </a:cubicBezTo>
                <a:cubicBezTo>
                  <a:pt x="8490138" y="2766228"/>
                  <a:pt x="8480998" y="2759012"/>
                  <a:pt x="8476995" y="2756448"/>
                </a:cubicBezTo>
                <a:close/>
                <a:moveTo>
                  <a:pt x="1497718" y="2750132"/>
                </a:moveTo>
                <a:lnTo>
                  <a:pt x="1497570" y="2750166"/>
                </a:lnTo>
                <a:cubicBezTo>
                  <a:pt x="1496137" y="2751982"/>
                  <a:pt x="1502157" y="2754640"/>
                  <a:pt x="1510626" y="2756988"/>
                </a:cubicBezTo>
                <a:lnTo>
                  <a:pt x="1513102" y="2757431"/>
                </a:lnTo>
                <a:lnTo>
                  <a:pt x="1489924" y="2765261"/>
                </a:lnTo>
                <a:lnTo>
                  <a:pt x="1490910" y="2763491"/>
                </a:lnTo>
                <a:cubicBezTo>
                  <a:pt x="1489974" y="2763574"/>
                  <a:pt x="1486566" y="2762417"/>
                  <a:pt x="1483756" y="2762667"/>
                </a:cubicBezTo>
                <a:lnTo>
                  <a:pt x="1481152" y="2768224"/>
                </a:lnTo>
                <a:lnTo>
                  <a:pt x="1367545" y="2806609"/>
                </a:lnTo>
                <a:lnTo>
                  <a:pt x="1282137" y="2832532"/>
                </a:lnTo>
                <a:lnTo>
                  <a:pt x="1248992" y="2840172"/>
                </a:lnTo>
                <a:cubicBezTo>
                  <a:pt x="1222444" y="2846827"/>
                  <a:pt x="1196216" y="2854070"/>
                  <a:pt x="1170801" y="2862374"/>
                </a:cubicBezTo>
                <a:lnTo>
                  <a:pt x="1125101" y="2880195"/>
                </a:lnTo>
                <a:lnTo>
                  <a:pt x="1109464" y="2884942"/>
                </a:lnTo>
                <a:lnTo>
                  <a:pt x="1187581" y="2855501"/>
                </a:lnTo>
                <a:cubicBezTo>
                  <a:pt x="1317099" y="2807272"/>
                  <a:pt x="1441148" y="2763225"/>
                  <a:pt x="1497596" y="2750152"/>
                </a:cubicBezTo>
                <a:close/>
                <a:moveTo>
                  <a:pt x="1505928" y="2748217"/>
                </a:moveTo>
                <a:lnTo>
                  <a:pt x="1508735" y="2748238"/>
                </a:lnTo>
                <a:lnTo>
                  <a:pt x="1497718" y="2750132"/>
                </a:lnTo>
                <a:close/>
                <a:moveTo>
                  <a:pt x="1519901" y="2746321"/>
                </a:moveTo>
                <a:cubicBezTo>
                  <a:pt x="1525266" y="2745987"/>
                  <a:pt x="1528466" y="2746637"/>
                  <a:pt x="1529213" y="2748395"/>
                </a:cubicBezTo>
                <a:lnTo>
                  <a:pt x="1508735" y="2748238"/>
                </a:lnTo>
                <a:close/>
                <a:moveTo>
                  <a:pt x="53439" y="2732829"/>
                </a:moveTo>
                <a:cubicBezTo>
                  <a:pt x="48420" y="2730128"/>
                  <a:pt x="61801" y="2749197"/>
                  <a:pt x="65629" y="2744474"/>
                </a:cubicBezTo>
                <a:cubicBezTo>
                  <a:pt x="58830" y="2737049"/>
                  <a:pt x="55112" y="2733729"/>
                  <a:pt x="53439" y="2732829"/>
                </a:cubicBezTo>
                <a:close/>
                <a:moveTo>
                  <a:pt x="1617576" y="2722998"/>
                </a:moveTo>
                <a:cubicBezTo>
                  <a:pt x="1597745" y="2733527"/>
                  <a:pt x="1568615" y="2724441"/>
                  <a:pt x="1559700" y="2751519"/>
                </a:cubicBezTo>
                <a:cubicBezTo>
                  <a:pt x="1576042" y="2744222"/>
                  <a:pt x="1608144" y="2744282"/>
                  <a:pt x="1617576" y="2722998"/>
                </a:cubicBezTo>
                <a:close/>
                <a:moveTo>
                  <a:pt x="980712" y="2671328"/>
                </a:moveTo>
                <a:cubicBezTo>
                  <a:pt x="976829" y="2672768"/>
                  <a:pt x="973405" y="2676723"/>
                  <a:pt x="970303" y="2684301"/>
                </a:cubicBezTo>
                <a:cubicBezTo>
                  <a:pt x="980187" y="2689261"/>
                  <a:pt x="994654" y="2682131"/>
                  <a:pt x="993881" y="2673438"/>
                </a:cubicBezTo>
                <a:cubicBezTo>
                  <a:pt x="988940" y="2670959"/>
                  <a:pt x="984595" y="2669886"/>
                  <a:pt x="980712" y="2671328"/>
                </a:cubicBezTo>
                <a:close/>
                <a:moveTo>
                  <a:pt x="381551" y="2666674"/>
                </a:moveTo>
                <a:lnTo>
                  <a:pt x="381436" y="2667019"/>
                </a:lnTo>
                <a:lnTo>
                  <a:pt x="381237" y="2667028"/>
                </a:lnTo>
                <a:close/>
                <a:moveTo>
                  <a:pt x="1905143" y="2644804"/>
                </a:moveTo>
                <a:cubicBezTo>
                  <a:pt x="1907789" y="2653329"/>
                  <a:pt x="1903205" y="2665420"/>
                  <a:pt x="1910697" y="2664752"/>
                </a:cubicBezTo>
                <a:cubicBezTo>
                  <a:pt x="1912054" y="2658790"/>
                  <a:pt x="1910762" y="2644304"/>
                  <a:pt x="1905143" y="2644804"/>
                </a:cubicBezTo>
                <a:close/>
                <a:moveTo>
                  <a:pt x="1253077" y="2643980"/>
                </a:moveTo>
                <a:lnTo>
                  <a:pt x="1247662" y="2649085"/>
                </a:lnTo>
                <a:cubicBezTo>
                  <a:pt x="1243172" y="2652365"/>
                  <a:pt x="1238588" y="2654554"/>
                  <a:pt x="1233905" y="2654970"/>
                </a:cubicBezTo>
                <a:close/>
                <a:moveTo>
                  <a:pt x="1882258" y="2643785"/>
                </a:moveTo>
                <a:lnTo>
                  <a:pt x="1881050" y="2649872"/>
                </a:lnTo>
                <a:lnTo>
                  <a:pt x="1877608" y="2646167"/>
                </a:lnTo>
                <a:close/>
                <a:moveTo>
                  <a:pt x="1918866" y="2640890"/>
                </a:moveTo>
                <a:lnTo>
                  <a:pt x="1919123" y="2641751"/>
                </a:lnTo>
                <a:lnTo>
                  <a:pt x="1918225" y="2641269"/>
                </a:lnTo>
                <a:close/>
                <a:moveTo>
                  <a:pt x="1871652" y="2639757"/>
                </a:moveTo>
                <a:lnTo>
                  <a:pt x="1877608" y="2646167"/>
                </a:lnTo>
                <a:lnTo>
                  <a:pt x="1868101" y="2651039"/>
                </a:lnTo>
                <a:lnTo>
                  <a:pt x="1864191" y="2651374"/>
                </a:lnTo>
                <a:cubicBezTo>
                  <a:pt x="1866356" y="2643880"/>
                  <a:pt x="1868845" y="2640008"/>
                  <a:pt x="1871652" y="2639757"/>
                </a:cubicBezTo>
                <a:close/>
                <a:moveTo>
                  <a:pt x="1892734" y="2639059"/>
                </a:moveTo>
                <a:lnTo>
                  <a:pt x="1893389" y="2640010"/>
                </a:lnTo>
                <a:lnTo>
                  <a:pt x="1891890" y="2639080"/>
                </a:lnTo>
                <a:close/>
                <a:moveTo>
                  <a:pt x="1884142" y="2634263"/>
                </a:moveTo>
                <a:lnTo>
                  <a:pt x="1891890" y="2639080"/>
                </a:lnTo>
                <a:lnTo>
                  <a:pt x="1891418" y="2639091"/>
                </a:lnTo>
                <a:lnTo>
                  <a:pt x="1882258" y="2643785"/>
                </a:lnTo>
                <a:close/>
                <a:moveTo>
                  <a:pt x="1269718" y="2626553"/>
                </a:moveTo>
                <a:lnTo>
                  <a:pt x="1271996" y="2630859"/>
                </a:lnTo>
                <a:cubicBezTo>
                  <a:pt x="1269952" y="2633095"/>
                  <a:pt x="1266174" y="2636056"/>
                  <a:pt x="1260035" y="2639990"/>
                </a:cubicBezTo>
                <a:lnTo>
                  <a:pt x="1253077" y="2643980"/>
                </a:lnTo>
                <a:lnTo>
                  <a:pt x="1260857" y="2636644"/>
                </a:lnTo>
                <a:close/>
                <a:moveTo>
                  <a:pt x="697699" y="2612583"/>
                </a:moveTo>
                <a:cubicBezTo>
                  <a:pt x="693985" y="2613278"/>
                  <a:pt x="690431" y="2615785"/>
                  <a:pt x="687202" y="2621913"/>
                </a:cubicBezTo>
                <a:cubicBezTo>
                  <a:pt x="695210" y="2627042"/>
                  <a:pt x="709939" y="2622809"/>
                  <a:pt x="709163" y="2614116"/>
                </a:cubicBezTo>
                <a:cubicBezTo>
                  <a:pt x="705288" y="2613002"/>
                  <a:pt x="701412" y="2611886"/>
                  <a:pt x="697699" y="2612583"/>
                </a:cubicBezTo>
                <a:close/>
                <a:moveTo>
                  <a:pt x="1882538" y="2603011"/>
                </a:moveTo>
                <a:cubicBezTo>
                  <a:pt x="1865939" y="2607411"/>
                  <a:pt x="1888350" y="2625857"/>
                  <a:pt x="1882538" y="2603011"/>
                </a:cubicBezTo>
                <a:close/>
                <a:moveTo>
                  <a:pt x="765711" y="2586580"/>
                </a:moveTo>
                <a:cubicBezTo>
                  <a:pt x="763317" y="2586201"/>
                  <a:pt x="761001" y="2586681"/>
                  <a:pt x="758708" y="2587431"/>
                </a:cubicBezTo>
                <a:cubicBezTo>
                  <a:pt x="754121" y="2588935"/>
                  <a:pt x="749631" y="2591527"/>
                  <a:pt x="744819" y="2590495"/>
                </a:cubicBezTo>
                <a:cubicBezTo>
                  <a:pt x="747725" y="2601918"/>
                  <a:pt x="766457" y="2600248"/>
                  <a:pt x="773176" y="2590889"/>
                </a:cubicBezTo>
                <a:cubicBezTo>
                  <a:pt x="770576" y="2588200"/>
                  <a:pt x="768105" y="2586960"/>
                  <a:pt x="765711" y="2586580"/>
                </a:cubicBezTo>
                <a:close/>
                <a:moveTo>
                  <a:pt x="873842" y="2565855"/>
                </a:moveTo>
                <a:cubicBezTo>
                  <a:pt x="869629" y="2566230"/>
                  <a:pt x="865543" y="2568055"/>
                  <a:pt x="862312" y="2574184"/>
                </a:cubicBezTo>
                <a:cubicBezTo>
                  <a:pt x="871936" y="2576247"/>
                  <a:pt x="879688" y="2578477"/>
                  <a:pt x="886148" y="2566219"/>
                </a:cubicBezTo>
                <a:cubicBezTo>
                  <a:pt x="882400" y="2566553"/>
                  <a:pt x="878057" y="2565479"/>
                  <a:pt x="873842" y="2565855"/>
                </a:cubicBezTo>
                <a:close/>
                <a:moveTo>
                  <a:pt x="9906384" y="2560716"/>
                </a:moveTo>
                <a:cubicBezTo>
                  <a:pt x="9901553" y="2558135"/>
                  <a:pt x="9916303" y="2572700"/>
                  <a:pt x="9918918" y="2570277"/>
                </a:cubicBezTo>
                <a:cubicBezTo>
                  <a:pt x="9911782" y="2564343"/>
                  <a:pt x="9907995" y="2561577"/>
                  <a:pt x="9906384" y="2560716"/>
                </a:cubicBezTo>
                <a:close/>
                <a:moveTo>
                  <a:pt x="1777335" y="2560218"/>
                </a:moveTo>
                <a:lnTo>
                  <a:pt x="1766276" y="2569564"/>
                </a:lnTo>
                <a:cubicBezTo>
                  <a:pt x="1762635" y="2568429"/>
                  <a:pt x="1762897" y="2566763"/>
                  <a:pt x="1766084" y="2564738"/>
                </a:cubicBezTo>
                <a:close/>
                <a:moveTo>
                  <a:pt x="9964434" y="2548700"/>
                </a:moveTo>
                <a:cubicBezTo>
                  <a:pt x="9962326" y="2548886"/>
                  <a:pt x="9963779" y="2554598"/>
                  <a:pt x="9975115" y="2565269"/>
                </a:cubicBezTo>
                <a:cubicBezTo>
                  <a:pt x="9972209" y="2553847"/>
                  <a:pt x="9966541" y="2548512"/>
                  <a:pt x="9964434" y="2548700"/>
                </a:cubicBezTo>
                <a:close/>
                <a:moveTo>
                  <a:pt x="9933340" y="2546724"/>
                </a:moveTo>
                <a:cubicBezTo>
                  <a:pt x="9926898" y="2543282"/>
                  <a:pt x="9922602" y="2548046"/>
                  <a:pt x="9939782" y="2571339"/>
                </a:cubicBezTo>
                <a:cubicBezTo>
                  <a:pt x="9948373" y="2561812"/>
                  <a:pt x="9939784" y="2550165"/>
                  <a:pt x="9933340" y="2546724"/>
                </a:cubicBezTo>
                <a:close/>
                <a:moveTo>
                  <a:pt x="949385" y="2534300"/>
                </a:moveTo>
                <a:cubicBezTo>
                  <a:pt x="941633" y="2532070"/>
                  <a:pt x="929039" y="2539034"/>
                  <a:pt x="929813" y="2547726"/>
                </a:cubicBezTo>
                <a:cubicBezTo>
                  <a:pt x="937305" y="2547058"/>
                  <a:pt x="950159" y="2542992"/>
                  <a:pt x="949385" y="2534300"/>
                </a:cubicBezTo>
                <a:close/>
                <a:moveTo>
                  <a:pt x="1965771" y="2520027"/>
                </a:moveTo>
                <a:cubicBezTo>
                  <a:pt x="1962994" y="2520638"/>
                  <a:pt x="1961313" y="2522979"/>
                  <a:pt x="1962768" y="2528690"/>
                </a:cubicBezTo>
                <a:cubicBezTo>
                  <a:pt x="1968126" y="2525293"/>
                  <a:pt x="1976396" y="2533317"/>
                  <a:pt x="1975361" y="2521727"/>
                </a:cubicBezTo>
                <a:cubicBezTo>
                  <a:pt x="1972426" y="2520529"/>
                  <a:pt x="1968549" y="2519414"/>
                  <a:pt x="1965771" y="2520027"/>
                </a:cubicBezTo>
                <a:close/>
                <a:moveTo>
                  <a:pt x="1789526" y="2507585"/>
                </a:moveTo>
                <a:lnTo>
                  <a:pt x="1797523" y="2512780"/>
                </a:lnTo>
                <a:lnTo>
                  <a:pt x="1805230" y="2519976"/>
                </a:lnTo>
                <a:lnTo>
                  <a:pt x="1784298" y="2538753"/>
                </a:lnTo>
                <a:cubicBezTo>
                  <a:pt x="1784491" y="2540926"/>
                  <a:pt x="1781997" y="2536767"/>
                  <a:pt x="1779379" y="2530567"/>
                </a:cubicBezTo>
                <a:lnTo>
                  <a:pt x="1775365" y="2516058"/>
                </a:lnTo>
                <a:close/>
                <a:moveTo>
                  <a:pt x="1788234" y="2506744"/>
                </a:moveTo>
                <a:lnTo>
                  <a:pt x="1788248" y="2506755"/>
                </a:lnTo>
                <a:lnTo>
                  <a:pt x="1787142" y="2507236"/>
                </a:lnTo>
                <a:cubicBezTo>
                  <a:pt x="1785738" y="2507812"/>
                  <a:pt x="1786309" y="2507521"/>
                  <a:pt x="1788089" y="2506793"/>
                </a:cubicBezTo>
                <a:close/>
                <a:moveTo>
                  <a:pt x="1775006" y="2505026"/>
                </a:moveTo>
                <a:lnTo>
                  <a:pt x="1773722" y="2510126"/>
                </a:lnTo>
                <a:lnTo>
                  <a:pt x="1775365" y="2516058"/>
                </a:lnTo>
                <a:lnTo>
                  <a:pt x="1769380" y="2519639"/>
                </a:lnTo>
                <a:cubicBezTo>
                  <a:pt x="1759739" y="2522689"/>
                  <a:pt x="1749839" y="2522842"/>
                  <a:pt x="1739149" y="2519413"/>
                </a:cubicBezTo>
                <a:cubicBezTo>
                  <a:pt x="1738423" y="2516557"/>
                  <a:pt x="1743248" y="2513755"/>
                  <a:pt x="1750976" y="2511103"/>
                </a:cubicBezTo>
                <a:close/>
                <a:moveTo>
                  <a:pt x="1794183" y="2504800"/>
                </a:moveTo>
                <a:lnTo>
                  <a:pt x="1789526" y="2507585"/>
                </a:lnTo>
                <a:lnTo>
                  <a:pt x="1788248" y="2506755"/>
                </a:lnTo>
                <a:lnTo>
                  <a:pt x="1788383" y="2506696"/>
                </a:lnTo>
                <a:close/>
                <a:moveTo>
                  <a:pt x="1782721" y="2503164"/>
                </a:moveTo>
                <a:lnTo>
                  <a:pt x="1782797" y="2503214"/>
                </a:lnTo>
                <a:lnTo>
                  <a:pt x="1780230" y="2503706"/>
                </a:lnTo>
                <a:lnTo>
                  <a:pt x="1775006" y="2505026"/>
                </a:lnTo>
                <a:lnTo>
                  <a:pt x="1775427" y="2503352"/>
                </a:lnTo>
                <a:cubicBezTo>
                  <a:pt x="1776820" y="2502013"/>
                  <a:pt x="1779145" y="2501770"/>
                  <a:pt x="1782721" y="2503164"/>
                </a:cubicBezTo>
                <a:close/>
                <a:moveTo>
                  <a:pt x="1089422" y="2495537"/>
                </a:moveTo>
                <a:cubicBezTo>
                  <a:pt x="1085419" y="2492973"/>
                  <a:pt x="1082204" y="2493989"/>
                  <a:pt x="1079055" y="2495730"/>
                </a:cubicBezTo>
                <a:cubicBezTo>
                  <a:pt x="1075906" y="2497471"/>
                  <a:pt x="1072822" y="2499937"/>
                  <a:pt x="1069075" y="2500271"/>
                </a:cubicBezTo>
                <a:cubicBezTo>
                  <a:pt x="1057838" y="2501272"/>
                  <a:pt x="1085352" y="2513423"/>
                  <a:pt x="1089422" y="2495537"/>
                </a:cubicBezTo>
                <a:close/>
                <a:moveTo>
                  <a:pt x="631023" y="2476150"/>
                </a:moveTo>
                <a:lnTo>
                  <a:pt x="638477" y="2479188"/>
                </a:lnTo>
                <a:lnTo>
                  <a:pt x="629367" y="2485112"/>
                </a:lnTo>
                <a:lnTo>
                  <a:pt x="618613" y="2487843"/>
                </a:lnTo>
                <a:cubicBezTo>
                  <a:pt x="621036" y="2483246"/>
                  <a:pt x="626268" y="2478398"/>
                  <a:pt x="631023" y="2476150"/>
                </a:cubicBezTo>
                <a:close/>
                <a:moveTo>
                  <a:pt x="1179627" y="2469610"/>
                </a:moveTo>
                <a:cubicBezTo>
                  <a:pt x="1172634" y="2470599"/>
                  <a:pt x="1166804" y="2474039"/>
                  <a:pt x="1165705" y="2482897"/>
                </a:cubicBezTo>
                <a:cubicBezTo>
                  <a:pt x="1178302" y="2475934"/>
                  <a:pt x="1192189" y="2483458"/>
                  <a:pt x="1200522" y="2471034"/>
                </a:cubicBezTo>
                <a:cubicBezTo>
                  <a:pt x="1194774" y="2470085"/>
                  <a:pt x="1186620" y="2468621"/>
                  <a:pt x="1179627" y="2469610"/>
                </a:cubicBezTo>
                <a:close/>
                <a:moveTo>
                  <a:pt x="2285600" y="2464876"/>
                </a:moveTo>
                <a:cubicBezTo>
                  <a:pt x="2276492" y="2468609"/>
                  <a:pt x="2265252" y="2469611"/>
                  <a:pt x="2266544" y="2484098"/>
                </a:cubicBezTo>
                <a:cubicBezTo>
                  <a:pt x="2273778" y="2480532"/>
                  <a:pt x="2286893" y="2479365"/>
                  <a:pt x="2285600" y="2464876"/>
                </a:cubicBezTo>
                <a:close/>
                <a:moveTo>
                  <a:pt x="2235479" y="2457776"/>
                </a:moveTo>
                <a:cubicBezTo>
                  <a:pt x="2170122" y="2465083"/>
                  <a:pt x="2018332" y="2574209"/>
                  <a:pt x="1930049" y="2626340"/>
                </a:cubicBezTo>
                <a:lnTo>
                  <a:pt x="1906442" y="2638727"/>
                </a:lnTo>
                <a:lnTo>
                  <a:pt x="1892734" y="2639059"/>
                </a:lnTo>
                <a:lnTo>
                  <a:pt x="1881398" y="2622564"/>
                </a:lnTo>
                <a:cubicBezTo>
                  <a:pt x="1840587" y="2602004"/>
                  <a:pt x="1719075" y="2709938"/>
                  <a:pt x="1708393" y="2682779"/>
                </a:cubicBezTo>
                <a:cubicBezTo>
                  <a:pt x="1678099" y="2703002"/>
                  <a:pt x="1649162" y="2717263"/>
                  <a:pt x="1618349" y="2731690"/>
                </a:cubicBezTo>
                <a:cubicBezTo>
                  <a:pt x="1727384" y="2684008"/>
                  <a:pt x="1806058" y="2676997"/>
                  <a:pt x="1831957" y="2692212"/>
                </a:cubicBezTo>
                <a:cubicBezTo>
                  <a:pt x="1841712" y="2674550"/>
                  <a:pt x="1852185" y="2662300"/>
                  <a:pt x="1862415" y="2653951"/>
                </a:cubicBezTo>
                <a:lnTo>
                  <a:pt x="1868101" y="2651039"/>
                </a:lnTo>
                <a:lnTo>
                  <a:pt x="1885900" y="2649508"/>
                </a:lnTo>
                <a:lnTo>
                  <a:pt x="1906442" y="2638727"/>
                </a:lnTo>
                <a:lnTo>
                  <a:pt x="1913200" y="2638565"/>
                </a:lnTo>
                <a:lnTo>
                  <a:pt x="1918225" y="2641269"/>
                </a:lnTo>
                <a:lnTo>
                  <a:pt x="1914243" y="2643628"/>
                </a:lnTo>
                <a:cubicBezTo>
                  <a:pt x="1912086" y="2648566"/>
                  <a:pt x="1912861" y="2657258"/>
                  <a:pt x="1923034" y="2654891"/>
                </a:cubicBezTo>
                <a:lnTo>
                  <a:pt x="1919123" y="2641751"/>
                </a:lnTo>
                <a:lnTo>
                  <a:pt x="1922001" y="2643302"/>
                </a:lnTo>
                <a:cubicBezTo>
                  <a:pt x="1927880" y="2645699"/>
                  <a:pt x="1979362" y="2608985"/>
                  <a:pt x="1949326" y="2632106"/>
                </a:cubicBezTo>
                <a:cubicBezTo>
                  <a:pt x="1956237" y="2646093"/>
                  <a:pt x="2147046" y="2541474"/>
                  <a:pt x="2153699" y="2552563"/>
                </a:cubicBezTo>
                <a:cubicBezTo>
                  <a:pt x="2181019" y="2541368"/>
                  <a:pt x="2244841" y="2494793"/>
                  <a:pt x="2264930" y="2487163"/>
                </a:cubicBezTo>
                <a:cubicBezTo>
                  <a:pt x="2255305" y="2485100"/>
                  <a:pt x="2254533" y="2476407"/>
                  <a:pt x="2263122" y="2466880"/>
                </a:cubicBezTo>
                <a:cubicBezTo>
                  <a:pt x="2258165" y="2458926"/>
                  <a:pt x="2248552" y="2456315"/>
                  <a:pt x="2235479" y="2457776"/>
                </a:cubicBezTo>
                <a:close/>
                <a:moveTo>
                  <a:pt x="2180251" y="2447980"/>
                </a:moveTo>
                <a:cubicBezTo>
                  <a:pt x="2078386" y="2512546"/>
                  <a:pt x="2180702" y="2474225"/>
                  <a:pt x="2180251" y="2447980"/>
                </a:cubicBezTo>
                <a:close/>
                <a:moveTo>
                  <a:pt x="2299651" y="2442452"/>
                </a:moveTo>
                <a:lnTo>
                  <a:pt x="2295290" y="2446491"/>
                </a:lnTo>
                <a:lnTo>
                  <a:pt x="2303922" y="2443349"/>
                </a:lnTo>
                <a:cubicBezTo>
                  <a:pt x="2304149" y="2442599"/>
                  <a:pt x="2302227" y="2442222"/>
                  <a:pt x="2299651" y="2442452"/>
                </a:cubicBezTo>
                <a:close/>
                <a:moveTo>
                  <a:pt x="621659" y="2375174"/>
                </a:moveTo>
                <a:lnTo>
                  <a:pt x="622717" y="2376354"/>
                </a:lnTo>
                <a:lnTo>
                  <a:pt x="620041" y="2376737"/>
                </a:lnTo>
                <a:close/>
                <a:moveTo>
                  <a:pt x="601527" y="2371268"/>
                </a:moveTo>
                <a:lnTo>
                  <a:pt x="602400" y="2371410"/>
                </a:lnTo>
                <a:lnTo>
                  <a:pt x="601260" y="2372077"/>
                </a:lnTo>
                <a:close/>
                <a:moveTo>
                  <a:pt x="531035" y="2352543"/>
                </a:moveTo>
                <a:lnTo>
                  <a:pt x="520200" y="2370391"/>
                </a:lnTo>
                <a:lnTo>
                  <a:pt x="520449" y="2368819"/>
                </a:lnTo>
                <a:cubicBezTo>
                  <a:pt x="525124" y="2360372"/>
                  <a:pt x="531035" y="2352543"/>
                  <a:pt x="531035" y="2352543"/>
                </a:cubicBezTo>
                <a:close/>
                <a:moveTo>
                  <a:pt x="579222" y="2342407"/>
                </a:moveTo>
                <a:cubicBezTo>
                  <a:pt x="574957" y="2336947"/>
                  <a:pt x="561005" y="2349873"/>
                  <a:pt x="567141" y="2355166"/>
                </a:cubicBezTo>
                <a:cubicBezTo>
                  <a:pt x="575150" y="2360293"/>
                  <a:pt x="579222" y="2342407"/>
                  <a:pt x="579222" y="2342407"/>
                </a:cubicBezTo>
                <a:close/>
                <a:moveTo>
                  <a:pt x="601441" y="2337507"/>
                </a:moveTo>
                <a:cubicBezTo>
                  <a:pt x="582126" y="2353831"/>
                  <a:pt x="631347" y="2355287"/>
                  <a:pt x="601441" y="2337507"/>
                </a:cubicBezTo>
                <a:close/>
                <a:moveTo>
                  <a:pt x="232045" y="2303402"/>
                </a:moveTo>
                <a:lnTo>
                  <a:pt x="230864" y="2306383"/>
                </a:lnTo>
                <a:lnTo>
                  <a:pt x="224872" y="2306812"/>
                </a:lnTo>
                <a:close/>
                <a:moveTo>
                  <a:pt x="798448" y="2302429"/>
                </a:moveTo>
                <a:cubicBezTo>
                  <a:pt x="786434" y="2294737"/>
                  <a:pt x="720483" y="2338581"/>
                  <a:pt x="721516" y="2350172"/>
                </a:cubicBezTo>
                <a:cubicBezTo>
                  <a:pt x="720225" y="2335684"/>
                  <a:pt x="718610" y="2338748"/>
                  <a:pt x="718803" y="2362095"/>
                </a:cubicBezTo>
                <a:cubicBezTo>
                  <a:pt x="717188" y="2365160"/>
                  <a:pt x="799673" y="2337366"/>
                  <a:pt x="799673" y="2337366"/>
                </a:cubicBezTo>
                <a:cubicBezTo>
                  <a:pt x="833263" y="2290564"/>
                  <a:pt x="785787" y="2329842"/>
                  <a:pt x="761693" y="2334909"/>
                </a:cubicBezTo>
                <a:cubicBezTo>
                  <a:pt x="771641" y="2319421"/>
                  <a:pt x="783721" y="2306662"/>
                  <a:pt x="798448" y="2302429"/>
                </a:cubicBezTo>
                <a:close/>
                <a:moveTo>
                  <a:pt x="799842" y="2267762"/>
                </a:moveTo>
                <a:cubicBezTo>
                  <a:pt x="797900" y="2267159"/>
                  <a:pt x="795332" y="2267479"/>
                  <a:pt x="792573" y="2268273"/>
                </a:cubicBezTo>
                <a:cubicBezTo>
                  <a:pt x="787049" y="2269859"/>
                  <a:pt x="780751" y="2273341"/>
                  <a:pt x="777134" y="2275123"/>
                </a:cubicBezTo>
                <a:cubicBezTo>
                  <a:pt x="777909" y="2283816"/>
                  <a:pt x="795866" y="2273454"/>
                  <a:pt x="803358" y="2272786"/>
                </a:cubicBezTo>
                <a:cubicBezTo>
                  <a:pt x="803100" y="2269890"/>
                  <a:pt x="801783" y="2268364"/>
                  <a:pt x="799842" y="2267762"/>
                </a:cubicBezTo>
                <a:close/>
                <a:moveTo>
                  <a:pt x="267223" y="2260327"/>
                </a:moveTo>
                <a:cubicBezTo>
                  <a:pt x="263274" y="2261044"/>
                  <a:pt x="259786" y="2264276"/>
                  <a:pt x="257623" y="2271769"/>
                </a:cubicBezTo>
                <a:cubicBezTo>
                  <a:pt x="265890" y="2279794"/>
                  <a:pt x="272350" y="2267536"/>
                  <a:pt x="279585" y="2263971"/>
                </a:cubicBezTo>
                <a:cubicBezTo>
                  <a:pt x="275580" y="2261409"/>
                  <a:pt x="271171" y="2259611"/>
                  <a:pt x="267223" y="2260327"/>
                </a:cubicBezTo>
                <a:close/>
                <a:moveTo>
                  <a:pt x="213329" y="2256735"/>
                </a:moveTo>
                <a:cubicBezTo>
                  <a:pt x="209649" y="2257791"/>
                  <a:pt x="204690" y="2260424"/>
                  <a:pt x="201752" y="2259225"/>
                </a:cubicBezTo>
                <a:cubicBezTo>
                  <a:pt x="201169" y="2273879"/>
                  <a:pt x="212990" y="2258223"/>
                  <a:pt x="217254" y="2263684"/>
                </a:cubicBezTo>
                <a:cubicBezTo>
                  <a:pt x="219417" y="2256192"/>
                  <a:pt x="217012" y="2255675"/>
                  <a:pt x="213329" y="2256735"/>
                </a:cubicBezTo>
                <a:close/>
                <a:moveTo>
                  <a:pt x="231206" y="2250760"/>
                </a:moveTo>
                <a:cubicBezTo>
                  <a:pt x="229591" y="2253823"/>
                  <a:pt x="255942" y="2295283"/>
                  <a:pt x="231206" y="2250760"/>
                </a:cubicBezTo>
                <a:close/>
                <a:moveTo>
                  <a:pt x="10996782" y="2228907"/>
                </a:moveTo>
                <a:cubicBezTo>
                  <a:pt x="10968037" y="2266514"/>
                  <a:pt x="10998915" y="2231638"/>
                  <a:pt x="10996782" y="2228907"/>
                </a:cubicBezTo>
                <a:close/>
                <a:moveTo>
                  <a:pt x="339390" y="2227978"/>
                </a:moveTo>
                <a:cubicBezTo>
                  <a:pt x="335603" y="2230505"/>
                  <a:pt x="331971" y="2237400"/>
                  <a:pt x="339849" y="2241079"/>
                </a:cubicBezTo>
                <a:cubicBezTo>
                  <a:pt x="347117" y="2227289"/>
                  <a:pt x="343177" y="2225450"/>
                  <a:pt x="339390" y="2227978"/>
                </a:cubicBezTo>
                <a:close/>
                <a:moveTo>
                  <a:pt x="295013" y="2212814"/>
                </a:moveTo>
                <a:lnTo>
                  <a:pt x="294665" y="2213247"/>
                </a:lnTo>
                <a:lnTo>
                  <a:pt x="294630" y="2212982"/>
                </a:lnTo>
                <a:close/>
                <a:moveTo>
                  <a:pt x="297415" y="2209814"/>
                </a:moveTo>
                <a:lnTo>
                  <a:pt x="299013" y="2211040"/>
                </a:lnTo>
                <a:lnTo>
                  <a:pt x="295013" y="2212814"/>
                </a:lnTo>
                <a:close/>
                <a:moveTo>
                  <a:pt x="10772134" y="2208039"/>
                </a:moveTo>
                <a:cubicBezTo>
                  <a:pt x="10692812" y="2250153"/>
                  <a:pt x="10783049" y="2224590"/>
                  <a:pt x="10772134" y="2208039"/>
                </a:cubicBezTo>
                <a:close/>
                <a:moveTo>
                  <a:pt x="418313" y="2207209"/>
                </a:moveTo>
                <a:cubicBezTo>
                  <a:pt x="413450" y="2210243"/>
                  <a:pt x="409804" y="2220972"/>
                  <a:pt x="404379" y="2223646"/>
                </a:cubicBezTo>
                <a:cubicBezTo>
                  <a:pt x="412646" y="2231671"/>
                  <a:pt x="417232" y="2219580"/>
                  <a:pt x="423691" y="2207323"/>
                </a:cubicBezTo>
                <a:cubicBezTo>
                  <a:pt x="421690" y="2206041"/>
                  <a:pt x="419933" y="2206198"/>
                  <a:pt x="418313" y="2207209"/>
                </a:cubicBezTo>
                <a:close/>
                <a:moveTo>
                  <a:pt x="319375" y="2202016"/>
                </a:moveTo>
                <a:cubicBezTo>
                  <a:pt x="315468" y="2211126"/>
                  <a:pt x="311706" y="2216572"/>
                  <a:pt x="308056" y="2217991"/>
                </a:cubicBezTo>
                <a:lnTo>
                  <a:pt x="299013" y="2211040"/>
                </a:lnTo>
                <a:close/>
                <a:moveTo>
                  <a:pt x="10822097" y="2191398"/>
                </a:moveTo>
                <a:cubicBezTo>
                  <a:pt x="10817317" y="2190769"/>
                  <a:pt x="10812852" y="2191064"/>
                  <a:pt x="10808903" y="2191940"/>
                </a:cubicBezTo>
                <a:cubicBezTo>
                  <a:pt x="10785211" y="2197201"/>
                  <a:pt x="10780109" y="2223391"/>
                  <a:pt x="10837178" y="2196403"/>
                </a:cubicBezTo>
                <a:cubicBezTo>
                  <a:pt x="10831971" y="2193581"/>
                  <a:pt x="10826877" y="2192027"/>
                  <a:pt x="10822097" y="2191398"/>
                </a:cubicBezTo>
                <a:close/>
                <a:moveTo>
                  <a:pt x="10696352" y="2189237"/>
                </a:moveTo>
                <a:cubicBezTo>
                  <a:pt x="10693203" y="2190979"/>
                  <a:pt x="10679186" y="2203179"/>
                  <a:pt x="10663748" y="2220618"/>
                </a:cubicBezTo>
                <a:cubicBezTo>
                  <a:pt x="10691783" y="2196217"/>
                  <a:pt x="10699501" y="2187497"/>
                  <a:pt x="10696352" y="2189237"/>
                </a:cubicBezTo>
                <a:close/>
                <a:moveTo>
                  <a:pt x="442860" y="2184076"/>
                </a:moveTo>
                <a:cubicBezTo>
                  <a:pt x="434787" y="2188811"/>
                  <a:pt x="426114" y="2202726"/>
                  <a:pt x="441065" y="2211616"/>
                </a:cubicBezTo>
                <a:cubicBezTo>
                  <a:pt x="458412" y="2183785"/>
                  <a:pt x="450935" y="2179341"/>
                  <a:pt x="442860" y="2184076"/>
                </a:cubicBezTo>
                <a:close/>
                <a:moveTo>
                  <a:pt x="279713" y="2179396"/>
                </a:moveTo>
                <a:lnTo>
                  <a:pt x="301805" y="2180458"/>
                </a:lnTo>
                <a:cubicBezTo>
                  <a:pt x="309820" y="2181830"/>
                  <a:pt x="314954" y="2184157"/>
                  <a:pt x="316212" y="2187695"/>
                </a:cubicBezTo>
                <a:cubicBezTo>
                  <a:pt x="284044" y="2208084"/>
                  <a:pt x="265637" y="2192202"/>
                  <a:pt x="238505" y="2226744"/>
                </a:cubicBezTo>
                <a:cubicBezTo>
                  <a:pt x="245837" y="2213679"/>
                  <a:pt x="254301" y="2202384"/>
                  <a:pt x="263600" y="2192647"/>
                </a:cubicBezTo>
                <a:close/>
                <a:moveTo>
                  <a:pt x="10933550" y="2176131"/>
                </a:moveTo>
                <a:lnTo>
                  <a:pt x="10911262" y="2189466"/>
                </a:lnTo>
                <a:lnTo>
                  <a:pt x="10910087" y="2182969"/>
                </a:lnTo>
                <a:cubicBezTo>
                  <a:pt x="10913543" y="2179375"/>
                  <a:pt x="10921376" y="2177217"/>
                  <a:pt x="10933550" y="2176131"/>
                </a:cubicBezTo>
                <a:close/>
                <a:moveTo>
                  <a:pt x="1083025" y="2157923"/>
                </a:moveTo>
                <a:cubicBezTo>
                  <a:pt x="1081298" y="2157393"/>
                  <a:pt x="1079039" y="2157868"/>
                  <a:pt x="1076661" y="2158992"/>
                </a:cubicBezTo>
                <a:cubicBezTo>
                  <a:pt x="1071905" y="2161242"/>
                  <a:pt x="1066673" y="2166090"/>
                  <a:pt x="1064250" y="2170685"/>
                </a:cubicBezTo>
                <a:cubicBezTo>
                  <a:pt x="1072260" y="2175813"/>
                  <a:pt x="1076330" y="2157927"/>
                  <a:pt x="1086213" y="2162887"/>
                </a:cubicBezTo>
                <a:cubicBezTo>
                  <a:pt x="1085954" y="2159989"/>
                  <a:pt x="1084756" y="2158454"/>
                  <a:pt x="1083025" y="2157923"/>
                </a:cubicBezTo>
                <a:close/>
                <a:moveTo>
                  <a:pt x="133978" y="2151184"/>
                </a:moveTo>
                <a:cubicBezTo>
                  <a:pt x="136183" y="2150439"/>
                  <a:pt x="137671" y="2153227"/>
                  <a:pt x="138110" y="2156837"/>
                </a:cubicBezTo>
                <a:lnTo>
                  <a:pt x="136228" y="2166096"/>
                </a:lnTo>
                <a:lnTo>
                  <a:pt x="132244" y="2167180"/>
                </a:lnTo>
                <a:lnTo>
                  <a:pt x="125538" y="2166720"/>
                </a:lnTo>
                <a:cubicBezTo>
                  <a:pt x="128850" y="2156204"/>
                  <a:pt x="131773" y="2151928"/>
                  <a:pt x="133978" y="2151184"/>
                </a:cubicBezTo>
                <a:close/>
                <a:moveTo>
                  <a:pt x="479569" y="2143757"/>
                </a:moveTo>
                <a:lnTo>
                  <a:pt x="480342" y="2143865"/>
                </a:lnTo>
                <a:lnTo>
                  <a:pt x="469990" y="2151504"/>
                </a:lnTo>
                <a:lnTo>
                  <a:pt x="475021" y="2145069"/>
                </a:lnTo>
                <a:close/>
                <a:moveTo>
                  <a:pt x="177368" y="2136548"/>
                </a:moveTo>
                <a:cubicBezTo>
                  <a:pt x="184092" y="2135218"/>
                  <a:pt x="189971" y="2137614"/>
                  <a:pt x="184190" y="2146891"/>
                </a:cubicBezTo>
                <a:cubicBezTo>
                  <a:pt x="177279" y="2132905"/>
                  <a:pt x="175082" y="2150623"/>
                  <a:pt x="165458" y="2148560"/>
                </a:cubicBezTo>
                <a:cubicBezTo>
                  <a:pt x="163068" y="2142933"/>
                  <a:pt x="170640" y="2137877"/>
                  <a:pt x="177368" y="2136548"/>
                </a:cubicBezTo>
                <a:close/>
                <a:moveTo>
                  <a:pt x="249706" y="2126315"/>
                </a:moveTo>
                <a:lnTo>
                  <a:pt x="246859" y="2141167"/>
                </a:lnTo>
                <a:lnTo>
                  <a:pt x="245241" y="2141481"/>
                </a:lnTo>
                <a:lnTo>
                  <a:pt x="243801" y="2137518"/>
                </a:lnTo>
                <a:cubicBezTo>
                  <a:pt x="244675" y="2130778"/>
                  <a:pt x="249267" y="2122063"/>
                  <a:pt x="249706" y="2126315"/>
                </a:cubicBezTo>
                <a:close/>
                <a:moveTo>
                  <a:pt x="390690" y="2123013"/>
                </a:moveTo>
                <a:cubicBezTo>
                  <a:pt x="387105" y="2125158"/>
                  <a:pt x="383004" y="2132095"/>
                  <a:pt x="389140" y="2137389"/>
                </a:cubicBezTo>
                <a:cubicBezTo>
                  <a:pt x="397344" y="2123516"/>
                  <a:pt x="394275" y="2120869"/>
                  <a:pt x="390690" y="2123013"/>
                </a:cubicBezTo>
                <a:close/>
                <a:moveTo>
                  <a:pt x="1235098" y="2117495"/>
                </a:moveTo>
                <a:cubicBezTo>
                  <a:pt x="1226413" y="2115348"/>
                  <a:pt x="1217918" y="2115374"/>
                  <a:pt x="1209853" y="2117554"/>
                </a:cubicBezTo>
                <a:cubicBezTo>
                  <a:pt x="1201787" y="2119733"/>
                  <a:pt x="1194147" y="2124064"/>
                  <a:pt x="1187170" y="2130526"/>
                </a:cubicBezTo>
                <a:cubicBezTo>
                  <a:pt x="1205903" y="2128858"/>
                  <a:pt x="1215010" y="2125125"/>
                  <a:pt x="1235098" y="2117495"/>
                </a:cubicBezTo>
                <a:close/>
                <a:moveTo>
                  <a:pt x="395621" y="2101538"/>
                </a:moveTo>
                <a:cubicBezTo>
                  <a:pt x="384782" y="2099081"/>
                  <a:pt x="428477" y="2112711"/>
                  <a:pt x="428282" y="2110537"/>
                </a:cubicBezTo>
                <a:cubicBezTo>
                  <a:pt x="408906" y="2104963"/>
                  <a:pt x="399235" y="2102356"/>
                  <a:pt x="395621" y="2101538"/>
                </a:cubicBezTo>
                <a:close/>
                <a:moveTo>
                  <a:pt x="477664" y="2092630"/>
                </a:moveTo>
                <a:cubicBezTo>
                  <a:pt x="473015" y="2093409"/>
                  <a:pt x="467653" y="2096808"/>
                  <a:pt x="465231" y="2101404"/>
                </a:cubicBezTo>
                <a:cubicBezTo>
                  <a:pt x="469106" y="2102519"/>
                  <a:pt x="472319" y="2101502"/>
                  <a:pt x="475533" y="2100486"/>
                </a:cubicBezTo>
                <a:lnTo>
                  <a:pt x="481809" y="2099926"/>
                </a:lnTo>
                <a:lnTo>
                  <a:pt x="480179" y="2094766"/>
                </a:lnTo>
                <a:close/>
                <a:moveTo>
                  <a:pt x="1587249" y="2084061"/>
                </a:moveTo>
                <a:cubicBezTo>
                  <a:pt x="1586796" y="2083599"/>
                  <a:pt x="1585190" y="2084107"/>
                  <a:pt x="1581637" y="2086614"/>
                </a:cubicBezTo>
                <a:cubicBezTo>
                  <a:pt x="1579601" y="2095557"/>
                  <a:pt x="1588612" y="2085446"/>
                  <a:pt x="1587249" y="2084061"/>
                </a:cubicBezTo>
                <a:close/>
                <a:moveTo>
                  <a:pt x="1338624" y="2083811"/>
                </a:moveTo>
                <a:cubicBezTo>
                  <a:pt x="1343200" y="2084497"/>
                  <a:pt x="1344745" y="2087281"/>
                  <a:pt x="1338705" y="2093660"/>
                </a:cubicBezTo>
                <a:cubicBezTo>
                  <a:pt x="1283915" y="2098542"/>
                  <a:pt x="1324901" y="2081748"/>
                  <a:pt x="1338624" y="2083811"/>
                </a:cubicBezTo>
                <a:close/>
                <a:moveTo>
                  <a:pt x="458544" y="2082651"/>
                </a:moveTo>
                <a:cubicBezTo>
                  <a:pt x="453884" y="2083980"/>
                  <a:pt x="445741" y="2089269"/>
                  <a:pt x="433129" y="2101345"/>
                </a:cubicBezTo>
                <a:cubicBezTo>
                  <a:pt x="455169" y="2110332"/>
                  <a:pt x="472527" y="2078667"/>
                  <a:pt x="458544" y="2082651"/>
                </a:cubicBezTo>
                <a:close/>
                <a:moveTo>
                  <a:pt x="309292" y="2081795"/>
                </a:moveTo>
                <a:lnTo>
                  <a:pt x="308790" y="2083219"/>
                </a:lnTo>
                <a:cubicBezTo>
                  <a:pt x="355733" y="2085606"/>
                  <a:pt x="277327" y="2087666"/>
                  <a:pt x="306312" y="2082207"/>
                </a:cubicBezTo>
                <a:close/>
                <a:moveTo>
                  <a:pt x="470150" y="2069206"/>
                </a:moveTo>
                <a:cubicBezTo>
                  <a:pt x="467607" y="2069797"/>
                  <a:pt x="465328" y="2070730"/>
                  <a:pt x="462390" y="2069532"/>
                </a:cubicBezTo>
                <a:cubicBezTo>
                  <a:pt x="460225" y="2077027"/>
                  <a:pt x="463294" y="2079673"/>
                  <a:pt x="467508" y="2079297"/>
                </a:cubicBezTo>
                <a:lnTo>
                  <a:pt x="473889" y="2074847"/>
                </a:lnTo>
                <a:lnTo>
                  <a:pt x="472228" y="2069589"/>
                </a:lnTo>
                <a:close/>
                <a:moveTo>
                  <a:pt x="10946090" y="2041403"/>
                </a:moveTo>
                <a:cubicBezTo>
                  <a:pt x="10944346" y="2043018"/>
                  <a:pt x="10942795" y="2046806"/>
                  <a:pt x="10939307" y="2050039"/>
                </a:cubicBezTo>
                <a:cubicBezTo>
                  <a:pt x="10943828" y="2058396"/>
                  <a:pt x="10954550" y="2051601"/>
                  <a:pt x="10954033" y="2045805"/>
                </a:cubicBezTo>
                <a:cubicBezTo>
                  <a:pt x="10949771" y="2040345"/>
                  <a:pt x="10947834" y="2039787"/>
                  <a:pt x="10946090" y="2041403"/>
                </a:cubicBezTo>
                <a:close/>
                <a:moveTo>
                  <a:pt x="513871" y="2032819"/>
                </a:moveTo>
                <a:cubicBezTo>
                  <a:pt x="458775" y="2028967"/>
                  <a:pt x="445273" y="2068136"/>
                  <a:pt x="407035" y="2062783"/>
                </a:cubicBezTo>
                <a:cubicBezTo>
                  <a:pt x="415818" y="2076603"/>
                  <a:pt x="511159" y="2044742"/>
                  <a:pt x="513871" y="2032819"/>
                </a:cubicBezTo>
                <a:close/>
                <a:moveTo>
                  <a:pt x="529270" y="2028162"/>
                </a:moveTo>
                <a:cubicBezTo>
                  <a:pt x="526826" y="2028562"/>
                  <a:pt x="524479" y="2030687"/>
                  <a:pt x="524057" y="2034238"/>
                </a:cubicBezTo>
                <a:lnTo>
                  <a:pt x="527941" y="2043189"/>
                </a:lnTo>
                <a:lnTo>
                  <a:pt x="532410" y="2041778"/>
                </a:lnTo>
                <a:lnTo>
                  <a:pt x="535049" y="2032438"/>
                </a:lnTo>
                <a:cubicBezTo>
                  <a:pt x="534248" y="2029086"/>
                  <a:pt x="531711" y="2027761"/>
                  <a:pt x="529270" y="2028162"/>
                </a:cubicBezTo>
                <a:close/>
                <a:moveTo>
                  <a:pt x="10925067" y="2024658"/>
                </a:moveTo>
                <a:cubicBezTo>
                  <a:pt x="10921836" y="2023485"/>
                  <a:pt x="10919059" y="2024098"/>
                  <a:pt x="10918510" y="2028528"/>
                </a:cubicBezTo>
                <a:cubicBezTo>
                  <a:pt x="10948543" y="2047756"/>
                  <a:pt x="10934762" y="2028175"/>
                  <a:pt x="10925067" y="2024658"/>
                </a:cubicBezTo>
                <a:close/>
                <a:moveTo>
                  <a:pt x="620357" y="1984679"/>
                </a:moveTo>
                <a:cubicBezTo>
                  <a:pt x="612221" y="1985084"/>
                  <a:pt x="599730" y="1985924"/>
                  <a:pt x="587921" y="1987158"/>
                </a:cubicBezTo>
                <a:cubicBezTo>
                  <a:pt x="564306" y="1989628"/>
                  <a:pt x="543426" y="1993679"/>
                  <a:pt x="565612" y="1999003"/>
                </a:cubicBezTo>
                <a:cubicBezTo>
                  <a:pt x="563998" y="2002067"/>
                  <a:pt x="628268" y="1981738"/>
                  <a:pt x="626651" y="1984802"/>
                </a:cubicBezTo>
                <a:cubicBezTo>
                  <a:pt x="632272" y="1984301"/>
                  <a:pt x="628494" y="1984273"/>
                  <a:pt x="620357" y="1984679"/>
                </a:cubicBezTo>
                <a:close/>
                <a:moveTo>
                  <a:pt x="1554719" y="1975570"/>
                </a:moveTo>
                <a:cubicBezTo>
                  <a:pt x="1555563" y="1974126"/>
                  <a:pt x="1559793" y="1973931"/>
                  <a:pt x="1569950" y="1976677"/>
                </a:cubicBezTo>
                <a:cubicBezTo>
                  <a:pt x="1580125" y="1995484"/>
                  <a:pt x="1552185" y="1979902"/>
                  <a:pt x="1554719" y="1975570"/>
                </a:cubicBezTo>
                <a:close/>
                <a:moveTo>
                  <a:pt x="1739054" y="1967450"/>
                </a:moveTo>
                <a:cubicBezTo>
                  <a:pt x="1748935" y="1972410"/>
                  <a:pt x="1707724" y="1976083"/>
                  <a:pt x="1739054" y="1967450"/>
                </a:cubicBezTo>
                <a:close/>
                <a:moveTo>
                  <a:pt x="632079" y="1960955"/>
                </a:moveTo>
                <a:cubicBezTo>
                  <a:pt x="626976" y="1967250"/>
                  <a:pt x="634727" y="1969481"/>
                  <a:pt x="640862" y="1974775"/>
                </a:cubicBezTo>
                <a:cubicBezTo>
                  <a:pt x="647581" y="1965414"/>
                  <a:pt x="635567" y="1957724"/>
                  <a:pt x="632079" y="1960955"/>
                </a:cubicBezTo>
                <a:close/>
                <a:moveTo>
                  <a:pt x="1746460" y="1953557"/>
                </a:moveTo>
                <a:cubicBezTo>
                  <a:pt x="1746620" y="1954364"/>
                  <a:pt x="1747048" y="1956516"/>
                  <a:pt x="1747902" y="1960819"/>
                </a:cubicBezTo>
                <a:cubicBezTo>
                  <a:pt x="1747902" y="1960819"/>
                  <a:pt x="1745978" y="1951135"/>
                  <a:pt x="1746460" y="1953557"/>
                </a:cubicBezTo>
                <a:close/>
                <a:moveTo>
                  <a:pt x="11323706" y="1943503"/>
                </a:moveTo>
                <a:cubicBezTo>
                  <a:pt x="11319920" y="1946029"/>
                  <a:pt x="11316561" y="1950710"/>
                  <a:pt x="11316012" y="1955140"/>
                </a:cubicBezTo>
                <a:cubicBezTo>
                  <a:pt x="11321630" y="1954639"/>
                  <a:pt x="11332871" y="1953638"/>
                  <a:pt x="11333969" y="1944778"/>
                </a:cubicBezTo>
                <a:cubicBezTo>
                  <a:pt x="11331709" y="1940599"/>
                  <a:pt x="11327494" y="1940975"/>
                  <a:pt x="11323706" y="1943503"/>
                </a:cubicBezTo>
                <a:close/>
                <a:moveTo>
                  <a:pt x="552954" y="1941721"/>
                </a:moveTo>
                <a:lnTo>
                  <a:pt x="553165" y="1942370"/>
                </a:lnTo>
                <a:lnTo>
                  <a:pt x="550193" y="1947809"/>
                </a:lnTo>
                <a:lnTo>
                  <a:pt x="547320" y="1953389"/>
                </a:lnTo>
                <a:lnTo>
                  <a:pt x="546301" y="1951805"/>
                </a:lnTo>
                <a:cubicBezTo>
                  <a:pt x="545447" y="1947501"/>
                  <a:pt x="547336" y="1942222"/>
                  <a:pt x="552954" y="1941721"/>
                </a:cubicBezTo>
                <a:close/>
                <a:moveTo>
                  <a:pt x="1721634" y="1921270"/>
                </a:moveTo>
                <a:cubicBezTo>
                  <a:pt x="1725173" y="1916300"/>
                  <a:pt x="1726105" y="1938668"/>
                  <a:pt x="1717480" y="1937247"/>
                </a:cubicBezTo>
                <a:cubicBezTo>
                  <a:pt x="1718984" y="1927621"/>
                  <a:pt x="1720453" y="1922927"/>
                  <a:pt x="1721634" y="1921270"/>
                </a:cubicBezTo>
                <a:close/>
                <a:moveTo>
                  <a:pt x="1913002" y="1889477"/>
                </a:moveTo>
                <a:cubicBezTo>
                  <a:pt x="1906608" y="1893196"/>
                  <a:pt x="1915909" y="1918105"/>
                  <a:pt x="1925212" y="1895371"/>
                </a:cubicBezTo>
                <a:cubicBezTo>
                  <a:pt x="1919011" y="1889354"/>
                  <a:pt x="1915136" y="1888238"/>
                  <a:pt x="1913002" y="1889477"/>
                </a:cubicBezTo>
                <a:close/>
                <a:moveTo>
                  <a:pt x="535642" y="1852045"/>
                </a:moveTo>
                <a:cubicBezTo>
                  <a:pt x="540167" y="1852508"/>
                  <a:pt x="543804" y="1854923"/>
                  <a:pt x="543853" y="1860759"/>
                </a:cubicBezTo>
                <a:cubicBezTo>
                  <a:pt x="529402" y="1862777"/>
                  <a:pt x="522162" y="1862327"/>
                  <a:pt x="519437" y="1860881"/>
                </a:cubicBezTo>
                <a:lnTo>
                  <a:pt x="521873" y="1855535"/>
                </a:lnTo>
                <a:lnTo>
                  <a:pt x="523017" y="1854830"/>
                </a:lnTo>
                <a:close/>
                <a:moveTo>
                  <a:pt x="1931425" y="1849995"/>
                </a:moveTo>
                <a:lnTo>
                  <a:pt x="1930489" y="1850723"/>
                </a:lnTo>
                <a:lnTo>
                  <a:pt x="1926957" y="1851408"/>
                </a:lnTo>
                <a:close/>
                <a:moveTo>
                  <a:pt x="540354" y="1844135"/>
                </a:moveTo>
                <a:lnTo>
                  <a:pt x="523017" y="1854830"/>
                </a:lnTo>
                <a:lnTo>
                  <a:pt x="522103" y="1855031"/>
                </a:lnTo>
                <a:lnTo>
                  <a:pt x="521873" y="1855535"/>
                </a:lnTo>
                <a:lnTo>
                  <a:pt x="508264" y="1863930"/>
                </a:lnTo>
                <a:cubicBezTo>
                  <a:pt x="513815" y="1883880"/>
                  <a:pt x="503353" y="1893573"/>
                  <a:pt x="480099" y="1886884"/>
                </a:cubicBezTo>
                <a:cubicBezTo>
                  <a:pt x="497218" y="1867105"/>
                  <a:pt x="512554" y="1855151"/>
                  <a:pt x="527061" y="1847790"/>
                </a:cubicBezTo>
                <a:close/>
                <a:moveTo>
                  <a:pt x="639697" y="1832169"/>
                </a:moveTo>
                <a:lnTo>
                  <a:pt x="665286" y="1834230"/>
                </a:lnTo>
                <a:lnTo>
                  <a:pt x="691254" y="1838111"/>
                </a:lnTo>
                <a:lnTo>
                  <a:pt x="673847" y="1843700"/>
                </a:lnTo>
                <a:cubicBezTo>
                  <a:pt x="652005" y="1848202"/>
                  <a:pt x="632974" y="1849168"/>
                  <a:pt x="619879" y="1845223"/>
                </a:cubicBezTo>
                <a:close/>
                <a:moveTo>
                  <a:pt x="605637" y="1829426"/>
                </a:moveTo>
                <a:lnTo>
                  <a:pt x="619500" y="1830542"/>
                </a:lnTo>
                <a:lnTo>
                  <a:pt x="611754" y="1832851"/>
                </a:lnTo>
                <a:cubicBezTo>
                  <a:pt x="596764" y="1834780"/>
                  <a:pt x="582844" y="1834833"/>
                  <a:pt x="569045" y="1836246"/>
                </a:cubicBezTo>
                <a:lnTo>
                  <a:pt x="540354" y="1844135"/>
                </a:lnTo>
                <a:lnTo>
                  <a:pt x="552254" y="1836795"/>
                </a:lnTo>
                <a:cubicBezTo>
                  <a:pt x="568655" y="1831467"/>
                  <a:pt x="586626" y="1829431"/>
                  <a:pt x="605637" y="1829426"/>
                </a:cubicBezTo>
                <a:close/>
                <a:moveTo>
                  <a:pt x="660895" y="1818204"/>
                </a:moveTo>
                <a:lnTo>
                  <a:pt x="639697" y="1832169"/>
                </a:lnTo>
                <a:lnTo>
                  <a:pt x="619500" y="1830542"/>
                </a:lnTo>
                <a:close/>
                <a:moveTo>
                  <a:pt x="10937560" y="1813270"/>
                </a:moveTo>
                <a:cubicBezTo>
                  <a:pt x="10934654" y="1812434"/>
                  <a:pt x="10931376" y="1812726"/>
                  <a:pt x="10927758" y="1814508"/>
                </a:cubicBezTo>
                <a:cubicBezTo>
                  <a:pt x="10932538" y="1825764"/>
                  <a:pt x="10939773" y="1822199"/>
                  <a:pt x="10945134" y="1818802"/>
                </a:cubicBezTo>
                <a:cubicBezTo>
                  <a:pt x="10943002" y="1816070"/>
                  <a:pt x="10940468" y="1814106"/>
                  <a:pt x="10937560" y="1813270"/>
                </a:cubicBezTo>
                <a:close/>
                <a:moveTo>
                  <a:pt x="699352" y="1809439"/>
                </a:moveTo>
                <a:cubicBezTo>
                  <a:pt x="701585" y="1810016"/>
                  <a:pt x="703253" y="1811510"/>
                  <a:pt x="703979" y="1814365"/>
                </a:cubicBezTo>
                <a:cubicBezTo>
                  <a:pt x="694870" y="1818096"/>
                  <a:pt x="683889" y="1821996"/>
                  <a:pt x="674007" y="1817036"/>
                </a:cubicBezTo>
                <a:cubicBezTo>
                  <a:pt x="678562" y="1815170"/>
                  <a:pt x="685328" y="1811646"/>
                  <a:pt x="691319" y="1810018"/>
                </a:cubicBezTo>
                <a:cubicBezTo>
                  <a:pt x="694314" y="1809203"/>
                  <a:pt x="697116" y="1808862"/>
                  <a:pt x="699352" y="1809439"/>
                </a:cubicBezTo>
                <a:close/>
                <a:moveTo>
                  <a:pt x="732633" y="1804875"/>
                </a:moveTo>
                <a:cubicBezTo>
                  <a:pt x="737711" y="1806248"/>
                  <a:pt x="742249" y="1809495"/>
                  <a:pt x="741700" y="1813923"/>
                </a:cubicBezTo>
                <a:cubicBezTo>
                  <a:pt x="733950" y="1811694"/>
                  <a:pt x="719223" y="1815926"/>
                  <a:pt x="720320" y="1807067"/>
                </a:cubicBezTo>
                <a:cubicBezTo>
                  <a:pt x="721936" y="1804004"/>
                  <a:pt x="727555" y="1803503"/>
                  <a:pt x="732633" y="1804875"/>
                </a:cubicBezTo>
                <a:close/>
                <a:moveTo>
                  <a:pt x="1409608" y="1799811"/>
                </a:moveTo>
                <a:cubicBezTo>
                  <a:pt x="1406294" y="1800699"/>
                  <a:pt x="1402976" y="1803185"/>
                  <a:pt x="1400084" y="1807823"/>
                </a:cubicBezTo>
                <a:lnTo>
                  <a:pt x="1411357" y="1810060"/>
                </a:lnTo>
                <a:lnTo>
                  <a:pt x="1423436" y="1806103"/>
                </a:lnTo>
                <a:lnTo>
                  <a:pt x="1423022" y="1804724"/>
                </a:lnTo>
                <a:cubicBezTo>
                  <a:pt x="1419537" y="1800740"/>
                  <a:pt x="1414578" y="1798478"/>
                  <a:pt x="1409608" y="1799811"/>
                </a:cubicBezTo>
                <a:close/>
                <a:moveTo>
                  <a:pt x="996012" y="1789768"/>
                </a:moveTo>
                <a:lnTo>
                  <a:pt x="1003943" y="1790554"/>
                </a:lnTo>
                <a:cubicBezTo>
                  <a:pt x="979269" y="1810277"/>
                  <a:pt x="983903" y="1804023"/>
                  <a:pt x="995653" y="1790200"/>
                </a:cubicBezTo>
                <a:close/>
                <a:moveTo>
                  <a:pt x="1391019" y="1777602"/>
                </a:moveTo>
                <a:lnTo>
                  <a:pt x="1390651" y="1778091"/>
                </a:lnTo>
                <a:lnTo>
                  <a:pt x="1392448" y="1783782"/>
                </a:lnTo>
                <a:lnTo>
                  <a:pt x="1394903" y="1778487"/>
                </a:lnTo>
                <a:cubicBezTo>
                  <a:pt x="1394953" y="1776064"/>
                  <a:pt x="1393130" y="1776136"/>
                  <a:pt x="1391019" y="1777602"/>
                </a:cubicBezTo>
                <a:close/>
                <a:moveTo>
                  <a:pt x="10975618" y="1776823"/>
                </a:moveTo>
                <a:cubicBezTo>
                  <a:pt x="10972110" y="1777804"/>
                  <a:pt x="10970173" y="1787114"/>
                  <a:pt x="10969221" y="1794797"/>
                </a:cubicBezTo>
                <a:lnTo>
                  <a:pt x="10968868" y="1799481"/>
                </a:lnTo>
                <a:lnTo>
                  <a:pt x="10966529" y="1799371"/>
                </a:lnTo>
                <a:cubicBezTo>
                  <a:pt x="10948670" y="1800233"/>
                  <a:pt x="10935284" y="1803616"/>
                  <a:pt x="10968452" y="1805042"/>
                </a:cubicBezTo>
                <a:lnTo>
                  <a:pt x="10968868" y="1799481"/>
                </a:lnTo>
                <a:lnTo>
                  <a:pt x="10988676" y="1800403"/>
                </a:lnTo>
                <a:lnTo>
                  <a:pt x="10991446" y="1808833"/>
                </a:lnTo>
                <a:cubicBezTo>
                  <a:pt x="10999084" y="1804502"/>
                  <a:pt x="10997320" y="1801921"/>
                  <a:pt x="10991415" y="1800531"/>
                </a:cubicBezTo>
                <a:lnTo>
                  <a:pt x="10988676" y="1800403"/>
                </a:lnTo>
                <a:lnTo>
                  <a:pt x="10984903" y="1788921"/>
                </a:lnTo>
                <a:cubicBezTo>
                  <a:pt x="10982949" y="1784070"/>
                  <a:pt x="10981211" y="1780882"/>
                  <a:pt x="10979671" y="1778989"/>
                </a:cubicBezTo>
                <a:cubicBezTo>
                  <a:pt x="10978131" y="1777095"/>
                  <a:pt x="10976787" y="1776496"/>
                  <a:pt x="10975618" y="1776823"/>
                </a:cubicBezTo>
                <a:close/>
                <a:moveTo>
                  <a:pt x="899192" y="1771415"/>
                </a:moveTo>
                <a:cubicBezTo>
                  <a:pt x="892928" y="1773616"/>
                  <a:pt x="888326" y="1785526"/>
                  <a:pt x="883287" y="1792546"/>
                </a:cubicBezTo>
                <a:cubicBezTo>
                  <a:pt x="892654" y="1791711"/>
                  <a:pt x="899370" y="1782351"/>
                  <a:pt x="906090" y="1772990"/>
                </a:cubicBezTo>
                <a:cubicBezTo>
                  <a:pt x="903554" y="1771026"/>
                  <a:pt x="901282" y="1770681"/>
                  <a:pt x="899192" y="1771415"/>
                </a:cubicBezTo>
                <a:close/>
                <a:moveTo>
                  <a:pt x="11164822" y="1770750"/>
                </a:moveTo>
                <a:lnTo>
                  <a:pt x="11182499" y="1771633"/>
                </a:lnTo>
                <a:lnTo>
                  <a:pt x="11174171" y="1772380"/>
                </a:lnTo>
                <a:lnTo>
                  <a:pt x="11164268" y="1773923"/>
                </a:lnTo>
                <a:close/>
                <a:moveTo>
                  <a:pt x="11192800" y="1770709"/>
                </a:moveTo>
                <a:cubicBezTo>
                  <a:pt x="11197588" y="1770658"/>
                  <a:pt x="11200734" y="1771199"/>
                  <a:pt x="11201566" y="1772586"/>
                </a:cubicBezTo>
                <a:lnTo>
                  <a:pt x="11182499" y="1771633"/>
                </a:lnTo>
                <a:close/>
                <a:moveTo>
                  <a:pt x="956148" y="1762690"/>
                </a:moveTo>
                <a:lnTo>
                  <a:pt x="957686" y="1766817"/>
                </a:lnTo>
                <a:lnTo>
                  <a:pt x="954074" y="1769105"/>
                </a:lnTo>
                <a:close/>
                <a:moveTo>
                  <a:pt x="1337905" y="1762011"/>
                </a:moveTo>
                <a:lnTo>
                  <a:pt x="1338310" y="1762166"/>
                </a:lnTo>
                <a:lnTo>
                  <a:pt x="1337258" y="1762362"/>
                </a:lnTo>
                <a:close/>
                <a:moveTo>
                  <a:pt x="1392677" y="1751169"/>
                </a:moveTo>
                <a:lnTo>
                  <a:pt x="1394883" y="1753599"/>
                </a:lnTo>
                <a:lnTo>
                  <a:pt x="1387801" y="1753839"/>
                </a:lnTo>
                <a:close/>
                <a:moveTo>
                  <a:pt x="1064599" y="1729661"/>
                </a:moveTo>
                <a:cubicBezTo>
                  <a:pt x="1014023" y="1734168"/>
                  <a:pt x="1052778" y="1745317"/>
                  <a:pt x="1064599" y="1729661"/>
                </a:cubicBezTo>
                <a:close/>
                <a:moveTo>
                  <a:pt x="919310" y="1728005"/>
                </a:moveTo>
                <a:cubicBezTo>
                  <a:pt x="915393" y="1729084"/>
                  <a:pt x="911549" y="1738918"/>
                  <a:pt x="919526" y="1754271"/>
                </a:cubicBezTo>
                <a:cubicBezTo>
                  <a:pt x="927213" y="1734603"/>
                  <a:pt x="923225" y="1726927"/>
                  <a:pt x="919310" y="1728005"/>
                </a:cubicBezTo>
                <a:close/>
                <a:moveTo>
                  <a:pt x="961798" y="1726455"/>
                </a:moveTo>
                <a:cubicBezTo>
                  <a:pt x="959622" y="1727516"/>
                  <a:pt x="957926" y="1729675"/>
                  <a:pt x="957312" y="1733381"/>
                </a:cubicBezTo>
                <a:cubicBezTo>
                  <a:pt x="965321" y="1738508"/>
                  <a:pt x="972815" y="1737840"/>
                  <a:pt x="978175" y="1734442"/>
                </a:cubicBezTo>
                <a:cubicBezTo>
                  <a:pt x="979193" y="1729970"/>
                  <a:pt x="968330" y="1723272"/>
                  <a:pt x="961798" y="1726455"/>
                </a:cubicBezTo>
                <a:close/>
                <a:moveTo>
                  <a:pt x="1141476" y="1725891"/>
                </a:moveTo>
                <a:lnTo>
                  <a:pt x="1132970" y="1734155"/>
                </a:lnTo>
                <a:lnTo>
                  <a:pt x="1122937" y="1727389"/>
                </a:lnTo>
                <a:lnTo>
                  <a:pt x="1123161" y="1727363"/>
                </a:lnTo>
                <a:close/>
                <a:moveTo>
                  <a:pt x="939163" y="1720395"/>
                </a:moveTo>
                <a:cubicBezTo>
                  <a:pt x="918425" y="1763130"/>
                  <a:pt x="985410" y="1730877"/>
                  <a:pt x="939163" y="1720395"/>
                </a:cubicBezTo>
                <a:close/>
                <a:moveTo>
                  <a:pt x="1097969" y="1710168"/>
                </a:moveTo>
                <a:cubicBezTo>
                  <a:pt x="1091205" y="1707759"/>
                  <a:pt x="1079264" y="1724704"/>
                  <a:pt x="1101546" y="1720528"/>
                </a:cubicBezTo>
                <a:cubicBezTo>
                  <a:pt x="1101902" y="1713925"/>
                  <a:pt x="1100223" y="1710971"/>
                  <a:pt x="1097969" y="1710168"/>
                </a:cubicBezTo>
                <a:close/>
                <a:moveTo>
                  <a:pt x="1201923" y="1702822"/>
                </a:moveTo>
                <a:cubicBezTo>
                  <a:pt x="1194173" y="1700592"/>
                  <a:pt x="1191718" y="1715413"/>
                  <a:pt x="1191975" y="1718311"/>
                </a:cubicBezTo>
                <a:cubicBezTo>
                  <a:pt x="1203730" y="1723103"/>
                  <a:pt x="1202439" y="1708616"/>
                  <a:pt x="1201923" y="1702822"/>
                </a:cubicBezTo>
                <a:close/>
                <a:moveTo>
                  <a:pt x="1636852" y="1702487"/>
                </a:moveTo>
                <a:cubicBezTo>
                  <a:pt x="1631305" y="1703803"/>
                  <a:pt x="1620090" y="1713016"/>
                  <a:pt x="1613889" y="1706998"/>
                </a:cubicBezTo>
                <a:cubicBezTo>
                  <a:pt x="1611692" y="1724716"/>
                  <a:pt x="1632878" y="1708226"/>
                  <a:pt x="1640114" y="1704661"/>
                </a:cubicBezTo>
                <a:cubicBezTo>
                  <a:pt x="1639920" y="1702488"/>
                  <a:pt x="1638701" y="1702050"/>
                  <a:pt x="1636852" y="1702487"/>
                </a:cubicBezTo>
                <a:close/>
                <a:moveTo>
                  <a:pt x="1709494" y="1685381"/>
                </a:moveTo>
                <a:cubicBezTo>
                  <a:pt x="1707154" y="1686275"/>
                  <a:pt x="1704964" y="1690850"/>
                  <a:pt x="1704060" y="1701883"/>
                </a:cubicBezTo>
                <a:cubicBezTo>
                  <a:pt x="1724891" y="1713168"/>
                  <a:pt x="1716511" y="1682704"/>
                  <a:pt x="1709494" y="1685381"/>
                </a:cubicBezTo>
                <a:close/>
                <a:moveTo>
                  <a:pt x="1686266" y="1680652"/>
                </a:moveTo>
                <a:cubicBezTo>
                  <a:pt x="1684498" y="1680993"/>
                  <a:pt x="1682518" y="1682629"/>
                  <a:pt x="1680032" y="1686502"/>
                </a:cubicBezTo>
                <a:cubicBezTo>
                  <a:pt x="1682681" y="1695026"/>
                  <a:pt x="1697923" y="1696590"/>
                  <a:pt x="1704643" y="1687229"/>
                </a:cubicBezTo>
                <a:cubicBezTo>
                  <a:pt x="1695001" y="1690278"/>
                  <a:pt x="1691577" y="1679631"/>
                  <a:pt x="1686266" y="1680652"/>
                </a:cubicBezTo>
                <a:close/>
                <a:moveTo>
                  <a:pt x="1635400" y="1672956"/>
                </a:moveTo>
                <a:cubicBezTo>
                  <a:pt x="1626550" y="1679585"/>
                  <a:pt x="1630813" y="1685046"/>
                  <a:pt x="1631329" y="1690842"/>
                </a:cubicBezTo>
                <a:cubicBezTo>
                  <a:pt x="1641212" y="1695801"/>
                  <a:pt x="1648771" y="1674685"/>
                  <a:pt x="1635400" y="1672956"/>
                </a:cubicBezTo>
                <a:close/>
                <a:moveTo>
                  <a:pt x="1189976" y="1664095"/>
                </a:moveTo>
                <a:cubicBezTo>
                  <a:pt x="1181257" y="1661586"/>
                  <a:pt x="1162720" y="1665429"/>
                  <a:pt x="1160521" y="1683148"/>
                </a:cubicBezTo>
                <a:cubicBezTo>
                  <a:pt x="1197597" y="1675463"/>
                  <a:pt x="1198696" y="1666603"/>
                  <a:pt x="1189976" y="1664095"/>
                </a:cubicBezTo>
                <a:close/>
                <a:moveTo>
                  <a:pt x="1239518" y="1658584"/>
                </a:moveTo>
                <a:cubicBezTo>
                  <a:pt x="1232283" y="1662150"/>
                  <a:pt x="1230087" y="1679868"/>
                  <a:pt x="1241843" y="1684662"/>
                </a:cubicBezTo>
                <a:cubicBezTo>
                  <a:pt x="1248560" y="1675303"/>
                  <a:pt x="1247785" y="1666609"/>
                  <a:pt x="1239518" y="1658584"/>
                </a:cubicBezTo>
                <a:close/>
                <a:moveTo>
                  <a:pt x="1622209" y="1657656"/>
                </a:moveTo>
                <a:lnTo>
                  <a:pt x="1620497" y="1657992"/>
                </a:lnTo>
                <a:cubicBezTo>
                  <a:pt x="1616266" y="1660834"/>
                  <a:pt x="1618300" y="1665125"/>
                  <a:pt x="1623113" y="1663509"/>
                </a:cubicBezTo>
                <a:lnTo>
                  <a:pt x="1624508" y="1662286"/>
                </a:lnTo>
                <a:close/>
                <a:moveTo>
                  <a:pt x="1122349" y="1657344"/>
                </a:moveTo>
                <a:cubicBezTo>
                  <a:pt x="1116472" y="1654947"/>
                  <a:pt x="1110384" y="1655490"/>
                  <a:pt x="1104423" y="1657481"/>
                </a:cubicBezTo>
                <a:cubicBezTo>
                  <a:pt x="1098465" y="1659472"/>
                  <a:pt x="1092637" y="1662912"/>
                  <a:pt x="1087276" y="1666309"/>
                </a:cubicBezTo>
                <a:cubicBezTo>
                  <a:pt x="1100129" y="1662245"/>
                  <a:pt x="1111627" y="1664140"/>
                  <a:pt x="1122349" y="1657344"/>
                </a:cubicBezTo>
                <a:close/>
                <a:moveTo>
                  <a:pt x="1675318" y="1654796"/>
                </a:moveTo>
                <a:cubicBezTo>
                  <a:pt x="1736162" y="1701943"/>
                  <a:pt x="1677192" y="1654629"/>
                  <a:pt x="1675318" y="1654796"/>
                </a:cubicBezTo>
                <a:close/>
                <a:moveTo>
                  <a:pt x="1730224" y="1635301"/>
                </a:moveTo>
                <a:cubicBezTo>
                  <a:pt x="1722472" y="1633072"/>
                  <a:pt x="1715496" y="1639534"/>
                  <a:pt x="1709876" y="1640034"/>
                </a:cubicBezTo>
                <a:cubicBezTo>
                  <a:pt x="1709037" y="1651791"/>
                  <a:pt x="1725378" y="1644494"/>
                  <a:pt x="1730224" y="1635301"/>
                </a:cubicBezTo>
                <a:close/>
                <a:moveTo>
                  <a:pt x="1935267" y="1630491"/>
                </a:moveTo>
                <a:cubicBezTo>
                  <a:pt x="1929579" y="1629219"/>
                  <a:pt x="1945297" y="1638770"/>
                  <a:pt x="1949318" y="1636221"/>
                </a:cubicBezTo>
                <a:cubicBezTo>
                  <a:pt x="1941438" y="1632542"/>
                  <a:pt x="1937164" y="1630916"/>
                  <a:pt x="1935267" y="1630491"/>
                </a:cubicBezTo>
                <a:close/>
                <a:moveTo>
                  <a:pt x="1791005" y="1618202"/>
                </a:moveTo>
                <a:cubicBezTo>
                  <a:pt x="1787000" y="1615639"/>
                  <a:pt x="1783787" y="1616656"/>
                  <a:pt x="1780638" y="1618397"/>
                </a:cubicBezTo>
                <a:cubicBezTo>
                  <a:pt x="1777489" y="1620137"/>
                  <a:pt x="1774405" y="1622602"/>
                  <a:pt x="1770659" y="1622936"/>
                </a:cubicBezTo>
                <a:cubicBezTo>
                  <a:pt x="1769819" y="1634693"/>
                  <a:pt x="1785644" y="1621601"/>
                  <a:pt x="1791005" y="1618202"/>
                </a:cubicBezTo>
                <a:close/>
                <a:moveTo>
                  <a:pt x="1900301" y="1617819"/>
                </a:moveTo>
                <a:cubicBezTo>
                  <a:pt x="1898127" y="1619244"/>
                  <a:pt x="1894789" y="1622828"/>
                  <a:pt x="1890217" y="1629805"/>
                </a:cubicBezTo>
                <a:cubicBezTo>
                  <a:pt x="1902862" y="1628678"/>
                  <a:pt x="1906821" y="1613541"/>
                  <a:pt x="1900301" y="1617819"/>
                </a:cubicBezTo>
                <a:close/>
                <a:moveTo>
                  <a:pt x="1844813" y="1615035"/>
                </a:moveTo>
                <a:lnTo>
                  <a:pt x="1844576" y="1615528"/>
                </a:lnTo>
                <a:lnTo>
                  <a:pt x="1844625" y="1616270"/>
                </a:lnTo>
                <a:lnTo>
                  <a:pt x="1843712" y="1616426"/>
                </a:lnTo>
                <a:close/>
                <a:moveTo>
                  <a:pt x="1876477" y="1603804"/>
                </a:moveTo>
                <a:cubicBezTo>
                  <a:pt x="1871570" y="1601931"/>
                  <a:pt x="1861274" y="1601537"/>
                  <a:pt x="1853496" y="1604056"/>
                </a:cubicBezTo>
                <a:lnTo>
                  <a:pt x="1844813" y="1615035"/>
                </a:lnTo>
                <a:lnTo>
                  <a:pt x="1848556" y="1607234"/>
                </a:lnTo>
                <a:cubicBezTo>
                  <a:pt x="1845650" y="1595811"/>
                  <a:pt x="1746499" y="1648453"/>
                  <a:pt x="1721243" y="1682829"/>
                </a:cubicBezTo>
                <a:cubicBezTo>
                  <a:pt x="1721243" y="1682829"/>
                  <a:pt x="1864833" y="1620386"/>
                  <a:pt x="1838544" y="1643171"/>
                </a:cubicBezTo>
                <a:cubicBezTo>
                  <a:pt x="1847586" y="1659889"/>
                  <a:pt x="1847150" y="1649705"/>
                  <a:pt x="1845923" y="1635943"/>
                </a:cubicBezTo>
                <a:lnTo>
                  <a:pt x="1844625" y="1616270"/>
                </a:lnTo>
                <a:lnTo>
                  <a:pt x="1867129" y="1612423"/>
                </a:lnTo>
                <a:cubicBezTo>
                  <a:pt x="1880904" y="1609028"/>
                  <a:pt x="1881385" y="1605677"/>
                  <a:pt x="1876477" y="1603804"/>
                </a:cubicBezTo>
                <a:close/>
                <a:moveTo>
                  <a:pt x="1905875" y="1588983"/>
                </a:moveTo>
                <a:cubicBezTo>
                  <a:pt x="1901218" y="1589034"/>
                  <a:pt x="1893546" y="1593003"/>
                  <a:pt x="1882275" y="1604229"/>
                </a:cubicBezTo>
                <a:cubicBezTo>
                  <a:pt x="1906689" y="1623957"/>
                  <a:pt x="1919844" y="1588834"/>
                  <a:pt x="1905875" y="1588983"/>
                </a:cubicBezTo>
                <a:close/>
                <a:moveTo>
                  <a:pt x="2009461" y="1581486"/>
                </a:moveTo>
                <a:cubicBezTo>
                  <a:pt x="1984187" y="1587846"/>
                  <a:pt x="1946593" y="1610910"/>
                  <a:pt x="1927746" y="1606017"/>
                </a:cubicBezTo>
                <a:cubicBezTo>
                  <a:pt x="1921353" y="1597826"/>
                  <a:pt x="2037616" y="1631273"/>
                  <a:pt x="2029482" y="1582349"/>
                </a:cubicBezTo>
                <a:cubicBezTo>
                  <a:pt x="2024944" y="1579103"/>
                  <a:pt x="2017888" y="1579366"/>
                  <a:pt x="2009461" y="1581486"/>
                </a:cubicBezTo>
                <a:close/>
                <a:moveTo>
                  <a:pt x="2013461" y="1572094"/>
                </a:moveTo>
                <a:cubicBezTo>
                  <a:pt x="1953263" y="1574538"/>
                  <a:pt x="1998154" y="1590983"/>
                  <a:pt x="2013461" y="1572094"/>
                </a:cubicBezTo>
                <a:close/>
                <a:moveTo>
                  <a:pt x="9635229" y="1526660"/>
                </a:moveTo>
                <a:cubicBezTo>
                  <a:pt x="9631740" y="1529891"/>
                  <a:pt x="9627994" y="1530225"/>
                  <a:pt x="9626380" y="1533288"/>
                </a:cubicBezTo>
                <a:cubicBezTo>
                  <a:pt x="9598282" y="1535792"/>
                  <a:pt x="9638651" y="1543877"/>
                  <a:pt x="9635229" y="1526660"/>
                </a:cubicBezTo>
                <a:close/>
                <a:moveTo>
                  <a:pt x="9818510" y="1507041"/>
                </a:moveTo>
                <a:cubicBezTo>
                  <a:pt x="9802345" y="1511038"/>
                  <a:pt x="9770194" y="1526315"/>
                  <a:pt x="9770547" y="1540886"/>
                </a:cubicBezTo>
                <a:cubicBezTo>
                  <a:pt x="9834851" y="1510332"/>
                  <a:pt x="9834674" y="1503047"/>
                  <a:pt x="9818510" y="1507041"/>
                </a:cubicBezTo>
                <a:close/>
                <a:moveTo>
                  <a:pt x="1975991" y="1506803"/>
                </a:moveTo>
                <a:cubicBezTo>
                  <a:pt x="1967777" y="1506987"/>
                  <a:pt x="1953847" y="1517537"/>
                  <a:pt x="1954234" y="1521883"/>
                </a:cubicBezTo>
                <a:cubicBezTo>
                  <a:pt x="1963342" y="1518152"/>
                  <a:pt x="1972708" y="1517317"/>
                  <a:pt x="1981559" y="1510686"/>
                </a:cubicBezTo>
                <a:cubicBezTo>
                  <a:pt x="1980832" y="1507831"/>
                  <a:pt x="1978730" y="1506741"/>
                  <a:pt x="1975991" y="1506803"/>
                </a:cubicBezTo>
                <a:close/>
                <a:moveTo>
                  <a:pt x="10239358" y="1504950"/>
                </a:moveTo>
                <a:lnTo>
                  <a:pt x="10240704" y="1508314"/>
                </a:lnTo>
                <a:lnTo>
                  <a:pt x="10238459" y="1508453"/>
                </a:lnTo>
                <a:lnTo>
                  <a:pt x="10237189" y="1507549"/>
                </a:lnTo>
                <a:close/>
                <a:moveTo>
                  <a:pt x="10281114" y="1503101"/>
                </a:moveTo>
                <a:cubicBezTo>
                  <a:pt x="10287652" y="1502654"/>
                  <a:pt x="10293534" y="1503774"/>
                  <a:pt x="10298201" y="1508468"/>
                </a:cubicBezTo>
                <a:cubicBezTo>
                  <a:pt x="10269860" y="1524136"/>
                  <a:pt x="10255980" y="1535229"/>
                  <a:pt x="10247025" y="1524116"/>
                </a:cubicBezTo>
                <a:lnTo>
                  <a:pt x="10240704" y="1508314"/>
                </a:lnTo>
                <a:lnTo>
                  <a:pt x="10260082" y="1507119"/>
                </a:lnTo>
                <a:cubicBezTo>
                  <a:pt x="10267378" y="1505557"/>
                  <a:pt x="10274574" y="1503547"/>
                  <a:pt x="10281114" y="1503101"/>
                </a:cubicBezTo>
                <a:close/>
                <a:moveTo>
                  <a:pt x="9664491" y="1494847"/>
                </a:moveTo>
                <a:cubicBezTo>
                  <a:pt x="9655125" y="1495681"/>
                  <a:pt x="9640141" y="1497017"/>
                  <a:pt x="9639816" y="1514569"/>
                </a:cubicBezTo>
                <a:cubicBezTo>
                  <a:pt x="9650797" y="1510670"/>
                  <a:pt x="9665782" y="1509334"/>
                  <a:pt x="9664491" y="1494847"/>
                </a:cubicBezTo>
                <a:close/>
                <a:moveTo>
                  <a:pt x="10292300" y="1487919"/>
                </a:moveTo>
                <a:lnTo>
                  <a:pt x="10292381" y="1488180"/>
                </a:lnTo>
                <a:cubicBezTo>
                  <a:pt x="10292892" y="1495252"/>
                  <a:pt x="10290238" y="1499231"/>
                  <a:pt x="10281071" y="1494708"/>
                </a:cubicBezTo>
                <a:lnTo>
                  <a:pt x="10274684" y="1490069"/>
                </a:lnTo>
                <a:lnTo>
                  <a:pt x="10278363" y="1489792"/>
                </a:lnTo>
                <a:close/>
                <a:moveTo>
                  <a:pt x="10271008" y="1484345"/>
                </a:moveTo>
                <a:lnTo>
                  <a:pt x="10268072" y="1485264"/>
                </a:lnTo>
                <a:lnTo>
                  <a:pt x="10267740" y="1485025"/>
                </a:lnTo>
                <a:lnTo>
                  <a:pt x="10269557" y="1484645"/>
                </a:lnTo>
                <a:cubicBezTo>
                  <a:pt x="10271964" y="1484020"/>
                  <a:pt x="10272791" y="1483787"/>
                  <a:pt x="10271008" y="1484345"/>
                </a:cubicBezTo>
                <a:close/>
                <a:moveTo>
                  <a:pt x="10266759" y="1484310"/>
                </a:moveTo>
                <a:lnTo>
                  <a:pt x="10267740" y="1485025"/>
                </a:lnTo>
                <a:lnTo>
                  <a:pt x="10262950" y="1486025"/>
                </a:lnTo>
                <a:close/>
                <a:moveTo>
                  <a:pt x="1723782" y="1481851"/>
                </a:moveTo>
                <a:lnTo>
                  <a:pt x="1722246" y="1482550"/>
                </a:lnTo>
                <a:cubicBezTo>
                  <a:pt x="1715371" y="1485854"/>
                  <a:pt x="1711436" y="1488031"/>
                  <a:pt x="1713308" y="1487863"/>
                </a:cubicBezTo>
                <a:cubicBezTo>
                  <a:pt x="1712179" y="1485774"/>
                  <a:pt x="1714625" y="1484095"/>
                  <a:pt x="1718901" y="1482757"/>
                </a:cubicBezTo>
                <a:close/>
                <a:moveTo>
                  <a:pt x="10292195" y="1472863"/>
                </a:moveTo>
                <a:cubicBezTo>
                  <a:pt x="10304274" y="1470691"/>
                  <a:pt x="10316644" y="1471780"/>
                  <a:pt x="10329336" y="1476489"/>
                </a:cubicBezTo>
                <a:cubicBezTo>
                  <a:pt x="10330127" y="1480069"/>
                  <a:pt x="10324116" y="1482796"/>
                  <a:pt x="10314541" y="1484926"/>
                </a:cubicBezTo>
                <a:lnTo>
                  <a:pt x="10292300" y="1487919"/>
                </a:lnTo>
                <a:lnTo>
                  <a:pt x="10288232" y="1474647"/>
                </a:lnTo>
                <a:close/>
                <a:moveTo>
                  <a:pt x="10045778" y="1472552"/>
                </a:moveTo>
                <a:cubicBezTo>
                  <a:pt x="10042160" y="1474334"/>
                  <a:pt x="10038285" y="1473220"/>
                  <a:pt x="10035209" y="1473129"/>
                </a:cubicBezTo>
                <a:cubicBezTo>
                  <a:pt x="10032133" y="1473039"/>
                  <a:pt x="10029856" y="1473972"/>
                  <a:pt x="10029432" y="1479850"/>
                </a:cubicBezTo>
                <a:cubicBezTo>
                  <a:pt x="10035056" y="1479349"/>
                  <a:pt x="10046811" y="1484142"/>
                  <a:pt x="10045778" y="1472552"/>
                </a:cubicBezTo>
                <a:close/>
                <a:moveTo>
                  <a:pt x="1802786" y="1462048"/>
                </a:moveTo>
                <a:lnTo>
                  <a:pt x="1807943" y="1464859"/>
                </a:lnTo>
                <a:lnTo>
                  <a:pt x="1800615" y="1470272"/>
                </a:lnTo>
                <a:lnTo>
                  <a:pt x="1799507" y="1471394"/>
                </a:lnTo>
                <a:lnTo>
                  <a:pt x="1790948" y="1469264"/>
                </a:lnTo>
                <a:cubicBezTo>
                  <a:pt x="1793710" y="1463175"/>
                  <a:pt x="1798281" y="1461491"/>
                  <a:pt x="1802786" y="1462048"/>
                </a:cubicBezTo>
                <a:close/>
                <a:moveTo>
                  <a:pt x="10278052" y="1451854"/>
                </a:moveTo>
                <a:cubicBezTo>
                  <a:pt x="10277858" y="1449681"/>
                  <a:pt x="10281181" y="1455225"/>
                  <a:pt x="10284687" y="1463081"/>
                </a:cubicBezTo>
                <a:lnTo>
                  <a:pt x="10288232" y="1474647"/>
                </a:lnTo>
                <a:lnTo>
                  <a:pt x="10266759" y="1484310"/>
                </a:lnTo>
                <a:lnTo>
                  <a:pt x="10262025" y="1480873"/>
                </a:lnTo>
                <a:lnTo>
                  <a:pt x="10250223" y="1469327"/>
                </a:lnTo>
                <a:close/>
                <a:moveTo>
                  <a:pt x="1894556" y="1445428"/>
                </a:moveTo>
                <a:lnTo>
                  <a:pt x="1901912" y="1448226"/>
                </a:lnTo>
                <a:lnTo>
                  <a:pt x="1903508" y="1447434"/>
                </a:lnTo>
                <a:close/>
                <a:moveTo>
                  <a:pt x="1865201" y="1442750"/>
                </a:moveTo>
                <a:cubicBezTo>
                  <a:pt x="1854993" y="1446398"/>
                  <a:pt x="1867249" y="1472686"/>
                  <a:pt x="1883575" y="1449326"/>
                </a:cubicBezTo>
                <a:cubicBezTo>
                  <a:pt x="1874501" y="1442834"/>
                  <a:pt x="1868603" y="1441534"/>
                  <a:pt x="1865201" y="1442750"/>
                </a:cubicBezTo>
                <a:close/>
                <a:moveTo>
                  <a:pt x="1851109" y="1440786"/>
                </a:moveTo>
                <a:lnTo>
                  <a:pt x="1833689" y="1447780"/>
                </a:lnTo>
                <a:lnTo>
                  <a:pt x="1834820" y="1442811"/>
                </a:lnTo>
                <a:close/>
                <a:moveTo>
                  <a:pt x="1964253" y="1401252"/>
                </a:moveTo>
                <a:cubicBezTo>
                  <a:pt x="1964366" y="1407812"/>
                  <a:pt x="1969005" y="1410867"/>
                  <a:pt x="1974753" y="1411815"/>
                </a:cubicBezTo>
                <a:lnTo>
                  <a:pt x="1975418" y="1411736"/>
                </a:lnTo>
                <a:lnTo>
                  <a:pt x="1992551" y="1403230"/>
                </a:lnTo>
                <a:close/>
                <a:moveTo>
                  <a:pt x="10149869" y="1387937"/>
                </a:moveTo>
                <a:cubicBezTo>
                  <a:pt x="10148456" y="1389295"/>
                  <a:pt x="10147692" y="1392649"/>
                  <a:pt x="10148741" y="1399126"/>
                </a:cubicBezTo>
                <a:cubicBezTo>
                  <a:pt x="10164195" y="1397749"/>
                  <a:pt x="10154108" y="1383864"/>
                  <a:pt x="10149869" y="1387937"/>
                </a:cubicBezTo>
                <a:close/>
                <a:moveTo>
                  <a:pt x="10137893" y="1362127"/>
                </a:moveTo>
                <a:lnTo>
                  <a:pt x="10138487" y="1362564"/>
                </a:lnTo>
                <a:lnTo>
                  <a:pt x="10138340" y="1362621"/>
                </a:lnTo>
                <a:close/>
                <a:moveTo>
                  <a:pt x="10152384" y="1357172"/>
                </a:moveTo>
                <a:lnTo>
                  <a:pt x="10148500" y="1369944"/>
                </a:lnTo>
                <a:lnTo>
                  <a:pt x="10138487" y="1362564"/>
                </a:lnTo>
                <a:lnTo>
                  <a:pt x="10152229" y="1357221"/>
                </a:lnTo>
                <a:close/>
                <a:moveTo>
                  <a:pt x="10055856" y="1356934"/>
                </a:moveTo>
                <a:lnTo>
                  <a:pt x="10060674" y="1357808"/>
                </a:lnTo>
                <a:lnTo>
                  <a:pt x="10061089" y="1359172"/>
                </a:lnTo>
                <a:lnTo>
                  <a:pt x="10058910" y="1364539"/>
                </a:lnTo>
                <a:lnTo>
                  <a:pt x="10051524" y="1368032"/>
                </a:lnTo>
                <a:cubicBezTo>
                  <a:pt x="10039048" y="1372533"/>
                  <a:pt x="10042192" y="1366092"/>
                  <a:pt x="10048077" y="1360639"/>
                </a:cubicBezTo>
                <a:lnTo>
                  <a:pt x="10054606" y="1357235"/>
                </a:lnTo>
                <a:close/>
                <a:moveTo>
                  <a:pt x="10153976" y="1351932"/>
                </a:moveTo>
                <a:lnTo>
                  <a:pt x="10157915" y="1355410"/>
                </a:lnTo>
                <a:lnTo>
                  <a:pt x="10152384" y="1357172"/>
                </a:lnTo>
                <a:close/>
                <a:moveTo>
                  <a:pt x="10174582" y="1350096"/>
                </a:moveTo>
                <a:cubicBezTo>
                  <a:pt x="10171482" y="1357674"/>
                  <a:pt x="10168526" y="1361587"/>
                  <a:pt x="10165248" y="1361880"/>
                </a:cubicBezTo>
                <a:lnTo>
                  <a:pt x="10157915" y="1355410"/>
                </a:lnTo>
                <a:close/>
                <a:moveTo>
                  <a:pt x="10102517" y="1341232"/>
                </a:moveTo>
                <a:cubicBezTo>
                  <a:pt x="10098218" y="1340655"/>
                  <a:pt x="10116771" y="1358167"/>
                  <a:pt x="10115996" y="1349476"/>
                </a:cubicBezTo>
                <a:cubicBezTo>
                  <a:pt x="10107922" y="1343624"/>
                  <a:pt x="10103951" y="1341422"/>
                  <a:pt x="10102517" y="1341232"/>
                </a:cubicBezTo>
                <a:close/>
                <a:moveTo>
                  <a:pt x="10117935" y="1328859"/>
                </a:moveTo>
                <a:cubicBezTo>
                  <a:pt x="10114705" y="1334988"/>
                  <a:pt x="10116253" y="1352374"/>
                  <a:pt x="10123747" y="1351706"/>
                </a:cubicBezTo>
                <a:cubicBezTo>
                  <a:pt x="10120841" y="1340282"/>
                  <a:pt x="10127560" y="1330921"/>
                  <a:pt x="10117935" y="1328859"/>
                </a:cubicBezTo>
                <a:close/>
                <a:moveTo>
                  <a:pt x="10488565" y="1292912"/>
                </a:moveTo>
                <a:cubicBezTo>
                  <a:pt x="10460984" y="1301209"/>
                  <a:pt x="10437150" y="1309176"/>
                  <a:pt x="10413314" y="1317141"/>
                </a:cubicBezTo>
                <a:cubicBezTo>
                  <a:pt x="10410504" y="1317391"/>
                  <a:pt x="10345007" y="1345131"/>
                  <a:pt x="10278533" y="1364562"/>
                </a:cubicBezTo>
                <a:lnTo>
                  <a:pt x="10247902" y="1370653"/>
                </a:lnTo>
                <a:lnTo>
                  <a:pt x="10273425" y="1357276"/>
                </a:lnTo>
                <a:lnTo>
                  <a:pt x="10391870" y="1314628"/>
                </a:lnTo>
                <a:lnTo>
                  <a:pt x="10409458" y="1311278"/>
                </a:lnTo>
                <a:cubicBezTo>
                  <a:pt x="10434065" y="1306347"/>
                  <a:pt x="10460451" y="1300528"/>
                  <a:pt x="10488565" y="1292912"/>
                </a:cubicBezTo>
                <a:close/>
                <a:moveTo>
                  <a:pt x="10560844" y="1277710"/>
                </a:moveTo>
                <a:cubicBezTo>
                  <a:pt x="10548183" y="1305122"/>
                  <a:pt x="10511043" y="1290909"/>
                  <a:pt x="10487467" y="1301770"/>
                </a:cubicBezTo>
                <a:cubicBezTo>
                  <a:pt x="10500646" y="1280154"/>
                  <a:pt x="10542371" y="1282276"/>
                  <a:pt x="10560844" y="1277710"/>
                </a:cubicBezTo>
                <a:close/>
                <a:moveTo>
                  <a:pt x="10654842" y="1267873"/>
                </a:moveTo>
                <a:cubicBezTo>
                  <a:pt x="10658056" y="1266857"/>
                  <a:pt x="10661866" y="1267247"/>
                  <a:pt x="10663869" y="1268530"/>
                </a:cubicBezTo>
                <a:cubicBezTo>
                  <a:pt x="10667032" y="1282848"/>
                  <a:pt x="10652888" y="1272428"/>
                  <a:pt x="10649401" y="1275659"/>
                </a:cubicBezTo>
                <a:cubicBezTo>
                  <a:pt x="10649013" y="1271313"/>
                  <a:pt x="10651630" y="1268889"/>
                  <a:pt x="10654842" y="1267873"/>
                </a:cubicBezTo>
                <a:close/>
                <a:moveTo>
                  <a:pt x="10651137" y="1246174"/>
                </a:moveTo>
                <a:lnTo>
                  <a:pt x="10651028" y="1246232"/>
                </a:lnTo>
                <a:cubicBezTo>
                  <a:pt x="10644239" y="1251341"/>
                  <a:pt x="10640032" y="1256598"/>
                  <a:pt x="10638744" y="1262006"/>
                </a:cubicBezTo>
                <a:cubicBezTo>
                  <a:pt x="10639727" y="1267759"/>
                  <a:pt x="10635218" y="1266153"/>
                  <a:pt x="10629252" y="1261437"/>
                </a:cubicBezTo>
                <a:lnTo>
                  <a:pt x="10620520" y="1252229"/>
                </a:lnTo>
                <a:lnTo>
                  <a:pt x="10633625" y="1249053"/>
                </a:lnTo>
                <a:lnTo>
                  <a:pt x="10636917" y="1248512"/>
                </a:lnTo>
                <a:lnTo>
                  <a:pt x="10645202" y="1249748"/>
                </a:lnTo>
                <a:lnTo>
                  <a:pt x="10641911" y="1247690"/>
                </a:lnTo>
                <a:close/>
                <a:moveTo>
                  <a:pt x="10619469" y="1233863"/>
                </a:moveTo>
                <a:lnTo>
                  <a:pt x="10620256" y="1234147"/>
                </a:lnTo>
                <a:lnTo>
                  <a:pt x="10641911" y="1247690"/>
                </a:lnTo>
                <a:lnTo>
                  <a:pt x="10636917" y="1248512"/>
                </a:lnTo>
                <a:lnTo>
                  <a:pt x="10613708" y="1245044"/>
                </a:lnTo>
                <a:lnTo>
                  <a:pt x="10611018" y="1242208"/>
                </a:lnTo>
                <a:lnTo>
                  <a:pt x="10607615" y="1236114"/>
                </a:lnTo>
                <a:close/>
                <a:moveTo>
                  <a:pt x="2756341" y="1231005"/>
                </a:moveTo>
                <a:cubicBezTo>
                  <a:pt x="2747101" y="1234566"/>
                  <a:pt x="2756934" y="1249571"/>
                  <a:pt x="2772435" y="1232858"/>
                </a:cubicBezTo>
                <a:cubicBezTo>
                  <a:pt x="2764622" y="1229903"/>
                  <a:pt x="2759424" y="1229819"/>
                  <a:pt x="2756341" y="1231005"/>
                </a:cubicBezTo>
                <a:close/>
                <a:moveTo>
                  <a:pt x="2675521" y="1227695"/>
                </a:moveTo>
                <a:lnTo>
                  <a:pt x="2677746" y="1229613"/>
                </a:lnTo>
                <a:lnTo>
                  <a:pt x="2675832" y="1230783"/>
                </a:lnTo>
                <a:lnTo>
                  <a:pt x="2675329" y="1227827"/>
                </a:lnTo>
                <a:close/>
                <a:moveTo>
                  <a:pt x="10944339" y="1203806"/>
                </a:moveTo>
                <a:lnTo>
                  <a:pt x="10819191" y="1218548"/>
                </a:lnTo>
                <a:lnTo>
                  <a:pt x="10651137" y="1246174"/>
                </a:lnTo>
                <a:lnTo>
                  <a:pt x="10678803" y="1231353"/>
                </a:lnTo>
                <a:lnTo>
                  <a:pt x="10721781" y="1218953"/>
                </a:lnTo>
                <a:lnTo>
                  <a:pt x="10767523" y="1214436"/>
                </a:lnTo>
                <a:close/>
                <a:moveTo>
                  <a:pt x="2822833" y="1186932"/>
                </a:moveTo>
                <a:lnTo>
                  <a:pt x="2817109" y="1192998"/>
                </a:lnTo>
                <a:lnTo>
                  <a:pt x="2805865" y="1194832"/>
                </a:lnTo>
                <a:cubicBezTo>
                  <a:pt x="2802909" y="1198747"/>
                  <a:pt x="2809706" y="1206172"/>
                  <a:pt x="2811839" y="1208903"/>
                </a:cubicBezTo>
                <a:cubicBezTo>
                  <a:pt x="2813333" y="1201834"/>
                  <a:pt x="2815034" y="1196753"/>
                  <a:pt x="2816885" y="1193235"/>
                </a:cubicBezTo>
                <a:lnTo>
                  <a:pt x="2817109" y="1192998"/>
                </a:lnTo>
                <a:lnTo>
                  <a:pt x="2819415" y="1192621"/>
                </a:lnTo>
                <a:lnTo>
                  <a:pt x="2842467" y="1198067"/>
                </a:lnTo>
                <a:lnTo>
                  <a:pt x="2848837" y="1203962"/>
                </a:lnTo>
                <a:cubicBezTo>
                  <a:pt x="2852711" y="1206721"/>
                  <a:pt x="2856052" y="1207153"/>
                  <a:pt x="2858408" y="1201832"/>
                </a:cubicBezTo>
                <a:lnTo>
                  <a:pt x="2842467" y="1198067"/>
                </a:lnTo>
                <a:lnTo>
                  <a:pt x="2836072" y="1192141"/>
                </a:lnTo>
                <a:cubicBezTo>
                  <a:pt x="2831587" y="1188160"/>
                  <a:pt x="2827022" y="1185282"/>
                  <a:pt x="2822833" y="1186932"/>
                </a:cubicBezTo>
                <a:close/>
                <a:moveTo>
                  <a:pt x="11102196" y="1185213"/>
                </a:moveTo>
                <a:lnTo>
                  <a:pt x="11065995" y="1192202"/>
                </a:lnTo>
                <a:cubicBezTo>
                  <a:pt x="11033765" y="1196711"/>
                  <a:pt x="11000730" y="1199906"/>
                  <a:pt x="10967381" y="1202421"/>
                </a:cubicBezTo>
                <a:lnTo>
                  <a:pt x="10944339" y="1203806"/>
                </a:lnTo>
                <a:close/>
                <a:moveTo>
                  <a:pt x="2822629" y="1181657"/>
                </a:moveTo>
                <a:cubicBezTo>
                  <a:pt x="2810871" y="1176863"/>
                  <a:pt x="2800666" y="1189455"/>
                  <a:pt x="2788070" y="1196418"/>
                </a:cubicBezTo>
                <a:cubicBezTo>
                  <a:pt x="2801181" y="1195250"/>
                  <a:pt x="2812163" y="1191351"/>
                  <a:pt x="2822629" y="1181657"/>
                </a:cubicBezTo>
                <a:close/>
                <a:moveTo>
                  <a:pt x="2911183" y="1179606"/>
                </a:moveTo>
                <a:cubicBezTo>
                  <a:pt x="2904464" y="1188966"/>
                  <a:pt x="2921320" y="1187464"/>
                  <a:pt x="2928556" y="1183899"/>
                </a:cubicBezTo>
                <a:cubicBezTo>
                  <a:pt x="2921904" y="1172811"/>
                  <a:pt x="2917578" y="1187797"/>
                  <a:pt x="2911183" y="1179606"/>
                </a:cubicBezTo>
                <a:close/>
                <a:moveTo>
                  <a:pt x="2862547" y="1163498"/>
                </a:moveTo>
                <a:cubicBezTo>
                  <a:pt x="2823919" y="1196143"/>
                  <a:pt x="2889221" y="1187404"/>
                  <a:pt x="2862547" y="1163498"/>
                </a:cubicBezTo>
                <a:close/>
                <a:moveTo>
                  <a:pt x="2979483" y="1154173"/>
                </a:moveTo>
                <a:lnTo>
                  <a:pt x="2982137" y="1158429"/>
                </a:lnTo>
                <a:lnTo>
                  <a:pt x="2976973" y="1162929"/>
                </a:lnTo>
                <a:lnTo>
                  <a:pt x="2967931" y="1165526"/>
                </a:lnTo>
                <a:lnTo>
                  <a:pt x="2967019" y="1165526"/>
                </a:lnTo>
                <a:close/>
                <a:moveTo>
                  <a:pt x="3058385" y="1142806"/>
                </a:moveTo>
                <a:lnTo>
                  <a:pt x="3069539" y="1146082"/>
                </a:lnTo>
                <a:lnTo>
                  <a:pt x="3057612" y="1149035"/>
                </a:lnTo>
                <a:lnTo>
                  <a:pt x="3057976" y="1143815"/>
                </a:lnTo>
                <a:close/>
                <a:moveTo>
                  <a:pt x="2886187" y="1132186"/>
                </a:moveTo>
                <a:cubicBezTo>
                  <a:pt x="2860932" y="1166561"/>
                  <a:pt x="2901948" y="1139542"/>
                  <a:pt x="2886187" y="1132186"/>
                </a:cubicBezTo>
                <a:close/>
                <a:moveTo>
                  <a:pt x="3172340" y="1123365"/>
                </a:moveTo>
                <a:lnTo>
                  <a:pt x="3170712" y="1127093"/>
                </a:lnTo>
                <a:lnTo>
                  <a:pt x="3172339" y="1129177"/>
                </a:lnTo>
                <a:close/>
                <a:moveTo>
                  <a:pt x="11560025" y="1112739"/>
                </a:moveTo>
                <a:cubicBezTo>
                  <a:pt x="11440351" y="1141656"/>
                  <a:pt x="11317336" y="1159554"/>
                  <a:pt x="11193141" y="1174500"/>
                </a:cubicBezTo>
                <a:lnTo>
                  <a:pt x="11102196" y="1185213"/>
                </a:lnTo>
                <a:lnTo>
                  <a:pt x="11159769" y="1174097"/>
                </a:lnTo>
                <a:cubicBezTo>
                  <a:pt x="11189890" y="1166325"/>
                  <a:pt x="11218708" y="1156604"/>
                  <a:pt x="11245730" y="1144300"/>
                </a:cubicBezTo>
                <a:lnTo>
                  <a:pt x="11252441" y="1140256"/>
                </a:lnTo>
                <a:lnTo>
                  <a:pt x="11362975" y="1130115"/>
                </a:lnTo>
                <a:cubicBezTo>
                  <a:pt x="11453956" y="1122191"/>
                  <a:pt x="11526840" y="1116426"/>
                  <a:pt x="11560025" y="1112739"/>
                </a:cubicBezTo>
                <a:close/>
                <a:moveTo>
                  <a:pt x="3133011" y="1110237"/>
                </a:moveTo>
                <a:cubicBezTo>
                  <a:pt x="3128075" y="1117385"/>
                  <a:pt x="3167323" y="1140720"/>
                  <a:pt x="3156181" y="1111047"/>
                </a:cubicBezTo>
                <a:cubicBezTo>
                  <a:pt x="3141214" y="1107270"/>
                  <a:pt x="3134657" y="1107854"/>
                  <a:pt x="3133011" y="1110237"/>
                </a:cubicBezTo>
                <a:close/>
                <a:moveTo>
                  <a:pt x="3172340" y="1094828"/>
                </a:moveTo>
                <a:lnTo>
                  <a:pt x="3165038" y="1097195"/>
                </a:lnTo>
                <a:cubicBezTo>
                  <a:pt x="3164042" y="1097952"/>
                  <a:pt x="3164740" y="1098325"/>
                  <a:pt x="3168285" y="1097868"/>
                </a:cubicBezTo>
                <a:lnTo>
                  <a:pt x="3172339" y="1097007"/>
                </a:lnTo>
                <a:close/>
                <a:moveTo>
                  <a:pt x="3322688" y="1063719"/>
                </a:moveTo>
                <a:lnTo>
                  <a:pt x="3322978" y="1069545"/>
                </a:lnTo>
                <a:lnTo>
                  <a:pt x="3336425" y="1069545"/>
                </a:lnTo>
                <a:lnTo>
                  <a:pt x="3339044" y="1065547"/>
                </a:lnTo>
                <a:cubicBezTo>
                  <a:pt x="3330633" y="1061185"/>
                  <a:pt x="3325464" y="1061464"/>
                  <a:pt x="3322688" y="1063719"/>
                </a:cubicBezTo>
                <a:close/>
                <a:moveTo>
                  <a:pt x="3484588" y="1061504"/>
                </a:moveTo>
                <a:cubicBezTo>
                  <a:pt x="3483276" y="1061991"/>
                  <a:pt x="3483106" y="1065397"/>
                  <a:pt x="3483520" y="1069482"/>
                </a:cubicBezTo>
                <a:lnTo>
                  <a:pt x="3483533" y="1069546"/>
                </a:lnTo>
                <a:lnTo>
                  <a:pt x="3488411" y="1069545"/>
                </a:lnTo>
                <a:lnTo>
                  <a:pt x="3488060" y="1063950"/>
                </a:lnTo>
                <a:cubicBezTo>
                  <a:pt x="3486460" y="1061902"/>
                  <a:pt x="3485339" y="1061226"/>
                  <a:pt x="3484588" y="1061504"/>
                </a:cubicBezTo>
                <a:close/>
                <a:moveTo>
                  <a:pt x="3427927" y="1045944"/>
                </a:moveTo>
                <a:cubicBezTo>
                  <a:pt x="3416169" y="1041151"/>
                  <a:pt x="3407578" y="1050679"/>
                  <a:pt x="3399246" y="1063103"/>
                </a:cubicBezTo>
                <a:cubicBezTo>
                  <a:pt x="3410740" y="1064998"/>
                  <a:pt x="3425727" y="1063663"/>
                  <a:pt x="3427927" y="1045944"/>
                </a:cubicBezTo>
                <a:close/>
                <a:moveTo>
                  <a:pt x="3621164" y="1000022"/>
                </a:moveTo>
                <a:cubicBezTo>
                  <a:pt x="3618881" y="999907"/>
                  <a:pt x="3616535" y="1001393"/>
                  <a:pt x="3615050" y="1005906"/>
                </a:cubicBezTo>
                <a:cubicBezTo>
                  <a:pt x="3634281" y="1015144"/>
                  <a:pt x="3628008" y="1000370"/>
                  <a:pt x="3621164" y="1000022"/>
                </a:cubicBezTo>
                <a:close/>
                <a:moveTo>
                  <a:pt x="11606798" y="959627"/>
                </a:moveTo>
                <a:cubicBezTo>
                  <a:pt x="11595817" y="963526"/>
                  <a:pt x="11596076" y="966423"/>
                  <a:pt x="11584579" y="964528"/>
                </a:cubicBezTo>
                <a:cubicBezTo>
                  <a:pt x="11583995" y="979181"/>
                  <a:pt x="11605700" y="968486"/>
                  <a:pt x="11606798" y="959627"/>
                </a:cubicBezTo>
                <a:close/>
                <a:moveTo>
                  <a:pt x="3933014" y="941861"/>
                </a:moveTo>
                <a:lnTo>
                  <a:pt x="3934004" y="942359"/>
                </a:lnTo>
                <a:lnTo>
                  <a:pt x="3931284" y="942743"/>
                </a:lnTo>
                <a:close/>
                <a:moveTo>
                  <a:pt x="11722935" y="837853"/>
                </a:moveTo>
                <a:cubicBezTo>
                  <a:pt x="11720544" y="837104"/>
                  <a:pt x="11717651" y="837104"/>
                  <a:pt x="11715086" y="838360"/>
                </a:cubicBezTo>
                <a:cubicBezTo>
                  <a:pt x="11711666" y="840033"/>
                  <a:pt x="11708828" y="843936"/>
                  <a:pt x="11708536" y="851263"/>
                </a:cubicBezTo>
                <a:cubicBezTo>
                  <a:pt x="11732770" y="849104"/>
                  <a:pt x="11730109" y="840101"/>
                  <a:pt x="11722935" y="837853"/>
                </a:cubicBezTo>
                <a:close/>
                <a:moveTo>
                  <a:pt x="4450295" y="823418"/>
                </a:moveTo>
                <a:cubicBezTo>
                  <a:pt x="4447583" y="835342"/>
                  <a:pt x="4464182" y="830943"/>
                  <a:pt x="4468447" y="836404"/>
                </a:cubicBezTo>
                <a:cubicBezTo>
                  <a:pt x="4474646" y="821249"/>
                  <a:pt x="4458562" y="831443"/>
                  <a:pt x="4450295" y="823418"/>
                </a:cubicBezTo>
                <a:close/>
                <a:moveTo>
                  <a:pt x="6489071" y="819891"/>
                </a:moveTo>
                <a:cubicBezTo>
                  <a:pt x="6466010" y="836548"/>
                  <a:pt x="6484225" y="829085"/>
                  <a:pt x="6489071" y="819891"/>
                </a:cubicBezTo>
                <a:close/>
                <a:moveTo>
                  <a:pt x="6454319" y="811307"/>
                </a:moveTo>
                <a:cubicBezTo>
                  <a:pt x="6340700" y="871079"/>
                  <a:pt x="6470597" y="824459"/>
                  <a:pt x="6454319" y="811307"/>
                </a:cubicBezTo>
                <a:close/>
                <a:moveTo>
                  <a:pt x="6512389" y="806132"/>
                </a:moveTo>
                <a:cubicBezTo>
                  <a:pt x="6450184" y="849641"/>
                  <a:pt x="6547204" y="794268"/>
                  <a:pt x="6512389" y="806132"/>
                </a:cubicBezTo>
                <a:close/>
                <a:moveTo>
                  <a:pt x="6541843" y="797666"/>
                </a:moveTo>
                <a:cubicBezTo>
                  <a:pt x="6517684" y="823183"/>
                  <a:pt x="6561350" y="804689"/>
                  <a:pt x="6541843" y="797666"/>
                </a:cubicBezTo>
                <a:close/>
                <a:moveTo>
                  <a:pt x="4577994" y="794516"/>
                </a:moveTo>
                <a:cubicBezTo>
                  <a:pt x="4562297" y="851405"/>
                  <a:pt x="4607383" y="806500"/>
                  <a:pt x="4577994" y="794516"/>
                </a:cubicBezTo>
                <a:close/>
                <a:moveTo>
                  <a:pt x="4633931" y="786611"/>
                </a:moveTo>
                <a:cubicBezTo>
                  <a:pt x="4633865" y="807060"/>
                  <a:pt x="4645171" y="785609"/>
                  <a:pt x="4655312" y="793468"/>
                </a:cubicBezTo>
                <a:cubicBezTo>
                  <a:pt x="4656153" y="781711"/>
                  <a:pt x="4640068" y="791905"/>
                  <a:pt x="4633931" y="786611"/>
                </a:cubicBezTo>
                <a:close/>
                <a:moveTo>
                  <a:pt x="6586607" y="770313"/>
                </a:moveTo>
                <a:cubicBezTo>
                  <a:pt x="6555861" y="764291"/>
                  <a:pt x="6530022" y="813321"/>
                  <a:pt x="6586607" y="770313"/>
                </a:cubicBezTo>
                <a:close/>
                <a:moveTo>
                  <a:pt x="6761069" y="757687"/>
                </a:moveTo>
                <a:lnTo>
                  <a:pt x="6755232" y="768762"/>
                </a:lnTo>
                <a:lnTo>
                  <a:pt x="6751379" y="776074"/>
                </a:lnTo>
                <a:cubicBezTo>
                  <a:pt x="6749765" y="779138"/>
                  <a:pt x="6748958" y="780671"/>
                  <a:pt x="6750168" y="778372"/>
                </a:cubicBezTo>
                <a:lnTo>
                  <a:pt x="6755232" y="768762"/>
                </a:lnTo>
                <a:lnTo>
                  <a:pt x="6757436" y="764583"/>
                </a:lnTo>
                <a:cubicBezTo>
                  <a:pt x="6759454" y="760751"/>
                  <a:pt x="6761069" y="757687"/>
                  <a:pt x="6761069" y="757687"/>
                </a:cubicBezTo>
                <a:close/>
                <a:moveTo>
                  <a:pt x="4884832" y="734994"/>
                </a:moveTo>
                <a:lnTo>
                  <a:pt x="4882730" y="737459"/>
                </a:lnTo>
                <a:lnTo>
                  <a:pt x="4881950" y="735671"/>
                </a:lnTo>
                <a:close/>
                <a:moveTo>
                  <a:pt x="11798890" y="731654"/>
                </a:moveTo>
                <a:lnTo>
                  <a:pt x="11801819" y="736094"/>
                </a:lnTo>
                <a:lnTo>
                  <a:pt x="11800193" y="735723"/>
                </a:lnTo>
                <a:lnTo>
                  <a:pt x="11798167" y="731722"/>
                </a:lnTo>
                <a:close/>
                <a:moveTo>
                  <a:pt x="4931192" y="729458"/>
                </a:moveTo>
                <a:cubicBezTo>
                  <a:pt x="4925817" y="727746"/>
                  <a:pt x="4913442" y="739800"/>
                  <a:pt x="4915231" y="744022"/>
                </a:cubicBezTo>
                <a:cubicBezTo>
                  <a:pt x="4925115" y="748981"/>
                  <a:pt x="4921950" y="734660"/>
                  <a:pt x="4933447" y="736557"/>
                </a:cubicBezTo>
                <a:cubicBezTo>
                  <a:pt x="4933996" y="732128"/>
                  <a:pt x="4932983" y="730028"/>
                  <a:pt x="4931192" y="729458"/>
                </a:cubicBezTo>
                <a:close/>
                <a:moveTo>
                  <a:pt x="11810486" y="716781"/>
                </a:moveTo>
                <a:cubicBezTo>
                  <a:pt x="11803042" y="714706"/>
                  <a:pt x="11799070" y="733678"/>
                  <a:pt x="11818350" y="727579"/>
                </a:cubicBezTo>
                <a:cubicBezTo>
                  <a:pt x="11815832" y="720503"/>
                  <a:pt x="11812966" y="717473"/>
                  <a:pt x="11810486" y="716781"/>
                </a:cubicBezTo>
                <a:close/>
                <a:moveTo>
                  <a:pt x="7130410" y="707252"/>
                </a:moveTo>
                <a:cubicBezTo>
                  <a:pt x="7075828" y="709196"/>
                  <a:pt x="7133249" y="739124"/>
                  <a:pt x="7130410" y="707252"/>
                </a:cubicBezTo>
                <a:close/>
                <a:moveTo>
                  <a:pt x="7157026" y="706342"/>
                </a:moveTo>
                <a:cubicBezTo>
                  <a:pt x="7151652" y="704630"/>
                  <a:pt x="7139273" y="716684"/>
                  <a:pt x="7141066" y="720905"/>
                </a:cubicBezTo>
                <a:cubicBezTo>
                  <a:pt x="7150948" y="725865"/>
                  <a:pt x="7147783" y="711545"/>
                  <a:pt x="7159281" y="713441"/>
                </a:cubicBezTo>
                <a:cubicBezTo>
                  <a:pt x="7159830" y="709011"/>
                  <a:pt x="7158818" y="706911"/>
                  <a:pt x="7157026" y="706342"/>
                </a:cubicBezTo>
                <a:close/>
                <a:moveTo>
                  <a:pt x="11205311" y="691673"/>
                </a:moveTo>
                <a:cubicBezTo>
                  <a:pt x="11202065" y="702914"/>
                  <a:pt x="11189699" y="695255"/>
                  <a:pt x="11194210" y="692251"/>
                </a:cubicBezTo>
                <a:cubicBezTo>
                  <a:pt x="11195714" y="691250"/>
                  <a:pt x="11199093" y="690766"/>
                  <a:pt x="11205311" y="691673"/>
                </a:cubicBezTo>
                <a:close/>
                <a:moveTo>
                  <a:pt x="11276492" y="685330"/>
                </a:moveTo>
                <a:cubicBezTo>
                  <a:pt x="11286375" y="690289"/>
                  <a:pt x="11257436" y="704551"/>
                  <a:pt x="11258018" y="689897"/>
                </a:cubicBezTo>
                <a:cubicBezTo>
                  <a:pt x="11261764" y="689563"/>
                  <a:pt x="11273262" y="691458"/>
                  <a:pt x="11276492" y="685330"/>
                </a:cubicBezTo>
                <a:close/>
                <a:moveTo>
                  <a:pt x="5184674" y="666348"/>
                </a:moveTo>
                <a:cubicBezTo>
                  <a:pt x="5189091" y="665589"/>
                  <a:pt x="5193434" y="666662"/>
                  <a:pt x="5197437" y="669226"/>
                </a:cubicBezTo>
                <a:cubicBezTo>
                  <a:pt x="5188845" y="678753"/>
                  <a:pt x="5180580" y="670728"/>
                  <a:pt x="5171471" y="674460"/>
                </a:cubicBezTo>
                <a:cubicBezTo>
                  <a:pt x="5175768" y="669697"/>
                  <a:pt x="5180256" y="667106"/>
                  <a:pt x="5184674" y="666348"/>
                </a:cubicBezTo>
                <a:close/>
                <a:moveTo>
                  <a:pt x="11674346" y="658272"/>
                </a:moveTo>
                <a:cubicBezTo>
                  <a:pt x="11682615" y="655711"/>
                  <a:pt x="11692174" y="657050"/>
                  <a:pt x="11702992" y="661926"/>
                </a:cubicBezTo>
                <a:lnTo>
                  <a:pt x="11662035" y="669910"/>
                </a:lnTo>
                <a:close/>
                <a:moveTo>
                  <a:pt x="7410507" y="643232"/>
                </a:moveTo>
                <a:cubicBezTo>
                  <a:pt x="7414923" y="642473"/>
                  <a:pt x="7419267" y="643547"/>
                  <a:pt x="7423272" y="646109"/>
                </a:cubicBezTo>
                <a:cubicBezTo>
                  <a:pt x="7414680" y="655635"/>
                  <a:pt x="7406412" y="647612"/>
                  <a:pt x="7397305" y="651344"/>
                </a:cubicBezTo>
                <a:cubicBezTo>
                  <a:pt x="7401601" y="646581"/>
                  <a:pt x="7406091" y="643990"/>
                  <a:pt x="7410507" y="643232"/>
                </a:cubicBezTo>
                <a:close/>
                <a:moveTo>
                  <a:pt x="6682601" y="586895"/>
                </a:moveTo>
                <a:cubicBezTo>
                  <a:pt x="6680889" y="588873"/>
                  <a:pt x="6679338" y="592662"/>
                  <a:pt x="6674913" y="595976"/>
                </a:cubicBezTo>
                <a:cubicBezTo>
                  <a:pt x="6683181" y="604001"/>
                  <a:pt x="6691771" y="594474"/>
                  <a:pt x="6691256" y="588679"/>
                </a:cubicBezTo>
                <a:cubicBezTo>
                  <a:pt x="6686186" y="584750"/>
                  <a:pt x="6684314" y="584917"/>
                  <a:pt x="6682601" y="586895"/>
                </a:cubicBezTo>
                <a:close/>
                <a:moveTo>
                  <a:pt x="10744005" y="583345"/>
                </a:moveTo>
                <a:cubicBezTo>
                  <a:pt x="10744156" y="581016"/>
                  <a:pt x="10741656" y="581352"/>
                  <a:pt x="10737606" y="583402"/>
                </a:cubicBezTo>
                <a:cubicBezTo>
                  <a:pt x="10713301" y="595698"/>
                  <a:pt x="10633158" y="669646"/>
                  <a:pt x="10734506" y="599284"/>
                </a:cubicBezTo>
                <a:cubicBezTo>
                  <a:pt x="10741055" y="590668"/>
                  <a:pt x="10743855" y="585673"/>
                  <a:pt x="10744005" y="583345"/>
                </a:cubicBezTo>
                <a:close/>
                <a:moveTo>
                  <a:pt x="10790847" y="578018"/>
                </a:moveTo>
                <a:cubicBezTo>
                  <a:pt x="10762560" y="584372"/>
                  <a:pt x="10713692" y="604059"/>
                  <a:pt x="10806270" y="578286"/>
                </a:cubicBezTo>
                <a:cubicBezTo>
                  <a:pt x="10807417" y="575263"/>
                  <a:pt x="10800274" y="575900"/>
                  <a:pt x="10790847" y="578018"/>
                </a:cubicBezTo>
                <a:close/>
                <a:moveTo>
                  <a:pt x="6664324" y="561874"/>
                </a:moveTo>
                <a:cubicBezTo>
                  <a:pt x="6629892" y="620432"/>
                  <a:pt x="6697200" y="570627"/>
                  <a:pt x="6664324" y="561874"/>
                </a:cubicBezTo>
                <a:close/>
                <a:moveTo>
                  <a:pt x="5603680" y="561473"/>
                </a:moveTo>
                <a:cubicBezTo>
                  <a:pt x="5598127" y="562698"/>
                  <a:pt x="5591422" y="566947"/>
                  <a:pt x="5587254" y="573158"/>
                </a:cubicBezTo>
                <a:cubicBezTo>
                  <a:pt x="5597137" y="578119"/>
                  <a:pt x="5603339" y="562963"/>
                  <a:pt x="5613220" y="567924"/>
                </a:cubicBezTo>
                <a:cubicBezTo>
                  <a:pt x="5613642" y="562045"/>
                  <a:pt x="5609232" y="560248"/>
                  <a:pt x="5603680" y="561473"/>
                </a:cubicBezTo>
                <a:close/>
                <a:moveTo>
                  <a:pt x="5632768" y="551580"/>
                </a:moveTo>
                <a:cubicBezTo>
                  <a:pt x="5626917" y="552102"/>
                  <a:pt x="5621555" y="555500"/>
                  <a:pt x="5616453" y="561795"/>
                </a:cubicBezTo>
                <a:cubicBezTo>
                  <a:pt x="5628206" y="566589"/>
                  <a:pt x="5640803" y="559625"/>
                  <a:pt x="5652043" y="558623"/>
                </a:cubicBezTo>
                <a:cubicBezTo>
                  <a:pt x="5644968" y="553414"/>
                  <a:pt x="5638623" y="551059"/>
                  <a:pt x="5632768" y="551580"/>
                </a:cubicBezTo>
                <a:close/>
                <a:moveTo>
                  <a:pt x="5596662" y="548956"/>
                </a:moveTo>
                <a:cubicBezTo>
                  <a:pt x="5604771" y="546592"/>
                  <a:pt x="5607053" y="548851"/>
                  <a:pt x="5585531" y="560728"/>
                </a:cubicBezTo>
                <a:lnTo>
                  <a:pt x="5576823" y="565143"/>
                </a:lnTo>
                <a:lnTo>
                  <a:pt x="5578002" y="558377"/>
                </a:lnTo>
                <a:cubicBezTo>
                  <a:pt x="5583262" y="554167"/>
                  <a:pt x="5591258" y="550533"/>
                  <a:pt x="5596662" y="548956"/>
                </a:cubicBezTo>
                <a:close/>
                <a:moveTo>
                  <a:pt x="8923594" y="545863"/>
                </a:moveTo>
                <a:cubicBezTo>
                  <a:pt x="8926521" y="546926"/>
                  <a:pt x="8929864" y="550004"/>
                  <a:pt x="8932011" y="552916"/>
                </a:cubicBezTo>
                <a:lnTo>
                  <a:pt x="8932666" y="556093"/>
                </a:lnTo>
                <a:lnTo>
                  <a:pt x="8930363" y="555984"/>
                </a:lnTo>
                <a:lnTo>
                  <a:pt x="8922044" y="547184"/>
                </a:lnTo>
                <a:close/>
                <a:moveTo>
                  <a:pt x="5665994" y="545699"/>
                </a:moveTo>
                <a:cubicBezTo>
                  <a:pt x="5660246" y="544751"/>
                  <a:pt x="5656531" y="545447"/>
                  <a:pt x="5654403" y="546732"/>
                </a:cubicBezTo>
                <a:cubicBezTo>
                  <a:pt x="5648020" y="550585"/>
                  <a:pt x="5655917" y="559739"/>
                  <a:pt x="5665994" y="545699"/>
                </a:cubicBezTo>
                <a:close/>
                <a:moveTo>
                  <a:pt x="8884977" y="545517"/>
                </a:moveTo>
                <a:cubicBezTo>
                  <a:pt x="8880980" y="548338"/>
                  <a:pt x="8891625" y="560531"/>
                  <a:pt x="8894678" y="547117"/>
                </a:cubicBezTo>
                <a:cubicBezTo>
                  <a:pt x="8889267" y="544678"/>
                  <a:pt x="8886310" y="544577"/>
                  <a:pt x="8884977" y="545517"/>
                </a:cubicBezTo>
                <a:close/>
                <a:moveTo>
                  <a:pt x="7829512" y="538357"/>
                </a:moveTo>
                <a:cubicBezTo>
                  <a:pt x="7823957" y="539582"/>
                  <a:pt x="7817255" y="543831"/>
                  <a:pt x="7813088" y="550042"/>
                </a:cubicBezTo>
                <a:cubicBezTo>
                  <a:pt x="7822972" y="555002"/>
                  <a:pt x="7829172" y="539847"/>
                  <a:pt x="7839054" y="544808"/>
                </a:cubicBezTo>
                <a:cubicBezTo>
                  <a:pt x="7839475" y="538929"/>
                  <a:pt x="7835067" y="537132"/>
                  <a:pt x="7829512" y="538357"/>
                </a:cubicBezTo>
                <a:close/>
                <a:moveTo>
                  <a:pt x="7858604" y="528463"/>
                </a:moveTo>
                <a:cubicBezTo>
                  <a:pt x="7852750" y="528985"/>
                  <a:pt x="7847387" y="532383"/>
                  <a:pt x="7842285" y="538678"/>
                </a:cubicBezTo>
                <a:cubicBezTo>
                  <a:pt x="7854040" y="543473"/>
                  <a:pt x="7866635" y="536508"/>
                  <a:pt x="7877875" y="535507"/>
                </a:cubicBezTo>
                <a:cubicBezTo>
                  <a:pt x="7870803" y="530297"/>
                  <a:pt x="7864456" y="527942"/>
                  <a:pt x="7858604" y="528463"/>
                </a:cubicBezTo>
                <a:close/>
                <a:moveTo>
                  <a:pt x="7818750" y="526174"/>
                </a:moveTo>
                <a:cubicBezTo>
                  <a:pt x="7826858" y="523808"/>
                  <a:pt x="7829139" y="526069"/>
                  <a:pt x="7807619" y="537946"/>
                </a:cubicBezTo>
                <a:lnTo>
                  <a:pt x="7798912" y="542360"/>
                </a:lnTo>
                <a:lnTo>
                  <a:pt x="7800090" y="535594"/>
                </a:lnTo>
                <a:cubicBezTo>
                  <a:pt x="7805349" y="531383"/>
                  <a:pt x="7813345" y="527750"/>
                  <a:pt x="7818750" y="526174"/>
                </a:cubicBezTo>
                <a:close/>
                <a:moveTo>
                  <a:pt x="7891828" y="522581"/>
                </a:moveTo>
                <a:cubicBezTo>
                  <a:pt x="7868833" y="518790"/>
                  <a:pt x="7878391" y="541303"/>
                  <a:pt x="7891828" y="522581"/>
                </a:cubicBezTo>
                <a:close/>
                <a:moveTo>
                  <a:pt x="11044812" y="521984"/>
                </a:moveTo>
                <a:cubicBezTo>
                  <a:pt x="11018971" y="571014"/>
                  <a:pt x="11048815" y="524548"/>
                  <a:pt x="11044812" y="521984"/>
                </a:cubicBezTo>
                <a:close/>
                <a:moveTo>
                  <a:pt x="10853381" y="517247"/>
                </a:moveTo>
                <a:cubicBezTo>
                  <a:pt x="10849720" y="520306"/>
                  <a:pt x="10841081" y="536579"/>
                  <a:pt x="10825001" y="576617"/>
                </a:cubicBezTo>
                <a:cubicBezTo>
                  <a:pt x="10837677" y="586440"/>
                  <a:pt x="10856841" y="528375"/>
                  <a:pt x="10855473" y="518202"/>
                </a:cubicBezTo>
                <a:cubicBezTo>
                  <a:pt x="10855268" y="516676"/>
                  <a:pt x="10854601" y="516227"/>
                  <a:pt x="10853381" y="517247"/>
                </a:cubicBezTo>
                <a:close/>
                <a:moveTo>
                  <a:pt x="9188315" y="494666"/>
                </a:moveTo>
                <a:cubicBezTo>
                  <a:pt x="9133735" y="496609"/>
                  <a:pt x="9191155" y="526538"/>
                  <a:pt x="9188315" y="494666"/>
                </a:cubicBezTo>
                <a:close/>
                <a:moveTo>
                  <a:pt x="9214932" y="493755"/>
                </a:moveTo>
                <a:cubicBezTo>
                  <a:pt x="9209558" y="492043"/>
                  <a:pt x="9197180" y="504097"/>
                  <a:pt x="9198973" y="508319"/>
                </a:cubicBezTo>
                <a:cubicBezTo>
                  <a:pt x="9208854" y="513278"/>
                  <a:pt x="9205689" y="498958"/>
                  <a:pt x="9217187" y="500855"/>
                </a:cubicBezTo>
                <a:cubicBezTo>
                  <a:pt x="9217737" y="496425"/>
                  <a:pt x="9216724" y="494325"/>
                  <a:pt x="9214932" y="493755"/>
                </a:cubicBezTo>
                <a:close/>
                <a:moveTo>
                  <a:pt x="6091142" y="443563"/>
                </a:moveTo>
                <a:lnTo>
                  <a:pt x="6090786" y="444045"/>
                </a:lnTo>
                <a:lnTo>
                  <a:pt x="6089725" y="443990"/>
                </a:lnTo>
                <a:close/>
                <a:moveTo>
                  <a:pt x="9468412" y="430645"/>
                </a:moveTo>
                <a:cubicBezTo>
                  <a:pt x="9472830" y="429886"/>
                  <a:pt x="9477173" y="430960"/>
                  <a:pt x="9481178" y="433522"/>
                </a:cubicBezTo>
                <a:cubicBezTo>
                  <a:pt x="9472586" y="443050"/>
                  <a:pt x="9464318" y="435025"/>
                  <a:pt x="9455212" y="438757"/>
                </a:cubicBezTo>
                <a:cubicBezTo>
                  <a:pt x="9459506" y="433994"/>
                  <a:pt x="9463996" y="431403"/>
                  <a:pt x="9468412" y="430645"/>
                </a:cubicBezTo>
                <a:close/>
                <a:moveTo>
                  <a:pt x="8316976" y="420445"/>
                </a:moveTo>
                <a:lnTo>
                  <a:pt x="8316864" y="420598"/>
                </a:lnTo>
                <a:lnTo>
                  <a:pt x="8316481" y="420595"/>
                </a:lnTo>
                <a:close/>
                <a:moveTo>
                  <a:pt x="6533407" y="363995"/>
                </a:moveTo>
                <a:cubicBezTo>
                  <a:pt x="6529127" y="363647"/>
                  <a:pt x="6524106" y="365555"/>
                  <a:pt x="6522621" y="370067"/>
                </a:cubicBezTo>
                <a:cubicBezTo>
                  <a:pt x="6529272" y="381156"/>
                  <a:pt x="6533600" y="366169"/>
                  <a:pt x="6539737" y="371463"/>
                </a:cubicBezTo>
                <a:cubicBezTo>
                  <a:pt x="6541222" y="366950"/>
                  <a:pt x="6537686" y="364345"/>
                  <a:pt x="6533407" y="363995"/>
                </a:cubicBezTo>
                <a:close/>
                <a:moveTo>
                  <a:pt x="6596333" y="363682"/>
                </a:moveTo>
                <a:cubicBezTo>
                  <a:pt x="6587426" y="365023"/>
                  <a:pt x="6578717" y="374560"/>
                  <a:pt x="6570481" y="377484"/>
                </a:cubicBezTo>
                <a:cubicBezTo>
                  <a:pt x="6582238" y="382277"/>
                  <a:pt x="6594832" y="375314"/>
                  <a:pt x="6605296" y="365621"/>
                </a:cubicBezTo>
                <a:cubicBezTo>
                  <a:pt x="6602294" y="363698"/>
                  <a:pt x="6599302" y="363234"/>
                  <a:pt x="6596333" y="363682"/>
                </a:cubicBezTo>
                <a:close/>
                <a:moveTo>
                  <a:pt x="6642632" y="360833"/>
                </a:moveTo>
                <a:cubicBezTo>
                  <a:pt x="6639354" y="361125"/>
                  <a:pt x="6636204" y="362867"/>
                  <a:pt x="6633653" y="366014"/>
                </a:cubicBezTo>
                <a:cubicBezTo>
                  <a:pt x="6640046" y="374205"/>
                  <a:pt x="6647282" y="370640"/>
                  <a:pt x="6652384" y="364345"/>
                </a:cubicBezTo>
                <a:cubicBezTo>
                  <a:pt x="6649317" y="361697"/>
                  <a:pt x="6645910" y="360541"/>
                  <a:pt x="6642632" y="360833"/>
                </a:cubicBezTo>
                <a:close/>
                <a:moveTo>
                  <a:pt x="7066244" y="355666"/>
                </a:moveTo>
                <a:cubicBezTo>
                  <a:pt x="7059652" y="358170"/>
                  <a:pt x="7053451" y="368033"/>
                  <a:pt x="7055243" y="372254"/>
                </a:cubicBezTo>
                <a:cubicBezTo>
                  <a:pt x="7060864" y="371753"/>
                  <a:pt x="7073459" y="364789"/>
                  <a:pt x="7072685" y="356097"/>
                </a:cubicBezTo>
                <a:cubicBezTo>
                  <a:pt x="7070682" y="354815"/>
                  <a:pt x="7068442" y="354832"/>
                  <a:pt x="7066244" y="355666"/>
                </a:cubicBezTo>
                <a:close/>
                <a:moveTo>
                  <a:pt x="10966342" y="351193"/>
                </a:moveTo>
                <a:cubicBezTo>
                  <a:pt x="10964629" y="353170"/>
                  <a:pt x="10963079" y="356958"/>
                  <a:pt x="10958655" y="360273"/>
                </a:cubicBezTo>
                <a:cubicBezTo>
                  <a:pt x="10966921" y="368298"/>
                  <a:pt x="10975514" y="358771"/>
                  <a:pt x="10974997" y="352976"/>
                </a:cubicBezTo>
                <a:cubicBezTo>
                  <a:pt x="10969927" y="349047"/>
                  <a:pt x="10968053" y="349214"/>
                  <a:pt x="10966342" y="351193"/>
                </a:cubicBezTo>
                <a:close/>
                <a:moveTo>
                  <a:pt x="6257433" y="349480"/>
                </a:moveTo>
                <a:cubicBezTo>
                  <a:pt x="6254702" y="348309"/>
                  <a:pt x="6252094" y="348177"/>
                  <a:pt x="6250883" y="350475"/>
                </a:cubicBezTo>
                <a:cubicBezTo>
                  <a:pt x="6274911" y="365857"/>
                  <a:pt x="6265622" y="352994"/>
                  <a:pt x="6257433" y="349480"/>
                </a:cubicBezTo>
                <a:close/>
                <a:moveTo>
                  <a:pt x="8759241" y="340879"/>
                </a:moveTo>
                <a:cubicBezTo>
                  <a:pt x="8754962" y="340531"/>
                  <a:pt x="8749939" y="342439"/>
                  <a:pt x="8748454" y="346951"/>
                </a:cubicBezTo>
                <a:cubicBezTo>
                  <a:pt x="8755105" y="358040"/>
                  <a:pt x="8759435" y="343052"/>
                  <a:pt x="8765570" y="348347"/>
                </a:cubicBezTo>
                <a:cubicBezTo>
                  <a:pt x="8767055" y="343833"/>
                  <a:pt x="8763519" y="341227"/>
                  <a:pt x="8759241" y="340879"/>
                </a:cubicBezTo>
                <a:close/>
                <a:moveTo>
                  <a:pt x="8822167" y="340565"/>
                </a:moveTo>
                <a:cubicBezTo>
                  <a:pt x="8819198" y="341012"/>
                  <a:pt x="8816250" y="342370"/>
                  <a:pt x="8813336" y="344090"/>
                </a:cubicBezTo>
                <a:cubicBezTo>
                  <a:pt x="8807507" y="347529"/>
                  <a:pt x="8801804" y="352418"/>
                  <a:pt x="8796316" y="354368"/>
                </a:cubicBezTo>
                <a:cubicBezTo>
                  <a:pt x="8808072" y="359161"/>
                  <a:pt x="8820666" y="352198"/>
                  <a:pt x="8831131" y="342505"/>
                </a:cubicBezTo>
                <a:cubicBezTo>
                  <a:pt x="8828128" y="340582"/>
                  <a:pt x="8825136" y="340117"/>
                  <a:pt x="8822167" y="340565"/>
                </a:cubicBezTo>
                <a:close/>
                <a:moveTo>
                  <a:pt x="8868466" y="337717"/>
                </a:moveTo>
                <a:cubicBezTo>
                  <a:pt x="8865188" y="338009"/>
                  <a:pt x="8862038" y="339750"/>
                  <a:pt x="8859487" y="342898"/>
                </a:cubicBezTo>
                <a:cubicBezTo>
                  <a:pt x="8865881" y="351089"/>
                  <a:pt x="8873117" y="347524"/>
                  <a:pt x="8878219" y="341229"/>
                </a:cubicBezTo>
                <a:cubicBezTo>
                  <a:pt x="8875151" y="338582"/>
                  <a:pt x="8871744" y="337425"/>
                  <a:pt x="8868466" y="337717"/>
                </a:cubicBezTo>
                <a:close/>
                <a:moveTo>
                  <a:pt x="9292078" y="332550"/>
                </a:moveTo>
                <a:cubicBezTo>
                  <a:pt x="9285487" y="335054"/>
                  <a:pt x="9279285" y="344916"/>
                  <a:pt x="9281077" y="349136"/>
                </a:cubicBezTo>
                <a:cubicBezTo>
                  <a:pt x="9286697" y="348635"/>
                  <a:pt x="9299292" y="341673"/>
                  <a:pt x="9298518" y="332980"/>
                </a:cubicBezTo>
                <a:cubicBezTo>
                  <a:pt x="9296516" y="331698"/>
                  <a:pt x="9294275" y="331715"/>
                  <a:pt x="9292078" y="332550"/>
                </a:cubicBezTo>
                <a:close/>
                <a:moveTo>
                  <a:pt x="8483267" y="326364"/>
                </a:moveTo>
                <a:cubicBezTo>
                  <a:pt x="8480537" y="325192"/>
                  <a:pt x="8477929" y="325060"/>
                  <a:pt x="8476717" y="327357"/>
                </a:cubicBezTo>
                <a:cubicBezTo>
                  <a:pt x="8500744" y="342740"/>
                  <a:pt x="8491456" y="329878"/>
                  <a:pt x="8483267" y="326364"/>
                </a:cubicBezTo>
                <a:close/>
                <a:moveTo>
                  <a:pt x="10948064" y="326171"/>
                </a:moveTo>
                <a:cubicBezTo>
                  <a:pt x="10913632" y="384729"/>
                  <a:pt x="10980940" y="334924"/>
                  <a:pt x="10948064" y="326171"/>
                </a:cubicBezTo>
                <a:close/>
                <a:moveTo>
                  <a:pt x="9887418" y="325771"/>
                </a:moveTo>
                <a:cubicBezTo>
                  <a:pt x="9881862" y="326996"/>
                  <a:pt x="9875160" y="331244"/>
                  <a:pt x="9870994" y="337456"/>
                </a:cubicBezTo>
                <a:cubicBezTo>
                  <a:pt x="9880877" y="342416"/>
                  <a:pt x="9887079" y="327261"/>
                  <a:pt x="9896961" y="332221"/>
                </a:cubicBezTo>
                <a:cubicBezTo>
                  <a:pt x="9897380" y="326343"/>
                  <a:pt x="9892972" y="324546"/>
                  <a:pt x="9887418" y="325771"/>
                </a:cubicBezTo>
                <a:close/>
                <a:moveTo>
                  <a:pt x="6665887" y="325175"/>
                </a:moveTo>
                <a:cubicBezTo>
                  <a:pt x="6615630" y="396826"/>
                  <a:pt x="6675512" y="327239"/>
                  <a:pt x="6706190" y="353709"/>
                </a:cubicBezTo>
                <a:cubicBezTo>
                  <a:pt x="6729832" y="322399"/>
                  <a:pt x="6672540" y="336264"/>
                  <a:pt x="6665887" y="325175"/>
                </a:cubicBezTo>
                <a:close/>
                <a:moveTo>
                  <a:pt x="9916509" y="315878"/>
                </a:moveTo>
                <a:cubicBezTo>
                  <a:pt x="9910655" y="316399"/>
                  <a:pt x="9905294" y="319797"/>
                  <a:pt x="9900192" y="326092"/>
                </a:cubicBezTo>
                <a:cubicBezTo>
                  <a:pt x="9911946" y="330886"/>
                  <a:pt x="9924543" y="323923"/>
                  <a:pt x="9935781" y="322921"/>
                </a:cubicBezTo>
                <a:cubicBezTo>
                  <a:pt x="9928708" y="317711"/>
                  <a:pt x="9922363" y="315356"/>
                  <a:pt x="9916509" y="315878"/>
                </a:cubicBezTo>
                <a:close/>
                <a:moveTo>
                  <a:pt x="9872909" y="313922"/>
                </a:moveTo>
                <a:cubicBezTo>
                  <a:pt x="9881017" y="311557"/>
                  <a:pt x="9883300" y="313816"/>
                  <a:pt x="9861779" y="325693"/>
                </a:cubicBezTo>
                <a:lnTo>
                  <a:pt x="9853069" y="330108"/>
                </a:lnTo>
                <a:lnTo>
                  <a:pt x="9854249" y="323342"/>
                </a:lnTo>
                <a:cubicBezTo>
                  <a:pt x="9859509" y="319132"/>
                  <a:pt x="9867504" y="315499"/>
                  <a:pt x="9872909" y="313922"/>
                </a:cubicBezTo>
                <a:close/>
                <a:moveTo>
                  <a:pt x="9949735" y="309996"/>
                </a:moveTo>
                <a:cubicBezTo>
                  <a:pt x="9943985" y="309048"/>
                  <a:pt x="9940271" y="309744"/>
                  <a:pt x="9938144" y="311029"/>
                </a:cubicBezTo>
                <a:cubicBezTo>
                  <a:pt x="9931761" y="314882"/>
                  <a:pt x="9939656" y="324036"/>
                  <a:pt x="9949735" y="309996"/>
                </a:cubicBezTo>
                <a:close/>
                <a:moveTo>
                  <a:pt x="8891721" y="302058"/>
                </a:moveTo>
                <a:cubicBezTo>
                  <a:pt x="8841464" y="373708"/>
                  <a:pt x="8901345" y="304121"/>
                  <a:pt x="8932024" y="330593"/>
                </a:cubicBezTo>
                <a:cubicBezTo>
                  <a:pt x="8955666" y="299281"/>
                  <a:pt x="8898373" y="313148"/>
                  <a:pt x="8891721" y="302058"/>
                </a:cubicBezTo>
                <a:close/>
                <a:moveTo>
                  <a:pt x="10374883" y="207860"/>
                </a:moveTo>
                <a:lnTo>
                  <a:pt x="10374507" y="208370"/>
                </a:lnTo>
                <a:lnTo>
                  <a:pt x="10373221" y="208360"/>
                </a:lnTo>
                <a:close/>
                <a:moveTo>
                  <a:pt x="10817148" y="128293"/>
                </a:moveTo>
                <a:cubicBezTo>
                  <a:pt x="10812868" y="127944"/>
                  <a:pt x="10807846" y="129852"/>
                  <a:pt x="10806360" y="134364"/>
                </a:cubicBezTo>
                <a:cubicBezTo>
                  <a:pt x="10813012" y="145453"/>
                  <a:pt x="10817341" y="130465"/>
                  <a:pt x="10823477" y="135760"/>
                </a:cubicBezTo>
                <a:cubicBezTo>
                  <a:pt x="10824963" y="131247"/>
                  <a:pt x="10821427" y="128642"/>
                  <a:pt x="10817148" y="128293"/>
                </a:cubicBezTo>
                <a:close/>
                <a:moveTo>
                  <a:pt x="10880075" y="127979"/>
                </a:moveTo>
                <a:cubicBezTo>
                  <a:pt x="10871168" y="129320"/>
                  <a:pt x="10862458" y="138857"/>
                  <a:pt x="10854222" y="141781"/>
                </a:cubicBezTo>
                <a:cubicBezTo>
                  <a:pt x="10865978" y="146575"/>
                  <a:pt x="10878575" y="139611"/>
                  <a:pt x="10889039" y="129918"/>
                </a:cubicBezTo>
                <a:cubicBezTo>
                  <a:pt x="10886036" y="127995"/>
                  <a:pt x="10883044" y="127531"/>
                  <a:pt x="10880075" y="127979"/>
                </a:cubicBezTo>
                <a:close/>
                <a:moveTo>
                  <a:pt x="10926373" y="125130"/>
                </a:moveTo>
                <a:cubicBezTo>
                  <a:pt x="10923094" y="125422"/>
                  <a:pt x="10919945" y="127164"/>
                  <a:pt x="10917394" y="130312"/>
                </a:cubicBezTo>
                <a:cubicBezTo>
                  <a:pt x="10923788" y="138502"/>
                  <a:pt x="10931023" y="134937"/>
                  <a:pt x="10936126" y="128642"/>
                </a:cubicBezTo>
                <a:cubicBezTo>
                  <a:pt x="10933058" y="125995"/>
                  <a:pt x="10929651" y="124838"/>
                  <a:pt x="10926373" y="125130"/>
                </a:cubicBezTo>
                <a:close/>
                <a:moveTo>
                  <a:pt x="11349985" y="119964"/>
                </a:moveTo>
                <a:cubicBezTo>
                  <a:pt x="11343393" y="122467"/>
                  <a:pt x="11337192" y="132330"/>
                  <a:pt x="11338984" y="136550"/>
                </a:cubicBezTo>
                <a:cubicBezTo>
                  <a:pt x="11344603" y="136049"/>
                  <a:pt x="11357200" y="129086"/>
                  <a:pt x="11356425" y="120395"/>
                </a:cubicBezTo>
                <a:cubicBezTo>
                  <a:pt x="11354423" y="119112"/>
                  <a:pt x="11352182" y="119129"/>
                  <a:pt x="11349985" y="119964"/>
                </a:cubicBezTo>
                <a:close/>
                <a:moveTo>
                  <a:pt x="10949628" y="89473"/>
                </a:moveTo>
                <a:cubicBezTo>
                  <a:pt x="10899372" y="161123"/>
                  <a:pt x="10959252" y="91535"/>
                  <a:pt x="10989933" y="118007"/>
                </a:cubicBezTo>
                <a:cubicBezTo>
                  <a:pt x="11013573" y="86695"/>
                  <a:pt x="10956279" y="100562"/>
                  <a:pt x="10949628" y="89473"/>
                </a:cubicBezTo>
                <a:close/>
                <a:moveTo>
                  <a:pt x="11264419" y="40"/>
                </a:moveTo>
                <a:cubicBezTo>
                  <a:pt x="11278038" y="-1488"/>
                  <a:pt x="11228304" y="41276"/>
                  <a:pt x="11218008" y="71398"/>
                </a:cubicBezTo>
                <a:cubicBezTo>
                  <a:pt x="11299648" y="140056"/>
                  <a:pt x="11419668" y="3780"/>
                  <a:pt x="11509640" y="60013"/>
                </a:cubicBezTo>
                <a:cubicBezTo>
                  <a:pt x="11510409" y="153400"/>
                  <a:pt x="11287245" y="170365"/>
                  <a:pt x="11234148" y="210144"/>
                </a:cubicBezTo>
                <a:cubicBezTo>
                  <a:pt x="11195652" y="201891"/>
                  <a:pt x="11072017" y="297603"/>
                  <a:pt x="10968927" y="327232"/>
                </a:cubicBezTo>
                <a:cubicBezTo>
                  <a:pt x="10966537" y="321605"/>
                  <a:pt x="11063229" y="368479"/>
                  <a:pt x="11049923" y="346299"/>
                </a:cubicBezTo>
                <a:cubicBezTo>
                  <a:pt x="11099467" y="330202"/>
                  <a:pt x="11185632" y="322524"/>
                  <a:pt x="11248090" y="366606"/>
                </a:cubicBezTo>
                <a:cubicBezTo>
                  <a:pt x="11174646" y="411118"/>
                  <a:pt x="10955744" y="433545"/>
                  <a:pt x="11022271" y="459742"/>
                </a:cubicBezTo>
                <a:cubicBezTo>
                  <a:pt x="10908069" y="534169"/>
                  <a:pt x="10959550" y="497456"/>
                  <a:pt x="10954513" y="483303"/>
                </a:cubicBezTo>
                <a:cubicBezTo>
                  <a:pt x="10954513" y="483303"/>
                  <a:pt x="10867700" y="526085"/>
                  <a:pt x="10869249" y="543470"/>
                </a:cubicBezTo>
                <a:cubicBezTo>
                  <a:pt x="10885008" y="550827"/>
                  <a:pt x="10886755" y="506863"/>
                  <a:pt x="10903290" y="522913"/>
                </a:cubicBezTo>
                <a:cubicBezTo>
                  <a:pt x="10900060" y="529042"/>
                  <a:pt x="10880679" y="565815"/>
                  <a:pt x="10892952" y="576404"/>
                </a:cubicBezTo>
                <a:cubicBezTo>
                  <a:pt x="10951282" y="489431"/>
                  <a:pt x="11088026" y="477247"/>
                  <a:pt x="11169154" y="455415"/>
                </a:cubicBezTo>
                <a:cubicBezTo>
                  <a:pt x="11106559" y="536924"/>
                  <a:pt x="11207909" y="466564"/>
                  <a:pt x="11254155" y="477045"/>
                </a:cubicBezTo>
                <a:cubicBezTo>
                  <a:pt x="11230063" y="482113"/>
                  <a:pt x="11228963" y="490972"/>
                  <a:pt x="11250602" y="500725"/>
                </a:cubicBezTo>
                <a:cubicBezTo>
                  <a:pt x="11230189" y="525908"/>
                  <a:pt x="10930214" y="719108"/>
                  <a:pt x="10927307" y="707685"/>
                </a:cubicBezTo>
                <a:cubicBezTo>
                  <a:pt x="11052883" y="819155"/>
                  <a:pt x="11442750" y="717013"/>
                  <a:pt x="11634359" y="675305"/>
                </a:cubicBezTo>
                <a:lnTo>
                  <a:pt x="11662035" y="669910"/>
                </a:lnTo>
                <a:lnTo>
                  <a:pt x="11653450" y="678023"/>
                </a:lnTo>
                <a:cubicBezTo>
                  <a:pt x="11663266" y="703433"/>
                  <a:pt x="11923055" y="694885"/>
                  <a:pt x="11840311" y="719781"/>
                </a:cubicBezTo>
                <a:cubicBezTo>
                  <a:pt x="11855005" y="725773"/>
                  <a:pt x="11841490" y="727708"/>
                  <a:pt x="11822758" y="729377"/>
                </a:cubicBezTo>
                <a:lnTo>
                  <a:pt x="11798890" y="731654"/>
                </a:lnTo>
                <a:lnTo>
                  <a:pt x="11795613" y="726685"/>
                </a:lnTo>
                <a:lnTo>
                  <a:pt x="11798167" y="731722"/>
                </a:lnTo>
                <a:lnTo>
                  <a:pt x="11793624" y="732155"/>
                </a:lnTo>
                <a:cubicBezTo>
                  <a:pt x="11784524" y="733332"/>
                  <a:pt x="11776995" y="734916"/>
                  <a:pt x="11773911" y="737381"/>
                </a:cubicBezTo>
                <a:cubicBezTo>
                  <a:pt x="11790220" y="740308"/>
                  <a:pt x="11800183" y="740880"/>
                  <a:pt x="11803799" y="739097"/>
                </a:cubicBezTo>
                <a:lnTo>
                  <a:pt x="11801819" y="736094"/>
                </a:lnTo>
                <a:lnTo>
                  <a:pt x="11808385" y="737595"/>
                </a:lnTo>
                <a:cubicBezTo>
                  <a:pt x="11815038" y="738096"/>
                  <a:pt x="11824065" y="738752"/>
                  <a:pt x="11835400" y="749424"/>
                </a:cubicBezTo>
                <a:cubicBezTo>
                  <a:pt x="11807562" y="754825"/>
                  <a:pt x="11811566" y="757389"/>
                  <a:pt x="11844184" y="763244"/>
                </a:cubicBezTo>
                <a:cubicBezTo>
                  <a:pt x="11829518" y="831722"/>
                  <a:pt x="11659251" y="870258"/>
                  <a:pt x="11605054" y="918895"/>
                </a:cubicBezTo>
                <a:cubicBezTo>
                  <a:pt x="11640065" y="930378"/>
                  <a:pt x="11621139" y="908699"/>
                  <a:pt x="11660346" y="946093"/>
                </a:cubicBezTo>
                <a:cubicBezTo>
                  <a:pt x="11589032" y="993334"/>
                  <a:pt x="11419674" y="999665"/>
                  <a:pt x="11418701" y="1052320"/>
                </a:cubicBezTo>
                <a:cubicBezTo>
                  <a:pt x="11364446" y="1036711"/>
                  <a:pt x="11319550" y="1104964"/>
                  <a:pt x="11267167" y="1089188"/>
                </a:cubicBezTo>
                <a:cubicBezTo>
                  <a:pt x="11285575" y="1105071"/>
                  <a:pt x="11302949" y="1109362"/>
                  <a:pt x="11320906" y="1099001"/>
                </a:cubicBezTo>
                <a:lnTo>
                  <a:pt x="11252441" y="1140256"/>
                </a:lnTo>
                <a:lnTo>
                  <a:pt x="11215628" y="1143634"/>
                </a:lnTo>
                <a:cubicBezTo>
                  <a:pt x="11060109" y="1158793"/>
                  <a:pt x="10888171" y="1178906"/>
                  <a:pt x="10772722" y="1204252"/>
                </a:cubicBezTo>
                <a:lnTo>
                  <a:pt x="10721781" y="1218953"/>
                </a:lnTo>
                <a:lnTo>
                  <a:pt x="10672222" y="1223846"/>
                </a:lnTo>
                <a:lnTo>
                  <a:pt x="10619469" y="1233863"/>
                </a:lnTo>
                <a:lnTo>
                  <a:pt x="10608262" y="1229814"/>
                </a:lnTo>
                <a:cubicBezTo>
                  <a:pt x="10606085" y="1229893"/>
                  <a:pt x="10605563" y="1231320"/>
                  <a:pt x="10606192" y="1233563"/>
                </a:cubicBezTo>
                <a:lnTo>
                  <a:pt x="10607615" y="1236114"/>
                </a:lnTo>
                <a:lnTo>
                  <a:pt x="10583970" y="1240602"/>
                </a:lnTo>
                <a:lnTo>
                  <a:pt x="10613708" y="1245044"/>
                </a:lnTo>
                <a:lnTo>
                  <a:pt x="10620520" y="1252229"/>
                </a:lnTo>
                <a:lnTo>
                  <a:pt x="10451161" y="1293279"/>
                </a:lnTo>
                <a:lnTo>
                  <a:pt x="10391870" y="1314628"/>
                </a:lnTo>
                <a:lnTo>
                  <a:pt x="10341028" y="1324312"/>
                </a:lnTo>
                <a:cubicBezTo>
                  <a:pt x="10299034" y="1332434"/>
                  <a:pt x="10264364" y="1340635"/>
                  <a:pt x="10237428" y="1356178"/>
                </a:cubicBezTo>
                <a:cubicBezTo>
                  <a:pt x="10189764" y="1287412"/>
                  <a:pt x="10107856" y="1385247"/>
                  <a:pt x="10104758" y="1350477"/>
                </a:cubicBezTo>
                <a:cubicBezTo>
                  <a:pt x="10084993" y="1340556"/>
                  <a:pt x="10071300" y="1356379"/>
                  <a:pt x="10055730" y="1372369"/>
                </a:cubicBezTo>
                <a:lnTo>
                  <a:pt x="10058910" y="1364539"/>
                </a:lnTo>
                <a:lnTo>
                  <a:pt x="10069683" y="1359444"/>
                </a:lnTo>
                <a:lnTo>
                  <a:pt x="10060674" y="1357808"/>
                </a:lnTo>
                <a:lnTo>
                  <a:pt x="10059692" y="1354583"/>
                </a:lnTo>
                <a:lnTo>
                  <a:pt x="10054606" y="1357235"/>
                </a:lnTo>
                <a:lnTo>
                  <a:pt x="10026402" y="1364031"/>
                </a:lnTo>
                <a:cubicBezTo>
                  <a:pt x="9955318" y="1385696"/>
                  <a:pt x="9821549" y="1445806"/>
                  <a:pt x="9811571" y="1429172"/>
                </a:cubicBezTo>
                <a:cubicBezTo>
                  <a:pt x="9774623" y="1438305"/>
                  <a:pt x="9693945" y="1486382"/>
                  <a:pt x="9667979" y="1491615"/>
                </a:cubicBezTo>
                <a:cubicBezTo>
                  <a:pt x="9679735" y="1496409"/>
                  <a:pt x="9680510" y="1505101"/>
                  <a:pt x="9668172" y="1514962"/>
                </a:cubicBezTo>
                <a:cubicBezTo>
                  <a:pt x="9686321" y="1527947"/>
                  <a:pt x="9702921" y="1523548"/>
                  <a:pt x="9718231" y="1504661"/>
                </a:cubicBezTo>
                <a:cubicBezTo>
                  <a:pt x="9690421" y="1542184"/>
                  <a:pt x="9958625" y="1433408"/>
                  <a:pt x="10096264" y="1378979"/>
                </a:cubicBezTo>
                <a:lnTo>
                  <a:pt x="10138340" y="1362621"/>
                </a:lnTo>
                <a:lnTo>
                  <a:pt x="10153352" y="1379156"/>
                </a:lnTo>
                <a:cubicBezTo>
                  <a:pt x="10161659" y="1382449"/>
                  <a:pt x="10172797" y="1383544"/>
                  <a:pt x="10185804" y="1383002"/>
                </a:cubicBezTo>
                <a:lnTo>
                  <a:pt x="10247902" y="1370653"/>
                </a:lnTo>
                <a:lnTo>
                  <a:pt x="10102039" y="1447096"/>
                </a:lnTo>
                <a:cubicBezTo>
                  <a:pt x="10120511" y="1442528"/>
                  <a:pt x="10274179" y="1408391"/>
                  <a:pt x="10301693" y="1420542"/>
                </a:cubicBezTo>
                <a:cubicBezTo>
                  <a:pt x="10278892" y="1440097"/>
                  <a:pt x="10255058" y="1448063"/>
                  <a:pt x="10230706" y="1450233"/>
                </a:cubicBezTo>
                <a:lnTo>
                  <a:pt x="10250223" y="1469327"/>
                </a:lnTo>
                <a:lnTo>
                  <a:pt x="10243686" y="1473433"/>
                </a:lnTo>
                <a:cubicBezTo>
                  <a:pt x="10221059" y="1489788"/>
                  <a:pt x="10230563" y="1491679"/>
                  <a:pt x="10244388" y="1489900"/>
                </a:cubicBezTo>
                <a:lnTo>
                  <a:pt x="10262950" y="1486025"/>
                </a:lnTo>
                <a:lnTo>
                  <a:pt x="10256798" y="1488793"/>
                </a:lnTo>
                <a:lnTo>
                  <a:pt x="10268072" y="1485264"/>
                </a:lnTo>
                <a:lnTo>
                  <a:pt x="10274684" y="1490069"/>
                </a:lnTo>
                <a:lnTo>
                  <a:pt x="10240237" y="1492642"/>
                </a:lnTo>
                <a:cubicBezTo>
                  <a:pt x="10229363" y="1493429"/>
                  <a:pt x="10221401" y="1494138"/>
                  <a:pt x="10219593" y="1495029"/>
                </a:cubicBezTo>
                <a:lnTo>
                  <a:pt x="10237189" y="1507549"/>
                </a:lnTo>
                <a:lnTo>
                  <a:pt x="10233227" y="1512296"/>
                </a:lnTo>
                <a:cubicBezTo>
                  <a:pt x="10220080" y="1525652"/>
                  <a:pt x="10191653" y="1552278"/>
                  <a:pt x="10199888" y="1549353"/>
                </a:cubicBezTo>
                <a:cubicBezTo>
                  <a:pt x="10345547" y="1510090"/>
                  <a:pt x="10733678" y="1522232"/>
                  <a:pt x="10848853" y="1395149"/>
                </a:cubicBezTo>
                <a:cubicBezTo>
                  <a:pt x="10851758" y="1406572"/>
                  <a:pt x="10837806" y="1419497"/>
                  <a:pt x="10839097" y="1433985"/>
                </a:cubicBezTo>
                <a:cubicBezTo>
                  <a:pt x="10940892" y="1474562"/>
                  <a:pt x="10891094" y="1403066"/>
                  <a:pt x="10967312" y="1410877"/>
                </a:cubicBezTo>
                <a:cubicBezTo>
                  <a:pt x="10921516" y="1426640"/>
                  <a:pt x="10942895" y="1433496"/>
                  <a:pt x="10928875" y="1466871"/>
                </a:cubicBezTo>
                <a:cubicBezTo>
                  <a:pt x="10953487" y="1467598"/>
                  <a:pt x="11236533" y="1381046"/>
                  <a:pt x="11244410" y="1427072"/>
                </a:cubicBezTo>
                <a:cubicBezTo>
                  <a:pt x="11203717" y="1436538"/>
                  <a:pt x="11197515" y="1451694"/>
                  <a:pt x="11223933" y="1472704"/>
                </a:cubicBezTo>
                <a:cubicBezTo>
                  <a:pt x="11234204" y="1439663"/>
                  <a:pt x="11268822" y="1489147"/>
                  <a:pt x="11296662" y="1483746"/>
                </a:cubicBezTo>
                <a:cubicBezTo>
                  <a:pt x="11286052" y="1497103"/>
                  <a:pt x="11274615" y="1502503"/>
                  <a:pt x="11264386" y="1503917"/>
                </a:cubicBezTo>
                <a:lnTo>
                  <a:pt x="11239698" y="1500219"/>
                </a:lnTo>
                <a:lnTo>
                  <a:pt x="11233796" y="1496330"/>
                </a:lnTo>
                <a:cubicBezTo>
                  <a:pt x="11231050" y="1494977"/>
                  <a:pt x="11233583" y="1497581"/>
                  <a:pt x="11239360" y="1500169"/>
                </a:cubicBezTo>
                <a:lnTo>
                  <a:pt x="11239698" y="1500219"/>
                </a:lnTo>
                <a:lnTo>
                  <a:pt x="11242128" y="1501822"/>
                </a:lnTo>
                <a:cubicBezTo>
                  <a:pt x="11246395" y="1504971"/>
                  <a:pt x="11252237" y="1509609"/>
                  <a:pt x="11259907" y="1516227"/>
                </a:cubicBezTo>
                <a:cubicBezTo>
                  <a:pt x="11257578" y="1574843"/>
                  <a:pt x="10769325" y="1667999"/>
                  <a:pt x="10769325" y="1667999"/>
                </a:cubicBezTo>
                <a:cubicBezTo>
                  <a:pt x="10795675" y="1709459"/>
                  <a:pt x="10953735" y="1639884"/>
                  <a:pt x="10990100" y="1645406"/>
                </a:cubicBezTo>
                <a:cubicBezTo>
                  <a:pt x="10986029" y="1663291"/>
                  <a:pt x="10897666" y="1688688"/>
                  <a:pt x="10890431" y="1692254"/>
                </a:cubicBezTo>
                <a:cubicBezTo>
                  <a:pt x="10897600" y="1709137"/>
                  <a:pt x="10993325" y="1723971"/>
                  <a:pt x="11001851" y="1734894"/>
                </a:cubicBezTo>
                <a:lnTo>
                  <a:pt x="10995811" y="1742812"/>
                </a:lnTo>
                <a:lnTo>
                  <a:pt x="10993681" y="1742878"/>
                </a:lnTo>
                <a:cubicBezTo>
                  <a:pt x="10988063" y="1743058"/>
                  <a:pt x="10983699" y="1743082"/>
                  <a:pt x="10981761" y="1742525"/>
                </a:cubicBezTo>
                <a:cubicBezTo>
                  <a:pt x="10985347" y="1750968"/>
                  <a:pt x="10989496" y="1749867"/>
                  <a:pt x="10993186" y="1746253"/>
                </a:cubicBezTo>
                <a:lnTo>
                  <a:pt x="10995811" y="1742812"/>
                </a:lnTo>
                <a:lnTo>
                  <a:pt x="11013127" y="1742285"/>
                </a:lnTo>
                <a:cubicBezTo>
                  <a:pt x="11027041" y="1742141"/>
                  <a:pt x="11041284" y="1743062"/>
                  <a:pt x="11046482" y="1748439"/>
                </a:cubicBezTo>
                <a:cubicBezTo>
                  <a:pt x="11046741" y="1751337"/>
                  <a:pt x="11014765" y="1795073"/>
                  <a:pt x="11020901" y="1800368"/>
                </a:cubicBezTo>
                <a:cubicBezTo>
                  <a:pt x="11041507" y="1798532"/>
                  <a:pt x="11061336" y="1788002"/>
                  <a:pt x="11080650" y="1771679"/>
                </a:cubicBezTo>
                <a:cubicBezTo>
                  <a:pt x="11060399" y="1788086"/>
                  <a:pt x="11088965" y="1785540"/>
                  <a:pt x="11123425" y="1780279"/>
                </a:cubicBezTo>
                <a:lnTo>
                  <a:pt x="11164268" y="1773923"/>
                </a:lnTo>
                <a:lnTo>
                  <a:pt x="11160290" y="1796708"/>
                </a:lnTo>
                <a:cubicBezTo>
                  <a:pt x="11367503" y="1749037"/>
                  <a:pt x="11244583" y="1789196"/>
                  <a:pt x="11223589" y="1829034"/>
                </a:cubicBezTo>
                <a:cubicBezTo>
                  <a:pt x="11286173" y="1916913"/>
                  <a:pt x="11417815" y="1826329"/>
                  <a:pt x="11493512" y="1913038"/>
                </a:cubicBezTo>
                <a:cubicBezTo>
                  <a:pt x="11478198" y="2016620"/>
                  <a:pt x="11049697" y="1996394"/>
                  <a:pt x="10961142" y="1998445"/>
                </a:cubicBezTo>
                <a:cubicBezTo>
                  <a:pt x="10959011" y="1995714"/>
                  <a:pt x="11037745" y="2052948"/>
                  <a:pt x="11032707" y="2038795"/>
                </a:cubicBezTo>
                <a:cubicBezTo>
                  <a:pt x="11076049" y="2037853"/>
                  <a:pt x="11163182" y="2062214"/>
                  <a:pt x="11210070" y="2122287"/>
                </a:cubicBezTo>
                <a:cubicBezTo>
                  <a:pt x="11138050" y="2140387"/>
                  <a:pt x="10938077" y="2099796"/>
                  <a:pt x="10994656" y="2141483"/>
                </a:cubicBezTo>
                <a:cubicBezTo>
                  <a:pt x="10883233" y="2183537"/>
                  <a:pt x="10934133" y="2161479"/>
                  <a:pt x="10930968" y="2147158"/>
                </a:cubicBezTo>
                <a:cubicBezTo>
                  <a:pt x="10930031" y="2147242"/>
                  <a:pt x="10909217" y="2152017"/>
                  <a:pt x="10888595" y="2158965"/>
                </a:cubicBezTo>
                <a:lnTo>
                  <a:pt x="10871360" y="2166119"/>
                </a:lnTo>
                <a:lnTo>
                  <a:pt x="10871293" y="2166074"/>
                </a:lnTo>
                <a:lnTo>
                  <a:pt x="10871160" y="2166203"/>
                </a:lnTo>
                <a:lnTo>
                  <a:pt x="10860318" y="2170703"/>
                </a:lnTo>
                <a:cubicBezTo>
                  <a:pt x="10852613" y="2174948"/>
                  <a:pt x="10847466" y="2179423"/>
                  <a:pt x="10847385" y="2183810"/>
                </a:cubicBezTo>
                <a:cubicBezTo>
                  <a:pt x="10853520" y="2189105"/>
                  <a:pt x="10858431" y="2180637"/>
                  <a:pt x="10863468" y="2173616"/>
                </a:cubicBezTo>
                <a:lnTo>
                  <a:pt x="10871160" y="2166203"/>
                </a:lnTo>
                <a:lnTo>
                  <a:pt x="10871360" y="2166119"/>
                </a:lnTo>
                <a:lnTo>
                  <a:pt x="10880327" y="2172113"/>
                </a:lnTo>
                <a:cubicBezTo>
                  <a:pt x="10878970" y="2178076"/>
                  <a:pt x="10855070" y="2206490"/>
                  <a:pt x="10865727" y="2220142"/>
                </a:cubicBezTo>
                <a:cubicBezTo>
                  <a:pt x="10877806" y="2207383"/>
                  <a:pt x="10892210" y="2199530"/>
                  <a:pt x="10904870" y="2193290"/>
                </a:cubicBezTo>
                <a:lnTo>
                  <a:pt x="10911262" y="2189466"/>
                </a:lnTo>
                <a:lnTo>
                  <a:pt x="10912880" y="2198418"/>
                </a:lnTo>
                <a:cubicBezTo>
                  <a:pt x="10970173" y="2184551"/>
                  <a:pt x="11056081" y="2173975"/>
                  <a:pt x="11130168" y="2179055"/>
                </a:cubicBezTo>
                <a:cubicBezTo>
                  <a:pt x="11063634" y="2237552"/>
                  <a:pt x="11160331" y="2199731"/>
                  <a:pt x="11202508" y="2228099"/>
                </a:cubicBezTo>
                <a:cubicBezTo>
                  <a:pt x="11181386" y="2224139"/>
                  <a:pt x="11178416" y="2233165"/>
                  <a:pt x="11196822" y="2249047"/>
                </a:cubicBezTo>
                <a:cubicBezTo>
                  <a:pt x="11020866" y="2393228"/>
                  <a:pt x="10691319" y="2381708"/>
                  <a:pt x="10543274" y="2415345"/>
                </a:cubicBezTo>
                <a:cubicBezTo>
                  <a:pt x="10369519" y="2457112"/>
                  <a:pt x="9971880" y="2656092"/>
                  <a:pt x="9816668" y="2588151"/>
                </a:cubicBezTo>
                <a:cubicBezTo>
                  <a:pt x="9847481" y="2573722"/>
                  <a:pt x="9855490" y="2578850"/>
                  <a:pt x="9889789" y="2561191"/>
                </a:cubicBezTo>
                <a:cubicBezTo>
                  <a:pt x="9870025" y="2551270"/>
                  <a:pt x="9875128" y="2544975"/>
                  <a:pt x="9902968" y="2539573"/>
                </a:cubicBezTo>
                <a:cubicBezTo>
                  <a:pt x="9723527" y="2602292"/>
                  <a:pt x="9613269" y="2615037"/>
                  <a:pt x="9490413" y="2634746"/>
                </a:cubicBezTo>
                <a:cubicBezTo>
                  <a:pt x="8958559" y="2725947"/>
                  <a:pt x="8419598" y="2864509"/>
                  <a:pt x="7884833" y="3028982"/>
                </a:cubicBezTo>
                <a:cubicBezTo>
                  <a:pt x="7365264" y="3189180"/>
                  <a:pt x="6786507" y="3364510"/>
                  <a:pt x="6245571" y="3535237"/>
                </a:cubicBezTo>
                <a:lnTo>
                  <a:pt x="5741751" y="3696984"/>
                </a:lnTo>
                <a:lnTo>
                  <a:pt x="5744417" y="3692835"/>
                </a:lnTo>
                <a:cubicBezTo>
                  <a:pt x="5740540" y="3691720"/>
                  <a:pt x="5736197" y="3690647"/>
                  <a:pt x="5732281" y="3691726"/>
                </a:cubicBezTo>
                <a:lnTo>
                  <a:pt x="5723190" y="3702943"/>
                </a:lnTo>
                <a:lnTo>
                  <a:pt x="5720838" y="3703697"/>
                </a:lnTo>
                <a:cubicBezTo>
                  <a:pt x="5710055" y="3646249"/>
                  <a:pt x="5241170" y="3872023"/>
                  <a:pt x="5155202" y="3818352"/>
                </a:cubicBezTo>
                <a:cubicBezTo>
                  <a:pt x="5186079" y="3783476"/>
                  <a:pt x="5326116" y="3744713"/>
                  <a:pt x="5322113" y="3742149"/>
                </a:cubicBezTo>
                <a:cubicBezTo>
                  <a:pt x="5347919" y="3703344"/>
                  <a:pt x="5502621" y="3638450"/>
                  <a:pt x="5657716" y="3585932"/>
                </a:cubicBezTo>
                <a:lnTo>
                  <a:pt x="5733092" y="3561903"/>
                </a:lnTo>
                <a:lnTo>
                  <a:pt x="5753090" y="3561735"/>
                </a:lnTo>
                <a:cubicBezTo>
                  <a:pt x="5785432" y="3557212"/>
                  <a:pt x="5822575" y="3544957"/>
                  <a:pt x="5860174" y="3529925"/>
                </a:cubicBezTo>
                <a:lnTo>
                  <a:pt x="5884517" y="3519180"/>
                </a:lnTo>
                <a:lnTo>
                  <a:pt x="5953138" y="3504882"/>
                </a:lnTo>
                <a:cubicBezTo>
                  <a:pt x="5973989" y="3501803"/>
                  <a:pt x="5988843" y="3501301"/>
                  <a:pt x="5995690" y="3503977"/>
                </a:cubicBezTo>
                <a:cubicBezTo>
                  <a:pt x="5989487" y="3519132"/>
                  <a:pt x="5980896" y="3528658"/>
                  <a:pt x="5969916" y="3532558"/>
                </a:cubicBezTo>
                <a:cubicBezTo>
                  <a:pt x="5975535" y="3532057"/>
                  <a:pt x="6081404" y="3470054"/>
                  <a:pt x="6081663" y="3472950"/>
                </a:cubicBezTo>
                <a:cubicBezTo>
                  <a:pt x="6189658" y="3498374"/>
                  <a:pt x="6567988" y="3231021"/>
                  <a:pt x="6630829" y="3321797"/>
                </a:cubicBezTo>
                <a:cubicBezTo>
                  <a:pt x="6840560" y="3323553"/>
                  <a:pt x="7180388" y="3132642"/>
                  <a:pt x="7395160" y="3063856"/>
                </a:cubicBezTo>
                <a:cubicBezTo>
                  <a:pt x="7433255" y="3051701"/>
                  <a:pt x="7491844" y="3024575"/>
                  <a:pt x="7560398" y="2992045"/>
                </a:cubicBezTo>
                <a:lnTo>
                  <a:pt x="7607812" y="2969572"/>
                </a:lnTo>
                <a:lnTo>
                  <a:pt x="7635377" y="2961134"/>
                </a:lnTo>
                <a:cubicBezTo>
                  <a:pt x="7810766" y="2908907"/>
                  <a:pt x="7986235" y="2858591"/>
                  <a:pt x="8161879" y="2811543"/>
                </a:cubicBezTo>
                <a:cubicBezTo>
                  <a:pt x="8078116" y="2758773"/>
                  <a:pt x="7859079" y="2851531"/>
                  <a:pt x="7669379" y="2940391"/>
                </a:cubicBezTo>
                <a:lnTo>
                  <a:pt x="7607812" y="2969572"/>
                </a:lnTo>
                <a:lnTo>
                  <a:pt x="7109363" y="3122180"/>
                </a:lnTo>
                <a:cubicBezTo>
                  <a:pt x="6758729" y="3231548"/>
                  <a:pt x="6408053" y="3343111"/>
                  <a:pt x="6056602" y="3445980"/>
                </a:cubicBezTo>
                <a:cubicBezTo>
                  <a:pt x="6034512" y="3452330"/>
                  <a:pt x="6004206" y="3465799"/>
                  <a:pt x="5970021" y="3481440"/>
                </a:cubicBezTo>
                <a:lnTo>
                  <a:pt x="5932753" y="3497889"/>
                </a:lnTo>
                <a:lnTo>
                  <a:pt x="5912180" y="3496450"/>
                </a:lnTo>
                <a:cubicBezTo>
                  <a:pt x="5905423" y="3497418"/>
                  <a:pt x="5900063" y="3500816"/>
                  <a:pt x="5899899" y="3509592"/>
                </a:cubicBezTo>
                <a:cubicBezTo>
                  <a:pt x="5905260" y="3506194"/>
                  <a:pt x="5910880" y="3505693"/>
                  <a:pt x="5916469" y="3504830"/>
                </a:cubicBezTo>
                <a:lnTo>
                  <a:pt x="5930300" y="3498973"/>
                </a:lnTo>
                <a:lnTo>
                  <a:pt x="5884517" y="3519180"/>
                </a:lnTo>
                <a:lnTo>
                  <a:pt x="5874595" y="3521247"/>
                </a:lnTo>
                <a:cubicBezTo>
                  <a:pt x="5843756" y="3528878"/>
                  <a:pt x="5808920" y="3538486"/>
                  <a:pt x="5772106" y="3549466"/>
                </a:cubicBezTo>
                <a:lnTo>
                  <a:pt x="5733092" y="3561903"/>
                </a:lnTo>
                <a:lnTo>
                  <a:pt x="5708716" y="3562109"/>
                </a:lnTo>
                <a:lnTo>
                  <a:pt x="5697646" y="3557235"/>
                </a:lnTo>
                <a:lnTo>
                  <a:pt x="5701536" y="3550632"/>
                </a:lnTo>
                <a:cubicBezTo>
                  <a:pt x="5697659" y="3549517"/>
                  <a:pt x="5693042" y="3550659"/>
                  <a:pt x="5689490" y="3553166"/>
                </a:cubicBezTo>
                <a:lnTo>
                  <a:pt x="5689286" y="3553553"/>
                </a:lnTo>
                <a:lnTo>
                  <a:pt x="5674796" y="3547174"/>
                </a:lnTo>
                <a:cubicBezTo>
                  <a:pt x="5646307" y="3587679"/>
                  <a:pt x="5377148" y="3681755"/>
                  <a:pt x="5349956" y="3652054"/>
                </a:cubicBezTo>
                <a:cubicBezTo>
                  <a:pt x="5371983" y="3623806"/>
                  <a:pt x="5432508" y="3603810"/>
                  <a:pt x="5381158" y="3599624"/>
                </a:cubicBezTo>
                <a:cubicBezTo>
                  <a:pt x="5387745" y="3631163"/>
                  <a:pt x="5282972" y="3684307"/>
                  <a:pt x="5262176" y="3662795"/>
                </a:cubicBezTo>
                <a:cubicBezTo>
                  <a:pt x="5320550" y="3666355"/>
                  <a:pt x="5223675" y="3655823"/>
                  <a:pt x="5188237" y="3667331"/>
                </a:cubicBezTo>
                <a:lnTo>
                  <a:pt x="5177337" y="3674625"/>
                </a:lnTo>
                <a:lnTo>
                  <a:pt x="5174637" y="3660376"/>
                </a:lnTo>
                <a:lnTo>
                  <a:pt x="5174520" y="3659056"/>
                </a:lnTo>
                <a:lnTo>
                  <a:pt x="5180395" y="3658767"/>
                </a:lnTo>
                <a:cubicBezTo>
                  <a:pt x="5182810" y="3656727"/>
                  <a:pt x="5184894" y="3653621"/>
                  <a:pt x="5187573" y="3651921"/>
                </a:cubicBezTo>
                <a:cubicBezTo>
                  <a:pt x="5186635" y="3652005"/>
                  <a:pt x="5184101" y="3650040"/>
                  <a:pt x="5181025" y="3649949"/>
                </a:cubicBezTo>
                <a:lnTo>
                  <a:pt x="5174278" y="3656334"/>
                </a:lnTo>
                <a:lnTo>
                  <a:pt x="5172733" y="3639005"/>
                </a:lnTo>
                <a:cubicBezTo>
                  <a:pt x="5172837" y="3633521"/>
                  <a:pt x="5173865" y="3630508"/>
                  <a:pt x="5176401" y="3632472"/>
                </a:cubicBezTo>
                <a:cubicBezTo>
                  <a:pt x="5165094" y="3653924"/>
                  <a:pt x="5159476" y="3654425"/>
                  <a:pt x="5153663" y="3631580"/>
                </a:cubicBezTo>
                <a:cubicBezTo>
                  <a:pt x="5108709" y="3635586"/>
                  <a:pt x="5170972" y="3656321"/>
                  <a:pt x="5161091" y="3651359"/>
                </a:cubicBezTo>
                <a:cubicBezTo>
                  <a:pt x="5151143" y="3666850"/>
                  <a:pt x="5141326" y="3641440"/>
                  <a:pt x="5133767" y="3662556"/>
                </a:cubicBezTo>
                <a:cubicBezTo>
                  <a:pt x="5157535" y="3675041"/>
                  <a:pt x="5146556" y="3678939"/>
                  <a:pt x="5099210" y="3677317"/>
                </a:cubicBezTo>
                <a:cubicBezTo>
                  <a:pt x="5219613" y="3587736"/>
                  <a:pt x="5012464" y="3699650"/>
                  <a:pt x="5012464" y="3699650"/>
                </a:cubicBezTo>
                <a:cubicBezTo>
                  <a:pt x="5064462" y="3668732"/>
                  <a:pt x="4958463" y="3686940"/>
                  <a:pt x="4915831" y="3717023"/>
                </a:cubicBezTo>
                <a:cubicBezTo>
                  <a:pt x="4912637" y="3670580"/>
                  <a:pt x="4902463" y="3672947"/>
                  <a:pt x="4888537" y="3688790"/>
                </a:cubicBezTo>
                <a:lnTo>
                  <a:pt x="4878961" y="3700890"/>
                </a:lnTo>
                <a:lnTo>
                  <a:pt x="4877405" y="3698954"/>
                </a:lnTo>
                <a:cubicBezTo>
                  <a:pt x="4876141" y="3698017"/>
                  <a:pt x="4876512" y="3699536"/>
                  <a:pt x="4877659" y="3701806"/>
                </a:cubicBezTo>
                <a:lnTo>
                  <a:pt x="4877923" y="3702203"/>
                </a:lnTo>
                <a:lnTo>
                  <a:pt x="4865230" y="3718247"/>
                </a:lnTo>
                <a:lnTo>
                  <a:pt x="4849395" y="3732081"/>
                </a:lnTo>
                <a:lnTo>
                  <a:pt x="4842771" y="3715501"/>
                </a:lnTo>
                <a:lnTo>
                  <a:pt x="4835147" y="3704416"/>
                </a:lnTo>
                <a:lnTo>
                  <a:pt x="4850793" y="3690647"/>
                </a:lnTo>
                <a:cubicBezTo>
                  <a:pt x="4860502" y="3681431"/>
                  <a:pt x="4829328" y="3705017"/>
                  <a:pt x="4826567" y="3689931"/>
                </a:cubicBezTo>
                <a:cubicBezTo>
                  <a:pt x="4891744" y="3637395"/>
                  <a:pt x="4891288" y="3695845"/>
                  <a:pt x="4930691" y="3671892"/>
                </a:cubicBezTo>
                <a:cubicBezTo>
                  <a:pt x="4915901" y="3611879"/>
                  <a:pt x="5176080" y="3565331"/>
                  <a:pt x="5166007" y="3537024"/>
                </a:cubicBezTo>
                <a:cubicBezTo>
                  <a:pt x="5155541" y="3546717"/>
                  <a:pt x="5151536" y="3544153"/>
                  <a:pt x="5153992" y="3529332"/>
                </a:cubicBezTo>
                <a:cubicBezTo>
                  <a:pt x="5182090" y="3526828"/>
                  <a:pt x="5184996" y="3538252"/>
                  <a:pt x="5162195" y="3557806"/>
                </a:cubicBezTo>
                <a:cubicBezTo>
                  <a:pt x="5280398" y="3570636"/>
                  <a:pt x="5436457" y="3457434"/>
                  <a:pt x="5465460" y="3422724"/>
                </a:cubicBezTo>
                <a:cubicBezTo>
                  <a:pt x="5265618" y="3341236"/>
                  <a:pt x="5078940" y="3492213"/>
                  <a:pt x="4878377" y="3550973"/>
                </a:cubicBezTo>
                <a:cubicBezTo>
                  <a:pt x="4671261" y="3610315"/>
                  <a:pt x="4462869" y="3671232"/>
                  <a:pt x="4258318" y="3732902"/>
                </a:cubicBezTo>
                <a:lnTo>
                  <a:pt x="3890607" y="3847740"/>
                </a:lnTo>
                <a:lnTo>
                  <a:pt x="3888819" y="3846734"/>
                </a:lnTo>
                <a:lnTo>
                  <a:pt x="3886773" y="3848938"/>
                </a:lnTo>
                <a:lnTo>
                  <a:pt x="3681645" y="3913001"/>
                </a:lnTo>
                <a:lnTo>
                  <a:pt x="3686509" y="3905422"/>
                </a:lnTo>
                <a:cubicBezTo>
                  <a:pt x="3678758" y="3903192"/>
                  <a:pt x="3669136" y="3901129"/>
                  <a:pt x="3664805" y="3916117"/>
                </a:cubicBezTo>
                <a:lnTo>
                  <a:pt x="3670491" y="3916485"/>
                </a:lnTo>
                <a:lnTo>
                  <a:pt x="3661318" y="3919348"/>
                </a:lnTo>
                <a:cubicBezTo>
                  <a:pt x="3650536" y="3861899"/>
                  <a:pt x="3181651" y="4087673"/>
                  <a:pt x="3095683" y="4034003"/>
                </a:cubicBezTo>
                <a:cubicBezTo>
                  <a:pt x="3126561" y="3999126"/>
                  <a:pt x="3266596" y="3960363"/>
                  <a:pt x="3262591" y="3957800"/>
                </a:cubicBezTo>
                <a:cubicBezTo>
                  <a:pt x="3288398" y="3918995"/>
                  <a:pt x="3443102" y="3854101"/>
                  <a:pt x="3598196" y="3801582"/>
                </a:cubicBezTo>
                <a:lnTo>
                  <a:pt x="3673571" y="3777554"/>
                </a:lnTo>
                <a:lnTo>
                  <a:pt x="3693569" y="3777387"/>
                </a:lnTo>
                <a:cubicBezTo>
                  <a:pt x="3725913" y="3772861"/>
                  <a:pt x="3763053" y="3760609"/>
                  <a:pt x="3800655" y="3745576"/>
                </a:cubicBezTo>
                <a:lnTo>
                  <a:pt x="3825001" y="3734830"/>
                </a:lnTo>
                <a:lnTo>
                  <a:pt x="3893618" y="3720532"/>
                </a:lnTo>
                <a:cubicBezTo>
                  <a:pt x="3914470" y="3717453"/>
                  <a:pt x="3929321" y="3716951"/>
                  <a:pt x="3936169" y="3719627"/>
                </a:cubicBezTo>
                <a:cubicBezTo>
                  <a:pt x="3929968" y="3734782"/>
                  <a:pt x="3921376" y="3744309"/>
                  <a:pt x="3910396" y="3748208"/>
                </a:cubicBezTo>
                <a:cubicBezTo>
                  <a:pt x="3916017" y="3747707"/>
                  <a:pt x="4021883" y="3685704"/>
                  <a:pt x="4022143" y="3688602"/>
                </a:cubicBezTo>
                <a:cubicBezTo>
                  <a:pt x="4130139" y="3714024"/>
                  <a:pt x="4508465" y="3446672"/>
                  <a:pt x="4571309" y="3537448"/>
                </a:cubicBezTo>
                <a:cubicBezTo>
                  <a:pt x="5011634" y="3542018"/>
                  <a:pt x="5650787" y="3193014"/>
                  <a:pt x="6035116" y="3056548"/>
                </a:cubicBezTo>
                <a:cubicBezTo>
                  <a:pt x="6028980" y="3051255"/>
                  <a:pt x="5998169" y="3065683"/>
                  <a:pt x="6015868" y="3052423"/>
                </a:cubicBezTo>
                <a:cubicBezTo>
                  <a:pt x="5345137" y="3237773"/>
                  <a:pt x="4670526" y="3464356"/>
                  <a:pt x="3997084" y="3661630"/>
                </a:cubicBezTo>
                <a:cubicBezTo>
                  <a:pt x="3974992" y="3667980"/>
                  <a:pt x="3944685" y="3681450"/>
                  <a:pt x="3910502" y="3697090"/>
                </a:cubicBezTo>
                <a:lnTo>
                  <a:pt x="3825001" y="3734830"/>
                </a:lnTo>
                <a:lnTo>
                  <a:pt x="3815074" y="3736897"/>
                </a:lnTo>
                <a:cubicBezTo>
                  <a:pt x="3784232" y="3744529"/>
                  <a:pt x="3749402" y="3754136"/>
                  <a:pt x="3712586" y="3765116"/>
                </a:cubicBezTo>
                <a:lnTo>
                  <a:pt x="3673571" y="3777554"/>
                </a:lnTo>
                <a:lnTo>
                  <a:pt x="3649196" y="3777759"/>
                </a:lnTo>
                <a:lnTo>
                  <a:pt x="3637977" y="3772819"/>
                </a:lnTo>
                <a:lnTo>
                  <a:pt x="3643629" y="3763218"/>
                </a:lnTo>
                <a:cubicBezTo>
                  <a:pt x="3639755" y="3762104"/>
                  <a:pt x="3635137" y="3763245"/>
                  <a:pt x="3631584" y="3765752"/>
                </a:cubicBezTo>
                <a:lnTo>
                  <a:pt x="3629765" y="3769203"/>
                </a:lnTo>
                <a:lnTo>
                  <a:pt x="3615275" y="3762824"/>
                </a:lnTo>
                <a:cubicBezTo>
                  <a:pt x="3586788" y="3803329"/>
                  <a:pt x="3317627" y="3897407"/>
                  <a:pt x="3290436" y="3867704"/>
                </a:cubicBezTo>
                <a:cubicBezTo>
                  <a:pt x="3312462" y="3839456"/>
                  <a:pt x="3372986" y="3819460"/>
                  <a:pt x="3321639" y="3815275"/>
                </a:cubicBezTo>
                <a:cubicBezTo>
                  <a:pt x="3328223" y="3846814"/>
                  <a:pt x="3223453" y="3899956"/>
                  <a:pt x="3202657" y="3878446"/>
                </a:cubicBezTo>
                <a:cubicBezTo>
                  <a:pt x="3261031" y="3882007"/>
                  <a:pt x="3164157" y="3871473"/>
                  <a:pt x="3128718" y="3882982"/>
                </a:cubicBezTo>
                <a:lnTo>
                  <a:pt x="3117819" y="3890275"/>
                </a:lnTo>
                <a:lnTo>
                  <a:pt x="3115118" y="3876026"/>
                </a:lnTo>
                <a:lnTo>
                  <a:pt x="3114736" y="3871735"/>
                </a:lnTo>
                <a:lnTo>
                  <a:pt x="3122490" y="3871353"/>
                </a:lnTo>
                <a:cubicBezTo>
                  <a:pt x="3124905" y="3869311"/>
                  <a:pt x="3126986" y="3866206"/>
                  <a:pt x="3129667" y="3864508"/>
                </a:cubicBezTo>
                <a:cubicBezTo>
                  <a:pt x="3128730" y="3864591"/>
                  <a:pt x="3126198" y="3862626"/>
                  <a:pt x="3123119" y="3862535"/>
                </a:cubicBezTo>
                <a:lnTo>
                  <a:pt x="3114632" y="3870569"/>
                </a:lnTo>
                <a:lnTo>
                  <a:pt x="3113214" y="3854657"/>
                </a:lnTo>
                <a:cubicBezTo>
                  <a:pt x="3113313" y="3849172"/>
                  <a:pt x="3114345" y="3846160"/>
                  <a:pt x="3116880" y="3848124"/>
                </a:cubicBezTo>
                <a:cubicBezTo>
                  <a:pt x="3105575" y="3869574"/>
                  <a:pt x="3099955" y="3870075"/>
                  <a:pt x="3094144" y="3847229"/>
                </a:cubicBezTo>
                <a:cubicBezTo>
                  <a:pt x="3049188" y="3851235"/>
                  <a:pt x="3111453" y="3871971"/>
                  <a:pt x="3101571" y="3867012"/>
                </a:cubicBezTo>
                <a:cubicBezTo>
                  <a:pt x="3091622" y="3882501"/>
                  <a:pt x="3081805" y="3857090"/>
                  <a:pt x="3074244" y="3878207"/>
                </a:cubicBezTo>
                <a:cubicBezTo>
                  <a:pt x="3098016" y="3890691"/>
                  <a:pt x="3087036" y="3894590"/>
                  <a:pt x="3039689" y="3892968"/>
                </a:cubicBezTo>
                <a:cubicBezTo>
                  <a:pt x="3160093" y="3803386"/>
                  <a:pt x="2952942" y="3915301"/>
                  <a:pt x="2952942" y="3915301"/>
                </a:cubicBezTo>
                <a:cubicBezTo>
                  <a:pt x="3004941" y="3884383"/>
                  <a:pt x="2898943" y="3902590"/>
                  <a:pt x="2856312" y="3932673"/>
                </a:cubicBezTo>
                <a:cubicBezTo>
                  <a:pt x="2853119" y="3886231"/>
                  <a:pt x="2842942" y="3888597"/>
                  <a:pt x="2829017" y="3904441"/>
                </a:cubicBezTo>
                <a:lnTo>
                  <a:pt x="2821465" y="3913984"/>
                </a:lnTo>
                <a:lnTo>
                  <a:pt x="2819500" y="3911541"/>
                </a:lnTo>
                <a:cubicBezTo>
                  <a:pt x="2818238" y="3910604"/>
                  <a:pt x="2818607" y="3912122"/>
                  <a:pt x="2819755" y="3914392"/>
                </a:cubicBezTo>
                <a:lnTo>
                  <a:pt x="2820389" y="3915345"/>
                </a:lnTo>
                <a:lnTo>
                  <a:pt x="2805708" y="3933898"/>
                </a:lnTo>
                <a:lnTo>
                  <a:pt x="2789873" y="3947733"/>
                </a:lnTo>
                <a:lnTo>
                  <a:pt x="2783251" y="3931152"/>
                </a:lnTo>
                <a:lnTo>
                  <a:pt x="2775626" y="3920066"/>
                </a:lnTo>
                <a:lnTo>
                  <a:pt x="2791273" y="3906297"/>
                </a:lnTo>
                <a:cubicBezTo>
                  <a:pt x="2800981" y="3897082"/>
                  <a:pt x="2769807" y="3920669"/>
                  <a:pt x="2767047" y="3905582"/>
                </a:cubicBezTo>
                <a:cubicBezTo>
                  <a:pt x="2832222" y="3853046"/>
                  <a:pt x="2831766" y="3911497"/>
                  <a:pt x="2871171" y="3887543"/>
                </a:cubicBezTo>
                <a:cubicBezTo>
                  <a:pt x="2856381" y="3827529"/>
                  <a:pt x="3116559" y="3780981"/>
                  <a:pt x="3106486" y="3752674"/>
                </a:cubicBezTo>
                <a:cubicBezTo>
                  <a:pt x="3096021" y="3762368"/>
                  <a:pt x="3092017" y="3759804"/>
                  <a:pt x="3094471" y="3744983"/>
                </a:cubicBezTo>
                <a:cubicBezTo>
                  <a:pt x="3122571" y="3742479"/>
                  <a:pt x="3125474" y="3753902"/>
                  <a:pt x="3102673" y="3773457"/>
                </a:cubicBezTo>
                <a:cubicBezTo>
                  <a:pt x="3220875" y="3786288"/>
                  <a:pt x="3376938" y="3673084"/>
                  <a:pt x="3405941" y="3638374"/>
                </a:cubicBezTo>
                <a:cubicBezTo>
                  <a:pt x="3304146" y="3597798"/>
                  <a:pt x="3105390" y="3676839"/>
                  <a:pt x="3060370" y="3701293"/>
                </a:cubicBezTo>
                <a:cubicBezTo>
                  <a:pt x="3061984" y="3698230"/>
                  <a:pt x="3120153" y="3662381"/>
                  <a:pt x="3181654" y="3629521"/>
                </a:cubicBezTo>
                <a:lnTo>
                  <a:pt x="3248152" y="3597384"/>
                </a:lnTo>
                <a:lnTo>
                  <a:pt x="3259641" y="3596287"/>
                </a:lnTo>
                <a:cubicBezTo>
                  <a:pt x="3287173" y="3592738"/>
                  <a:pt x="3317290" y="3586405"/>
                  <a:pt x="3322941" y="3575679"/>
                </a:cubicBezTo>
                <a:cubicBezTo>
                  <a:pt x="3315466" y="3571235"/>
                  <a:pt x="3295522" y="3576480"/>
                  <a:pt x="3269755" y="3586944"/>
                </a:cubicBezTo>
                <a:lnTo>
                  <a:pt x="3248152" y="3597384"/>
                </a:lnTo>
                <a:lnTo>
                  <a:pt x="3223663" y="3599721"/>
                </a:lnTo>
                <a:cubicBezTo>
                  <a:pt x="3214570" y="3600303"/>
                  <a:pt x="3209505" y="3600390"/>
                  <a:pt x="3211842" y="3600181"/>
                </a:cubicBezTo>
                <a:cubicBezTo>
                  <a:pt x="3230576" y="3598512"/>
                  <a:pt x="3233548" y="3589486"/>
                  <a:pt x="3224507" y="3572768"/>
                </a:cubicBezTo>
                <a:cubicBezTo>
                  <a:pt x="3229027" y="3581128"/>
                  <a:pt x="3233565" y="3584373"/>
                  <a:pt x="3238088" y="3582146"/>
                </a:cubicBezTo>
                <a:lnTo>
                  <a:pt x="3240514" y="3577921"/>
                </a:lnTo>
                <a:lnTo>
                  <a:pt x="3237810" y="3594946"/>
                </a:lnTo>
                <a:cubicBezTo>
                  <a:pt x="3229673" y="3546023"/>
                  <a:pt x="3362155" y="3528378"/>
                  <a:pt x="3373393" y="3527376"/>
                </a:cubicBezTo>
                <a:cubicBezTo>
                  <a:pt x="3367774" y="3527877"/>
                  <a:pt x="3344455" y="3541637"/>
                  <a:pt x="3345486" y="3553227"/>
                </a:cubicBezTo>
                <a:cubicBezTo>
                  <a:pt x="3429012" y="3452328"/>
                  <a:pt x="3779816" y="3342215"/>
                  <a:pt x="3886584" y="3332700"/>
                </a:cubicBezTo>
                <a:cubicBezTo>
                  <a:pt x="3872440" y="3322279"/>
                  <a:pt x="3870051" y="3316651"/>
                  <a:pt x="3853969" y="3326845"/>
                </a:cubicBezTo>
                <a:cubicBezTo>
                  <a:pt x="3853709" y="3323948"/>
                  <a:pt x="3851836" y="3324115"/>
                  <a:pt x="3848089" y="3324449"/>
                </a:cubicBezTo>
                <a:cubicBezTo>
                  <a:pt x="3876833" y="3286842"/>
                  <a:pt x="3902995" y="3304954"/>
                  <a:pt x="3908224" y="3342453"/>
                </a:cubicBezTo>
                <a:cubicBezTo>
                  <a:pt x="3929087" y="3343516"/>
                  <a:pt x="4000108" y="3303602"/>
                  <a:pt x="4067907" y="3267259"/>
                </a:cubicBezTo>
                <a:lnTo>
                  <a:pt x="4133394" y="3234545"/>
                </a:lnTo>
                <a:lnTo>
                  <a:pt x="4175380" y="3219306"/>
                </a:lnTo>
                <a:lnTo>
                  <a:pt x="4204588" y="3214149"/>
                </a:lnTo>
                <a:lnTo>
                  <a:pt x="4210582" y="3239577"/>
                </a:lnTo>
                <a:cubicBezTo>
                  <a:pt x="4250568" y="3200969"/>
                  <a:pt x="4364764" y="3211237"/>
                  <a:pt x="4373355" y="3201709"/>
                </a:cubicBezTo>
                <a:cubicBezTo>
                  <a:pt x="4366412" y="3197947"/>
                  <a:pt x="4396513" y="3175553"/>
                  <a:pt x="4428680" y="3155162"/>
                </a:cubicBezTo>
                <a:lnTo>
                  <a:pt x="4465558" y="3133652"/>
                </a:lnTo>
                <a:lnTo>
                  <a:pt x="4474689" y="3133750"/>
                </a:lnTo>
                <a:lnTo>
                  <a:pt x="4474757" y="3137231"/>
                </a:lnTo>
                <a:cubicBezTo>
                  <a:pt x="4476507" y="3137690"/>
                  <a:pt x="4479151" y="3136895"/>
                  <a:pt x="4482741" y="3134310"/>
                </a:cubicBezTo>
                <a:lnTo>
                  <a:pt x="4483211" y="3133841"/>
                </a:lnTo>
                <a:lnTo>
                  <a:pt x="4496828" y="3133987"/>
                </a:lnTo>
                <a:lnTo>
                  <a:pt x="4502378" y="3133603"/>
                </a:lnTo>
                <a:lnTo>
                  <a:pt x="4500088" y="3140768"/>
                </a:lnTo>
                <a:cubicBezTo>
                  <a:pt x="4504092" y="3143332"/>
                  <a:pt x="4508048" y="3140059"/>
                  <a:pt x="4509804" y="3135887"/>
                </a:cubicBezTo>
                <a:lnTo>
                  <a:pt x="4508866" y="3133155"/>
                </a:lnTo>
                <a:lnTo>
                  <a:pt x="4517657" y="3132547"/>
                </a:lnTo>
                <a:lnTo>
                  <a:pt x="4513259" y="3143246"/>
                </a:lnTo>
                <a:cubicBezTo>
                  <a:pt x="4510147" y="3147721"/>
                  <a:pt x="4505741" y="3151216"/>
                  <a:pt x="4499248" y="3152525"/>
                </a:cubicBezTo>
                <a:cubicBezTo>
                  <a:pt x="4533415" y="3175764"/>
                  <a:pt x="4540265" y="3125505"/>
                  <a:pt x="4551246" y="3121607"/>
                </a:cubicBezTo>
                <a:cubicBezTo>
                  <a:pt x="4549091" y="3126546"/>
                  <a:pt x="4542872" y="3129609"/>
                  <a:pt x="4533500" y="3131454"/>
                </a:cubicBezTo>
                <a:lnTo>
                  <a:pt x="4517657" y="3132547"/>
                </a:lnTo>
                <a:lnTo>
                  <a:pt x="4519494" y="3128088"/>
                </a:lnTo>
                <a:cubicBezTo>
                  <a:pt x="4522100" y="3117633"/>
                  <a:pt x="4522665" y="3108091"/>
                  <a:pt x="4527476" y="3109122"/>
                </a:cubicBezTo>
                <a:cubicBezTo>
                  <a:pt x="4499705" y="3094074"/>
                  <a:pt x="4480857" y="3110356"/>
                  <a:pt x="4474494" y="3123700"/>
                </a:cubicBezTo>
                <a:lnTo>
                  <a:pt x="4474587" y="3128491"/>
                </a:lnTo>
                <a:lnTo>
                  <a:pt x="4474112" y="3128663"/>
                </a:lnTo>
                <a:lnTo>
                  <a:pt x="4465558" y="3133652"/>
                </a:lnTo>
                <a:lnTo>
                  <a:pt x="4388459" y="3132827"/>
                </a:lnTo>
                <a:cubicBezTo>
                  <a:pt x="4328037" y="3134104"/>
                  <a:pt x="4263700" y="3142097"/>
                  <a:pt x="4219922" y="3174489"/>
                </a:cubicBezTo>
                <a:lnTo>
                  <a:pt x="4186981" y="3212157"/>
                </a:lnTo>
                <a:lnTo>
                  <a:pt x="4160515" y="3220996"/>
                </a:lnTo>
                <a:lnTo>
                  <a:pt x="4133394" y="3234545"/>
                </a:lnTo>
                <a:lnTo>
                  <a:pt x="4125885" y="3237269"/>
                </a:lnTo>
                <a:cubicBezTo>
                  <a:pt x="4091166" y="3250220"/>
                  <a:pt x="4056819" y="3262042"/>
                  <a:pt x="4045745" y="3254267"/>
                </a:cubicBezTo>
                <a:cubicBezTo>
                  <a:pt x="4045745" y="3254267"/>
                  <a:pt x="4064800" y="3235046"/>
                  <a:pt x="4064800" y="3235046"/>
                </a:cubicBezTo>
                <a:cubicBezTo>
                  <a:pt x="4063733" y="3233680"/>
                  <a:pt x="4050022" y="3233442"/>
                  <a:pt x="4039820" y="3235446"/>
                </a:cubicBezTo>
                <a:lnTo>
                  <a:pt x="4036801" y="3236814"/>
                </a:lnTo>
                <a:lnTo>
                  <a:pt x="4037157" y="3232085"/>
                </a:lnTo>
                <a:cubicBezTo>
                  <a:pt x="4046179" y="3203850"/>
                  <a:pt x="4096384" y="3250485"/>
                  <a:pt x="4170085" y="3187697"/>
                </a:cubicBezTo>
                <a:cubicBezTo>
                  <a:pt x="4176448" y="3184939"/>
                  <a:pt x="4169174" y="3185406"/>
                  <a:pt x="4154728" y="3187835"/>
                </a:cubicBezTo>
                <a:lnTo>
                  <a:pt x="4105838" y="3197809"/>
                </a:lnTo>
                <a:lnTo>
                  <a:pt x="4110152" y="3190484"/>
                </a:lnTo>
                <a:cubicBezTo>
                  <a:pt x="4111299" y="3187461"/>
                  <a:pt x="4108821" y="3188777"/>
                  <a:pt x="4105334" y="3192008"/>
                </a:cubicBezTo>
                <a:lnTo>
                  <a:pt x="4099385" y="3199124"/>
                </a:lnTo>
                <a:lnTo>
                  <a:pt x="4096345" y="3199745"/>
                </a:lnTo>
                <a:cubicBezTo>
                  <a:pt x="4051703" y="3209928"/>
                  <a:pt x="4004246" y="3222920"/>
                  <a:pt x="4005698" y="3228630"/>
                </a:cubicBezTo>
                <a:cubicBezTo>
                  <a:pt x="4051817" y="3195317"/>
                  <a:pt x="3881935" y="3280545"/>
                  <a:pt x="3888074" y="3285840"/>
                </a:cubicBezTo>
                <a:cubicBezTo>
                  <a:pt x="3897055" y="3238312"/>
                  <a:pt x="3654119" y="3330052"/>
                  <a:pt x="3609098" y="3354507"/>
                </a:cubicBezTo>
                <a:cubicBezTo>
                  <a:pt x="3600184" y="3381585"/>
                  <a:pt x="3134149" y="3469842"/>
                  <a:pt x="3041522" y="3489778"/>
                </a:cubicBezTo>
                <a:cubicBezTo>
                  <a:pt x="3054892" y="3491508"/>
                  <a:pt x="3061611" y="3482146"/>
                  <a:pt x="3060062" y="3464762"/>
                </a:cubicBezTo>
                <a:cubicBezTo>
                  <a:pt x="3045528" y="3492342"/>
                  <a:pt x="3046691" y="3463033"/>
                  <a:pt x="3026862" y="3473562"/>
                </a:cubicBezTo>
                <a:cubicBezTo>
                  <a:pt x="3024406" y="3488383"/>
                  <a:pt x="3029185" y="3499638"/>
                  <a:pt x="3044687" y="3504099"/>
                </a:cubicBezTo>
                <a:cubicBezTo>
                  <a:pt x="3017171" y="3491948"/>
                  <a:pt x="2945599" y="3536292"/>
                  <a:pt x="2978933" y="3486593"/>
                </a:cubicBezTo>
                <a:cubicBezTo>
                  <a:pt x="2835352" y="3379649"/>
                  <a:pt x="2215508" y="3712329"/>
                  <a:pt x="2086710" y="3750092"/>
                </a:cubicBezTo>
                <a:cubicBezTo>
                  <a:pt x="1979195" y="3783036"/>
                  <a:pt x="1865593" y="3816523"/>
                  <a:pt x="1753628" y="3849864"/>
                </a:cubicBezTo>
                <a:lnTo>
                  <a:pt x="1666423" y="3876074"/>
                </a:lnTo>
                <a:lnTo>
                  <a:pt x="1667115" y="3872176"/>
                </a:lnTo>
                <a:cubicBezTo>
                  <a:pt x="1663918" y="3868080"/>
                  <a:pt x="1661705" y="3869738"/>
                  <a:pt x="1659889" y="3873185"/>
                </a:cubicBezTo>
                <a:lnTo>
                  <a:pt x="1657601" y="3878726"/>
                </a:lnTo>
                <a:lnTo>
                  <a:pt x="1587879" y="3899680"/>
                </a:lnTo>
                <a:cubicBezTo>
                  <a:pt x="1533681" y="3916192"/>
                  <a:pt x="1480862" y="3932581"/>
                  <a:pt x="1430380" y="3948761"/>
                </a:cubicBezTo>
                <a:cubicBezTo>
                  <a:pt x="1419598" y="3891312"/>
                  <a:pt x="950712" y="4117085"/>
                  <a:pt x="864745" y="4063416"/>
                </a:cubicBezTo>
                <a:cubicBezTo>
                  <a:pt x="895621" y="4028539"/>
                  <a:pt x="1035659" y="3989775"/>
                  <a:pt x="1031654" y="3987211"/>
                </a:cubicBezTo>
                <a:cubicBezTo>
                  <a:pt x="1057461" y="3948406"/>
                  <a:pt x="1212163" y="3883512"/>
                  <a:pt x="1367259" y="3830995"/>
                </a:cubicBezTo>
                <a:lnTo>
                  <a:pt x="1436366" y="3808964"/>
                </a:lnTo>
                <a:lnTo>
                  <a:pt x="1454907" y="3811361"/>
                </a:lnTo>
                <a:cubicBezTo>
                  <a:pt x="1485370" y="3812108"/>
                  <a:pt x="1522636" y="3807635"/>
                  <a:pt x="1564421" y="3799325"/>
                </a:cubicBezTo>
                <a:lnTo>
                  <a:pt x="1688621" y="3767460"/>
                </a:lnTo>
                <a:lnTo>
                  <a:pt x="1679456" y="3777620"/>
                </a:lnTo>
                <a:cubicBezTo>
                  <a:pt x="1680863" y="3777495"/>
                  <a:pt x="1688532" y="3773525"/>
                  <a:pt x="1699252" y="3767689"/>
                </a:cubicBezTo>
                <a:lnTo>
                  <a:pt x="1711881" y="3760678"/>
                </a:lnTo>
                <a:lnTo>
                  <a:pt x="1851072" y="3714505"/>
                </a:lnTo>
                <a:lnTo>
                  <a:pt x="1887885" y="3700694"/>
                </a:lnTo>
                <a:lnTo>
                  <a:pt x="1913737" y="3692356"/>
                </a:lnTo>
                <a:lnTo>
                  <a:pt x="1940866" y="3680816"/>
                </a:lnTo>
                <a:lnTo>
                  <a:pt x="2000796" y="3658332"/>
                </a:lnTo>
                <a:cubicBezTo>
                  <a:pt x="2097462" y="3620591"/>
                  <a:pt x="2184787" y="3584119"/>
                  <a:pt x="2244492" y="3559985"/>
                </a:cubicBezTo>
                <a:lnTo>
                  <a:pt x="2260535" y="3553615"/>
                </a:lnTo>
                <a:lnTo>
                  <a:pt x="2303165" y="3548335"/>
                </a:lnTo>
                <a:cubicBezTo>
                  <a:pt x="2319735" y="3549762"/>
                  <a:pt x="2332518" y="3555513"/>
                  <a:pt x="2340372" y="3566861"/>
                </a:cubicBezTo>
                <a:cubicBezTo>
                  <a:pt x="2362342" y="3567093"/>
                  <a:pt x="2436007" y="3530685"/>
                  <a:pt x="2521965" y="3488099"/>
                </a:cubicBezTo>
                <a:lnTo>
                  <a:pt x="2587995" y="3455665"/>
                </a:lnTo>
                <a:lnTo>
                  <a:pt x="2612587" y="3448783"/>
                </a:lnTo>
                <a:cubicBezTo>
                  <a:pt x="2719390" y="3418457"/>
                  <a:pt x="2819137" y="3388396"/>
                  <a:pt x="2871782" y="3364721"/>
                </a:cubicBezTo>
                <a:cubicBezTo>
                  <a:pt x="2848466" y="3336133"/>
                  <a:pt x="2730262" y="3386823"/>
                  <a:pt x="2610559" y="3444582"/>
                </a:cubicBezTo>
                <a:lnTo>
                  <a:pt x="2587995" y="3455665"/>
                </a:lnTo>
                <a:lnTo>
                  <a:pt x="2452096" y="3493704"/>
                </a:lnTo>
                <a:cubicBezTo>
                  <a:pt x="2400169" y="3508233"/>
                  <a:pt x="2351488" y="3522063"/>
                  <a:pt x="2311051" y="3534428"/>
                </a:cubicBezTo>
                <a:cubicBezTo>
                  <a:pt x="2304173" y="3536684"/>
                  <a:pt x="2294996" y="3540056"/>
                  <a:pt x="2283807" y="3544374"/>
                </a:cubicBezTo>
                <a:lnTo>
                  <a:pt x="2260535" y="3553615"/>
                </a:lnTo>
                <a:lnTo>
                  <a:pt x="2243242" y="3555757"/>
                </a:lnTo>
                <a:cubicBezTo>
                  <a:pt x="2174252" y="3573609"/>
                  <a:pt x="2081493" y="3618939"/>
                  <a:pt x="1995854" y="3657425"/>
                </a:cubicBezTo>
                <a:lnTo>
                  <a:pt x="1940866" y="3680816"/>
                </a:lnTo>
                <a:lnTo>
                  <a:pt x="1887885" y="3700694"/>
                </a:lnTo>
                <a:lnTo>
                  <a:pt x="1843230" y="3715095"/>
                </a:lnTo>
                <a:cubicBezTo>
                  <a:pt x="1822428" y="3719795"/>
                  <a:pt x="1804703" y="3721193"/>
                  <a:pt x="1791204" y="3718014"/>
                </a:cubicBezTo>
                <a:cubicBezTo>
                  <a:pt x="1791075" y="3716566"/>
                  <a:pt x="1764543" y="3731342"/>
                  <a:pt x="1737342" y="3746543"/>
                </a:cubicBezTo>
                <a:lnTo>
                  <a:pt x="1711881" y="3760678"/>
                </a:lnTo>
                <a:lnTo>
                  <a:pt x="1701047" y="3764272"/>
                </a:lnTo>
                <a:lnTo>
                  <a:pt x="1688621" y="3767460"/>
                </a:lnTo>
                <a:lnTo>
                  <a:pt x="1705231" y="3749040"/>
                </a:lnTo>
                <a:cubicBezTo>
                  <a:pt x="1684693" y="3741013"/>
                  <a:pt x="1592093" y="3761585"/>
                  <a:pt x="1481646" y="3794529"/>
                </a:cubicBezTo>
                <a:lnTo>
                  <a:pt x="1436366" y="3808964"/>
                </a:lnTo>
                <a:lnTo>
                  <a:pt x="1414599" y="3806150"/>
                </a:lnTo>
                <a:lnTo>
                  <a:pt x="1400988" y="3799400"/>
                </a:lnTo>
                <a:lnTo>
                  <a:pt x="1411439" y="3797122"/>
                </a:lnTo>
                <a:cubicBezTo>
                  <a:pt x="1415293" y="3795319"/>
                  <a:pt x="1418313" y="3792130"/>
                  <a:pt x="1417795" y="3786334"/>
                </a:cubicBezTo>
                <a:cubicBezTo>
                  <a:pt x="1413920" y="3785220"/>
                  <a:pt x="1409303" y="3786361"/>
                  <a:pt x="1405748" y="3788869"/>
                </a:cubicBezTo>
                <a:lnTo>
                  <a:pt x="1400362" y="3799089"/>
                </a:lnTo>
                <a:lnTo>
                  <a:pt x="1386209" y="3792070"/>
                </a:lnTo>
                <a:cubicBezTo>
                  <a:pt x="1382648" y="3797134"/>
                  <a:pt x="1375328" y="3803032"/>
                  <a:pt x="1365189" y="3809425"/>
                </a:cubicBezTo>
                <a:lnTo>
                  <a:pt x="1347352" y="3818970"/>
                </a:lnTo>
                <a:lnTo>
                  <a:pt x="1347066" y="3818923"/>
                </a:lnTo>
                <a:lnTo>
                  <a:pt x="1345038" y="3820209"/>
                </a:lnTo>
                <a:lnTo>
                  <a:pt x="1327260" y="3829721"/>
                </a:lnTo>
                <a:cubicBezTo>
                  <a:pt x="1238265" y="3871878"/>
                  <a:pt x="1081766" y="3919226"/>
                  <a:pt x="1061371" y="3896949"/>
                </a:cubicBezTo>
                <a:cubicBezTo>
                  <a:pt x="1083398" y="3868702"/>
                  <a:pt x="1143922" y="3848705"/>
                  <a:pt x="1092572" y="3844520"/>
                </a:cubicBezTo>
                <a:cubicBezTo>
                  <a:pt x="1099158" y="3876058"/>
                  <a:pt x="994388" y="3929202"/>
                  <a:pt x="973590" y="3907691"/>
                </a:cubicBezTo>
                <a:cubicBezTo>
                  <a:pt x="1031965" y="3911251"/>
                  <a:pt x="935090" y="3900718"/>
                  <a:pt x="899654" y="3912227"/>
                </a:cubicBezTo>
                <a:lnTo>
                  <a:pt x="888753" y="3919522"/>
                </a:lnTo>
                <a:lnTo>
                  <a:pt x="886053" y="3905271"/>
                </a:lnTo>
                <a:cubicBezTo>
                  <a:pt x="883697" y="3889418"/>
                  <a:pt x="882745" y="3873440"/>
                  <a:pt x="887814" y="3877369"/>
                </a:cubicBezTo>
                <a:cubicBezTo>
                  <a:pt x="876509" y="3898819"/>
                  <a:pt x="870891" y="3899320"/>
                  <a:pt x="865078" y="3876475"/>
                </a:cubicBezTo>
                <a:cubicBezTo>
                  <a:pt x="820122" y="3880481"/>
                  <a:pt x="882387" y="3901217"/>
                  <a:pt x="872505" y="3896256"/>
                </a:cubicBezTo>
                <a:cubicBezTo>
                  <a:pt x="862556" y="3911745"/>
                  <a:pt x="852741" y="3886335"/>
                  <a:pt x="845181" y="3907453"/>
                </a:cubicBezTo>
                <a:cubicBezTo>
                  <a:pt x="868950" y="3919938"/>
                  <a:pt x="857970" y="3923837"/>
                  <a:pt x="810624" y="3922213"/>
                </a:cubicBezTo>
                <a:cubicBezTo>
                  <a:pt x="931029" y="3832632"/>
                  <a:pt x="723876" y="3944546"/>
                  <a:pt x="723876" y="3944546"/>
                </a:cubicBezTo>
                <a:cubicBezTo>
                  <a:pt x="775874" y="3913629"/>
                  <a:pt x="669879" y="3931835"/>
                  <a:pt x="627246" y="3961919"/>
                </a:cubicBezTo>
                <a:cubicBezTo>
                  <a:pt x="624053" y="3915476"/>
                  <a:pt x="613879" y="3917842"/>
                  <a:pt x="599950" y="3933687"/>
                </a:cubicBezTo>
                <a:lnTo>
                  <a:pt x="596445" y="3938116"/>
                </a:lnTo>
                <a:lnTo>
                  <a:pt x="593665" y="3934658"/>
                </a:lnTo>
                <a:cubicBezTo>
                  <a:pt x="592400" y="3933720"/>
                  <a:pt x="592772" y="3935238"/>
                  <a:pt x="593920" y="3937509"/>
                </a:cubicBezTo>
                <a:lnTo>
                  <a:pt x="595293" y="3939573"/>
                </a:lnTo>
                <a:lnTo>
                  <a:pt x="576642" y="3963143"/>
                </a:lnTo>
                <a:lnTo>
                  <a:pt x="560809" y="3976978"/>
                </a:lnTo>
                <a:lnTo>
                  <a:pt x="554186" y="3960398"/>
                </a:lnTo>
                <a:lnTo>
                  <a:pt x="546561" y="3949311"/>
                </a:lnTo>
                <a:lnTo>
                  <a:pt x="562208" y="3935543"/>
                </a:lnTo>
                <a:cubicBezTo>
                  <a:pt x="571918" y="3926328"/>
                  <a:pt x="540742" y="3949914"/>
                  <a:pt x="537983" y="3934828"/>
                </a:cubicBezTo>
                <a:cubicBezTo>
                  <a:pt x="603158" y="3882292"/>
                  <a:pt x="602703" y="3940741"/>
                  <a:pt x="642104" y="3916787"/>
                </a:cubicBezTo>
                <a:cubicBezTo>
                  <a:pt x="627316" y="3856774"/>
                  <a:pt x="887495" y="3810227"/>
                  <a:pt x="877420" y="3781919"/>
                </a:cubicBezTo>
                <a:cubicBezTo>
                  <a:pt x="866956" y="3791614"/>
                  <a:pt x="862951" y="3789049"/>
                  <a:pt x="865406" y="3774229"/>
                </a:cubicBezTo>
                <a:cubicBezTo>
                  <a:pt x="893505" y="3771724"/>
                  <a:pt x="896410" y="3783147"/>
                  <a:pt x="873608" y="3802702"/>
                </a:cubicBezTo>
                <a:cubicBezTo>
                  <a:pt x="991810" y="3815534"/>
                  <a:pt x="1147870" y="3702330"/>
                  <a:pt x="1176876" y="3667620"/>
                </a:cubicBezTo>
                <a:cubicBezTo>
                  <a:pt x="1075082" y="3627043"/>
                  <a:pt x="876328" y="3706084"/>
                  <a:pt x="831305" y="3730539"/>
                </a:cubicBezTo>
                <a:cubicBezTo>
                  <a:pt x="832919" y="3727475"/>
                  <a:pt x="891087" y="3691627"/>
                  <a:pt x="952588" y="3658766"/>
                </a:cubicBezTo>
                <a:lnTo>
                  <a:pt x="1019087" y="3626629"/>
                </a:lnTo>
                <a:lnTo>
                  <a:pt x="1030578" y="3625533"/>
                </a:lnTo>
                <a:cubicBezTo>
                  <a:pt x="1058109" y="3621984"/>
                  <a:pt x="1088227" y="3615650"/>
                  <a:pt x="1093879" y="3604924"/>
                </a:cubicBezTo>
                <a:cubicBezTo>
                  <a:pt x="1086402" y="3600480"/>
                  <a:pt x="1066455" y="3605725"/>
                  <a:pt x="1040691" y="3616189"/>
                </a:cubicBezTo>
                <a:lnTo>
                  <a:pt x="1019087" y="3626629"/>
                </a:lnTo>
                <a:lnTo>
                  <a:pt x="994597" y="3628967"/>
                </a:lnTo>
                <a:cubicBezTo>
                  <a:pt x="985504" y="3629549"/>
                  <a:pt x="980439" y="3629635"/>
                  <a:pt x="982780" y="3629426"/>
                </a:cubicBezTo>
                <a:cubicBezTo>
                  <a:pt x="1001512" y="3627757"/>
                  <a:pt x="1004484" y="3618732"/>
                  <a:pt x="995440" y="3602014"/>
                </a:cubicBezTo>
                <a:cubicBezTo>
                  <a:pt x="999963" y="3610373"/>
                  <a:pt x="1004500" y="3613618"/>
                  <a:pt x="1009021" y="3611391"/>
                </a:cubicBezTo>
                <a:lnTo>
                  <a:pt x="1011448" y="3607165"/>
                </a:lnTo>
                <a:lnTo>
                  <a:pt x="1008746" y="3624192"/>
                </a:lnTo>
                <a:cubicBezTo>
                  <a:pt x="1000611" y="3575269"/>
                  <a:pt x="1133089" y="3557623"/>
                  <a:pt x="1144327" y="3556622"/>
                </a:cubicBezTo>
                <a:cubicBezTo>
                  <a:pt x="1138708" y="3557122"/>
                  <a:pt x="1115390" y="3570882"/>
                  <a:pt x="1116422" y="3582472"/>
                </a:cubicBezTo>
                <a:cubicBezTo>
                  <a:pt x="1199945" y="3481574"/>
                  <a:pt x="1550749" y="3371460"/>
                  <a:pt x="1657520" y="3361946"/>
                </a:cubicBezTo>
                <a:cubicBezTo>
                  <a:pt x="1643375" y="3351524"/>
                  <a:pt x="1640985" y="3345896"/>
                  <a:pt x="1624901" y="3356091"/>
                </a:cubicBezTo>
                <a:cubicBezTo>
                  <a:pt x="1624644" y="3353193"/>
                  <a:pt x="1622770" y="3353360"/>
                  <a:pt x="1619024" y="3353694"/>
                </a:cubicBezTo>
                <a:cubicBezTo>
                  <a:pt x="1647769" y="3316087"/>
                  <a:pt x="1673928" y="3334200"/>
                  <a:pt x="1679159" y="3371699"/>
                </a:cubicBezTo>
                <a:cubicBezTo>
                  <a:pt x="1700021" y="3372761"/>
                  <a:pt x="1771042" y="3332848"/>
                  <a:pt x="1838842" y="3296505"/>
                </a:cubicBezTo>
                <a:lnTo>
                  <a:pt x="1904328" y="3263791"/>
                </a:lnTo>
                <a:lnTo>
                  <a:pt x="1946319" y="3248551"/>
                </a:lnTo>
                <a:cubicBezTo>
                  <a:pt x="1961003" y="3243820"/>
                  <a:pt x="1972915" y="3241116"/>
                  <a:pt x="1979196" y="3242746"/>
                </a:cubicBezTo>
                <a:cubicBezTo>
                  <a:pt x="1975208" y="3235070"/>
                  <a:pt x="1957068" y="3239424"/>
                  <a:pt x="1931452" y="3250240"/>
                </a:cubicBezTo>
                <a:lnTo>
                  <a:pt x="1904328" y="3263791"/>
                </a:lnTo>
                <a:lnTo>
                  <a:pt x="1896821" y="3266514"/>
                </a:lnTo>
                <a:cubicBezTo>
                  <a:pt x="1862104" y="3279464"/>
                  <a:pt x="1827757" y="3291288"/>
                  <a:pt x="1816679" y="3283512"/>
                </a:cubicBezTo>
                <a:cubicBezTo>
                  <a:pt x="1816679" y="3283512"/>
                  <a:pt x="1835735" y="3264291"/>
                  <a:pt x="1835735" y="3264291"/>
                </a:cubicBezTo>
                <a:cubicBezTo>
                  <a:pt x="1834669" y="3262926"/>
                  <a:pt x="1820960" y="3262688"/>
                  <a:pt x="1810756" y="3264693"/>
                </a:cubicBezTo>
                <a:lnTo>
                  <a:pt x="1807736" y="3266059"/>
                </a:lnTo>
                <a:lnTo>
                  <a:pt x="1808091" y="3261330"/>
                </a:lnTo>
                <a:cubicBezTo>
                  <a:pt x="1817113" y="3233096"/>
                  <a:pt x="1867321" y="3279729"/>
                  <a:pt x="1941023" y="3216943"/>
                </a:cubicBezTo>
                <a:cubicBezTo>
                  <a:pt x="1947385" y="3214186"/>
                  <a:pt x="1940110" y="3214651"/>
                  <a:pt x="1925666" y="3217079"/>
                </a:cubicBezTo>
                <a:lnTo>
                  <a:pt x="1875366" y="3227340"/>
                </a:lnTo>
                <a:lnTo>
                  <a:pt x="1879553" y="3221690"/>
                </a:lnTo>
                <a:cubicBezTo>
                  <a:pt x="1893119" y="3201773"/>
                  <a:pt x="1875851" y="3216545"/>
                  <a:pt x="1868623" y="3228140"/>
                </a:cubicBezTo>
                <a:lnTo>
                  <a:pt x="1868550" y="3228732"/>
                </a:lnTo>
                <a:lnTo>
                  <a:pt x="1867283" y="3228989"/>
                </a:lnTo>
                <a:cubicBezTo>
                  <a:pt x="1822640" y="3239173"/>
                  <a:pt x="1775181" y="3252165"/>
                  <a:pt x="1776634" y="3257875"/>
                </a:cubicBezTo>
                <a:cubicBezTo>
                  <a:pt x="1822756" y="3224560"/>
                  <a:pt x="1652873" y="3309791"/>
                  <a:pt x="1659010" y="3315085"/>
                </a:cubicBezTo>
                <a:cubicBezTo>
                  <a:pt x="1667989" y="3267557"/>
                  <a:pt x="1425054" y="3359298"/>
                  <a:pt x="1380032" y="3383752"/>
                </a:cubicBezTo>
                <a:cubicBezTo>
                  <a:pt x="1371118" y="3410831"/>
                  <a:pt x="905083" y="3499087"/>
                  <a:pt x="812457" y="3519023"/>
                </a:cubicBezTo>
                <a:cubicBezTo>
                  <a:pt x="825827" y="3520752"/>
                  <a:pt x="832545" y="3511392"/>
                  <a:pt x="830996" y="3494007"/>
                </a:cubicBezTo>
                <a:cubicBezTo>
                  <a:pt x="816462" y="3521586"/>
                  <a:pt x="817627" y="3492279"/>
                  <a:pt x="797794" y="3502807"/>
                </a:cubicBezTo>
                <a:cubicBezTo>
                  <a:pt x="795340" y="3517628"/>
                  <a:pt x="800118" y="3528885"/>
                  <a:pt x="815620" y="3533344"/>
                </a:cubicBezTo>
                <a:cubicBezTo>
                  <a:pt x="788105" y="3521193"/>
                  <a:pt x="716535" y="3565538"/>
                  <a:pt x="749868" y="3515839"/>
                </a:cubicBezTo>
                <a:cubicBezTo>
                  <a:pt x="691415" y="3474321"/>
                  <a:pt x="686115" y="3541964"/>
                  <a:pt x="644453" y="3519392"/>
                </a:cubicBezTo>
                <a:cubicBezTo>
                  <a:pt x="662817" y="3487090"/>
                  <a:pt x="741236" y="3449438"/>
                  <a:pt x="791943" y="3431503"/>
                </a:cubicBezTo>
                <a:lnTo>
                  <a:pt x="829851" y="3421154"/>
                </a:lnTo>
                <a:lnTo>
                  <a:pt x="830492" y="3423459"/>
                </a:lnTo>
                <a:cubicBezTo>
                  <a:pt x="835274" y="3437407"/>
                  <a:pt x="853862" y="3475177"/>
                  <a:pt x="890295" y="3439074"/>
                </a:cubicBezTo>
                <a:cubicBezTo>
                  <a:pt x="868724" y="3408872"/>
                  <a:pt x="862264" y="3421129"/>
                  <a:pt x="874858" y="3414166"/>
                </a:cubicBezTo>
                <a:cubicBezTo>
                  <a:pt x="872761" y="3401211"/>
                  <a:pt x="840431" y="3409203"/>
                  <a:pt x="804978" y="3421854"/>
                </a:cubicBezTo>
                <a:lnTo>
                  <a:pt x="757749" y="3440366"/>
                </a:lnTo>
                <a:lnTo>
                  <a:pt x="760887" y="3434910"/>
                </a:lnTo>
                <a:cubicBezTo>
                  <a:pt x="761084" y="3433797"/>
                  <a:pt x="759860" y="3434636"/>
                  <a:pt x="758350" y="3436231"/>
                </a:cubicBezTo>
                <a:lnTo>
                  <a:pt x="756613" y="3440810"/>
                </a:lnTo>
                <a:lnTo>
                  <a:pt x="752842" y="3442289"/>
                </a:lnTo>
                <a:lnTo>
                  <a:pt x="751861" y="3442698"/>
                </a:lnTo>
                <a:lnTo>
                  <a:pt x="746667" y="3440193"/>
                </a:lnTo>
                <a:cubicBezTo>
                  <a:pt x="744644" y="3440008"/>
                  <a:pt x="742863" y="3440532"/>
                  <a:pt x="742838" y="3441902"/>
                </a:cubicBezTo>
                <a:lnTo>
                  <a:pt x="746026" y="3445130"/>
                </a:lnTo>
                <a:lnTo>
                  <a:pt x="716348" y="3457496"/>
                </a:lnTo>
                <a:cubicBezTo>
                  <a:pt x="754524" y="3398604"/>
                  <a:pt x="650337" y="3437094"/>
                  <a:pt x="596273" y="3444832"/>
                </a:cubicBezTo>
                <a:cubicBezTo>
                  <a:pt x="633544" y="3418147"/>
                  <a:pt x="614230" y="3434471"/>
                  <a:pt x="599502" y="3438703"/>
                </a:cubicBezTo>
                <a:cubicBezTo>
                  <a:pt x="604604" y="3432408"/>
                  <a:pt x="638454" y="3388505"/>
                  <a:pt x="644848" y="3396696"/>
                </a:cubicBezTo>
                <a:cubicBezTo>
                  <a:pt x="635742" y="3400428"/>
                  <a:pt x="623177" y="3397168"/>
                  <a:pt x="611714" y="3395634"/>
                </a:cubicBezTo>
                <a:lnTo>
                  <a:pt x="598992" y="3395703"/>
                </a:lnTo>
                <a:lnTo>
                  <a:pt x="583939" y="3380585"/>
                </a:lnTo>
                <a:cubicBezTo>
                  <a:pt x="576690" y="3378676"/>
                  <a:pt x="568921" y="3381559"/>
                  <a:pt x="561138" y="3389553"/>
                </a:cubicBezTo>
                <a:cubicBezTo>
                  <a:pt x="585752" y="3305586"/>
                  <a:pt x="721527" y="3261361"/>
                  <a:pt x="771784" y="3189712"/>
                </a:cubicBezTo>
                <a:cubicBezTo>
                  <a:pt x="746917" y="3186088"/>
                  <a:pt x="753568" y="3197177"/>
                  <a:pt x="725021" y="3173436"/>
                </a:cubicBezTo>
                <a:cubicBezTo>
                  <a:pt x="776826" y="3119171"/>
                  <a:pt x="908013" y="3087038"/>
                  <a:pt x="903624" y="3037780"/>
                </a:cubicBezTo>
                <a:cubicBezTo>
                  <a:pt x="949355" y="3042467"/>
                  <a:pt x="979266" y="2975551"/>
                  <a:pt x="1021249" y="2980571"/>
                </a:cubicBezTo>
                <a:cubicBezTo>
                  <a:pt x="1004973" y="2967419"/>
                  <a:pt x="991861" y="2968587"/>
                  <a:pt x="977651" y="2978615"/>
                </a:cubicBezTo>
                <a:cubicBezTo>
                  <a:pt x="1009675" y="2940716"/>
                  <a:pt x="1050963" y="2912760"/>
                  <a:pt x="1097519" y="2890951"/>
                </a:cubicBezTo>
                <a:lnTo>
                  <a:pt x="1125101" y="2880195"/>
                </a:lnTo>
                <a:lnTo>
                  <a:pt x="1282137" y="2832532"/>
                </a:lnTo>
                <a:lnTo>
                  <a:pt x="1408097" y="2803497"/>
                </a:lnTo>
                <a:cubicBezTo>
                  <a:pt x="1459739" y="2791093"/>
                  <a:pt x="1508656" y="2777242"/>
                  <a:pt x="1550849" y="2758149"/>
                </a:cubicBezTo>
                <a:cubicBezTo>
                  <a:pt x="1552578" y="2761646"/>
                  <a:pt x="1546756" y="2762530"/>
                  <a:pt x="1538386" y="2761953"/>
                </a:cubicBezTo>
                <a:lnTo>
                  <a:pt x="1513102" y="2757431"/>
                </a:lnTo>
                <a:lnTo>
                  <a:pt x="1513111" y="2757427"/>
                </a:lnTo>
                <a:cubicBezTo>
                  <a:pt x="1657430" y="2704114"/>
                  <a:pt x="1797196" y="2635806"/>
                  <a:pt x="1925043" y="2529132"/>
                </a:cubicBezTo>
                <a:cubicBezTo>
                  <a:pt x="1949751" y="2520359"/>
                  <a:pt x="1831703" y="2542378"/>
                  <a:pt x="1783427" y="2557768"/>
                </a:cubicBezTo>
                <a:lnTo>
                  <a:pt x="1777335" y="2560218"/>
                </a:lnTo>
                <a:lnTo>
                  <a:pt x="1792833" y="2547120"/>
                </a:lnTo>
                <a:cubicBezTo>
                  <a:pt x="1802010" y="2541556"/>
                  <a:pt x="1811589" y="2537782"/>
                  <a:pt x="1821761" y="2535414"/>
                </a:cubicBezTo>
                <a:lnTo>
                  <a:pt x="1805230" y="2519976"/>
                </a:lnTo>
                <a:lnTo>
                  <a:pt x="1809140" y="2516468"/>
                </a:lnTo>
                <a:cubicBezTo>
                  <a:pt x="1825292" y="2499712"/>
                  <a:pt x="1817685" y="2498268"/>
                  <a:pt x="1807094" y="2500581"/>
                </a:cubicBezTo>
                <a:lnTo>
                  <a:pt x="1794183" y="2504800"/>
                </a:lnTo>
                <a:lnTo>
                  <a:pt x="1798059" y="2502481"/>
                </a:lnTo>
                <a:lnTo>
                  <a:pt x="1788383" y="2506696"/>
                </a:lnTo>
                <a:lnTo>
                  <a:pt x="1788234" y="2506744"/>
                </a:lnTo>
                <a:lnTo>
                  <a:pt x="1782797" y="2503214"/>
                </a:lnTo>
                <a:lnTo>
                  <a:pt x="1811035" y="2497811"/>
                </a:lnTo>
                <a:cubicBezTo>
                  <a:pt x="1819799" y="2496163"/>
                  <a:pt x="1826172" y="2494865"/>
                  <a:pt x="1827513" y="2494016"/>
                </a:cubicBezTo>
                <a:cubicBezTo>
                  <a:pt x="1809946" y="2466376"/>
                  <a:pt x="1777195" y="2501420"/>
                  <a:pt x="1762792" y="2488101"/>
                </a:cubicBezTo>
                <a:cubicBezTo>
                  <a:pt x="1810786" y="2454619"/>
                  <a:pt x="1793346" y="2470775"/>
                  <a:pt x="1848249" y="2451280"/>
                </a:cubicBezTo>
                <a:cubicBezTo>
                  <a:pt x="1838949" y="2431666"/>
                  <a:pt x="1339902" y="2636764"/>
                  <a:pt x="1329952" y="2652252"/>
                </a:cubicBezTo>
                <a:cubicBezTo>
                  <a:pt x="1316232" y="2593605"/>
                  <a:pt x="1301584" y="2593450"/>
                  <a:pt x="1285686" y="2608374"/>
                </a:cubicBezTo>
                <a:lnTo>
                  <a:pt x="1269718" y="2626553"/>
                </a:lnTo>
                <a:lnTo>
                  <a:pt x="1268447" y="2624147"/>
                </a:lnTo>
                <a:cubicBezTo>
                  <a:pt x="1258887" y="2622808"/>
                  <a:pt x="1241627" y="2625077"/>
                  <a:pt x="1256772" y="2614967"/>
                </a:cubicBezTo>
                <a:cubicBezTo>
                  <a:pt x="1152585" y="2653456"/>
                  <a:pt x="1054596" y="2676789"/>
                  <a:pt x="957385" y="2708817"/>
                </a:cubicBezTo>
                <a:cubicBezTo>
                  <a:pt x="944469" y="2648636"/>
                  <a:pt x="436697" y="2904160"/>
                  <a:pt x="343754" y="2856953"/>
                </a:cubicBezTo>
                <a:cubicBezTo>
                  <a:pt x="376244" y="2819011"/>
                  <a:pt x="526747" y="2770555"/>
                  <a:pt x="524616" y="2767824"/>
                </a:cubicBezTo>
                <a:cubicBezTo>
                  <a:pt x="634561" y="2603241"/>
                  <a:pt x="894471" y="2723184"/>
                  <a:pt x="1010420" y="2604793"/>
                </a:cubicBezTo>
                <a:cubicBezTo>
                  <a:pt x="1007646" y="2552472"/>
                  <a:pt x="1079601" y="2554822"/>
                  <a:pt x="1210920" y="2481789"/>
                </a:cubicBezTo>
                <a:cubicBezTo>
                  <a:pt x="1176688" y="2478999"/>
                  <a:pt x="977285" y="2593143"/>
                  <a:pt x="922579" y="2551291"/>
                </a:cubicBezTo>
                <a:cubicBezTo>
                  <a:pt x="890862" y="2597925"/>
                  <a:pt x="600257" y="2705594"/>
                  <a:pt x="569061" y="2673328"/>
                </a:cubicBezTo>
                <a:cubicBezTo>
                  <a:pt x="594576" y="2641849"/>
                  <a:pt x="658588" y="2618623"/>
                  <a:pt x="603751" y="2617669"/>
                </a:cubicBezTo>
                <a:cubicBezTo>
                  <a:pt x="612468" y="2651937"/>
                  <a:pt x="496716" y="2708980"/>
                  <a:pt x="476176" y="2690367"/>
                </a:cubicBezTo>
                <a:cubicBezTo>
                  <a:pt x="508280" y="2690427"/>
                  <a:pt x="425150" y="2668629"/>
                  <a:pt x="412680" y="2719389"/>
                </a:cubicBezTo>
                <a:cubicBezTo>
                  <a:pt x="403478" y="2711447"/>
                  <a:pt x="384865" y="2681345"/>
                  <a:pt x="380411" y="2670106"/>
                </a:cubicBezTo>
                <a:lnTo>
                  <a:pt x="381436" y="2667019"/>
                </a:lnTo>
                <a:lnTo>
                  <a:pt x="382286" y="2666973"/>
                </a:lnTo>
                <a:cubicBezTo>
                  <a:pt x="385169" y="2664891"/>
                  <a:pt x="387721" y="2661743"/>
                  <a:pt x="390401" y="2660043"/>
                </a:cubicBezTo>
                <a:cubicBezTo>
                  <a:pt x="388528" y="2660210"/>
                  <a:pt x="380260" y="2652187"/>
                  <a:pt x="372184" y="2667509"/>
                </a:cubicBezTo>
                <a:lnTo>
                  <a:pt x="381237" y="2667028"/>
                </a:lnTo>
                <a:lnTo>
                  <a:pt x="367188" y="2682921"/>
                </a:lnTo>
                <a:cubicBezTo>
                  <a:pt x="363174" y="2682913"/>
                  <a:pt x="359848" y="2677369"/>
                  <a:pt x="356941" y="2665946"/>
                </a:cubicBezTo>
                <a:cubicBezTo>
                  <a:pt x="312244" y="2672850"/>
                  <a:pt x="376124" y="2690521"/>
                  <a:pt x="366241" y="2685561"/>
                </a:cubicBezTo>
                <a:cubicBezTo>
                  <a:pt x="354420" y="2701217"/>
                  <a:pt x="342473" y="2673076"/>
                  <a:pt x="335173" y="2697091"/>
                </a:cubicBezTo>
                <a:cubicBezTo>
                  <a:pt x="362688" y="2709241"/>
                  <a:pt x="349834" y="2713306"/>
                  <a:pt x="298999" y="2714917"/>
                </a:cubicBezTo>
                <a:cubicBezTo>
                  <a:pt x="429868" y="2615640"/>
                  <a:pt x="205276" y="2743711"/>
                  <a:pt x="205276" y="2743711"/>
                </a:cubicBezTo>
                <a:cubicBezTo>
                  <a:pt x="264249" y="2706331"/>
                  <a:pt x="144300" y="2737464"/>
                  <a:pt x="101927" y="2770445"/>
                </a:cubicBezTo>
                <a:cubicBezTo>
                  <a:pt x="95538" y="2698731"/>
                  <a:pt x="74026" y="2743361"/>
                  <a:pt x="46829" y="2777818"/>
                </a:cubicBezTo>
                <a:lnTo>
                  <a:pt x="29569" y="2793661"/>
                </a:lnTo>
                <a:lnTo>
                  <a:pt x="20920" y="2775107"/>
                </a:lnTo>
                <a:lnTo>
                  <a:pt x="13714" y="2766189"/>
                </a:lnTo>
                <a:lnTo>
                  <a:pt x="21177" y="2759461"/>
                </a:lnTo>
                <a:cubicBezTo>
                  <a:pt x="53096" y="2730623"/>
                  <a:pt x="7293" y="2770480"/>
                  <a:pt x="4072" y="2752880"/>
                </a:cubicBezTo>
                <a:cubicBezTo>
                  <a:pt x="72219" y="2691317"/>
                  <a:pt x="75767" y="2752331"/>
                  <a:pt x="116527" y="2722414"/>
                </a:cubicBezTo>
                <a:cubicBezTo>
                  <a:pt x="97735" y="2659838"/>
                  <a:pt x="378327" y="2588108"/>
                  <a:pt x="370641" y="2565429"/>
                </a:cubicBezTo>
                <a:cubicBezTo>
                  <a:pt x="358304" y="2575290"/>
                  <a:pt x="354556" y="2575624"/>
                  <a:pt x="356755" y="2557905"/>
                </a:cubicBezTo>
                <a:cubicBezTo>
                  <a:pt x="386723" y="2555233"/>
                  <a:pt x="389372" y="2563760"/>
                  <a:pt x="364955" y="2586378"/>
                </a:cubicBezTo>
                <a:cubicBezTo>
                  <a:pt x="431291" y="2589230"/>
                  <a:pt x="505622" y="2559972"/>
                  <a:pt x="567665" y="2525239"/>
                </a:cubicBezTo>
                <a:lnTo>
                  <a:pt x="629367" y="2485112"/>
                </a:lnTo>
                <a:lnTo>
                  <a:pt x="629692" y="2485030"/>
                </a:lnTo>
                <a:cubicBezTo>
                  <a:pt x="633276" y="2482885"/>
                  <a:pt x="636829" y="2480378"/>
                  <a:pt x="640574" y="2480044"/>
                </a:cubicBezTo>
                <a:lnTo>
                  <a:pt x="638477" y="2479188"/>
                </a:lnTo>
                <a:lnTo>
                  <a:pt x="648976" y="2472360"/>
                </a:lnTo>
                <a:cubicBezTo>
                  <a:pt x="671319" y="2455584"/>
                  <a:pt x="688053" y="2440768"/>
                  <a:pt x="696643" y="2431242"/>
                </a:cubicBezTo>
                <a:cubicBezTo>
                  <a:pt x="579864" y="2391998"/>
                  <a:pt x="374650" y="2483298"/>
                  <a:pt x="318906" y="2514550"/>
                </a:cubicBezTo>
                <a:cubicBezTo>
                  <a:pt x="322265" y="2509869"/>
                  <a:pt x="385131" y="2468491"/>
                  <a:pt x="451630" y="2430805"/>
                </a:cubicBezTo>
                <a:lnTo>
                  <a:pt x="518679" y="2396603"/>
                </a:lnTo>
                <a:lnTo>
                  <a:pt x="534310" y="2394598"/>
                </a:lnTo>
                <a:cubicBezTo>
                  <a:pt x="549902" y="2392114"/>
                  <a:pt x="566481" y="2388811"/>
                  <a:pt x="579855" y="2384608"/>
                </a:cubicBezTo>
                <a:lnTo>
                  <a:pt x="601260" y="2372077"/>
                </a:lnTo>
                <a:lnTo>
                  <a:pt x="599010" y="2378885"/>
                </a:lnTo>
                <a:cubicBezTo>
                  <a:pt x="599636" y="2382799"/>
                  <a:pt x="601946" y="2388206"/>
                  <a:pt x="606606" y="2395457"/>
                </a:cubicBezTo>
                <a:cubicBezTo>
                  <a:pt x="625530" y="2395961"/>
                  <a:pt x="632664" y="2392588"/>
                  <a:pt x="633300" y="2388150"/>
                </a:cubicBezTo>
                <a:lnTo>
                  <a:pt x="622717" y="2376354"/>
                </a:lnTo>
                <a:lnTo>
                  <a:pt x="634460" y="2374677"/>
                </a:lnTo>
                <a:cubicBezTo>
                  <a:pt x="649985" y="2367132"/>
                  <a:pt x="668551" y="2349050"/>
                  <a:pt x="687733" y="2373625"/>
                </a:cubicBezTo>
                <a:cubicBezTo>
                  <a:pt x="768276" y="2294895"/>
                  <a:pt x="660790" y="2344721"/>
                  <a:pt x="628506" y="2368561"/>
                </a:cubicBezTo>
                <a:lnTo>
                  <a:pt x="621659" y="2375174"/>
                </a:lnTo>
                <a:lnTo>
                  <a:pt x="621019" y="2374460"/>
                </a:lnTo>
                <a:lnTo>
                  <a:pt x="602400" y="2371410"/>
                </a:lnTo>
                <a:lnTo>
                  <a:pt x="606153" y="2369213"/>
                </a:lnTo>
                <a:cubicBezTo>
                  <a:pt x="597208" y="2364170"/>
                  <a:pt x="575203" y="2370145"/>
                  <a:pt x="547120" y="2382094"/>
                </a:cubicBezTo>
                <a:lnTo>
                  <a:pt x="518679" y="2396603"/>
                </a:lnTo>
                <a:lnTo>
                  <a:pt x="494701" y="2399678"/>
                </a:lnTo>
                <a:cubicBezTo>
                  <a:pt x="485285" y="2400610"/>
                  <a:pt x="481054" y="2400803"/>
                  <a:pt x="486206" y="2400344"/>
                </a:cubicBezTo>
                <a:cubicBezTo>
                  <a:pt x="506810" y="2398508"/>
                  <a:pt x="511396" y="2386418"/>
                  <a:pt x="500482" y="2369868"/>
                </a:cubicBezTo>
                <a:cubicBezTo>
                  <a:pt x="505939" y="2378143"/>
                  <a:pt x="510879" y="2380623"/>
                  <a:pt x="515806" y="2377629"/>
                </a:cubicBezTo>
                <a:lnTo>
                  <a:pt x="520200" y="2370391"/>
                </a:lnTo>
                <a:lnTo>
                  <a:pt x="517274" y="2388815"/>
                </a:lnTo>
                <a:cubicBezTo>
                  <a:pt x="508882" y="2336994"/>
                  <a:pt x="652082" y="2312551"/>
                  <a:pt x="665193" y="2311383"/>
                </a:cubicBezTo>
                <a:cubicBezTo>
                  <a:pt x="659833" y="2314781"/>
                  <a:pt x="632769" y="2328875"/>
                  <a:pt x="633801" y="2340465"/>
                </a:cubicBezTo>
                <a:cubicBezTo>
                  <a:pt x="731534" y="2229539"/>
                  <a:pt x="1107789" y="2108395"/>
                  <a:pt x="1229546" y="2097546"/>
                </a:cubicBezTo>
                <a:cubicBezTo>
                  <a:pt x="1216756" y="2081163"/>
                  <a:pt x="1203387" y="2079433"/>
                  <a:pt x="1187302" y="2089628"/>
                </a:cubicBezTo>
                <a:cubicBezTo>
                  <a:pt x="1226514" y="2042327"/>
                  <a:pt x="1248085" y="2072529"/>
                  <a:pt x="1251183" y="2107300"/>
                </a:cubicBezTo>
                <a:cubicBezTo>
                  <a:pt x="1391854" y="2110097"/>
                  <a:pt x="1678222" y="2028360"/>
                  <a:pt x="1862289" y="1903751"/>
                </a:cubicBezTo>
                <a:lnTo>
                  <a:pt x="1930489" y="1850723"/>
                </a:lnTo>
                <a:lnTo>
                  <a:pt x="1954362" y="1846091"/>
                </a:lnTo>
                <a:cubicBezTo>
                  <a:pt x="1960422" y="1844548"/>
                  <a:pt x="1946136" y="1846461"/>
                  <a:pt x="1935995" y="1848550"/>
                </a:cubicBezTo>
                <a:lnTo>
                  <a:pt x="1931425" y="1849995"/>
                </a:lnTo>
                <a:lnTo>
                  <a:pt x="1934191" y="1847844"/>
                </a:lnTo>
                <a:cubicBezTo>
                  <a:pt x="1932577" y="1850907"/>
                  <a:pt x="1932060" y="1845113"/>
                  <a:pt x="1937164" y="1838817"/>
                </a:cubicBezTo>
                <a:cubicBezTo>
                  <a:pt x="1811271" y="1888001"/>
                  <a:pt x="1365452" y="2012423"/>
                  <a:pt x="1359898" y="1992475"/>
                </a:cubicBezTo>
                <a:cubicBezTo>
                  <a:pt x="1410023" y="1961725"/>
                  <a:pt x="1225415" y="2051186"/>
                  <a:pt x="1229419" y="2053750"/>
                </a:cubicBezTo>
                <a:cubicBezTo>
                  <a:pt x="1237560" y="2017979"/>
                  <a:pt x="980479" y="2099296"/>
                  <a:pt x="922861" y="2130716"/>
                </a:cubicBezTo>
                <a:cubicBezTo>
                  <a:pt x="909360" y="2169885"/>
                  <a:pt x="399402" y="2273738"/>
                  <a:pt x="299799" y="2300136"/>
                </a:cubicBezTo>
                <a:cubicBezTo>
                  <a:pt x="315043" y="2301698"/>
                  <a:pt x="322020" y="2295235"/>
                  <a:pt x="322085" y="2274787"/>
                </a:cubicBezTo>
                <a:cubicBezTo>
                  <a:pt x="307291" y="2299468"/>
                  <a:pt x="304709" y="2270495"/>
                  <a:pt x="285138" y="2283920"/>
                </a:cubicBezTo>
                <a:cubicBezTo>
                  <a:pt x="282942" y="2301638"/>
                  <a:pt x="289592" y="2312727"/>
                  <a:pt x="304837" y="2314290"/>
                </a:cubicBezTo>
                <a:cubicBezTo>
                  <a:pt x="282989" y="2307476"/>
                  <a:pt x="231238" y="2334538"/>
                  <a:pt x="223051" y="2326095"/>
                </a:cubicBezTo>
                <a:lnTo>
                  <a:pt x="230864" y="2306383"/>
                </a:lnTo>
                <a:lnTo>
                  <a:pt x="245978" y="2305297"/>
                </a:lnTo>
                <a:cubicBezTo>
                  <a:pt x="254649" y="2301968"/>
                  <a:pt x="263564" y="2296064"/>
                  <a:pt x="268537" y="2288319"/>
                </a:cubicBezTo>
                <a:cubicBezTo>
                  <a:pt x="261044" y="2288986"/>
                  <a:pt x="253811" y="2292552"/>
                  <a:pt x="246609" y="2296480"/>
                </a:cubicBezTo>
                <a:lnTo>
                  <a:pt x="232045" y="2303402"/>
                </a:lnTo>
                <a:lnTo>
                  <a:pt x="232107" y="2303247"/>
                </a:lnTo>
                <a:cubicBezTo>
                  <a:pt x="166162" y="2262396"/>
                  <a:pt x="165125" y="2335502"/>
                  <a:pt x="115971" y="2313596"/>
                </a:cubicBezTo>
                <a:cubicBezTo>
                  <a:pt x="163280" y="2232718"/>
                  <a:pt x="236844" y="2268008"/>
                  <a:pt x="280633" y="2230765"/>
                </a:cubicBezTo>
                <a:lnTo>
                  <a:pt x="294665" y="2213247"/>
                </a:lnTo>
                <a:lnTo>
                  <a:pt x="298123" y="2238955"/>
                </a:lnTo>
                <a:cubicBezTo>
                  <a:pt x="363237" y="2153935"/>
                  <a:pt x="399067" y="2194505"/>
                  <a:pt x="454997" y="2162569"/>
                </a:cubicBezTo>
                <a:lnTo>
                  <a:pt x="469990" y="2151504"/>
                </a:lnTo>
                <a:lnTo>
                  <a:pt x="463979" y="2159195"/>
                </a:lnTo>
                <a:cubicBezTo>
                  <a:pt x="464263" y="2163367"/>
                  <a:pt x="470038" y="2165956"/>
                  <a:pt x="485896" y="2163812"/>
                </a:cubicBezTo>
                <a:cubicBezTo>
                  <a:pt x="494504" y="2149173"/>
                  <a:pt x="494843" y="2142390"/>
                  <a:pt x="491501" y="2140315"/>
                </a:cubicBezTo>
                <a:lnTo>
                  <a:pt x="479569" y="2143757"/>
                </a:lnTo>
                <a:lnTo>
                  <a:pt x="428814" y="2136683"/>
                </a:lnTo>
                <a:cubicBezTo>
                  <a:pt x="387748" y="2134684"/>
                  <a:pt x="336407" y="2140537"/>
                  <a:pt x="293709" y="2167888"/>
                </a:cubicBezTo>
                <a:lnTo>
                  <a:pt x="279713" y="2179396"/>
                </a:lnTo>
                <a:lnTo>
                  <a:pt x="270118" y="2178935"/>
                </a:lnTo>
                <a:cubicBezTo>
                  <a:pt x="193445" y="2180565"/>
                  <a:pt x="48898" y="2207135"/>
                  <a:pt x="51321" y="2202538"/>
                </a:cubicBezTo>
                <a:cubicBezTo>
                  <a:pt x="96276" y="2198531"/>
                  <a:pt x="40472" y="2165538"/>
                  <a:pt x="23806" y="2190388"/>
                </a:cubicBezTo>
                <a:cubicBezTo>
                  <a:pt x="29750" y="2172336"/>
                  <a:pt x="132647" y="2119358"/>
                  <a:pt x="141946" y="2138973"/>
                </a:cubicBezTo>
                <a:cubicBezTo>
                  <a:pt x="126443" y="2134514"/>
                  <a:pt x="119986" y="2146771"/>
                  <a:pt x="122051" y="2169951"/>
                </a:cubicBezTo>
                <a:lnTo>
                  <a:pt x="132244" y="2167180"/>
                </a:lnTo>
                <a:lnTo>
                  <a:pt x="135958" y="2167435"/>
                </a:lnTo>
                <a:lnTo>
                  <a:pt x="136228" y="2166096"/>
                </a:lnTo>
                <a:lnTo>
                  <a:pt x="180722" y="2153999"/>
                </a:lnTo>
                <a:lnTo>
                  <a:pt x="245241" y="2141481"/>
                </a:lnTo>
                <a:lnTo>
                  <a:pt x="246262" y="2144281"/>
                </a:lnTo>
                <a:lnTo>
                  <a:pt x="246859" y="2141167"/>
                </a:lnTo>
                <a:lnTo>
                  <a:pt x="249016" y="2140749"/>
                </a:lnTo>
                <a:cubicBezTo>
                  <a:pt x="294658" y="2131206"/>
                  <a:pt x="337434" y="2118633"/>
                  <a:pt x="358784" y="2093367"/>
                </a:cubicBezTo>
                <a:cubicBezTo>
                  <a:pt x="315444" y="2094308"/>
                  <a:pt x="322419" y="2087845"/>
                  <a:pt x="379713" y="2073979"/>
                </a:cubicBezTo>
                <a:cubicBezTo>
                  <a:pt x="358639" y="2075856"/>
                  <a:pt x="342704" y="2077460"/>
                  <a:pt x="330830" y="2078819"/>
                </a:cubicBezTo>
                <a:lnTo>
                  <a:pt x="309292" y="2081795"/>
                </a:lnTo>
                <a:lnTo>
                  <a:pt x="317164" y="2059463"/>
                </a:lnTo>
                <a:cubicBezTo>
                  <a:pt x="358454" y="2013859"/>
                  <a:pt x="537821" y="2031415"/>
                  <a:pt x="557602" y="1993877"/>
                </a:cubicBezTo>
                <a:cubicBezTo>
                  <a:pt x="541842" y="1986519"/>
                  <a:pt x="526083" y="1979162"/>
                  <a:pt x="510840" y="1977599"/>
                </a:cubicBezTo>
                <a:cubicBezTo>
                  <a:pt x="526697" y="1975456"/>
                  <a:pt x="535322" y="1971585"/>
                  <a:pt x="540587" y="1966462"/>
                </a:cubicBezTo>
                <a:lnTo>
                  <a:pt x="547320" y="1953389"/>
                </a:lnTo>
                <a:lnTo>
                  <a:pt x="549521" y="1956813"/>
                </a:lnTo>
                <a:cubicBezTo>
                  <a:pt x="551199" y="1957758"/>
                  <a:pt x="553440" y="1957741"/>
                  <a:pt x="556119" y="1956042"/>
                </a:cubicBezTo>
                <a:cubicBezTo>
                  <a:pt x="558672" y="1952894"/>
                  <a:pt x="557073" y="1950846"/>
                  <a:pt x="555240" y="1948819"/>
                </a:cubicBezTo>
                <a:lnTo>
                  <a:pt x="553165" y="1942370"/>
                </a:lnTo>
                <a:lnTo>
                  <a:pt x="562926" y="1924497"/>
                </a:lnTo>
                <a:cubicBezTo>
                  <a:pt x="570275" y="1916267"/>
                  <a:pt x="582023" y="1907737"/>
                  <a:pt x="602047" y="1899381"/>
                </a:cubicBezTo>
                <a:cubicBezTo>
                  <a:pt x="604600" y="1896233"/>
                  <a:pt x="709675" y="1872997"/>
                  <a:pt x="819160" y="1851558"/>
                </a:cubicBezTo>
                <a:lnTo>
                  <a:pt x="849443" y="1845830"/>
                </a:lnTo>
                <a:lnTo>
                  <a:pt x="850474" y="1845757"/>
                </a:lnTo>
                <a:lnTo>
                  <a:pt x="851000" y="1845534"/>
                </a:lnTo>
                <a:lnTo>
                  <a:pt x="900566" y="1836159"/>
                </a:lnTo>
                <a:cubicBezTo>
                  <a:pt x="979734" y="1821780"/>
                  <a:pt x="1047584" y="1811490"/>
                  <a:pt x="1062723" y="1814522"/>
                </a:cubicBezTo>
                <a:cubicBezTo>
                  <a:pt x="1057327" y="1828145"/>
                  <a:pt x="1143348" y="1802958"/>
                  <a:pt x="1239761" y="1780494"/>
                </a:cubicBezTo>
                <a:lnTo>
                  <a:pt x="1337258" y="1762362"/>
                </a:lnTo>
                <a:lnTo>
                  <a:pt x="1321286" y="1771038"/>
                </a:lnTo>
                <a:cubicBezTo>
                  <a:pt x="1319680" y="1778848"/>
                  <a:pt x="1318906" y="1784812"/>
                  <a:pt x="1318772" y="1789244"/>
                </a:cubicBezTo>
                <a:lnTo>
                  <a:pt x="1319364" y="1793273"/>
                </a:lnTo>
                <a:lnTo>
                  <a:pt x="1335083" y="1788309"/>
                </a:lnTo>
                <a:lnTo>
                  <a:pt x="1340809" y="1779945"/>
                </a:lnTo>
                <a:cubicBezTo>
                  <a:pt x="1343764" y="1773819"/>
                  <a:pt x="1345449" y="1767825"/>
                  <a:pt x="1344331" y="1764468"/>
                </a:cubicBezTo>
                <a:lnTo>
                  <a:pt x="1338310" y="1762166"/>
                </a:lnTo>
                <a:lnTo>
                  <a:pt x="1382045" y="1754033"/>
                </a:lnTo>
                <a:lnTo>
                  <a:pt x="1387801" y="1753839"/>
                </a:lnTo>
                <a:lnTo>
                  <a:pt x="1382326" y="1756836"/>
                </a:lnTo>
                <a:cubicBezTo>
                  <a:pt x="1392206" y="1761798"/>
                  <a:pt x="1391625" y="1776452"/>
                  <a:pt x="1401573" y="1760963"/>
                </a:cubicBezTo>
                <a:lnTo>
                  <a:pt x="1394883" y="1753599"/>
                </a:lnTo>
                <a:lnTo>
                  <a:pt x="1440042" y="1752071"/>
                </a:lnTo>
                <a:cubicBezTo>
                  <a:pt x="1456649" y="1753318"/>
                  <a:pt x="1470105" y="1756682"/>
                  <a:pt x="1479147" y="1762811"/>
                </a:cubicBezTo>
                <a:cubicBezTo>
                  <a:pt x="1269479" y="1825303"/>
                  <a:pt x="1554592" y="1761930"/>
                  <a:pt x="1544774" y="1736521"/>
                </a:cubicBezTo>
                <a:cubicBezTo>
                  <a:pt x="1544774" y="1736521"/>
                  <a:pt x="1486057" y="1776798"/>
                  <a:pt x="1509765" y="1725038"/>
                </a:cubicBezTo>
                <a:cubicBezTo>
                  <a:pt x="1545518" y="1713091"/>
                  <a:pt x="1569030" y="1701503"/>
                  <a:pt x="1584978" y="1692416"/>
                </a:cubicBezTo>
                <a:lnTo>
                  <a:pt x="1614473" y="1674982"/>
                </a:lnTo>
                <a:lnTo>
                  <a:pt x="1614866" y="1675164"/>
                </a:lnTo>
                <a:lnTo>
                  <a:pt x="1617096" y="1687363"/>
                </a:lnTo>
                <a:cubicBezTo>
                  <a:pt x="1618832" y="1688304"/>
                  <a:pt x="1621448" y="1685882"/>
                  <a:pt x="1624678" y="1679752"/>
                </a:cubicBezTo>
                <a:cubicBezTo>
                  <a:pt x="1622546" y="1677022"/>
                  <a:pt x="1617053" y="1721319"/>
                  <a:pt x="1624678" y="1679752"/>
                </a:cubicBezTo>
                <a:lnTo>
                  <a:pt x="1614866" y="1675164"/>
                </a:lnTo>
                <a:lnTo>
                  <a:pt x="1614796" y="1674792"/>
                </a:lnTo>
                <a:lnTo>
                  <a:pt x="1614473" y="1674982"/>
                </a:lnTo>
                <a:lnTo>
                  <a:pt x="1610730" y="1673232"/>
                </a:lnTo>
                <a:cubicBezTo>
                  <a:pt x="1571096" y="1666671"/>
                  <a:pt x="1459494" y="1683975"/>
                  <a:pt x="1401210" y="1699949"/>
                </a:cubicBezTo>
                <a:lnTo>
                  <a:pt x="1383896" y="1706993"/>
                </a:lnTo>
                <a:lnTo>
                  <a:pt x="1383289" y="1706738"/>
                </a:lnTo>
                <a:cubicBezTo>
                  <a:pt x="1377403" y="1706897"/>
                  <a:pt x="1371509" y="1709613"/>
                  <a:pt x="1365341" y="1714544"/>
                </a:cubicBezTo>
                <a:lnTo>
                  <a:pt x="1383896" y="1706993"/>
                </a:lnTo>
                <a:lnTo>
                  <a:pt x="1401188" y="1714270"/>
                </a:lnTo>
                <a:cubicBezTo>
                  <a:pt x="1374573" y="1754608"/>
                  <a:pt x="1224269" y="1741718"/>
                  <a:pt x="1220266" y="1739154"/>
                </a:cubicBezTo>
                <a:cubicBezTo>
                  <a:pt x="1223754" y="1735922"/>
                  <a:pt x="1225111" y="1729961"/>
                  <a:pt x="1224594" y="1724165"/>
                </a:cubicBezTo>
                <a:cubicBezTo>
                  <a:pt x="1234735" y="1732023"/>
                  <a:pt x="1240354" y="1731522"/>
                  <a:pt x="1240936" y="1716867"/>
                </a:cubicBezTo>
                <a:cubicBezTo>
                  <a:pt x="1225547" y="1718968"/>
                  <a:pt x="1206465" y="1720669"/>
                  <a:pt x="1186047" y="1722307"/>
                </a:cubicBezTo>
                <a:lnTo>
                  <a:pt x="1141476" y="1725891"/>
                </a:lnTo>
                <a:lnTo>
                  <a:pt x="1141658" y="1725714"/>
                </a:lnTo>
                <a:cubicBezTo>
                  <a:pt x="1136038" y="1726215"/>
                  <a:pt x="1127771" y="1718191"/>
                  <a:pt x="1122926" y="1727383"/>
                </a:cubicBezTo>
                <a:lnTo>
                  <a:pt x="1122937" y="1727389"/>
                </a:lnTo>
                <a:lnTo>
                  <a:pt x="1066439" y="1734060"/>
                </a:lnTo>
                <a:cubicBezTo>
                  <a:pt x="1050131" y="1736792"/>
                  <a:pt x="1037213" y="1740132"/>
                  <a:pt x="1030043" y="1744423"/>
                </a:cubicBezTo>
                <a:cubicBezTo>
                  <a:pt x="1028153" y="1749702"/>
                  <a:pt x="1022491" y="1757690"/>
                  <a:pt x="1015836" y="1766086"/>
                </a:cubicBezTo>
                <a:lnTo>
                  <a:pt x="996012" y="1789768"/>
                </a:lnTo>
                <a:lnTo>
                  <a:pt x="975103" y="1787696"/>
                </a:lnTo>
                <a:cubicBezTo>
                  <a:pt x="959035" y="1788123"/>
                  <a:pt x="949679" y="1791057"/>
                  <a:pt x="949418" y="1783505"/>
                </a:cubicBezTo>
                <a:lnTo>
                  <a:pt x="950567" y="1779949"/>
                </a:lnTo>
                <a:lnTo>
                  <a:pt x="956635" y="1781720"/>
                </a:lnTo>
                <a:cubicBezTo>
                  <a:pt x="959446" y="1781332"/>
                  <a:pt x="961271" y="1779870"/>
                  <a:pt x="961418" y="1776857"/>
                </a:cubicBezTo>
                <a:lnTo>
                  <a:pt x="957686" y="1766817"/>
                </a:lnTo>
                <a:lnTo>
                  <a:pt x="960740" y="1764881"/>
                </a:lnTo>
                <a:cubicBezTo>
                  <a:pt x="967997" y="1753968"/>
                  <a:pt x="963384" y="1737951"/>
                  <a:pt x="949430" y="1772049"/>
                </a:cubicBezTo>
                <a:lnTo>
                  <a:pt x="954074" y="1769105"/>
                </a:lnTo>
                <a:lnTo>
                  <a:pt x="950567" y="1779949"/>
                </a:lnTo>
                <a:lnTo>
                  <a:pt x="944911" y="1778297"/>
                </a:lnTo>
                <a:lnTo>
                  <a:pt x="947815" y="1775113"/>
                </a:lnTo>
                <a:cubicBezTo>
                  <a:pt x="907479" y="1756804"/>
                  <a:pt x="917345" y="1766877"/>
                  <a:pt x="933404" y="1774938"/>
                </a:cubicBezTo>
                <a:lnTo>
                  <a:pt x="944911" y="1778297"/>
                </a:lnTo>
                <a:lnTo>
                  <a:pt x="903844" y="1823329"/>
                </a:lnTo>
                <a:lnTo>
                  <a:pt x="851000" y="1845534"/>
                </a:lnTo>
                <a:lnTo>
                  <a:pt x="849443" y="1845830"/>
                </a:lnTo>
                <a:lnTo>
                  <a:pt x="790835" y="1849987"/>
                </a:lnTo>
                <a:cubicBezTo>
                  <a:pt x="770259" y="1849208"/>
                  <a:pt x="749162" y="1846663"/>
                  <a:pt x="728061" y="1843615"/>
                </a:cubicBezTo>
                <a:lnTo>
                  <a:pt x="691254" y="1838111"/>
                </a:lnTo>
                <a:lnTo>
                  <a:pt x="744688" y="1820959"/>
                </a:lnTo>
                <a:cubicBezTo>
                  <a:pt x="793374" y="1800558"/>
                  <a:pt x="840819" y="1771506"/>
                  <a:pt x="862038" y="1744791"/>
                </a:cubicBezTo>
                <a:cubicBezTo>
                  <a:pt x="873211" y="1764238"/>
                  <a:pt x="868624" y="1776329"/>
                  <a:pt x="850409" y="1783793"/>
                </a:cubicBezTo>
                <a:cubicBezTo>
                  <a:pt x="854157" y="1783459"/>
                  <a:pt x="902151" y="1749977"/>
                  <a:pt x="908868" y="1740618"/>
                </a:cubicBezTo>
                <a:cubicBezTo>
                  <a:pt x="904363" y="1737734"/>
                  <a:pt x="902591" y="1735063"/>
                  <a:pt x="902599" y="1732672"/>
                </a:cubicBezTo>
                <a:lnTo>
                  <a:pt x="904417" y="1730093"/>
                </a:lnTo>
                <a:lnTo>
                  <a:pt x="917153" y="1726327"/>
                </a:lnTo>
                <a:cubicBezTo>
                  <a:pt x="941181" y="1717888"/>
                  <a:pt x="917476" y="1719362"/>
                  <a:pt x="907013" y="1726409"/>
                </a:cubicBezTo>
                <a:lnTo>
                  <a:pt x="904417" y="1730093"/>
                </a:lnTo>
                <a:lnTo>
                  <a:pt x="889228" y="1734581"/>
                </a:lnTo>
                <a:cubicBezTo>
                  <a:pt x="876302" y="1737998"/>
                  <a:pt x="859439" y="1742102"/>
                  <a:pt x="837689" y="1746961"/>
                </a:cubicBezTo>
                <a:cubicBezTo>
                  <a:pt x="910489" y="1652859"/>
                  <a:pt x="1195535" y="1609935"/>
                  <a:pt x="1235514" y="1656020"/>
                </a:cubicBezTo>
                <a:cubicBezTo>
                  <a:pt x="1358890" y="1557412"/>
                  <a:pt x="1593872" y="1609484"/>
                  <a:pt x="1759621" y="1477895"/>
                </a:cubicBezTo>
                <a:cubicBezTo>
                  <a:pt x="1760559" y="1477812"/>
                  <a:pt x="1747849" y="1478214"/>
                  <a:pt x="1735472" y="1479682"/>
                </a:cubicBezTo>
                <a:lnTo>
                  <a:pt x="1723782" y="1481851"/>
                </a:lnTo>
                <a:lnTo>
                  <a:pt x="1748811" y="1470462"/>
                </a:lnTo>
                <a:cubicBezTo>
                  <a:pt x="1768568" y="1461766"/>
                  <a:pt x="1788594" y="1453410"/>
                  <a:pt x="1785913" y="1455110"/>
                </a:cubicBezTo>
                <a:cubicBezTo>
                  <a:pt x="1790175" y="1460570"/>
                  <a:pt x="1747284" y="1487755"/>
                  <a:pt x="1771054" y="1500240"/>
                </a:cubicBezTo>
                <a:lnTo>
                  <a:pt x="1799507" y="1471394"/>
                </a:lnTo>
                <a:lnTo>
                  <a:pt x="1814030" y="1475009"/>
                </a:lnTo>
                <a:cubicBezTo>
                  <a:pt x="1817285" y="1474126"/>
                  <a:pt x="1816726" y="1471164"/>
                  <a:pt x="1814228" y="1468284"/>
                </a:cubicBezTo>
                <a:lnTo>
                  <a:pt x="1807943" y="1464859"/>
                </a:lnTo>
                <a:lnTo>
                  <a:pt x="1827946" y="1450086"/>
                </a:lnTo>
                <a:lnTo>
                  <a:pt x="1833689" y="1447780"/>
                </a:lnTo>
                <a:lnTo>
                  <a:pt x="1831957" y="1455388"/>
                </a:lnTo>
                <a:cubicBezTo>
                  <a:pt x="1835244" y="1463126"/>
                  <a:pt x="1847273" y="1465704"/>
                  <a:pt x="1858192" y="1439906"/>
                </a:cubicBezTo>
                <a:lnTo>
                  <a:pt x="1851109" y="1440786"/>
                </a:lnTo>
                <a:lnTo>
                  <a:pt x="1877618" y="1430144"/>
                </a:lnTo>
                <a:cubicBezTo>
                  <a:pt x="1893346" y="1426552"/>
                  <a:pt x="1908431" y="1425025"/>
                  <a:pt x="1923438" y="1422594"/>
                </a:cubicBezTo>
                <a:lnTo>
                  <a:pt x="1960623" y="1411944"/>
                </a:lnTo>
                <a:lnTo>
                  <a:pt x="1963172" y="1413138"/>
                </a:lnTo>
                <a:cubicBezTo>
                  <a:pt x="1964983" y="1413050"/>
                  <a:pt x="1966862" y="1411970"/>
                  <a:pt x="1968776" y="1409609"/>
                </a:cubicBezTo>
                <a:lnTo>
                  <a:pt x="1960623" y="1411944"/>
                </a:lnTo>
                <a:lnTo>
                  <a:pt x="1957988" y="1410708"/>
                </a:lnTo>
                <a:cubicBezTo>
                  <a:pt x="1948186" y="1401040"/>
                  <a:pt x="1942229" y="1365977"/>
                  <a:pt x="1948043" y="1367649"/>
                </a:cubicBezTo>
                <a:cubicBezTo>
                  <a:pt x="2019481" y="1353618"/>
                  <a:pt x="2342394" y="1290344"/>
                  <a:pt x="2436802" y="1298861"/>
                </a:cubicBezTo>
                <a:lnTo>
                  <a:pt x="2456936" y="1305605"/>
                </a:lnTo>
                <a:lnTo>
                  <a:pt x="2463981" y="1304782"/>
                </a:lnTo>
                <a:lnTo>
                  <a:pt x="2478716" y="1287453"/>
                </a:lnTo>
                <a:cubicBezTo>
                  <a:pt x="2513670" y="1256190"/>
                  <a:pt x="2520491" y="1318828"/>
                  <a:pt x="2547398" y="1249989"/>
                </a:cubicBezTo>
                <a:cubicBezTo>
                  <a:pt x="2556697" y="1269605"/>
                  <a:pt x="2552368" y="1284594"/>
                  <a:pt x="2535769" y="1288992"/>
                </a:cubicBezTo>
                <a:cubicBezTo>
                  <a:pt x="2561543" y="1260411"/>
                  <a:pt x="2614166" y="1259008"/>
                  <a:pt x="2649632" y="1246812"/>
                </a:cubicBezTo>
                <a:lnTo>
                  <a:pt x="2675832" y="1230783"/>
                </a:lnTo>
                <a:lnTo>
                  <a:pt x="2680069" y="1255690"/>
                </a:lnTo>
                <a:cubicBezTo>
                  <a:pt x="2686205" y="1260984"/>
                  <a:pt x="2677229" y="1223817"/>
                  <a:pt x="2721927" y="1216915"/>
                </a:cubicBezTo>
                <a:cubicBezTo>
                  <a:pt x="2709960" y="1215061"/>
                  <a:pt x="2700599" y="1214618"/>
                  <a:pt x="2693478" y="1215480"/>
                </a:cubicBezTo>
                <a:lnTo>
                  <a:pt x="2675521" y="1227695"/>
                </a:lnTo>
                <a:lnTo>
                  <a:pt x="2671610" y="1224319"/>
                </a:lnTo>
                <a:cubicBezTo>
                  <a:pt x="2667006" y="1220348"/>
                  <a:pt x="2660402" y="1215095"/>
                  <a:pt x="2653462" y="1211333"/>
                </a:cubicBezTo>
                <a:cubicBezTo>
                  <a:pt x="2644351" y="1215066"/>
                  <a:pt x="2690148" y="1199303"/>
                  <a:pt x="2669287" y="1198241"/>
                </a:cubicBezTo>
                <a:cubicBezTo>
                  <a:pt x="2684270" y="1196906"/>
                  <a:pt x="2712594" y="1186352"/>
                  <a:pt x="2738971" y="1177794"/>
                </a:cubicBezTo>
                <a:lnTo>
                  <a:pt x="2741582" y="1177078"/>
                </a:lnTo>
                <a:lnTo>
                  <a:pt x="2741165" y="1177776"/>
                </a:lnTo>
                <a:cubicBezTo>
                  <a:pt x="2738946" y="1182132"/>
                  <a:pt x="2736334" y="1187886"/>
                  <a:pt x="2733231" y="1195464"/>
                </a:cubicBezTo>
                <a:cubicBezTo>
                  <a:pt x="2756485" y="1202152"/>
                  <a:pt x="2778445" y="1194355"/>
                  <a:pt x="2796986" y="1169340"/>
                </a:cubicBezTo>
                <a:cubicBezTo>
                  <a:pt x="2793383" y="1166009"/>
                  <a:pt x="2785478" y="1165984"/>
                  <a:pt x="2775170" y="1167860"/>
                </a:cubicBezTo>
                <a:lnTo>
                  <a:pt x="2741582" y="1177078"/>
                </a:lnTo>
                <a:lnTo>
                  <a:pt x="2746727" y="1168478"/>
                </a:lnTo>
                <a:cubicBezTo>
                  <a:pt x="2755845" y="1156578"/>
                  <a:pt x="2754012" y="1179739"/>
                  <a:pt x="2760945" y="1146267"/>
                </a:cubicBezTo>
                <a:cubicBezTo>
                  <a:pt x="2791946" y="1155186"/>
                  <a:pt x="2842200" y="1168230"/>
                  <a:pt x="2861064" y="1125663"/>
                </a:cubicBezTo>
                <a:lnTo>
                  <a:pt x="2861987" y="1136042"/>
                </a:lnTo>
                <a:lnTo>
                  <a:pt x="2849097" y="1144024"/>
                </a:lnTo>
                <a:lnTo>
                  <a:pt x="2839788" y="1156965"/>
                </a:lnTo>
                <a:lnTo>
                  <a:pt x="2828291" y="1163081"/>
                </a:lnTo>
                <a:cubicBezTo>
                  <a:pt x="2824852" y="1165578"/>
                  <a:pt x="2824680" y="1167601"/>
                  <a:pt x="2830961" y="1169232"/>
                </a:cubicBezTo>
                <a:lnTo>
                  <a:pt x="2839788" y="1156965"/>
                </a:lnTo>
                <a:lnTo>
                  <a:pt x="2845187" y="1154092"/>
                </a:lnTo>
                <a:cubicBezTo>
                  <a:pt x="2851955" y="1150569"/>
                  <a:pt x="2858790" y="1146492"/>
                  <a:pt x="2862497" y="1141780"/>
                </a:cubicBezTo>
                <a:lnTo>
                  <a:pt x="2861987" y="1136042"/>
                </a:lnTo>
                <a:lnTo>
                  <a:pt x="2879659" y="1125101"/>
                </a:lnTo>
                <a:cubicBezTo>
                  <a:pt x="2902159" y="1115430"/>
                  <a:pt x="2926914" y="1112493"/>
                  <a:pt x="2941867" y="1121382"/>
                </a:cubicBezTo>
                <a:cubicBezTo>
                  <a:pt x="2943481" y="1118319"/>
                  <a:pt x="2924427" y="1137539"/>
                  <a:pt x="2928431" y="1140104"/>
                </a:cubicBezTo>
                <a:cubicBezTo>
                  <a:pt x="2948713" y="1155819"/>
                  <a:pt x="2947616" y="1079983"/>
                  <a:pt x="2986308" y="1111582"/>
                </a:cubicBezTo>
                <a:cubicBezTo>
                  <a:pt x="2990555" y="1122156"/>
                  <a:pt x="2980656" y="1132894"/>
                  <a:pt x="2964965" y="1142551"/>
                </a:cubicBezTo>
                <a:lnTo>
                  <a:pt x="2910988" y="1166114"/>
                </a:lnTo>
                <a:lnTo>
                  <a:pt x="2909070" y="1166150"/>
                </a:lnTo>
                <a:cubicBezTo>
                  <a:pt x="2899854" y="1166379"/>
                  <a:pt x="2893502" y="1166579"/>
                  <a:pt x="2893034" y="1166621"/>
                </a:cubicBezTo>
                <a:cubicBezTo>
                  <a:pt x="2843492" y="1182719"/>
                  <a:pt x="2871055" y="1179531"/>
                  <a:pt x="2908884" y="1167034"/>
                </a:cubicBezTo>
                <a:lnTo>
                  <a:pt x="2910988" y="1166114"/>
                </a:lnTo>
                <a:lnTo>
                  <a:pt x="2942259" y="1165520"/>
                </a:lnTo>
                <a:lnTo>
                  <a:pt x="2967019" y="1165526"/>
                </a:lnTo>
                <a:lnTo>
                  <a:pt x="2966604" y="1165906"/>
                </a:lnTo>
                <a:lnTo>
                  <a:pt x="2967931" y="1165526"/>
                </a:lnTo>
                <a:lnTo>
                  <a:pt x="2974448" y="1165527"/>
                </a:lnTo>
                <a:cubicBezTo>
                  <a:pt x="2982991" y="1165725"/>
                  <a:pt x="2988340" y="1166160"/>
                  <a:pt x="2987467" y="1166968"/>
                </a:cubicBezTo>
                <a:lnTo>
                  <a:pt x="2982137" y="1158429"/>
                </a:lnTo>
                <a:lnTo>
                  <a:pt x="2991849" y="1149968"/>
                </a:lnTo>
                <a:cubicBezTo>
                  <a:pt x="3019235" y="1122886"/>
                  <a:pt x="3056610" y="1075519"/>
                  <a:pt x="3060006" y="1114460"/>
                </a:cubicBezTo>
                <a:lnTo>
                  <a:pt x="3057976" y="1143815"/>
                </a:lnTo>
                <a:lnTo>
                  <a:pt x="3054393" y="1152608"/>
                </a:lnTo>
                <a:cubicBezTo>
                  <a:pt x="3055302" y="1160193"/>
                  <a:pt x="3062911" y="1166086"/>
                  <a:pt x="3074472" y="1147532"/>
                </a:cubicBezTo>
                <a:lnTo>
                  <a:pt x="3069539" y="1146082"/>
                </a:lnTo>
                <a:lnTo>
                  <a:pt x="3071730" y="1145541"/>
                </a:lnTo>
                <a:cubicBezTo>
                  <a:pt x="3092540" y="1139717"/>
                  <a:pt x="3128037" y="1128887"/>
                  <a:pt x="3129635" y="1130935"/>
                </a:cubicBezTo>
                <a:cubicBezTo>
                  <a:pt x="3125891" y="1131268"/>
                  <a:pt x="3112583" y="1109090"/>
                  <a:pt x="3111227" y="1115053"/>
                </a:cubicBezTo>
                <a:cubicBezTo>
                  <a:pt x="3163164" y="1019889"/>
                  <a:pt x="3388846" y="1052348"/>
                  <a:pt x="3463581" y="1022323"/>
                </a:cubicBezTo>
                <a:cubicBezTo>
                  <a:pt x="3448594" y="1023659"/>
                  <a:pt x="3442136" y="1035916"/>
                  <a:pt x="3446074" y="1058930"/>
                </a:cubicBezTo>
                <a:cubicBezTo>
                  <a:pt x="3481599" y="1076208"/>
                  <a:pt x="3563377" y="1019272"/>
                  <a:pt x="3601613" y="1024626"/>
                </a:cubicBezTo>
                <a:cubicBezTo>
                  <a:pt x="3573582" y="1006681"/>
                  <a:pt x="3551618" y="1014478"/>
                  <a:pt x="3518937" y="1029072"/>
                </a:cubicBezTo>
                <a:cubicBezTo>
                  <a:pt x="3588183" y="958651"/>
                  <a:pt x="3874391" y="886420"/>
                  <a:pt x="3967920" y="918973"/>
                </a:cubicBezTo>
                <a:cubicBezTo>
                  <a:pt x="3967887" y="929197"/>
                  <a:pt x="3942714" y="938011"/>
                  <a:pt x="3934044" y="941340"/>
                </a:cubicBezTo>
                <a:lnTo>
                  <a:pt x="3933014" y="941861"/>
                </a:lnTo>
                <a:lnTo>
                  <a:pt x="3924255" y="937464"/>
                </a:lnTo>
                <a:cubicBezTo>
                  <a:pt x="3921043" y="938482"/>
                  <a:pt x="3917956" y="940946"/>
                  <a:pt x="3915147" y="941197"/>
                </a:cubicBezTo>
                <a:cubicBezTo>
                  <a:pt x="3912176" y="950224"/>
                  <a:pt x="3929034" y="948722"/>
                  <a:pt x="3934139" y="942426"/>
                </a:cubicBezTo>
                <a:lnTo>
                  <a:pt x="3934004" y="942359"/>
                </a:lnTo>
                <a:lnTo>
                  <a:pt x="3938616" y="941707"/>
                </a:lnTo>
                <a:cubicBezTo>
                  <a:pt x="3947740" y="940119"/>
                  <a:pt x="3966190" y="936650"/>
                  <a:pt x="3999182" y="930789"/>
                </a:cubicBezTo>
                <a:cubicBezTo>
                  <a:pt x="3985551" y="926162"/>
                  <a:pt x="4286104" y="803004"/>
                  <a:pt x="4338097" y="856781"/>
                </a:cubicBezTo>
                <a:cubicBezTo>
                  <a:pt x="4340295" y="839061"/>
                  <a:pt x="4376208" y="818338"/>
                  <a:pt x="4315493" y="814987"/>
                </a:cubicBezTo>
                <a:cubicBezTo>
                  <a:pt x="4350824" y="808919"/>
                  <a:pt x="4358575" y="811148"/>
                  <a:pt x="4342233" y="818445"/>
                </a:cubicBezTo>
                <a:cubicBezTo>
                  <a:pt x="4394226" y="872222"/>
                  <a:pt x="4449072" y="788482"/>
                  <a:pt x="4518827" y="808551"/>
                </a:cubicBezTo>
                <a:cubicBezTo>
                  <a:pt x="4555457" y="732274"/>
                  <a:pt x="4854319" y="802018"/>
                  <a:pt x="4848445" y="714927"/>
                </a:cubicBezTo>
                <a:cubicBezTo>
                  <a:pt x="4855734" y="756989"/>
                  <a:pt x="4867232" y="753911"/>
                  <a:pt x="4882323" y="737936"/>
                </a:cubicBezTo>
                <a:lnTo>
                  <a:pt x="4882730" y="737459"/>
                </a:lnTo>
                <a:lnTo>
                  <a:pt x="4885173" y="743049"/>
                </a:lnTo>
                <a:cubicBezTo>
                  <a:pt x="4892350" y="746791"/>
                  <a:pt x="4905995" y="746305"/>
                  <a:pt x="4904574" y="730369"/>
                </a:cubicBezTo>
                <a:lnTo>
                  <a:pt x="4884832" y="734994"/>
                </a:lnTo>
                <a:lnTo>
                  <a:pt x="4898593" y="718855"/>
                </a:lnTo>
                <a:cubicBezTo>
                  <a:pt x="4921823" y="690866"/>
                  <a:pt x="4951086" y="659053"/>
                  <a:pt x="4984928" y="699844"/>
                </a:cubicBezTo>
                <a:cubicBezTo>
                  <a:pt x="4989773" y="690651"/>
                  <a:pt x="4952759" y="720233"/>
                  <a:pt x="4957280" y="728593"/>
                </a:cubicBezTo>
                <a:cubicBezTo>
                  <a:pt x="4982407" y="735115"/>
                  <a:pt x="5000366" y="724753"/>
                  <a:pt x="5016257" y="691211"/>
                </a:cubicBezTo>
                <a:cubicBezTo>
                  <a:pt x="5019938" y="711327"/>
                  <a:pt x="5013479" y="723585"/>
                  <a:pt x="5000623" y="727650"/>
                </a:cubicBezTo>
                <a:cubicBezTo>
                  <a:pt x="5169406" y="651280"/>
                  <a:pt x="5389852" y="730933"/>
                  <a:pt x="5580536" y="582519"/>
                </a:cubicBezTo>
                <a:cubicBezTo>
                  <a:pt x="5575499" y="568366"/>
                  <a:pt x="5567749" y="566135"/>
                  <a:pt x="5555410" y="575996"/>
                </a:cubicBezTo>
                <a:lnTo>
                  <a:pt x="5576823" y="565143"/>
                </a:lnTo>
                <a:lnTo>
                  <a:pt x="5575756" y="571262"/>
                </a:lnTo>
                <a:cubicBezTo>
                  <a:pt x="5619939" y="558564"/>
                  <a:pt x="5662314" y="525582"/>
                  <a:pt x="5706753" y="515782"/>
                </a:cubicBezTo>
                <a:cubicBezTo>
                  <a:pt x="5708819" y="538961"/>
                  <a:pt x="5564319" y="633613"/>
                  <a:pt x="5754357" y="520301"/>
                </a:cubicBezTo>
                <a:cubicBezTo>
                  <a:pt x="5745767" y="529828"/>
                  <a:pt x="5739050" y="539189"/>
                  <a:pt x="5732587" y="551446"/>
                </a:cubicBezTo>
                <a:cubicBezTo>
                  <a:pt x="5763915" y="542813"/>
                  <a:pt x="5881606" y="465155"/>
                  <a:pt x="5863907" y="478415"/>
                </a:cubicBezTo>
                <a:cubicBezTo>
                  <a:pt x="5843559" y="483148"/>
                  <a:pt x="5903760" y="480704"/>
                  <a:pt x="5903760" y="480704"/>
                </a:cubicBezTo>
                <a:cubicBezTo>
                  <a:pt x="5920168" y="452957"/>
                  <a:pt x="5857254" y="467325"/>
                  <a:pt x="5863974" y="457964"/>
                </a:cubicBezTo>
                <a:cubicBezTo>
                  <a:pt x="5884658" y="451741"/>
                  <a:pt x="6013543" y="444089"/>
                  <a:pt x="6075330" y="443237"/>
                </a:cubicBezTo>
                <a:lnTo>
                  <a:pt x="6089725" y="443990"/>
                </a:lnTo>
                <a:lnTo>
                  <a:pt x="6077351" y="447712"/>
                </a:lnTo>
                <a:cubicBezTo>
                  <a:pt x="6072798" y="449578"/>
                  <a:pt x="6068372" y="452893"/>
                  <a:pt x="6064334" y="460554"/>
                </a:cubicBezTo>
                <a:cubicBezTo>
                  <a:pt x="6069276" y="463034"/>
                  <a:pt x="6075703" y="461001"/>
                  <a:pt x="6081033" y="457240"/>
                </a:cubicBezTo>
                <a:lnTo>
                  <a:pt x="6090786" y="444045"/>
                </a:lnTo>
                <a:lnTo>
                  <a:pt x="6108258" y="444958"/>
                </a:lnTo>
                <a:cubicBezTo>
                  <a:pt x="6156511" y="414373"/>
                  <a:pt x="6205021" y="386687"/>
                  <a:pt x="6255920" y="364629"/>
                </a:cubicBezTo>
                <a:cubicBezTo>
                  <a:pt x="6201472" y="325673"/>
                  <a:pt x="6158059" y="431758"/>
                  <a:pt x="6120081" y="429302"/>
                </a:cubicBezTo>
                <a:cubicBezTo>
                  <a:pt x="6138225" y="391909"/>
                  <a:pt x="6340339" y="277751"/>
                  <a:pt x="6399325" y="262711"/>
                </a:cubicBezTo>
                <a:cubicBezTo>
                  <a:pt x="6407751" y="260563"/>
                  <a:pt x="6413255" y="260437"/>
                  <a:pt x="6414887" y="262848"/>
                </a:cubicBezTo>
                <a:cubicBezTo>
                  <a:pt x="6408680" y="362698"/>
                  <a:pt x="6404169" y="184950"/>
                  <a:pt x="6390596" y="329263"/>
                </a:cubicBezTo>
                <a:cubicBezTo>
                  <a:pt x="6523202" y="355412"/>
                  <a:pt x="6597749" y="217349"/>
                  <a:pt x="6700768" y="292863"/>
                </a:cubicBezTo>
                <a:lnTo>
                  <a:pt x="6697490" y="300086"/>
                </a:lnTo>
                <a:lnTo>
                  <a:pt x="6693793" y="301332"/>
                </a:lnTo>
                <a:cubicBezTo>
                  <a:pt x="6688028" y="303488"/>
                  <a:pt x="6683474" y="305355"/>
                  <a:pt x="6681197" y="306288"/>
                </a:cubicBezTo>
                <a:cubicBezTo>
                  <a:pt x="6686654" y="314564"/>
                  <a:pt x="6690740" y="312739"/>
                  <a:pt x="6693865" y="308079"/>
                </a:cubicBezTo>
                <a:lnTo>
                  <a:pt x="6697490" y="300086"/>
                </a:lnTo>
                <a:lnTo>
                  <a:pt x="6713670" y="294633"/>
                </a:lnTo>
                <a:cubicBezTo>
                  <a:pt x="6727928" y="290441"/>
                  <a:pt x="6742785" y="287658"/>
                  <a:pt x="6749728" y="291420"/>
                </a:cubicBezTo>
                <a:cubicBezTo>
                  <a:pt x="6749728" y="291420"/>
                  <a:pt x="6724406" y="346245"/>
                  <a:pt x="6730284" y="348642"/>
                </a:cubicBezTo>
                <a:cubicBezTo>
                  <a:pt x="6731898" y="345578"/>
                  <a:pt x="6892480" y="240733"/>
                  <a:pt x="6911145" y="259513"/>
                </a:cubicBezTo>
                <a:cubicBezTo>
                  <a:pt x="6873425" y="259953"/>
                  <a:pt x="6861344" y="272712"/>
                  <a:pt x="6873034" y="297955"/>
                </a:cubicBezTo>
                <a:cubicBezTo>
                  <a:pt x="7075665" y="177681"/>
                  <a:pt x="6958234" y="258238"/>
                  <a:pt x="6941759" y="306433"/>
                </a:cubicBezTo>
                <a:cubicBezTo>
                  <a:pt x="7023400" y="375092"/>
                  <a:pt x="7143419" y="238815"/>
                  <a:pt x="7233392" y="295048"/>
                </a:cubicBezTo>
                <a:cubicBezTo>
                  <a:pt x="7234161" y="388434"/>
                  <a:pt x="7010996" y="405400"/>
                  <a:pt x="6957899" y="445179"/>
                </a:cubicBezTo>
                <a:cubicBezTo>
                  <a:pt x="6919403" y="436927"/>
                  <a:pt x="6795767" y="532638"/>
                  <a:pt x="6692678" y="562268"/>
                </a:cubicBezTo>
                <a:cubicBezTo>
                  <a:pt x="6690289" y="556640"/>
                  <a:pt x="6786980" y="603513"/>
                  <a:pt x="6773675" y="581335"/>
                </a:cubicBezTo>
                <a:cubicBezTo>
                  <a:pt x="6823218" y="565237"/>
                  <a:pt x="6909384" y="557559"/>
                  <a:pt x="6971841" y="601642"/>
                </a:cubicBezTo>
                <a:cubicBezTo>
                  <a:pt x="6898398" y="646154"/>
                  <a:pt x="6679494" y="668580"/>
                  <a:pt x="6746023" y="694777"/>
                </a:cubicBezTo>
                <a:cubicBezTo>
                  <a:pt x="6631821" y="769204"/>
                  <a:pt x="6683302" y="732492"/>
                  <a:pt x="6678266" y="718338"/>
                </a:cubicBezTo>
                <a:cubicBezTo>
                  <a:pt x="6678266" y="718338"/>
                  <a:pt x="6591451" y="761120"/>
                  <a:pt x="6593000" y="778505"/>
                </a:cubicBezTo>
                <a:cubicBezTo>
                  <a:pt x="6608761" y="785862"/>
                  <a:pt x="6610507" y="741898"/>
                  <a:pt x="6627041" y="757948"/>
                </a:cubicBezTo>
                <a:cubicBezTo>
                  <a:pt x="6623812" y="764078"/>
                  <a:pt x="6604431" y="800850"/>
                  <a:pt x="6616705" y="811438"/>
                </a:cubicBezTo>
                <a:cubicBezTo>
                  <a:pt x="6675035" y="724466"/>
                  <a:pt x="6811775" y="712281"/>
                  <a:pt x="6892906" y="690449"/>
                </a:cubicBezTo>
                <a:cubicBezTo>
                  <a:pt x="6830311" y="771961"/>
                  <a:pt x="6931659" y="701598"/>
                  <a:pt x="6977906" y="712080"/>
                </a:cubicBezTo>
                <a:cubicBezTo>
                  <a:pt x="6950776" y="746623"/>
                  <a:pt x="7074405" y="735606"/>
                  <a:pt x="7070532" y="692145"/>
                </a:cubicBezTo>
                <a:cubicBezTo>
                  <a:pt x="7089969" y="804311"/>
                  <a:pt x="7139329" y="595479"/>
                  <a:pt x="7207016" y="677061"/>
                </a:cubicBezTo>
                <a:cubicBezTo>
                  <a:pt x="7211862" y="667869"/>
                  <a:pt x="7174848" y="697451"/>
                  <a:pt x="7179369" y="705809"/>
                </a:cubicBezTo>
                <a:cubicBezTo>
                  <a:pt x="7204496" y="712333"/>
                  <a:pt x="7222452" y="701970"/>
                  <a:pt x="7238344" y="668429"/>
                </a:cubicBezTo>
                <a:cubicBezTo>
                  <a:pt x="7242025" y="688544"/>
                  <a:pt x="7235564" y="700802"/>
                  <a:pt x="7222710" y="704868"/>
                </a:cubicBezTo>
                <a:cubicBezTo>
                  <a:pt x="7391493" y="628497"/>
                  <a:pt x="7611941" y="708150"/>
                  <a:pt x="7802623" y="559735"/>
                </a:cubicBezTo>
                <a:cubicBezTo>
                  <a:pt x="7797586" y="545582"/>
                  <a:pt x="7789835" y="543352"/>
                  <a:pt x="7777498" y="553214"/>
                </a:cubicBezTo>
                <a:lnTo>
                  <a:pt x="7798912" y="542360"/>
                </a:lnTo>
                <a:lnTo>
                  <a:pt x="7797845" y="548480"/>
                </a:lnTo>
                <a:cubicBezTo>
                  <a:pt x="7842027" y="535781"/>
                  <a:pt x="7884401" y="502800"/>
                  <a:pt x="7928840" y="492999"/>
                </a:cubicBezTo>
                <a:cubicBezTo>
                  <a:pt x="7930906" y="516179"/>
                  <a:pt x="7786408" y="610828"/>
                  <a:pt x="7976445" y="497519"/>
                </a:cubicBezTo>
                <a:cubicBezTo>
                  <a:pt x="7967853" y="507046"/>
                  <a:pt x="7961135" y="516405"/>
                  <a:pt x="7954675" y="528663"/>
                </a:cubicBezTo>
                <a:cubicBezTo>
                  <a:pt x="7986002" y="520031"/>
                  <a:pt x="8103693" y="442373"/>
                  <a:pt x="8085995" y="455631"/>
                </a:cubicBezTo>
                <a:cubicBezTo>
                  <a:pt x="8065648" y="460365"/>
                  <a:pt x="8125848" y="457921"/>
                  <a:pt x="8125848" y="457921"/>
                </a:cubicBezTo>
                <a:cubicBezTo>
                  <a:pt x="8142256" y="430175"/>
                  <a:pt x="8079342" y="444543"/>
                  <a:pt x="8086061" y="435182"/>
                </a:cubicBezTo>
                <a:cubicBezTo>
                  <a:pt x="8106746" y="428958"/>
                  <a:pt x="8235632" y="421307"/>
                  <a:pt x="8297418" y="420455"/>
                </a:cubicBezTo>
                <a:lnTo>
                  <a:pt x="8316481" y="420595"/>
                </a:lnTo>
                <a:lnTo>
                  <a:pt x="8303185" y="424596"/>
                </a:lnTo>
                <a:cubicBezTo>
                  <a:pt x="8298633" y="426461"/>
                  <a:pt x="8294207" y="429777"/>
                  <a:pt x="8290169" y="437437"/>
                </a:cubicBezTo>
                <a:cubicBezTo>
                  <a:pt x="8295111" y="439918"/>
                  <a:pt x="8301538" y="437884"/>
                  <a:pt x="8306866" y="434125"/>
                </a:cubicBezTo>
                <a:lnTo>
                  <a:pt x="8316864" y="420598"/>
                </a:lnTo>
                <a:lnTo>
                  <a:pt x="8321909" y="420634"/>
                </a:lnTo>
                <a:cubicBezTo>
                  <a:pt x="8327667" y="420908"/>
                  <a:pt x="8330751" y="421408"/>
                  <a:pt x="8330347" y="422175"/>
                </a:cubicBezTo>
                <a:cubicBezTo>
                  <a:pt x="8378598" y="391591"/>
                  <a:pt x="8427109" y="363905"/>
                  <a:pt x="8478008" y="341845"/>
                </a:cubicBezTo>
                <a:cubicBezTo>
                  <a:pt x="8423560" y="302891"/>
                  <a:pt x="8380147" y="408976"/>
                  <a:pt x="8342167" y="406519"/>
                </a:cubicBezTo>
                <a:cubicBezTo>
                  <a:pt x="8362904" y="363784"/>
                  <a:pt x="8623929" y="220784"/>
                  <a:pt x="8636976" y="240065"/>
                </a:cubicBezTo>
                <a:cubicBezTo>
                  <a:pt x="8630768" y="339915"/>
                  <a:pt x="8626257" y="162167"/>
                  <a:pt x="8612685" y="306481"/>
                </a:cubicBezTo>
                <a:cubicBezTo>
                  <a:pt x="8745289" y="332630"/>
                  <a:pt x="8819836" y="194565"/>
                  <a:pt x="8922856" y="270080"/>
                </a:cubicBezTo>
                <a:lnTo>
                  <a:pt x="8919578" y="277304"/>
                </a:lnTo>
                <a:lnTo>
                  <a:pt x="8915882" y="278550"/>
                </a:lnTo>
                <a:cubicBezTo>
                  <a:pt x="8910115" y="280706"/>
                  <a:pt x="8905561" y="282573"/>
                  <a:pt x="8903284" y="283506"/>
                </a:cubicBezTo>
                <a:cubicBezTo>
                  <a:pt x="8908741" y="291781"/>
                  <a:pt x="8912827" y="289956"/>
                  <a:pt x="8915951" y="285297"/>
                </a:cubicBezTo>
                <a:lnTo>
                  <a:pt x="8919578" y="277304"/>
                </a:lnTo>
                <a:lnTo>
                  <a:pt x="8935758" y="271850"/>
                </a:lnTo>
                <a:cubicBezTo>
                  <a:pt x="8950017" y="267659"/>
                  <a:pt x="8964873" y="264876"/>
                  <a:pt x="8971816" y="268637"/>
                </a:cubicBezTo>
                <a:cubicBezTo>
                  <a:pt x="8971816" y="268637"/>
                  <a:pt x="8946492" y="323462"/>
                  <a:pt x="8952370" y="325859"/>
                </a:cubicBezTo>
                <a:cubicBezTo>
                  <a:pt x="8953986" y="322794"/>
                  <a:pt x="9114567" y="217950"/>
                  <a:pt x="9133233" y="236731"/>
                </a:cubicBezTo>
                <a:cubicBezTo>
                  <a:pt x="9095512" y="237171"/>
                  <a:pt x="9083432" y="249929"/>
                  <a:pt x="9095122" y="275172"/>
                </a:cubicBezTo>
                <a:cubicBezTo>
                  <a:pt x="9297753" y="154898"/>
                  <a:pt x="9180321" y="235455"/>
                  <a:pt x="9163848" y="283651"/>
                </a:cubicBezTo>
                <a:cubicBezTo>
                  <a:pt x="9245488" y="352308"/>
                  <a:pt x="9365507" y="216033"/>
                  <a:pt x="9455480" y="272266"/>
                </a:cubicBezTo>
                <a:cubicBezTo>
                  <a:pt x="9456249" y="365652"/>
                  <a:pt x="9233083" y="382618"/>
                  <a:pt x="9179987" y="422395"/>
                </a:cubicBezTo>
                <a:cubicBezTo>
                  <a:pt x="9141491" y="414144"/>
                  <a:pt x="9017856" y="509856"/>
                  <a:pt x="8914766" y="539485"/>
                </a:cubicBezTo>
                <a:lnTo>
                  <a:pt x="8922044" y="547184"/>
                </a:lnTo>
                <a:lnTo>
                  <a:pt x="8917672" y="550908"/>
                </a:lnTo>
                <a:cubicBezTo>
                  <a:pt x="8926747" y="557401"/>
                  <a:pt x="8931405" y="559358"/>
                  <a:pt x="8933258" y="558965"/>
                </a:cubicBezTo>
                <a:lnTo>
                  <a:pt x="8932666" y="556093"/>
                </a:lnTo>
                <a:lnTo>
                  <a:pt x="8957148" y="557248"/>
                </a:lnTo>
                <a:cubicBezTo>
                  <a:pt x="9019189" y="547338"/>
                  <a:pt x="9123918" y="471199"/>
                  <a:pt x="9124692" y="479892"/>
                </a:cubicBezTo>
                <a:cubicBezTo>
                  <a:pt x="9144129" y="592059"/>
                  <a:pt x="9193489" y="383226"/>
                  <a:pt x="9261176" y="464808"/>
                </a:cubicBezTo>
                <a:cubicBezTo>
                  <a:pt x="9266021" y="455616"/>
                  <a:pt x="9229009" y="485199"/>
                  <a:pt x="9233529" y="493556"/>
                </a:cubicBezTo>
                <a:cubicBezTo>
                  <a:pt x="9258656" y="500080"/>
                  <a:pt x="9276613" y="489717"/>
                  <a:pt x="9292505" y="456176"/>
                </a:cubicBezTo>
                <a:cubicBezTo>
                  <a:pt x="9296184" y="476291"/>
                  <a:pt x="9289724" y="488549"/>
                  <a:pt x="9276871" y="492615"/>
                </a:cubicBezTo>
                <a:cubicBezTo>
                  <a:pt x="9445654" y="416245"/>
                  <a:pt x="9666101" y="495897"/>
                  <a:pt x="9856784" y="347482"/>
                </a:cubicBezTo>
                <a:cubicBezTo>
                  <a:pt x="9851746" y="333331"/>
                  <a:pt x="9843996" y="331100"/>
                  <a:pt x="9831658" y="340961"/>
                </a:cubicBezTo>
                <a:lnTo>
                  <a:pt x="9853069" y="330108"/>
                </a:lnTo>
                <a:lnTo>
                  <a:pt x="9852004" y="336227"/>
                </a:lnTo>
                <a:cubicBezTo>
                  <a:pt x="9896187" y="323529"/>
                  <a:pt x="9938561" y="290547"/>
                  <a:pt x="9983000" y="280747"/>
                </a:cubicBezTo>
                <a:cubicBezTo>
                  <a:pt x="9985066" y="303927"/>
                  <a:pt x="9840569" y="398577"/>
                  <a:pt x="10030604" y="285267"/>
                </a:cubicBezTo>
                <a:cubicBezTo>
                  <a:pt x="10022013" y="294793"/>
                  <a:pt x="10015296" y="304154"/>
                  <a:pt x="10008836" y="316412"/>
                </a:cubicBezTo>
                <a:cubicBezTo>
                  <a:pt x="10040163" y="307778"/>
                  <a:pt x="10157854" y="230120"/>
                  <a:pt x="10140155" y="243378"/>
                </a:cubicBezTo>
                <a:cubicBezTo>
                  <a:pt x="10119808" y="248112"/>
                  <a:pt x="10180008" y="245669"/>
                  <a:pt x="10180008" y="245669"/>
                </a:cubicBezTo>
                <a:cubicBezTo>
                  <a:pt x="10196416" y="217922"/>
                  <a:pt x="10133502" y="232290"/>
                  <a:pt x="10140220" y="222929"/>
                </a:cubicBezTo>
                <a:cubicBezTo>
                  <a:pt x="10160907" y="216706"/>
                  <a:pt x="10289792" y="209054"/>
                  <a:pt x="10351579" y="208202"/>
                </a:cubicBezTo>
                <a:lnTo>
                  <a:pt x="10373221" y="208360"/>
                </a:lnTo>
                <a:lnTo>
                  <a:pt x="10361093" y="212010"/>
                </a:lnTo>
                <a:cubicBezTo>
                  <a:pt x="10356539" y="213874"/>
                  <a:pt x="10352115" y="217190"/>
                  <a:pt x="10348078" y="224851"/>
                </a:cubicBezTo>
                <a:cubicBezTo>
                  <a:pt x="10353018" y="227331"/>
                  <a:pt x="10359445" y="225298"/>
                  <a:pt x="10364774" y="221538"/>
                </a:cubicBezTo>
                <a:lnTo>
                  <a:pt x="10374507" y="208370"/>
                </a:lnTo>
                <a:lnTo>
                  <a:pt x="10376069" y="208382"/>
                </a:lnTo>
                <a:cubicBezTo>
                  <a:pt x="10381828" y="208655"/>
                  <a:pt x="10384911" y="209155"/>
                  <a:pt x="10384507" y="209922"/>
                </a:cubicBezTo>
                <a:cubicBezTo>
                  <a:pt x="10432758" y="179338"/>
                  <a:pt x="10481268" y="151652"/>
                  <a:pt x="10532168" y="129593"/>
                </a:cubicBezTo>
                <a:cubicBezTo>
                  <a:pt x="10477721" y="90638"/>
                  <a:pt x="10434307" y="196723"/>
                  <a:pt x="10396329" y="194266"/>
                </a:cubicBezTo>
                <a:cubicBezTo>
                  <a:pt x="10417065" y="151532"/>
                  <a:pt x="10678089" y="8532"/>
                  <a:pt x="10691135" y="27813"/>
                </a:cubicBezTo>
                <a:cubicBezTo>
                  <a:pt x="10684928" y="127664"/>
                  <a:pt x="10680417" y="-50086"/>
                  <a:pt x="10666845" y="94228"/>
                </a:cubicBezTo>
                <a:cubicBezTo>
                  <a:pt x="10799450" y="120378"/>
                  <a:pt x="10873997" y="-17688"/>
                  <a:pt x="10977017" y="57827"/>
                </a:cubicBezTo>
                <a:lnTo>
                  <a:pt x="10973739" y="65051"/>
                </a:lnTo>
                <a:lnTo>
                  <a:pt x="10970044" y="66298"/>
                </a:lnTo>
                <a:cubicBezTo>
                  <a:pt x="10964276" y="68453"/>
                  <a:pt x="10959722" y="70320"/>
                  <a:pt x="10957445" y="71253"/>
                </a:cubicBezTo>
                <a:cubicBezTo>
                  <a:pt x="10962902" y="79529"/>
                  <a:pt x="10966988" y="77704"/>
                  <a:pt x="10970113" y="73045"/>
                </a:cubicBezTo>
                <a:lnTo>
                  <a:pt x="10973739" y="65051"/>
                </a:lnTo>
                <a:lnTo>
                  <a:pt x="10989918" y="59598"/>
                </a:lnTo>
                <a:cubicBezTo>
                  <a:pt x="11004178" y="55407"/>
                  <a:pt x="11019033" y="52623"/>
                  <a:pt x="11025976" y="56385"/>
                </a:cubicBezTo>
                <a:cubicBezTo>
                  <a:pt x="11025976" y="56385"/>
                  <a:pt x="11000655" y="111210"/>
                  <a:pt x="11006532" y="113606"/>
                </a:cubicBezTo>
                <a:cubicBezTo>
                  <a:pt x="11008148" y="110542"/>
                  <a:pt x="11168729" y="5699"/>
                  <a:pt x="11187393" y="24478"/>
                </a:cubicBezTo>
                <a:cubicBezTo>
                  <a:pt x="11149673" y="24919"/>
                  <a:pt x="11137592" y="37676"/>
                  <a:pt x="11149282" y="62919"/>
                </a:cubicBezTo>
                <a:cubicBezTo>
                  <a:pt x="11225269" y="17817"/>
                  <a:pt x="11256247" y="956"/>
                  <a:pt x="11264419" y="40"/>
                </a:cubicBezTo>
                <a:close/>
              </a:path>
            </a:pathLst>
          </a:custGeom>
          <a:solidFill>
            <a:schemeClr val="bg1">
              <a:lumMod val="95000"/>
            </a:schemeClr>
          </a:solidFill>
          <a:ln w="19050">
            <a:noFill/>
          </a:ln>
        </p:spPr>
        <p:txBody>
          <a:bodyPr wrap="square" anchor="ctr">
            <a:noAutofit/>
          </a:bodyPr>
          <a:lstStyle>
            <a:lvl1pPr marL="0" indent="0" algn="ctr">
              <a:lnSpc>
                <a:spcPct val="100000"/>
              </a:lnSpc>
              <a:buNone/>
              <a:defRPr sz="1600">
                <a:solidFill>
                  <a:schemeClr val="tx1">
                    <a:lumMod val="75000"/>
                    <a:lumOff val="25000"/>
                  </a:schemeClr>
                </a:solidFill>
              </a:defRPr>
            </a:lvl1pPr>
          </a:lstStyle>
          <a:p>
            <a:r>
              <a:rPr lang="en-US" altLang="ko-KR" dirty="0"/>
              <a:t>Place Your Picture Here And Send To Back</a:t>
            </a:r>
            <a:endParaRPr lang="ko-KR" altLang="en-US" dirty="0"/>
          </a:p>
        </p:txBody>
      </p:sp>
    </p:spTree>
    <p:extLst>
      <p:ext uri="{BB962C8B-B14F-4D97-AF65-F5344CB8AC3E}">
        <p14:creationId xmlns:p14="http://schemas.microsoft.com/office/powerpoint/2010/main" val="34305052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slide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5A52D8B-6566-4D2D-81F4-9604E51E22E6}"/>
              </a:ext>
            </a:extLst>
          </p:cNvPr>
          <p:cNvSpPr>
            <a:spLocks noGrp="1"/>
          </p:cNvSpPr>
          <p:nvPr>
            <p:ph type="pic" sz="quarter" idx="14" hasCustomPrompt="1"/>
          </p:nvPr>
        </p:nvSpPr>
        <p:spPr>
          <a:xfrm>
            <a:off x="-528" y="2945497"/>
            <a:ext cx="12192528" cy="3912503"/>
          </a:xfrm>
          <a:custGeom>
            <a:avLst/>
            <a:gdLst>
              <a:gd name="connsiteX0" fmla="*/ 2510807 w 12192528"/>
              <a:gd name="connsiteY0" fmla="*/ 3014103 h 3912503"/>
              <a:gd name="connsiteX1" fmla="*/ 2506134 w 12192528"/>
              <a:gd name="connsiteY1" fmla="*/ 3036693 h 3912503"/>
              <a:gd name="connsiteX2" fmla="*/ 2513999 w 12192528"/>
              <a:gd name="connsiteY2" fmla="*/ 3045911 h 3912503"/>
              <a:gd name="connsiteX3" fmla="*/ 2535353 w 12192528"/>
              <a:gd name="connsiteY3" fmla="*/ 3078914 h 3912503"/>
              <a:gd name="connsiteX4" fmla="*/ 2542807 w 12192528"/>
              <a:gd name="connsiteY4" fmla="*/ 3052570 h 3912503"/>
              <a:gd name="connsiteX5" fmla="*/ 2535357 w 12192528"/>
              <a:gd name="connsiteY5" fmla="*/ 3048255 h 3912503"/>
              <a:gd name="connsiteX6" fmla="*/ 2528294 w 12192528"/>
              <a:gd name="connsiteY6" fmla="*/ 3034130 h 3912503"/>
              <a:gd name="connsiteX7" fmla="*/ 2519082 w 12192528"/>
              <a:gd name="connsiteY7" fmla="*/ 2974106 h 3912503"/>
              <a:gd name="connsiteX8" fmla="*/ 2518351 w 12192528"/>
              <a:gd name="connsiteY8" fmla="*/ 2977637 h 3912503"/>
              <a:gd name="connsiteX9" fmla="*/ 2521233 w 12192528"/>
              <a:gd name="connsiteY9" fmla="*/ 2977637 h 3912503"/>
              <a:gd name="connsiteX10" fmla="*/ 2524763 w 12192528"/>
              <a:gd name="connsiteY10" fmla="*/ 2977637 h 3912503"/>
              <a:gd name="connsiteX11" fmla="*/ 2521233 w 12192528"/>
              <a:gd name="connsiteY11" fmla="*/ 2974106 h 3912503"/>
              <a:gd name="connsiteX12" fmla="*/ 2531825 w 12192528"/>
              <a:gd name="connsiteY12" fmla="*/ 2963514 h 3912503"/>
              <a:gd name="connsiteX13" fmla="*/ 2524763 w 12192528"/>
              <a:gd name="connsiteY13" fmla="*/ 2963515 h 3912503"/>
              <a:gd name="connsiteX14" fmla="*/ 2528294 w 12192528"/>
              <a:gd name="connsiteY14" fmla="*/ 2970576 h 3912503"/>
              <a:gd name="connsiteX15" fmla="*/ 2531825 w 12192528"/>
              <a:gd name="connsiteY15" fmla="*/ 2970576 h 3912503"/>
              <a:gd name="connsiteX16" fmla="*/ 2535357 w 12192528"/>
              <a:gd name="connsiteY16" fmla="*/ 2974106 h 3912503"/>
              <a:gd name="connsiteX17" fmla="*/ 2538887 w 12192528"/>
              <a:gd name="connsiteY17" fmla="*/ 2988230 h 3912503"/>
              <a:gd name="connsiteX18" fmla="*/ 2535357 w 12192528"/>
              <a:gd name="connsiteY18" fmla="*/ 2984700 h 3912503"/>
              <a:gd name="connsiteX19" fmla="*/ 2535357 w 12192528"/>
              <a:gd name="connsiteY19" fmla="*/ 2988230 h 3912503"/>
              <a:gd name="connsiteX20" fmla="*/ 2535357 w 12192528"/>
              <a:gd name="connsiteY20" fmla="*/ 2991761 h 3912503"/>
              <a:gd name="connsiteX21" fmla="*/ 2538887 w 12192528"/>
              <a:gd name="connsiteY21" fmla="*/ 2991761 h 3912503"/>
              <a:gd name="connsiteX22" fmla="*/ 2542418 w 12192528"/>
              <a:gd name="connsiteY22" fmla="*/ 2995293 h 3912503"/>
              <a:gd name="connsiteX23" fmla="*/ 2538887 w 12192528"/>
              <a:gd name="connsiteY23" fmla="*/ 2995292 h 3912503"/>
              <a:gd name="connsiteX24" fmla="*/ 2542418 w 12192528"/>
              <a:gd name="connsiteY24" fmla="*/ 2998823 h 3912503"/>
              <a:gd name="connsiteX25" fmla="*/ 2542418 w 12192528"/>
              <a:gd name="connsiteY25" fmla="*/ 3002354 h 3912503"/>
              <a:gd name="connsiteX26" fmla="*/ 2530060 w 12192528"/>
              <a:gd name="connsiteY26" fmla="*/ 2993968 h 3912503"/>
              <a:gd name="connsiteX27" fmla="*/ 2518211 w 12192528"/>
              <a:gd name="connsiteY27" fmla="*/ 2978311 h 3912503"/>
              <a:gd name="connsiteX28" fmla="*/ 2515439 w 12192528"/>
              <a:gd name="connsiteY28" fmla="*/ 2991716 h 3912503"/>
              <a:gd name="connsiteX29" fmla="*/ 2542418 w 12192528"/>
              <a:gd name="connsiteY29" fmla="*/ 3016478 h 3912503"/>
              <a:gd name="connsiteX30" fmla="*/ 2545948 w 12192528"/>
              <a:gd name="connsiteY30" fmla="*/ 3027070 h 3912503"/>
              <a:gd name="connsiteX31" fmla="*/ 2546831 w 12192528"/>
              <a:gd name="connsiteY31" fmla="*/ 3023539 h 3912503"/>
              <a:gd name="connsiteX32" fmla="*/ 2549810 w 12192528"/>
              <a:gd name="connsiteY32" fmla="*/ 3026943 h 3912503"/>
              <a:gd name="connsiteX33" fmla="*/ 2551500 w 12192528"/>
              <a:gd name="connsiteY33" fmla="*/ 3015281 h 3912503"/>
              <a:gd name="connsiteX34" fmla="*/ 2545948 w 12192528"/>
              <a:gd name="connsiteY34" fmla="*/ 3005885 h 3912503"/>
              <a:gd name="connsiteX35" fmla="*/ 2549480 w 12192528"/>
              <a:gd name="connsiteY35" fmla="*/ 3009415 h 3912503"/>
              <a:gd name="connsiteX36" fmla="*/ 2552834 w 12192528"/>
              <a:gd name="connsiteY36" fmla="*/ 3009415 h 3912503"/>
              <a:gd name="connsiteX37" fmla="*/ 2553523 w 12192528"/>
              <a:gd name="connsiteY37" fmla="*/ 3006398 h 3912503"/>
              <a:gd name="connsiteX38" fmla="*/ 2549479 w 12192528"/>
              <a:gd name="connsiteY38" fmla="*/ 3002354 h 3912503"/>
              <a:gd name="connsiteX39" fmla="*/ 2554265 w 12192528"/>
              <a:gd name="connsiteY39" fmla="*/ 3003152 h 3912503"/>
              <a:gd name="connsiteX40" fmla="*/ 2554330 w 12192528"/>
              <a:gd name="connsiteY40" fmla="*/ 3002866 h 3912503"/>
              <a:gd name="connsiteX41" fmla="*/ 2549479 w 12192528"/>
              <a:gd name="connsiteY41" fmla="*/ 2998823 h 3912503"/>
              <a:gd name="connsiteX42" fmla="*/ 2549480 w 12192528"/>
              <a:gd name="connsiteY42" fmla="*/ 2995292 h 3912503"/>
              <a:gd name="connsiteX43" fmla="*/ 2553010 w 12192528"/>
              <a:gd name="connsiteY43" fmla="*/ 2995292 h 3912503"/>
              <a:gd name="connsiteX44" fmla="*/ 2545948 w 12192528"/>
              <a:gd name="connsiteY44" fmla="*/ 2991761 h 3912503"/>
              <a:gd name="connsiteX45" fmla="*/ 2542418 w 12192528"/>
              <a:gd name="connsiteY45" fmla="*/ 2988230 h 3912503"/>
              <a:gd name="connsiteX46" fmla="*/ 2535357 w 12192528"/>
              <a:gd name="connsiteY46" fmla="*/ 2974106 h 3912503"/>
              <a:gd name="connsiteX47" fmla="*/ 2538887 w 12192528"/>
              <a:gd name="connsiteY47" fmla="*/ 2977637 h 3912503"/>
              <a:gd name="connsiteX48" fmla="*/ 2545948 w 12192528"/>
              <a:gd name="connsiteY48" fmla="*/ 2981168 h 3912503"/>
              <a:gd name="connsiteX49" fmla="*/ 2538887 w 12192528"/>
              <a:gd name="connsiteY49" fmla="*/ 2970576 h 3912503"/>
              <a:gd name="connsiteX50" fmla="*/ 2535357 w 12192528"/>
              <a:gd name="connsiteY50" fmla="*/ 2967045 h 3912503"/>
              <a:gd name="connsiteX51" fmla="*/ 2531825 w 12192528"/>
              <a:gd name="connsiteY51" fmla="*/ 2963514 h 3912503"/>
              <a:gd name="connsiteX52" fmla="*/ 2449742 w 12192528"/>
              <a:gd name="connsiteY52" fmla="*/ 2948294 h 3912503"/>
              <a:gd name="connsiteX53" fmla="*/ 2445878 w 12192528"/>
              <a:gd name="connsiteY53" fmla="*/ 2966063 h 3912503"/>
              <a:gd name="connsiteX54" fmla="*/ 2469317 w 12192528"/>
              <a:gd name="connsiteY54" fmla="*/ 2993537 h 3912503"/>
              <a:gd name="connsiteX55" fmla="*/ 2473421 w 12192528"/>
              <a:gd name="connsiteY55" fmla="*/ 2971781 h 3912503"/>
              <a:gd name="connsiteX56" fmla="*/ 2456830 w 12192528"/>
              <a:gd name="connsiteY56" fmla="*/ 2915684 h 3912503"/>
              <a:gd name="connsiteX57" fmla="*/ 2453087 w 12192528"/>
              <a:gd name="connsiteY57" fmla="*/ 2932903 h 3912503"/>
              <a:gd name="connsiteX58" fmla="*/ 2455030 w 12192528"/>
              <a:gd name="connsiteY58" fmla="*/ 2933943 h 3912503"/>
              <a:gd name="connsiteX59" fmla="*/ 2468270 w 12192528"/>
              <a:gd name="connsiteY59" fmla="*/ 2945860 h 3912503"/>
              <a:gd name="connsiteX60" fmla="*/ 2471801 w 12192528"/>
              <a:gd name="connsiteY60" fmla="*/ 2949390 h 3912503"/>
              <a:gd name="connsiteX61" fmla="*/ 2475332 w 12192528"/>
              <a:gd name="connsiteY61" fmla="*/ 2949390 h 3912503"/>
              <a:gd name="connsiteX62" fmla="*/ 2478823 w 12192528"/>
              <a:gd name="connsiteY62" fmla="*/ 2953145 h 3912503"/>
              <a:gd name="connsiteX63" fmla="*/ 2484965 w 12192528"/>
              <a:gd name="connsiteY63" fmla="*/ 2934308 h 3912503"/>
              <a:gd name="connsiteX64" fmla="*/ 2482394 w 12192528"/>
              <a:gd name="connsiteY64" fmla="*/ 2931736 h 3912503"/>
              <a:gd name="connsiteX65" fmla="*/ 2478862 w 12192528"/>
              <a:gd name="connsiteY65" fmla="*/ 2931736 h 3912503"/>
              <a:gd name="connsiteX66" fmla="*/ 2478862 w 12192528"/>
              <a:gd name="connsiteY66" fmla="*/ 2935269 h 3912503"/>
              <a:gd name="connsiteX67" fmla="*/ 2464739 w 12192528"/>
              <a:gd name="connsiteY67" fmla="*/ 2928205 h 3912503"/>
              <a:gd name="connsiteX68" fmla="*/ 2572729 w 12192528"/>
              <a:gd name="connsiteY68" fmla="*/ 2890351 h 3912503"/>
              <a:gd name="connsiteX69" fmla="*/ 2568625 w 12192528"/>
              <a:gd name="connsiteY69" fmla="*/ 2896904 h 3912503"/>
              <a:gd name="connsiteX70" fmla="*/ 2561658 w 12192528"/>
              <a:gd name="connsiteY70" fmla="*/ 2901764 h 3912503"/>
              <a:gd name="connsiteX71" fmla="*/ 2574279 w 12192528"/>
              <a:gd name="connsiteY71" fmla="*/ 2915546 h 3912503"/>
              <a:gd name="connsiteX72" fmla="*/ 2578625 w 12192528"/>
              <a:gd name="connsiteY72" fmla="*/ 2896529 h 3912503"/>
              <a:gd name="connsiteX73" fmla="*/ 2432229 w 12192528"/>
              <a:gd name="connsiteY73" fmla="*/ 2885596 h 3912503"/>
              <a:gd name="connsiteX74" fmla="*/ 2432229 w 12192528"/>
              <a:gd name="connsiteY74" fmla="*/ 2901744 h 3912503"/>
              <a:gd name="connsiteX75" fmla="*/ 2435981 w 12192528"/>
              <a:gd name="connsiteY75" fmla="*/ 2889536 h 3912503"/>
              <a:gd name="connsiteX76" fmla="*/ 2486379 w 12192528"/>
              <a:gd name="connsiteY76" fmla="*/ 2802027 h 3912503"/>
              <a:gd name="connsiteX77" fmla="*/ 2480897 w 12192528"/>
              <a:gd name="connsiteY77" fmla="*/ 2818990 h 3912503"/>
              <a:gd name="connsiteX78" fmla="*/ 2508874 w 12192528"/>
              <a:gd name="connsiteY78" fmla="*/ 2844128 h 3912503"/>
              <a:gd name="connsiteX79" fmla="*/ 2512927 w 12192528"/>
              <a:gd name="connsiteY79" fmla="*/ 2848554 h 3912503"/>
              <a:gd name="connsiteX80" fmla="*/ 2517957 w 12192528"/>
              <a:gd name="connsiteY80" fmla="*/ 2833126 h 3912503"/>
              <a:gd name="connsiteX81" fmla="*/ 2492986 w 12192528"/>
              <a:gd name="connsiteY81" fmla="*/ 2808159 h 3912503"/>
              <a:gd name="connsiteX82" fmla="*/ 2449419 w 12192528"/>
              <a:gd name="connsiteY82" fmla="*/ 2767715 h 3912503"/>
              <a:gd name="connsiteX83" fmla="*/ 2443467 w 12192528"/>
              <a:gd name="connsiteY83" fmla="*/ 2785357 h 3912503"/>
              <a:gd name="connsiteX84" fmla="*/ 2462694 w 12192528"/>
              <a:gd name="connsiteY84" fmla="*/ 2802635 h 3912503"/>
              <a:gd name="connsiteX85" fmla="*/ 2468097 w 12192528"/>
              <a:gd name="connsiteY85" fmla="*/ 2785054 h 3912503"/>
              <a:gd name="connsiteX86" fmla="*/ 6486903 w 12192528"/>
              <a:gd name="connsiteY86" fmla="*/ 2406960 h 3912503"/>
              <a:gd name="connsiteX87" fmla="*/ 6485566 w 12192528"/>
              <a:gd name="connsiteY87" fmla="*/ 2407394 h 3912503"/>
              <a:gd name="connsiteX88" fmla="*/ 6482501 w 12192528"/>
              <a:gd name="connsiteY88" fmla="*/ 2428943 h 3912503"/>
              <a:gd name="connsiteX89" fmla="*/ 6481551 w 12192528"/>
              <a:gd name="connsiteY89" fmla="*/ 2432315 h 3912503"/>
              <a:gd name="connsiteX90" fmla="*/ 6508570 w 12192528"/>
              <a:gd name="connsiteY90" fmla="*/ 2462044 h 3912503"/>
              <a:gd name="connsiteX91" fmla="*/ 6597990 w 12192528"/>
              <a:gd name="connsiteY91" fmla="*/ 2584858 h 3912503"/>
              <a:gd name="connsiteX92" fmla="*/ 6600360 w 12192528"/>
              <a:gd name="connsiteY92" fmla="*/ 2577216 h 3912503"/>
              <a:gd name="connsiteX93" fmla="*/ 6550342 w 12192528"/>
              <a:gd name="connsiteY93" fmla="*/ 2497195 h 3912503"/>
              <a:gd name="connsiteX94" fmla="*/ 2517903 w 12192528"/>
              <a:gd name="connsiteY94" fmla="*/ 2334609 h 3912503"/>
              <a:gd name="connsiteX95" fmla="*/ 2457879 w 12192528"/>
              <a:gd name="connsiteY95" fmla="*/ 2448890 h 3912503"/>
              <a:gd name="connsiteX96" fmla="*/ 2480550 w 12192528"/>
              <a:gd name="connsiteY96" fmla="*/ 2467845 h 3912503"/>
              <a:gd name="connsiteX97" fmla="*/ 2515576 w 12192528"/>
              <a:gd name="connsiteY97" fmla="*/ 2396968 h 3912503"/>
              <a:gd name="connsiteX98" fmla="*/ 2518387 w 12192528"/>
              <a:gd name="connsiteY98" fmla="*/ 2391936 h 3912503"/>
              <a:gd name="connsiteX99" fmla="*/ 2522273 w 12192528"/>
              <a:gd name="connsiteY99" fmla="*/ 2348348 h 3912503"/>
              <a:gd name="connsiteX100" fmla="*/ 2384705 w 12192528"/>
              <a:gd name="connsiteY100" fmla="*/ 2265102 h 3912503"/>
              <a:gd name="connsiteX101" fmla="*/ 2392293 w 12192528"/>
              <a:gd name="connsiteY101" fmla="*/ 2272671 h 3912503"/>
              <a:gd name="connsiteX102" fmla="*/ 2393144 w 12192528"/>
              <a:gd name="connsiteY102" fmla="*/ 2269923 h 3912503"/>
              <a:gd name="connsiteX103" fmla="*/ 2364072 w 12192528"/>
              <a:gd name="connsiteY103" fmla="*/ 2244070 h 3912503"/>
              <a:gd name="connsiteX104" fmla="*/ 2364257 w 12192528"/>
              <a:gd name="connsiteY104" fmla="*/ 2244708 h 3912503"/>
              <a:gd name="connsiteX105" fmla="*/ 2382010 w 12192528"/>
              <a:gd name="connsiteY105" fmla="*/ 2262413 h 3912503"/>
              <a:gd name="connsiteX106" fmla="*/ 2380465 w 12192528"/>
              <a:gd name="connsiteY106" fmla="*/ 2256233 h 3912503"/>
              <a:gd name="connsiteX107" fmla="*/ 2364072 w 12192528"/>
              <a:gd name="connsiteY107" fmla="*/ 2244070 h 3912503"/>
              <a:gd name="connsiteX108" fmla="*/ 2432229 w 12192528"/>
              <a:gd name="connsiteY108" fmla="*/ 2216904 h 3912503"/>
              <a:gd name="connsiteX109" fmla="*/ 2432229 w 12192528"/>
              <a:gd name="connsiteY109" fmla="*/ 2239484 h 3912503"/>
              <a:gd name="connsiteX110" fmla="*/ 2441391 w 12192528"/>
              <a:gd name="connsiteY110" fmla="*/ 2233552 h 3912503"/>
              <a:gd name="connsiteX111" fmla="*/ 2450502 w 12192528"/>
              <a:gd name="connsiteY111" fmla="*/ 2219717 h 3912503"/>
              <a:gd name="connsiteX112" fmla="*/ 2321299 w 12192528"/>
              <a:gd name="connsiteY112" fmla="*/ 2208707 h 3912503"/>
              <a:gd name="connsiteX113" fmla="*/ 2334415 w 12192528"/>
              <a:gd name="connsiteY113" fmla="*/ 2218207 h 3912503"/>
              <a:gd name="connsiteX114" fmla="*/ 2335342 w 12192528"/>
              <a:gd name="connsiteY114" fmla="*/ 2218629 h 3912503"/>
              <a:gd name="connsiteX115" fmla="*/ 2336859 w 12192528"/>
              <a:gd name="connsiteY115" fmla="*/ 2219978 h 3912503"/>
              <a:gd name="connsiteX116" fmla="*/ 2339815 w 12192528"/>
              <a:gd name="connsiteY116" fmla="*/ 2222119 h 3912503"/>
              <a:gd name="connsiteX117" fmla="*/ 2340100 w 12192528"/>
              <a:gd name="connsiteY117" fmla="*/ 2221801 h 3912503"/>
              <a:gd name="connsiteX118" fmla="*/ 2335342 w 12192528"/>
              <a:gd name="connsiteY118" fmla="*/ 2214868 h 3912503"/>
              <a:gd name="connsiteX119" fmla="*/ 2341922 w 12192528"/>
              <a:gd name="connsiteY119" fmla="*/ 2219098 h 3912503"/>
              <a:gd name="connsiteX120" fmla="*/ 2342837 w 12192528"/>
              <a:gd name="connsiteY120" fmla="*/ 2214981 h 3912503"/>
              <a:gd name="connsiteX121" fmla="*/ 2342625 w 12192528"/>
              <a:gd name="connsiteY121" fmla="*/ 2214800 h 3912503"/>
              <a:gd name="connsiteX122" fmla="*/ 2277892 w 12192528"/>
              <a:gd name="connsiteY122" fmla="*/ 2177266 h 3912503"/>
              <a:gd name="connsiteX123" fmla="*/ 2295327 w 12192528"/>
              <a:gd name="connsiteY123" fmla="*/ 2189897 h 3912503"/>
              <a:gd name="connsiteX124" fmla="*/ 2293979 w 12192528"/>
              <a:gd name="connsiteY124" fmla="*/ 2188547 h 3912503"/>
              <a:gd name="connsiteX125" fmla="*/ 2278937 w 12192528"/>
              <a:gd name="connsiteY125" fmla="*/ 2177266 h 3912503"/>
              <a:gd name="connsiteX126" fmla="*/ 2260137 w 12192528"/>
              <a:gd name="connsiteY126" fmla="*/ 2158465 h 3912503"/>
              <a:gd name="connsiteX127" fmla="*/ 2256690 w 12192528"/>
              <a:gd name="connsiteY127" fmla="*/ 2161910 h 3912503"/>
              <a:gd name="connsiteX128" fmla="*/ 2268044 w 12192528"/>
              <a:gd name="connsiteY128" fmla="*/ 2170134 h 3912503"/>
              <a:gd name="connsiteX129" fmla="*/ 2263897 w 12192528"/>
              <a:gd name="connsiteY129" fmla="*/ 2165986 h 3912503"/>
              <a:gd name="connsiteX130" fmla="*/ 2263897 w 12192528"/>
              <a:gd name="connsiteY130" fmla="*/ 2162225 h 3912503"/>
              <a:gd name="connsiteX131" fmla="*/ 2260137 w 12192528"/>
              <a:gd name="connsiteY131" fmla="*/ 2158465 h 3912503"/>
              <a:gd name="connsiteX132" fmla="*/ 1806005 w 12192528"/>
              <a:gd name="connsiteY132" fmla="*/ 1911781 h 3912503"/>
              <a:gd name="connsiteX133" fmla="*/ 1923829 w 12192528"/>
              <a:gd name="connsiteY133" fmla="*/ 1963794 h 3912503"/>
              <a:gd name="connsiteX134" fmla="*/ 2005592 w 12192528"/>
              <a:gd name="connsiteY134" fmla="*/ 2003732 h 3912503"/>
              <a:gd name="connsiteX135" fmla="*/ 2015415 w 12192528"/>
              <a:gd name="connsiteY135" fmla="*/ 2009096 h 3912503"/>
              <a:gd name="connsiteX136" fmla="*/ 2030104 w 12192528"/>
              <a:gd name="connsiteY136" fmla="*/ 2007701 h 3912503"/>
              <a:gd name="connsiteX137" fmla="*/ 1964414 w 12192528"/>
              <a:gd name="connsiteY137" fmla="*/ 1968577 h 3912503"/>
              <a:gd name="connsiteX138" fmla="*/ 1957414 w 12192528"/>
              <a:gd name="connsiteY138" fmla="*/ 1962856 h 3912503"/>
              <a:gd name="connsiteX139" fmla="*/ 1910425 w 12192528"/>
              <a:gd name="connsiteY139" fmla="*/ 1944412 h 3912503"/>
              <a:gd name="connsiteX140" fmla="*/ 6387577 w 12192528"/>
              <a:gd name="connsiteY140" fmla="*/ 1904496 h 3912503"/>
              <a:gd name="connsiteX141" fmla="*/ 6391362 w 12192528"/>
              <a:gd name="connsiteY141" fmla="*/ 1908599 h 3912503"/>
              <a:gd name="connsiteX142" fmla="*/ 6391223 w 12192528"/>
              <a:gd name="connsiteY142" fmla="*/ 1908522 h 3912503"/>
              <a:gd name="connsiteX143" fmla="*/ 6387577 w 12192528"/>
              <a:gd name="connsiteY143" fmla="*/ 1904496 h 3912503"/>
              <a:gd name="connsiteX144" fmla="*/ 6683345 w 12192528"/>
              <a:gd name="connsiteY144" fmla="*/ 1896966 h 3912503"/>
              <a:gd name="connsiteX145" fmla="*/ 6683478 w 12192528"/>
              <a:gd name="connsiteY145" fmla="*/ 1896966 h 3912503"/>
              <a:gd name="connsiteX146" fmla="*/ 6687890 w 12192528"/>
              <a:gd name="connsiteY146" fmla="*/ 1901380 h 3912503"/>
              <a:gd name="connsiteX147" fmla="*/ 7558704 w 12192528"/>
              <a:gd name="connsiteY147" fmla="*/ 1872258 h 3912503"/>
              <a:gd name="connsiteX148" fmla="*/ 7549763 w 12192528"/>
              <a:gd name="connsiteY148" fmla="*/ 1874039 h 3912503"/>
              <a:gd name="connsiteX149" fmla="*/ 7549824 w 12192528"/>
              <a:gd name="connsiteY149" fmla="*/ 1873138 h 3912503"/>
              <a:gd name="connsiteX150" fmla="*/ 7530685 w 12192528"/>
              <a:gd name="connsiteY150" fmla="*/ 1895241 h 3912503"/>
              <a:gd name="connsiteX151" fmla="*/ 7515538 w 12192528"/>
              <a:gd name="connsiteY151" fmla="*/ 1911018 h 3912503"/>
              <a:gd name="connsiteX152" fmla="*/ 7510169 w 12192528"/>
              <a:gd name="connsiteY152" fmla="*/ 1917677 h 3912503"/>
              <a:gd name="connsiteX153" fmla="*/ 7496161 w 12192528"/>
              <a:gd name="connsiteY153" fmla="*/ 1941816 h 3912503"/>
              <a:gd name="connsiteX154" fmla="*/ 7483893 w 12192528"/>
              <a:gd name="connsiteY154" fmla="*/ 1959233 h 3912503"/>
              <a:gd name="connsiteX155" fmla="*/ 7482580 w 12192528"/>
              <a:gd name="connsiteY155" fmla="*/ 1955180 h 3912503"/>
              <a:gd name="connsiteX156" fmla="*/ 7486633 w 12192528"/>
              <a:gd name="connsiteY156" fmla="*/ 1953865 h 3912503"/>
              <a:gd name="connsiteX157" fmla="*/ 7485319 w 12192528"/>
              <a:gd name="connsiteY157" fmla="*/ 1949812 h 3912503"/>
              <a:gd name="connsiteX158" fmla="*/ 7481265 w 12192528"/>
              <a:gd name="connsiteY158" fmla="*/ 1951127 h 3912503"/>
              <a:gd name="connsiteX159" fmla="*/ 7478526 w 12192528"/>
              <a:gd name="connsiteY159" fmla="*/ 1956494 h 3912503"/>
              <a:gd name="connsiteX160" fmla="*/ 7482470 w 12192528"/>
              <a:gd name="connsiteY160" fmla="*/ 1968653 h 3912503"/>
              <a:gd name="connsiteX161" fmla="*/ 7472939 w 12192528"/>
              <a:gd name="connsiteY161" fmla="*/ 1980703 h 3912503"/>
              <a:gd name="connsiteX162" fmla="*/ 7464836 w 12192528"/>
              <a:gd name="connsiteY162" fmla="*/ 1983332 h 3912503"/>
              <a:gd name="connsiteX163" fmla="*/ 7463521 w 12192528"/>
              <a:gd name="connsiteY163" fmla="*/ 1979278 h 3912503"/>
              <a:gd name="connsiteX164" fmla="*/ 7460784 w 12192528"/>
              <a:gd name="connsiteY164" fmla="*/ 1984647 h 3912503"/>
              <a:gd name="connsiteX165" fmla="*/ 7462098 w 12192528"/>
              <a:gd name="connsiteY165" fmla="*/ 1988699 h 3912503"/>
              <a:gd name="connsiteX166" fmla="*/ 7460673 w 12192528"/>
              <a:gd name="connsiteY166" fmla="*/ 1998119 h 3912503"/>
              <a:gd name="connsiteX167" fmla="*/ 7453884 w 12192528"/>
              <a:gd name="connsiteY167" fmla="*/ 2004801 h 3912503"/>
              <a:gd name="connsiteX168" fmla="*/ 7449831 w 12192528"/>
              <a:gd name="connsiteY168" fmla="*/ 2006115 h 3912503"/>
              <a:gd name="connsiteX169" fmla="*/ 7451145 w 12192528"/>
              <a:gd name="connsiteY169" fmla="*/ 2010169 h 3912503"/>
              <a:gd name="connsiteX170" fmla="*/ 7448407 w 12192528"/>
              <a:gd name="connsiteY170" fmla="*/ 2015537 h 3912503"/>
              <a:gd name="connsiteX171" fmla="*/ 7429991 w 12192528"/>
              <a:gd name="connsiteY171" fmla="*/ 2043345 h 3912503"/>
              <a:gd name="connsiteX172" fmla="*/ 7418385 w 12192528"/>
              <a:gd name="connsiteY172" fmla="*/ 2056664 h 3912503"/>
              <a:gd name="connsiteX173" fmla="*/ 7420687 w 12192528"/>
              <a:gd name="connsiteY173" fmla="*/ 2060518 h 3912503"/>
              <a:gd name="connsiteX174" fmla="*/ 7452457 w 12192528"/>
              <a:gd name="connsiteY174" fmla="*/ 2014222 h 3912503"/>
              <a:gd name="connsiteX175" fmla="*/ 7456513 w 12192528"/>
              <a:gd name="connsiteY175" fmla="*/ 2012907 h 3912503"/>
              <a:gd name="connsiteX176" fmla="*/ 7459248 w 12192528"/>
              <a:gd name="connsiteY176" fmla="*/ 2007540 h 3912503"/>
              <a:gd name="connsiteX177" fmla="*/ 7468781 w 12192528"/>
              <a:gd name="connsiteY177" fmla="*/ 1995491 h 3912503"/>
              <a:gd name="connsiteX178" fmla="*/ 7471517 w 12192528"/>
              <a:gd name="connsiteY178" fmla="*/ 1990123 h 3912503"/>
              <a:gd name="connsiteX179" fmla="*/ 7481044 w 12192528"/>
              <a:gd name="connsiteY179" fmla="*/ 1978074 h 3912503"/>
              <a:gd name="connsiteX180" fmla="*/ 7490573 w 12192528"/>
              <a:gd name="connsiteY180" fmla="*/ 1966024 h 3912503"/>
              <a:gd name="connsiteX181" fmla="*/ 7520475 w 12192528"/>
              <a:gd name="connsiteY181" fmla="*/ 1933930 h 3912503"/>
              <a:gd name="connsiteX182" fmla="*/ 7549174 w 12192528"/>
              <a:gd name="connsiteY182" fmla="*/ 1884309 h 3912503"/>
              <a:gd name="connsiteX183" fmla="*/ 7558704 w 12192528"/>
              <a:gd name="connsiteY183" fmla="*/ 1872258 h 3912503"/>
              <a:gd name="connsiteX184" fmla="*/ 12165957 w 12192528"/>
              <a:gd name="connsiteY184" fmla="*/ 1871550 h 3912503"/>
              <a:gd name="connsiteX185" fmla="*/ 12168053 w 12192528"/>
              <a:gd name="connsiteY185" fmla="*/ 1873355 h 3912503"/>
              <a:gd name="connsiteX186" fmla="*/ 12165737 w 12192528"/>
              <a:gd name="connsiteY186" fmla="*/ 1871806 h 3912503"/>
              <a:gd name="connsiteX187" fmla="*/ 6762917 w 12192528"/>
              <a:gd name="connsiteY187" fmla="*/ 1866072 h 3912503"/>
              <a:gd name="connsiteX188" fmla="*/ 6802634 w 12192528"/>
              <a:gd name="connsiteY188" fmla="*/ 1914619 h 3912503"/>
              <a:gd name="connsiteX189" fmla="*/ 6807051 w 12192528"/>
              <a:gd name="connsiteY189" fmla="*/ 1927860 h 3912503"/>
              <a:gd name="connsiteX190" fmla="*/ 6851182 w 12192528"/>
              <a:gd name="connsiteY190" fmla="*/ 1979717 h 3912503"/>
              <a:gd name="connsiteX191" fmla="*/ 6865411 w 12192528"/>
              <a:gd name="connsiteY191" fmla="*/ 1998570 h 3912503"/>
              <a:gd name="connsiteX192" fmla="*/ 6870007 w 12192528"/>
              <a:gd name="connsiteY192" fmla="*/ 1990438 h 3912503"/>
              <a:gd name="connsiteX193" fmla="*/ 7317611 w 12192528"/>
              <a:gd name="connsiteY193" fmla="*/ 1860873 h 3912503"/>
              <a:gd name="connsiteX194" fmla="*/ 7309038 w 12192528"/>
              <a:gd name="connsiteY194" fmla="*/ 1873482 h 3912503"/>
              <a:gd name="connsiteX195" fmla="*/ 7311432 w 12192528"/>
              <a:gd name="connsiteY195" fmla="*/ 1877493 h 3912503"/>
              <a:gd name="connsiteX196" fmla="*/ 7316350 w 12192528"/>
              <a:gd name="connsiteY196" fmla="*/ 1870800 h 3912503"/>
              <a:gd name="connsiteX197" fmla="*/ 7317611 w 12192528"/>
              <a:gd name="connsiteY197" fmla="*/ 1860873 h 3912503"/>
              <a:gd name="connsiteX198" fmla="*/ 7125079 w 12192528"/>
              <a:gd name="connsiteY198" fmla="*/ 1842742 h 3912503"/>
              <a:gd name="connsiteX199" fmla="*/ 7086451 w 12192528"/>
              <a:gd name="connsiteY199" fmla="*/ 1894894 h 3912503"/>
              <a:gd name="connsiteX200" fmla="*/ 7106515 w 12192528"/>
              <a:gd name="connsiteY200" fmla="*/ 1918953 h 3912503"/>
              <a:gd name="connsiteX201" fmla="*/ 7138061 w 12192528"/>
              <a:gd name="connsiteY201" fmla="*/ 1926276 h 3912503"/>
              <a:gd name="connsiteX202" fmla="*/ 7138720 w 12192528"/>
              <a:gd name="connsiteY202" fmla="*/ 1926547 h 3912503"/>
              <a:gd name="connsiteX203" fmla="*/ 7162290 w 12192528"/>
              <a:gd name="connsiteY203" fmla="*/ 1889122 h 3912503"/>
              <a:gd name="connsiteX204" fmla="*/ 7144802 w 12192528"/>
              <a:gd name="connsiteY204" fmla="*/ 1864606 h 3912503"/>
              <a:gd name="connsiteX205" fmla="*/ 6687890 w 12192528"/>
              <a:gd name="connsiteY205" fmla="*/ 1839408 h 3912503"/>
              <a:gd name="connsiteX206" fmla="*/ 6692305 w 12192528"/>
              <a:gd name="connsiteY206" fmla="*/ 1844006 h 3912503"/>
              <a:gd name="connsiteX207" fmla="*/ 6687890 w 12192528"/>
              <a:gd name="connsiteY207" fmla="*/ 1839593 h 3912503"/>
              <a:gd name="connsiteX208" fmla="*/ 12090228 w 12192528"/>
              <a:gd name="connsiteY208" fmla="*/ 1834540 h 3912503"/>
              <a:gd name="connsiteX209" fmla="*/ 12098715 w 12192528"/>
              <a:gd name="connsiteY209" fmla="*/ 1837342 h 3912503"/>
              <a:gd name="connsiteX210" fmla="*/ 12095912 w 12192528"/>
              <a:gd name="connsiteY210" fmla="*/ 1835591 h 3912503"/>
              <a:gd name="connsiteX211" fmla="*/ 12096620 w 12192528"/>
              <a:gd name="connsiteY211" fmla="*/ 1835537 h 3912503"/>
              <a:gd name="connsiteX212" fmla="*/ 12100664 w 12192528"/>
              <a:gd name="connsiteY212" fmla="*/ 1837197 h 3912503"/>
              <a:gd name="connsiteX213" fmla="*/ 12100572 w 12192528"/>
              <a:gd name="connsiteY213" fmla="*/ 1835963 h 3912503"/>
              <a:gd name="connsiteX214" fmla="*/ 12095360 w 12192528"/>
              <a:gd name="connsiteY214" fmla="*/ 1835245 h 3912503"/>
              <a:gd name="connsiteX215" fmla="*/ 12095912 w 12192528"/>
              <a:gd name="connsiteY215" fmla="*/ 1835591 h 3912503"/>
              <a:gd name="connsiteX216" fmla="*/ 12094671 w 12192528"/>
              <a:gd name="connsiteY216" fmla="*/ 1835684 h 3912503"/>
              <a:gd name="connsiteX217" fmla="*/ 12093935 w 12192528"/>
              <a:gd name="connsiteY217" fmla="*/ 1835051 h 3912503"/>
              <a:gd name="connsiteX218" fmla="*/ 7388777 w 12192528"/>
              <a:gd name="connsiteY218" fmla="*/ 1817888 h 3912503"/>
              <a:gd name="connsiteX219" fmla="*/ 7389364 w 12192528"/>
              <a:gd name="connsiteY219" fmla="*/ 1819685 h 3912503"/>
              <a:gd name="connsiteX220" fmla="*/ 7385312 w 12192528"/>
              <a:gd name="connsiteY220" fmla="*/ 1821000 h 3912503"/>
              <a:gd name="connsiteX221" fmla="*/ 12054147 w 12192528"/>
              <a:gd name="connsiteY221" fmla="*/ 1807180 h 3912503"/>
              <a:gd name="connsiteX222" fmla="*/ 12087545 w 12192528"/>
              <a:gd name="connsiteY222" fmla="*/ 1821519 h 3912503"/>
              <a:gd name="connsiteX223" fmla="*/ 12075262 w 12192528"/>
              <a:gd name="connsiteY223" fmla="*/ 1815310 h 3912503"/>
              <a:gd name="connsiteX224" fmla="*/ 6084899 w 12192528"/>
              <a:gd name="connsiteY224" fmla="*/ 1795170 h 3912503"/>
              <a:gd name="connsiteX225" fmla="*/ 6088499 w 12192528"/>
              <a:gd name="connsiteY225" fmla="*/ 1798773 h 3912503"/>
              <a:gd name="connsiteX226" fmla="*/ 6084459 w 12192528"/>
              <a:gd name="connsiteY226" fmla="*/ 1795609 h 3912503"/>
              <a:gd name="connsiteX227" fmla="*/ 7688591 w 12192528"/>
              <a:gd name="connsiteY227" fmla="*/ 1792592 h 3912503"/>
              <a:gd name="connsiteX228" fmla="*/ 7692335 w 12192528"/>
              <a:gd name="connsiteY228" fmla="*/ 1793440 h 3912503"/>
              <a:gd name="connsiteX229" fmla="*/ 7683586 w 12192528"/>
              <a:gd name="connsiteY229" fmla="*/ 1800869 h 3912503"/>
              <a:gd name="connsiteX230" fmla="*/ 2048700 w 12192528"/>
              <a:gd name="connsiteY230" fmla="*/ 1788029 h 3912503"/>
              <a:gd name="connsiteX231" fmla="*/ 2048819 w 12192528"/>
              <a:gd name="connsiteY231" fmla="*/ 1788402 h 3912503"/>
              <a:gd name="connsiteX232" fmla="*/ 2051503 w 12192528"/>
              <a:gd name="connsiteY232" fmla="*/ 1795639 h 3912503"/>
              <a:gd name="connsiteX233" fmla="*/ 2051503 w 12192528"/>
              <a:gd name="connsiteY233" fmla="*/ 1798856 h 3912503"/>
              <a:gd name="connsiteX234" fmla="*/ 2048283 w 12192528"/>
              <a:gd name="connsiteY234" fmla="*/ 1805288 h 3912503"/>
              <a:gd name="connsiteX235" fmla="*/ 2047583 w 12192528"/>
              <a:gd name="connsiteY235" fmla="*/ 1806221 h 3912503"/>
              <a:gd name="connsiteX236" fmla="*/ 2059337 w 12192528"/>
              <a:gd name="connsiteY236" fmla="*/ 1810342 h 3912503"/>
              <a:gd name="connsiteX237" fmla="*/ 2138697 w 12192528"/>
              <a:gd name="connsiteY237" fmla="*/ 1846190 h 3912503"/>
              <a:gd name="connsiteX238" fmla="*/ 2139327 w 12192528"/>
              <a:gd name="connsiteY238" fmla="*/ 1831392 h 3912503"/>
              <a:gd name="connsiteX239" fmla="*/ 2092710 w 12192528"/>
              <a:gd name="connsiteY239" fmla="*/ 1805853 h 3912503"/>
              <a:gd name="connsiteX240" fmla="*/ 11996731 w 12192528"/>
              <a:gd name="connsiteY240" fmla="*/ 1784154 h 3912503"/>
              <a:gd name="connsiteX241" fmla="*/ 11996698 w 12192528"/>
              <a:gd name="connsiteY241" fmla="*/ 1784156 h 3912503"/>
              <a:gd name="connsiteX242" fmla="*/ 11996732 w 12192528"/>
              <a:gd name="connsiteY242" fmla="*/ 1784167 h 3912503"/>
              <a:gd name="connsiteX243" fmla="*/ 12013946 w 12192528"/>
              <a:gd name="connsiteY243" fmla="*/ 1778453 h 3912503"/>
              <a:gd name="connsiteX244" fmla="*/ 12015932 w 12192528"/>
              <a:gd name="connsiteY244" fmla="*/ 1778795 h 3912503"/>
              <a:gd name="connsiteX245" fmla="*/ 12013982 w 12192528"/>
              <a:gd name="connsiteY245" fmla="*/ 1778940 h 3912503"/>
              <a:gd name="connsiteX246" fmla="*/ 12017736 w 12192528"/>
              <a:gd name="connsiteY246" fmla="*/ 1776698 h 3912503"/>
              <a:gd name="connsiteX247" fmla="*/ 12015787 w 12192528"/>
              <a:gd name="connsiteY247" fmla="*/ 1776845 h 3912503"/>
              <a:gd name="connsiteX248" fmla="*/ 12013837 w 12192528"/>
              <a:gd name="connsiteY248" fmla="*/ 1776990 h 3912503"/>
              <a:gd name="connsiteX249" fmla="*/ 12013946 w 12192528"/>
              <a:gd name="connsiteY249" fmla="*/ 1778453 h 3912503"/>
              <a:gd name="connsiteX250" fmla="*/ 12011961 w 12192528"/>
              <a:gd name="connsiteY250" fmla="*/ 1778111 h 3912503"/>
              <a:gd name="connsiteX251" fmla="*/ 12007988 w 12192528"/>
              <a:gd name="connsiteY251" fmla="*/ 1777427 h 3912503"/>
              <a:gd name="connsiteX252" fmla="*/ 12014566 w 12192528"/>
              <a:gd name="connsiteY252" fmla="*/ 1786744 h 3912503"/>
              <a:gd name="connsiteX253" fmla="*/ 11998680 w 12192528"/>
              <a:gd name="connsiteY253" fmla="*/ 1784009 h 3912503"/>
              <a:gd name="connsiteX254" fmla="*/ 11998165 w 12192528"/>
              <a:gd name="connsiteY254" fmla="*/ 1784607 h 3912503"/>
              <a:gd name="connsiteX255" fmla="*/ 12010121 w 12192528"/>
              <a:gd name="connsiteY255" fmla="*/ 1788279 h 3912503"/>
              <a:gd name="connsiteX256" fmla="*/ 12033342 w 12192528"/>
              <a:gd name="connsiteY256" fmla="*/ 1798248 h 3912503"/>
              <a:gd name="connsiteX257" fmla="*/ 12034264 w 12192528"/>
              <a:gd name="connsiteY257" fmla="*/ 1794590 h 3912503"/>
              <a:gd name="connsiteX258" fmla="*/ 12038540 w 12192528"/>
              <a:gd name="connsiteY258" fmla="*/ 1792798 h 3912503"/>
              <a:gd name="connsiteX259" fmla="*/ 12028066 w 12192528"/>
              <a:gd name="connsiteY259" fmla="*/ 1783772 h 3912503"/>
              <a:gd name="connsiteX260" fmla="*/ 12032108 w 12192528"/>
              <a:gd name="connsiteY260" fmla="*/ 1785432 h 3912503"/>
              <a:gd name="connsiteX261" fmla="*/ 12036153 w 12192528"/>
              <a:gd name="connsiteY261" fmla="*/ 1787092 h 3912503"/>
              <a:gd name="connsiteX262" fmla="*/ 12034059 w 12192528"/>
              <a:gd name="connsiteY262" fmla="*/ 1785287 h 3912503"/>
              <a:gd name="connsiteX263" fmla="*/ 12030015 w 12192528"/>
              <a:gd name="connsiteY263" fmla="*/ 1783627 h 3912503"/>
              <a:gd name="connsiteX264" fmla="*/ 12027919 w 12192528"/>
              <a:gd name="connsiteY264" fmla="*/ 1781822 h 3912503"/>
              <a:gd name="connsiteX265" fmla="*/ 12017736 w 12192528"/>
              <a:gd name="connsiteY265" fmla="*/ 1776698 h 3912503"/>
              <a:gd name="connsiteX266" fmla="*/ 11964996 w 12192528"/>
              <a:gd name="connsiteY266" fmla="*/ 1773837 h 3912503"/>
              <a:gd name="connsiteX267" fmla="*/ 11964022 w 12192528"/>
              <a:gd name="connsiteY267" fmla="*/ 1774121 h 3912503"/>
              <a:gd name="connsiteX268" fmla="*/ 11976922 w 12192528"/>
              <a:gd name="connsiteY268" fmla="*/ 1778082 h 3912503"/>
              <a:gd name="connsiteX269" fmla="*/ 11971844 w 12192528"/>
              <a:gd name="connsiteY269" fmla="*/ 1775715 h 3912503"/>
              <a:gd name="connsiteX270" fmla="*/ 11964996 w 12192528"/>
              <a:gd name="connsiteY270" fmla="*/ 1773837 h 3912503"/>
              <a:gd name="connsiteX271" fmla="*/ 6227322 w 12192528"/>
              <a:gd name="connsiteY271" fmla="*/ 1770443 h 3912503"/>
              <a:gd name="connsiteX272" fmla="*/ 6236335 w 12192528"/>
              <a:gd name="connsiteY272" fmla="*/ 1773951 h 3912503"/>
              <a:gd name="connsiteX273" fmla="*/ 6236145 w 12192528"/>
              <a:gd name="connsiteY273" fmla="*/ 1777787 h 3912503"/>
              <a:gd name="connsiteX274" fmla="*/ 11878662 w 12192528"/>
              <a:gd name="connsiteY274" fmla="*/ 1751785 h 3912503"/>
              <a:gd name="connsiteX275" fmla="*/ 11880358 w 12192528"/>
              <a:gd name="connsiteY275" fmla="*/ 1752404 h 3912503"/>
              <a:gd name="connsiteX276" fmla="*/ 11918602 w 12192528"/>
              <a:gd name="connsiteY276" fmla="*/ 1760172 h 3912503"/>
              <a:gd name="connsiteX277" fmla="*/ 11943146 w 12192528"/>
              <a:gd name="connsiteY277" fmla="*/ 1767710 h 3912503"/>
              <a:gd name="connsiteX278" fmla="*/ 11940718 w 12192528"/>
              <a:gd name="connsiteY278" fmla="*/ 1765782 h 3912503"/>
              <a:gd name="connsiteX279" fmla="*/ 11920326 w 12192528"/>
              <a:gd name="connsiteY279" fmla="*/ 1758478 h 3912503"/>
              <a:gd name="connsiteX280" fmla="*/ 11878662 w 12192528"/>
              <a:gd name="connsiteY280" fmla="*/ 1751785 h 3912503"/>
              <a:gd name="connsiteX281" fmla="*/ 1609129 w 12192528"/>
              <a:gd name="connsiteY281" fmla="*/ 1746640 h 3912503"/>
              <a:gd name="connsiteX282" fmla="*/ 1609949 w 12192528"/>
              <a:gd name="connsiteY282" fmla="*/ 1751761 h 3912503"/>
              <a:gd name="connsiteX283" fmla="*/ 1613252 w 12192528"/>
              <a:gd name="connsiteY283" fmla="*/ 1765439 h 3912503"/>
              <a:gd name="connsiteX284" fmla="*/ 1613017 w 12192528"/>
              <a:gd name="connsiteY284" fmla="*/ 1771098 h 3912503"/>
              <a:gd name="connsiteX285" fmla="*/ 1608010 w 12192528"/>
              <a:gd name="connsiteY285" fmla="*/ 1783280 h 3912503"/>
              <a:gd name="connsiteX286" fmla="*/ 1689613 w 12192528"/>
              <a:gd name="connsiteY286" fmla="*/ 1801924 h 3912503"/>
              <a:gd name="connsiteX287" fmla="*/ 2173650 w 12192528"/>
              <a:gd name="connsiteY287" fmla="*/ 1996780 h 3912503"/>
              <a:gd name="connsiteX288" fmla="*/ 2162369 w 12192528"/>
              <a:gd name="connsiteY288" fmla="*/ 1996780 h 3912503"/>
              <a:gd name="connsiteX289" fmla="*/ 2222534 w 12192528"/>
              <a:gd name="connsiteY289" fmla="*/ 2026858 h 3912503"/>
              <a:gd name="connsiteX290" fmla="*/ 2293979 w 12192528"/>
              <a:gd name="connsiteY290" fmla="*/ 2068220 h 3912503"/>
              <a:gd name="connsiteX291" fmla="*/ 2308990 w 12192528"/>
              <a:gd name="connsiteY291" fmla="*/ 2080669 h 3912503"/>
              <a:gd name="connsiteX292" fmla="*/ 2306757 w 12192528"/>
              <a:gd name="connsiteY292" fmla="*/ 2028676 h 3912503"/>
              <a:gd name="connsiteX293" fmla="*/ 2295859 w 12192528"/>
              <a:gd name="connsiteY293" fmla="*/ 2019337 h 3912503"/>
              <a:gd name="connsiteX294" fmla="*/ 2283527 w 12192528"/>
              <a:gd name="connsiteY294" fmla="*/ 2008767 h 3912503"/>
              <a:gd name="connsiteX295" fmla="*/ 2272442 w 12192528"/>
              <a:gd name="connsiteY295" fmla="*/ 2018504 h 3912503"/>
              <a:gd name="connsiteX296" fmla="*/ 2263812 w 12192528"/>
              <a:gd name="connsiteY296" fmla="*/ 2021594 h 3912503"/>
              <a:gd name="connsiteX297" fmla="*/ 2258634 w 12192528"/>
              <a:gd name="connsiteY297" fmla="*/ 2013903 h 3912503"/>
              <a:gd name="connsiteX298" fmla="*/ 2256909 w 12192528"/>
              <a:gd name="connsiteY298" fmla="*/ 2007003 h 3912503"/>
              <a:gd name="connsiteX299" fmla="*/ 2251730 w 12192528"/>
              <a:gd name="connsiteY299" fmla="*/ 1998952 h 3912503"/>
              <a:gd name="connsiteX300" fmla="*/ 2244251 w 12192528"/>
              <a:gd name="connsiteY300" fmla="*/ 2004128 h 3912503"/>
              <a:gd name="connsiteX301" fmla="*/ 2226990 w 12192528"/>
              <a:gd name="connsiteY301" fmla="*/ 2001252 h 3912503"/>
              <a:gd name="connsiteX302" fmla="*/ 2223539 w 12192528"/>
              <a:gd name="connsiteY302" fmla="*/ 1993776 h 3912503"/>
              <a:gd name="connsiteX303" fmla="*/ 2213182 w 12192528"/>
              <a:gd name="connsiteY303" fmla="*/ 1989750 h 3912503"/>
              <a:gd name="connsiteX304" fmla="*/ 2209155 w 12192528"/>
              <a:gd name="connsiteY304" fmla="*/ 1999527 h 3912503"/>
              <a:gd name="connsiteX305" fmla="*/ 2210123 w 12192528"/>
              <a:gd name="connsiteY305" fmla="*/ 2008224 h 3912503"/>
              <a:gd name="connsiteX306" fmla="*/ 2165155 w 12192528"/>
              <a:gd name="connsiteY306" fmla="*/ 1963502 h 3912503"/>
              <a:gd name="connsiteX307" fmla="*/ 2165173 w 12192528"/>
              <a:gd name="connsiteY307" fmla="*/ 1963476 h 3912503"/>
              <a:gd name="connsiteX308" fmla="*/ 1990538 w 12192528"/>
              <a:gd name="connsiteY308" fmla="*/ 1873132 h 3912503"/>
              <a:gd name="connsiteX309" fmla="*/ 1752365 w 12192528"/>
              <a:gd name="connsiteY309" fmla="*/ 1782645 h 3912503"/>
              <a:gd name="connsiteX310" fmla="*/ 5950882 w 12192528"/>
              <a:gd name="connsiteY310" fmla="*/ 1716792 h 3912503"/>
              <a:gd name="connsiteX311" fmla="*/ 5966086 w 12192528"/>
              <a:gd name="connsiteY311" fmla="*/ 1723104 h 3912503"/>
              <a:gd name="connsiteX312" fmla="*/ 5961177 w 12192528"/>
              <a:gd name="connsiteY312" fmla="*/ 1719502 h 3912503"/>
              <a:gd name="connsiteX313" fmla="*/ 5962488 w 12192528"/>
              <a:gd name="connsiteY313" fmla="*/ 1719502 h 3912503"/>
              <a:gd name="connsiteX314" fmla="*/ 5969686 w 12192528"/>
              <a:gd name="connsiteY314" fmla="*/ 1723104 h 3912503"/>
              <a:gd name="connsiteX315" fmla="*/ 5969686 w 12192528"/>
              <a:gd name="connsiteY315" fmla="*/ 1720825 h 3912503"/>
              <a:gd name="connsiteX316" fmla="*/ 5960211 w 12192528"/>
              <a:gd name="connsiteY316" fmla="*/ 1718792 h 3912503"/>
              <a:gd name="connsiteX317" fmla="*/ 5961177 w 12192528"/>
              <a:gd name="connsiteY317" fmla="*/ 1719502 h 3912503"/>
              <a:gd name="connsiteX318" fmla="*/ 5958886 w 12192528"/>
              <a:gd name="connsiteY318" fmla="*/ 1719502 h 3912503"/>
              <a:gd name="connsiteX319" fmla="*/ 5957622 w 12192528"/>
              <a:gd name="connsiteY319" fmla="*/ 1718238 h 3912503"/>
              <a:gd name="connsiteX320" fmla="*/ 5981767 w 12192528"/>
              <a:gd name="connsiteY320" fmla="*/ 1713021 h 3912503"/>
              <a:gd name="connsiteX321" fmla="*/ 5986017 w 12192528"/>
              <a:gd name="connsiteY321" fmla="*/ 1722354 h 3912503"/>
              <a:gd name="connsiteX322" fmla="*/ 5998490 w 12192528"/>
              <a:gd name="connsiteY322" fmla="*/ 1726708 h 3912503"/>
              <a:gd name="connsiteX323" fmla="*/ 5994890 w 12192528"/>
              <a:gd name="connsiteY323" fmla="*/ 1726708 h 3912503"/>
              <a:gd name="connsiteX324" fmla="*/ 6002090 w 12192528"/>
              <a:gd name="connsiteY324" fmla="*/ 1730312 h 3912503"/>
              <a:gd name="connsiteX325" fmla="*/ 6005690 w 12192528"/>
              <a:gd name="connsiteY325" fmla="*/ 1733914 h 3912503"/>
              <a:gd name="connsiteX326" fmla="*/ 6084459 w 12192528"/>
              <a:gd name="connsiteY326" fmla="*/ 1795609 h 3912503"/>
              <a:gd name="connsiteX327" fmla="*/ 6081297 w 12192528"/>
              <a:gd name="connsiteY327" fmla="*/ 1798773 h 3912503"/>
              <a:gd name="connsiteX328" fmla="*/ 6084899 w 12192528"/>
              <a:gd name="connsiteY328" fmla="*/ 1798773 h 3912503"/>
              <a:gd name="connsiteX329" fmla="*/ 6088499 w 12192528"/>
              <a:gd name="connsiteY329" fmla="*/ 1798773 h 3912503"/>
              <a:gd name="connsiteX330" fmla="*/ 6092099 w 12192528"/>
              <a:gd name="connsiteY330" fmla="*/ 1802377 h 3912503"/>
              <a:gd name="connsiteX331" fmla="*/ 6110101 w 12192528"/>
              <a:gd name="connsiteY331" fmla="*/ 1820392 h 3912503"/>
              <a:gd name="connsiteX332" fmla="*/ 6106500 w 12192528"/>
              <a:gd name="connsiteY332" fmla="*/ 1813187 h 3912503"/>
              <a:gd name="connsiteX333" fmla="*/ 6110101 w 12192528"/>
              <a:gd name="connsiteY333" fmla="*/ 1813187 h 3912503"/>
              <a:gd name="connsiteX334" fmla="*/ 6113702 w 12192528"/>
              <a:gd name="connsiteY334" fmla="*/ 1813187 h 3912503"/>
              <a:gd name="connsiteX335" fmla="*/ 6110100 w 12192528"/>
              <a:gd name="connsiteY335" fmla="*/ 1809582 h 3912503"/>
              <a:gd name="connsiteX336" fmla="*/ 6135303 w 12192528"/>
              <a:gd name="connsiteY336" fmla="*/ 1823997 h 3912503"/>
              <a:gd name="connsiteX337" fmla="*/ 6131704 w 12192528"/>
              <a:gd name="connsiteY337" fmla="*/ 1823997 h 3912503"/>
              <a:gd name="connsiteX338" fmla="*/ 6128102 w 12192528"/>
              <a:gd name="connsiteY338" fmla="*/ 1820392 h 3912503"/>
              <a:gd name="connsiteX339" fmla="*/ 6124502 w 12192528"/>
              <a:gd name="connsiteY339" fmla="*/ 1820392 h 3912503"/>
              <a:gd name="connsiteX340" fmla="*/ 6131704 w 12192528"/>
              <a:gd name="connsiteY340" fmla="*/ 1827599 h 3912503"/>
              <a:gd name="connsiteX341" fmla="*/ 6135303 w 12192528"/>
              <a:gd name="connsiteY341" fmla="*/ 1831202 h 3912503"/>
              <a:gd name="connsiteX342" fmla="*/ 6160505 w 12192528"/>
              <a:gd name="connsiteY342" fmla="*/ 1863632 h 3912503"/>
              <a:gd name="connsiteX343" fmla="*/ 6183458 w 12192528"/>
              <a:gd name="connsiteY343" fmla="*/ 1878945 h 3912503"/>
              <a:gd name="connsiteX344" fmla="*/ 6191929 w 12192528"/>
              <a:gd name="connsiteY344" fmla="*/ 1883091 h 3912503"/>
              <a:gd name="connsiteX345" fmla="*/ 6210114 w 12192528"/>
              <a:gd name="connsiteY345" fmla="*/ 1883530 h 3912503"/>
              <a:gd name="connsiteX346" fmla="*/ 6234671 w 12192528"/>
              <a:gd name="connsiteY346" fmla="*/ 1898946 h 3912503"/>
              <a:gd name="connsiteX347" fmla="*/ 6254560 w 12192528"/>
              <a:gd name="connsiteY347" fmla="*/ 1918972 h 3912503"/>
              <a:gd name="connsiteX348" fmla="*/ 6255725 w 12192528"/>
              <a:gd name="connsiteY348" fmla="*/ 1919992 h 3912503"/>
              <a:gd name="connsiteX349" fmla="*/ 6269546 w 12192528"/>
              <a:gd name="connsiteY349" fmla="*/ 1912573 h 3912503"/>
              <a:gd name="connsiteX350" fmla="*/ 6207310 w 12192528"/>
              <a:gd name="connsiteY350" fmla="*/ 1863632 h 3912503"/>
              <a:gd name="connsiteX351" fmla="*/ 6138904 w 12192528"/>
              <a:gd name="connsiteY351" fmla="*/ 1809582 h 3912503"/>
              <a:gd name="connsiteX352" fmla="*/ 6066897 w 12192528"/>
              <a:gd name="connsiteY352" fmla="*/ 1766344 h 3912503"/>
              <a:gd name="connsiteX353" fmla="*/ 6009290 w 12192528"/>
              <a:gd name="connsiteY353" fmla="*/ 1730312 h 3912503"/>
              <a:gd name="connsiteX354" fmla="*/ 6005690 w 12192528"/>
              <a:gd name="connsiteY354" fmla="*/ 1726708 h 3912503"/>
              <a:gd name="connsiteX355" fmla="*/ 5998488 w 12192528"/>
              <a:gd name="connsiteY355" fmla="*/ 1723104 h 3912503"/>
              <a:gd name="connsiteX356" fmla="*/ 2245258 w 12192528"/>
              <a:gd name="connsiteY356" fmla="*/ 1710274 h 3912503"/>
              <a:gd name="connsiteX357" fmla="*/ 2244276 w 12192528"/>
              <a:gd name="connsiteY357" fmla="*/ 1710488 h 3912503"/>
              <a:gd name="connsiteX358" fmla="*/ 2252305 w 12192528"/>
              <a:gd name="connsiteY358" fmla="*/ 1715011 h 3912503"/>
              <a:gd name="connsiteX359" fmla="*/ 2252305 w 12192528"/>
              <a:gd name="connsiteY359" fmla="*/ 1713724 h 3912503"/>
              <a:gd name="connsiteX360" fmla="*/ 2245258 w 12192528"/>
              <a:gd name="connsiteY360" fmla="*/ 1710274 h 3912503"/>
              <a:gd name="connsiteX361" fmla="*/ 1421019 w 12192528"/>
              <a:gd name="connsiteY361" fmla="*/ 1706832 h 3912503"/>
              <a:gd name="connsiteX362" fmla="*/ 1427065 w 12192528"/>
              <a:gd name="connsiteY362" fmla="*/ 1710443 h 3912503"/>
              <a:gd name="connsiteX363" fmla="*/ 1434763 w 12192528"/>
              <a:gd name="connsiteY363" fmla="*/ 1732340 h 3912503"/>
              <a:gd name="connsiteX364" fmla="*/ 1432681 w 12192528"/>
              <a:gd name="connsiteY364" fmla="*/ 1740171 h 3912503"/>
              <a:gd name="connsiteX365" fmla="*/ 1501179 w 12192528"/>
              <a:gd name="connsiteY365" fmla="*/ 1759551 h 3912503"/>
              <a:gd name="connsiteX366" fmla="*/ 1504479 w 12192528"/>
              <a:gd name="connsiteY366" fmla="*/ 1753647 h 3912503"/>
              <a:gd name="connsiteX367" fmla="*/ 1504952 w 12192528"/>
              <a:gd name="connsiteY367" fmla="*/ 1742564 h 3912503"/>
              <a:gd name="connsiteX368" fmla="*/ 1508963 w 12192528"/>
              <a:gd name="connsiteY368" fmla="*/ 1726998 h 3912503"/>
              <a:gd name="connsiteX369" fmla="*/ 1512501 w 12192528"/>
              <a:gd name="connsiteY369" fmla="*/ 1722753 h 3912503"/>
              <a:gd name="connsiteX370" fmla="*/ 1512766 w 12192528"/>
              <a:gd name="connsiteY370" fmla="*/ 1722417 h 3912503"/>
              <a:gd name="connsiteX371" fmla="*/ 1501911 w 12192528"/>
              <a:gd name="connsiteY371" fmla="*/ 1719688 h 3912503"/>
              <a:gd name="connsiteX372" fmla="*/ 11144220 w 12192528"/>
              <a:gd name="connsiteY372" fmla="*/ 1705043 h 3912503"/>
              <a:gd name="connsiteX373" fmla="*/ 11141306 w 12192528"/>
              <a:gd name="connsiteY373" fmla="*/ 1706782 h 3912503"/>
              <a:gd name="connsiteX374" fmla="*/ 11144473 w 12192528"/>
              <a:gd name="connsiteY374" fmla="*/ 1705342 h 3912503"/>
              <a:gd name="connsiteX375" fmla="*/ 11137441 w 12192528"/>
              <a:gd name="connsiteY375" fmla="*/ 1697014 h 3912503"/>
              <a:gd name="connsiteX376" fmla="*/ 11137260 w 12192528"/>
              <a:gd name="connsiteY376" fmla="*/ 1697085 h 3912503"/>
              <a:gd name="connsiteX377" fmla="*/ 11136611 w 12192528"/>
              <a:gd name="connsiteY377" fmla="*/ 1707194 h 3912503"/>
              <a:gd name="connsiteX378" fmla="*/ 11136908 w 12192528"/>
              <a:gd name="connsiteY378" fmla="*/ 1707576 h 3912503"/>
              <a:gd name="connsiteX379" fmla="*/ 11143525 w 12192528"/>
              <a:gd name="connsiteY379" fmla="*/ 1704219 h 3912503"/>
              <a:gd name="connsiteX380" fmla="*/ 12178406 w 12192528"/>
              <a:gd name="connsiteY380" fmla="*/ 1692372 h 3912503"/>
              <a:gd name="connsiteX381" fmla="*/ 12183109 w 12192528"/>
              <a:gd name="connsiteY381" fmla="*/ 1695023 h 3912503"/>
              <a:gd name="connsiteX382" fmla="*/ 12178245 w 12192528"/>
              <a:gd name="connsiteY382" fmla="*/ 1692420 h 3912503"/>
              <a:gd name="connsiteX383" fmla="*/ 1622627 w 12192528"/>
              <a:gd name="connsiteY383" fmla="*/ 1686357 h 3912503"/>
              <a:gd name="connsiteX384" fmla="*/ 1613961 w 12192528"/>
              <a:gd name="connsiteY384" fmla="*/ 1696340 h 3912503"/>
              <a:gd name="connsiteX385" fmla="*/ 1600748 w 12192528"/>
              <a:gd name="connsiteY385" fmla="*/ 1704123 h 3912503"/>
              <a:gd name="connsiteX386" fmla="*/ 1596731 w 12192528"/>
              <a:gd name="connsiteY386" fmla="*/ 1707749 h 3912503"/>
              <a:gd name="connsiteX387" fmla="*/ 1686132 w 12192528"/>
              <a:gd name="connsiteY387" fmla="*/ 1733403 h 3912503"/>
              <a:gd name="connsiteX388" fmla="*/ 1810501 w 12192528"/>
              <a:gd name="connsiteY388" fmla="*/ 1778922 h 3912503"/>
              <a:gd name="connsiteX389" fmla="*/ 1957266 w 12192528"/>
              <a:gd name="connsiteY389" fmla="*/ 1839810 h 3912503"/>
              <a:gd name="connsiteX390" fmla="*/ 1993177 w 12192528"/>
              <a:gd name="connsiteY390" fmla="*/ 1827319 h 3912503"/>
              <a:gd name="connsiteX391" fmla="*/ 1966633 w 12192528"/>
              <a:gd name="connsiteY391" fmla="*/ 1802340 h 3912503"/>
              <a:gd name="connsiteX392" fmla="*/ 1921355 w 12192528"/>
              <a:gd name="connsiteY392" fmla="*/ 1772676 h 3912503"/>
              <a:gd name="connsiteX393" fmla="*/ 1991274 w 12192528"/>
              <a:gd name="connsiteY393" fmla="*/ 1786660 h 3912503"/>
              <a:gd name="connsiteX394" fmla="*/ 1992194 w 12192528"/>
              <a:gd name="connsiteY394" fmla="*/ 1781702 h 3912503"/>
              <a:gd name="connsiteX395" fmla="*/ 1992462 w 12192528"/>
              <a:gd name="connsiteY395" fmla="*/ 1779022 h 3912503"/>
              <a:gd name="connsiteX396" fmla="*/ 1993267 w 12192528"/>
              <a:gd name="connsiteY396" fmla="*/ 1772589 h 3912503"/>
              <a:gd name="connsiteX397" fmla="*/ 1998419 w 12192528"/>
              <a:gd name="connsiteY397" fmla="*/ 1767666 h 3912503"/>
              <a:gd name="connsiteX398" fmla="*/ 1983807 w 12192528"/>
              <a:gd name="connsiteY398" fmla="*/ 1761749 h 3912503"/>
              <a:gd name="connsiteX399" fmla="*/ 1832994 w 12192528"/>
              <a:gd name="connsiteY399" fmla="*/ 1707228 h 3912503"/>
              <a:gd name="connsiteX400" fmla="*/ 1808113 w 12192528"/>
              <a:gd name="connsiteY400" fmla="*/ 1699426 h 3912503"/>
              <a:gd name="connsiteX401" fmla="*/ 1809135 w 12192528"/>
              <a:gd name="connsiteY401" fmla="*/ 1700286 h 3912503"/>
              <a:gd name="connsiteX402" fmla="*/ 1812355 w 12192528"/>
              <a:gd name="connsiteY402" fmla="*/ 1704575 h 3912503"/>
              <a:gd name="connsiteX403" fmla="*/ 1816112 w 12192528"/>
              <a:gd name="connsiteY403" fmla="*/ 1716367 h 3912503"/>
              <a:gd name="connsiteX404" fmla="*/ 1818669 w 12192528"/>
              <a:gd name="connsiteY404" fmla="*/ 1723261 h 3912503"/>
              <a:gd name="connsiteX405" fmla="*/ 1835482 w 12192528"/>
              <a:gd name="connsiteY405" fmla="*/ 1728964 h 3912503"/>
              <a:gd name="connsiteX406" fmla="*/ 1858903 w 12192528"/>
              <a:gd name="connsiteY406" fmla="*/ 1746137 h 3912503"/>
              <a:gd name="connsiteX407" fmla="*/ 1826115 w 12192528"/>
              <a:gd name="connsiteY407" fmla="*/ 1752381 h 3912503"/>
              <a:gd name="connsiteX408" fmla="*/ 1807151 w 12192528"/>
              <a:gd name="connsiteY408" fmla="*/ 1745258 h 3912503"/>
              <a:gd name="connsiteX409" fmla="*/ 1806452 w 12192528"/>
              <a:gd name="connsiteY409" fmla="*/ 1746655 h 3912503"/>
              <a:gd name="connsiteX410" fmla="*/ 1803231 w 12192528"/>
              <a:gd name="connsiteY410" fmla="*/ 1747995 h 3912503"/>
              <a:gd name="connsiteX411" fmla="*/ 1797058 w 12192528"/>
              <a:gd name="connsiteY411" fmla="*/ 1749871 h 3912503"/>
              <a:gd name="connsiteX412" fmla="*/ 1794911 w 12192528"/>
              <a:gd name="connsiteY412" fmla="*/ 1750943 h 3912503"/>
              <a:gd name="connsiteX413" fmla="*/ 1786324 w 12192528"/>
              <a:gd name="connsiteY413" fmla="*/ 1752016 h 3912503"/>
              <a:gd name="connsiteX414" fmla="*/ 1784445 w 12192528"/>
              <a:gd name="connsiteY414" fmla="*/ 1752552 h 3912503"/>
              <a:gd name="connsiteX415" fmla="*/ 1765391 w 12192528"/>
              <a:gd name="connsiteY415" fmla="*/ 1740491 h 3912503"/>
              <a:gd name="connsiteX416" fmla="*/ 1759487 w 12192528"/>
              <a:gd name="connsiteY416" fmla="*/ 1729502 h 3912503"/>
              <a:gd name="connsiteX417" fmla="*/ 1758441 w 12192528"/>
              <a:gd name="connsiteY417" fmla="*/ 1726965 h 3912503"/>
              <a:gd name="connsiteX418" fmla="*/ 1744535 w 12192528"/>
              <a:gd name="connsiteY418" fmla="*/ 1721742 h 3912503"/>
              <a:gd name="connsiteX419" fmla="*/ 1660614 w 12192528"/>
              <a:gd name="connsiteY419" fmla="*/ 1694616 h 3912503"/>
              <a:gd name="connsiteX420" fmla="*/ 2222100 w 12192528"/>
              <a:gd name="connsiteY420" fmla="*/ 1683103 h 3912503"/>
              <a:gd name="connsiteX421" fmla="*/ 2214332 w 12192528"/>
              <a:gd name="connsiteY421" fmla="*/ 1687847 h 3912503"/>
              <a:gd name="connsiteX422" fmla="*/ 2210127 w 12192528"/>
              <a:gd name="connsiteY422" fmla="*/ 1691249 h 3912503"/>
              <a:gd name="connsiteX423" fmla="*/ 2227208 w 12192528"/>
              <a:gd name="connsiteY423" fmla="*/ 1700872 h 3912503"/>
              <a:gd name="connsiteX424" fmla="*/ 2229867 w 12192528"/>
              <a:gd name="connsiteY424" fmla="*/ 1684397 h 3912503"/>
              <a:gd name="connsiteX425" fmla="*/ 2222100 w 12192528"/>
              <a:gd name="connsiteY425" fmla="*/ 1683103 h 3912503"/>
              <a:gd name="connsiteX426" fmla="*/ 1135797 w 12192528"/>
              <a:gd name="connsiteY426" fmla="*/ 1682585 h 3912503"/>
              <a:gd name="connsiteX427" fmla="*/ 1135657 w 12192528"/>
              <a:gd name="connsiteY427" fmla="*/ 1684620 h 3912503"/>
              <a:gd name="connsiteX428" fmla="*/ 1198655 w 12192528"/>
              <a:gd name="connsiteY428" fmla="*/ 1689272 h 3912503"/>
              <a:gd name="connsiteX429" fmla="*/ 1314555 w 12192528"/>
              <a:gd name="connsiteY429" fmla="*/ 1710285 h 3912503"/>
              <a:gd name="connsiteX430" fmla="*/ 1369793 w 12192528"/>
              <a:gd name="connsiteY430" fmla="*/ 1724206 h 3912503"/>
              <a:gd name="connsiteX431" fmla="*/ 1367679 w 12192528"/>
              <a:gd name="connsiteY431" fmla="*/ 1720297 h 3912503"/>
              <a:gd name="connsiteX432" fmla="*/ 1355581 w 12192528"/>
              <a:gd name="connsiteY432" fmla="*/ 1708253 h 3912503"/>
              <a:gd name="connsiteX433" fmla="*/ 1355581 w 12192528"/>
              <a:gd name="connsiteY433" fmla="*/ 1697458 h 3912503"/>
              <a:gd name="connsiteX434" fmla="*/ 1240593 w 12192528"/>
              <a:gd name="connsiteY434" fmla="*/ 1686150 h 3912503"/>
              <a:gd name="connsiteX435" fmla="*/ 7847880 w 12192528"/>
              <a:gd name="connsiteY435" fmla="*/ 1663016 h 3912503"/>
              <a:gd name="connsiteX436" fmla="*/ 7847780 w 12192528"/>
              <a:gd name="connsiteY436" fmla="*/ 1663140 h 3912503"/>
              <a:gd name="connsiteX437" fmla="*/ 7843187 w 12192528"/>
              <a:gd name="connsiteY437" fmla="*/ 1666040 h 3912503"/>
              <a:gd name="connsiteX438" fmla="*/ 5888368 w 12192528"/>
              <a:gd name="connsiteY438" fmla="*/ 1661582 h 3912503"/>
              <a:gd name="connsiteX439" fmla="*/ 5947745 w 12192528"/>
              <a:gd name="connsiteY439" fmla="*/ 1692506 h 3912503"/>
              <a:gd name="connsiteX440" fmla="*/ 5926033 w 12192528"/>
              <a:gd name="connsiteY440" fmla="*/ 1679415 h 3912503"/>
              <a:gd name="connsiteX441" fmla="*/ 12125881 w 12192528"/>
              <a:gd name="connsiteY441" fmla="*/ 1659984 h 3912503"/>
              <a:gd name="connsiteX442" fmla="*/ 12127684 w 12192528"/>
              <a:gd name="connsiteY442" fmla="*/ 1660723 h 3912503"/>
              <a:gd name="connsiteX443" fmla="*/ 12130072 w 12192528"/>
              <a:gd name="connsiteY443" fmla="*/ 1660545 h 3912503"/>
              <a:gd name="connsiteX444" fmla="*/ 12132641 w 12192528"/>
              <a:gd name="connsiteY444" fmla="*/ 1662755 h 3912503"/>
              <a:gd name="connsiteX445" fmla="*/ 12127862 w 12192528"/>
              <a:gd name="connsiteY445" fmla="*/ 1663113 h 3912503"/>
              <a:gd name="connsiteX446" fmla="*/ 12121197 w 12192528"/>
              <a:gd name="connsiteY446" fmla="*/ 1657374 h 3912503"/>
              <a:gd name="connsiteX447" fmla="*/ 12125479 w 12192528"/>
              <a:gd name="connsiteY447" fmla="*/ 1659349 h 3912503"/>
              <a:gd name="connsiteX448" fmla="*/ 12125881 w 12192528"/>
              <a:gd name="connsiteY448" fmla="*/ 1659984 h 3912503"/>
              <a:gd name="connsiteX449" fmla="*/ 12122726 w 12192528"/>
              <a:gd name="connsiteY449" fmla="*/ 1658691 h 3912503"/>
              <a:gd name="connsiteX450" fmla="*/ 12108878 w 12192528"/>
              <a:gd name="connsiteY450" fmla="*/ 1652983 h 3912503"/>
              <a:gd name="connsiteX451" fmla="*/ 12112781 w 12192528"/>
              <a:gd name="connsiteY451" fmla="*/ 1654212 h 3912503"/>
              <a:gd name="connsiteX452" fmla="*/ 12112811 w 12192528"/>
              <a:gd name="connsiteY452" fmla="*/ 1654627 h 3912503"/>
              <a:gd name="connsiteX453" fmla="*/ 12112633 w 12192528"/>
              <a:gd name="connsiteY453" fmla="*/ 1652237 h 3912503"/>
              <a:gd name="connsiteX454" fmla="*/ 12120159 w 12192528"/>
              <a:gd name="connsiteY454" fmla="*/ 1656480 h 3912503"/>
              <a:gd name="connsiteX455" fmla="*/ 12121197 w 12192528"/>
              <a:gd name="connsiteY455" fmla="*/ 1657374 h 3912503"/>
              <a:gd name="connsiteX456" fmla="*/ 12117701 w 12192528"/>
              <a:gd name="connsiteY456" fmla="*/ 1655763 h 3912503"/>
              <a:gd name="connsiteX457" fmla="*/ 12112781 w 12192528"/>
              <a:gd name="connsiteY457" fmla="*/ 1654212 h 3912503"/>
              <a:gd name="connsiteX458" fmla="*/ 1624616 w 12192528"/>
              <a:gd name="connsiteY458" fmla="*/ 1644976 h 3912503"/>
              <a:gd name="connsiteX459" fmla="*/ 1626230 w 12192528"/>
              <a:gd name="connsiteY459" fmla="*/ 1650353 h 3912503"/>
              <a:gd name="connsiteX460" fmla="*/ 1629298 w 12192528"/>
              <a:gd name="connsiteY460" fmla="*/ 1657664 h 3912503"/>
              <a:gd name="connsiteX461" fmla="*/ 1628882 w 12192528"/>
              <a:gd name="connsiteY461" fmla="*/ 1663751 h 3912503"/>
              <a:gd name="connsiteX462" fmla="*/ 1705819 w 12192528"/>
              <a:gd name="connsiteY462" fmla="*/ 1684982 h 3912503"/>
              <a:gd name="connsiteX463" fmla="*/ 1760201 w 12192528"/>
              <a:gd name="connsiteY463" fmla="*/ 1703428 h 3912503"/>
              <a:gd name="connsiteX464" fmla="*/ 1760561 w 12192528"/>
              <a:gd name="connsiteY464" fmla="*/ 1700555 h 3912503"/>
              <a:gd name="connsiteX465" fmla="*/ 1773979 w 12192528"/>
              <a:gd name="connsiteY465" fmla="*/ 1690101 h 3912503"/>
              <a:gd name="connsiteX466" fmla="*/ 1777976 w 12192528"/>
              <a:gd name="connsiteY466" fmla="*/ 1689976 h 3912503"/>
              <a:gd name="connsiteX467" fmla="*/ 1680131 w 12192528"/>
              <a:gd name="connsiteY467" fmla="*/ 1659294 h 3912503"/>
              <a:gd name="connsiteX468" fmla="*/ 6077418 w 12192528"/>
              <a:gd name="connsiteY468" fmla="*/ 1643024 h 3912503"/>
              <a:gd name="connsiteX469" fmla="*/ 6132888 w 12192528"/>
              <a:gd name="connsiteY469" fmla="*/ 1688071 h 3912503"/>
              <a:gd name="connsiteX470" fmla="*/ 6180271 w 12192528"/>
              <a:gd name="connsiteY470" fmla="*/ 1731276 h 3912503"/>
              <a:gd name="connsiteX471" fmla="*/ 6227322 w 12192528"/>
              <a:gd name="connsiteY471" fmla="*/ 1770443 h 3912503"/>
              <a:gd name="connsiteX472" fmla="*/ 6225014 w 12192528"/>
              <a:gd name="connsiteY472" fmla="*/ 1769544 h 3912503"/>
              <a:gd name="connsiteX473" fmla="*/ 6228472 w 12192528"/>
              <a:gd name="connsiteY473" fmla="*/ 1777405 h 3912503"/>
              <a:gd name="connsiteX474" fmla="*/ 6228280 w 12192528"/>
              <a:gd name="connsiteY474" fmla="*/ 1781240 h 3912503"/>
              <a:gd name="connsiteX475" fmla="*/ 6105644 w 12192528"/>
              <a:gd name="connsiteY475" fmla="*/ 1694409 h 3912503"/>
              <a:gd name="connsiteX476" fmla="*/ 6026392 w 12192528"/>
              <a:gd name="connsiteY476" fmla="*/ 1663561 h 3912503"/>
              <a:gd name="connsiteX477" fmla="*/ 6238079 w 12192528"/>
              <a:gd name="connsiteY477" fmla="*/ 1816331 h 3912503"/>
              <a:gd name="connsiteX478" fmla="*/ 6304866 w 12192528"/>
              <a:gd name="connsiteY478" fmla="*/ 1865786 h 3912503"/>
              <a:gd name="connsiteX479" fmla="*/ 6292593 w 12192528"/>
              <a:gd name="connsiteY479" fmla="*/ 1880557 h 3912503"/>
              <a:gd name="connsiteX480" fmla="*/ 6315047 w 12192528"/>
              <a:gd name="connsiteY480" fmla="*/ 1893205 h 3912503"/>
              <a:gd name="connsiteX481" fmla="*/ 6319265 w 12192528"/>
              <a:gd name="connsiteY481" fmla="*/ 1885724 h 3912503"/>
              <a:gd name="connsiteX482" fmla="*/ 6430009 w 12192528"/>
              <a:gd name="connsiteY482" fmla="*/ 1979655 h 3912503"/>
              <a:gd name="connsiteX483" fmla="*/ 6477035 w 12192528"/>
              <a:gd name="connsiteY483" fmla="*/ 2039664 h 3912503"/>
              <a:gd name="connsiteX484" fmla="*/ 6535581 w 12192528"/>
              <a:gd name="connsiteY484" fmla="*/ 2100244 h 3912503"/>
              <a:gd name="connsiteX485" fmla="*/ 6513318 w 12192528"/>
              <a:gd name="connsiteY485" fmla="*/ 2083760 h 3912503"/>
              <a:gd name="connsiteX486" fmla="*/ 6512745 w 12192528"/>
              <a:gd name="connsiteY486" fmla="*/ 2095266 h 3912503"/>
              <a:gd name="connsiteX487" fmla="*/ 6552673 w 12192528"/>
              <a:gd name="connsiteY487" fmla="*/ 2143387 h 3912503"/>
              <a:gd name="connsiteX488" fmla="*/ 6563994 w 12192528"/>
              <a:gd name="connsiteY488" fmla="*/ 2147795 h 3912503"/>
              <a:gd name="connsiteX489" fmla="*/ 6572430 w 12192528"/>
              <a:gd name="connsiteY489" fmla="*/ 2132834 h 3912503"/>
              <a:gd name="connsiteX490" fmla="*/ 6619461 w 12192528"/>
              <a:gd name="connsiteY490" fmla="*/ 2192841 h 3912503"/>
              <a:gd name="connsiteX491" fmla="*/ 6677813 w 12192528"/>
              <a:gd name="connsiteY491" fmla="*/ 2257257 h 3912503"/>
              <a:gd name="connsiteX492" fmla="*/ 6685487 w 12192528"/>
              <a:gd name="connsiteY492" fmla="*/ 2257638 h 3912503"/>
              <a:gd name="connsiteX493" fmla="*/ 6691580 w 12192528"/>
              <a:gd name="connsiteY493" fmla="*/ 2266907 h 3912503"/>
              <a:gd name="connsiteX494" fmla="*/ 6688771 w 12192528"/>
              <a:gd name="connsiteY494" fmla="*/ 2223084 h 3912503"/>
              <a:gd name="connsiteX495" fmla="*/ 6667332 w 12192528"/>
              <a:gd name="connsiteY495" fmla="*/ 2197141 h 3912503"/>
              <a:gd name="connsiteX496" fmla="*/ 6629230 w 12192528"/>
              <a:gd name="connsiteY496" fmla="*/ 2151033 h 3912503"/>
              <a:gd name="connsiteX497" fmla="*/ 6603321 w 12192528"/>
              <a:gd name="connsiteY497" fmla="*/ 2130522 h 3912503"/>
              <a:gd name="connsiteX498" fmla="*/ 6493720 w 12192528"/>
              <a:gd name="connsiteY498" fmla="*/ 2013579 h 3912503"/>
              <a:gd name="connsiteX499" fmla="*/ 6439138 w 12192528"/>
              <a:gd name="connsiteY499" fmla="*/ 1960405 h 3912503"/>
              <a:gd name="connsiteX500" fmla="*/ 6391362 w 12192528"/>
              <a:gd name="connsiteY500" fmla="*/ 1908599 h 3912503"/>
              <a:gd name="connsiteX501" fmla="*/ 6398708 w 12192528"/>
              <a:gd name="connsiteY501" fmla="*/ 1912738 h 3912503"/>
              <a:gd name="connsiteX502" fmla="*/ 6391604 w 12192528"/>
              <a:gd name="connsiteY502" fmla="*/ 1900852 h 3912503"/>
              <a:gd name="connsiteX503" fmla="*/ 6387957 w 12192528"/>
              <a:gd name="connsiteY503" fmla="*/ 1896825 h 3912503"/>
              <a:gd name="connsiteX504" fmla="*/ 6391795 w 12192528"/>
              <a:gd name="connsiteY504" fmla="*/ 1897015 h 3912503"/>
              <a:gd name="connsiteX505" fmla="*/ 6494674 w 12192528"/>
              <a:gd name="connsiteY505" fmla="*/ 1994401 h 3912503"/>
              <a:gd name="connsiteX506" fmla="*/ 6499078 w 12192528"/>
              <a:gd name="connsiteY506" fmla="*/ 1983085 h 3912503"/>
              <a:gd name="connsiteX507" fmla="*/ 6469523 w 12192528"/>
              <a:gd name="connsiteY507" fmla="*/ 1958548 h 3912503"/>
              <a:gd name="connsiteX508" fmla="*/ 6425379 w 12192528"/>
              <a:gd name="connsiteY508" fmla="*/ 1917908 h 3912503"/>
              <a:gd name="connsiteX509" fmla="*/ 6274519 w 12192528"/>
              <a:gd name="connsiteY509" fmla="*/ 1779691 h 3912503"/>
              <a:gd name="connsiteX510" fmla="*/ 6255714 w 12192528"/>
              <a:gd name="connsiteY510" fmla="*/ 1771068 h 3912503"/>
              <a:gd name="connsiteX511" fmla="*/ 6188925 w 12192528"/>
              <a:gd name="connsiteY511" fmla="*/ 1721613 h 3912503"/>
              <a:gd name="connsiteX512" fmla="*/ 6181821 w 12192528"/>
              <a:gd name="connsiteY512" fmla="*/ 1709726 h 3912503"/>
              <a:gd name="connsiteX513" fmla="*/ 6148237 w 12192528"/>
              <a:gd name="connsiteY513" fmla="*/ 1688833 h 3912503"/>
              <a:gd name="connsiteX514" fmla="*/ 6155911 w 12192528"/>
              <a:gd name="connsiteY514" fmla="*/ 1689215 h 3912503"/>
              <a:gd name="connsiteX515" fmla="*/ 6077418 w 12192528"/>
              <a:gd name="connsiteY515" fmla="*/ 1643024 h 3912503"/>
              <a:gd name="connsiteX516" fmla="*/ 11329355 w 12192528"/>
              <a:gd name="connsiteY516" fmla="*/ 1626097 h 3912503"/>
              <a:gd name="connsiteX517" fmla="*/ 11300277 w 12192528"/>
              <a:gd name="connsiteY517" fmla="*/ 1635142 h 3912503"/>
              <a:gd name="connsiteX518" fmla="*/ 11306517 w 12192528"/>
              <a:gd name="connsiteY518" fmla="*/ 1642970 h 3912503"/>
              <a:gd name="connsiteX519" fmla="*/ 11307007 w 12192528"/>
              <a:gd name="connsiteY519" fmla="*/ 1642790 h 3912503"/>
              <a:gd name="connsiteX520" fmla="*/ 11330543 w 12192528"/>
              <a:gd name="connsiteY520" fmla="*/ 1636224 h 3912503"/>
              <a:gd name="connsiteX521" fmla="*/ 11344214 w 12192528"/>
              <a:gd name="connsiteY521" fmla="*/ 1630503 h 3912503"/>
              <a:gd name="connsiteX522" fmla="*/ 5013373 w 12192528"/>
              <a:gd name="connsiteY522" fmla="*/ 1622666 h 3912503"/>
              <a:gd name="connsiteX523" fmla="*/ 4995051 w 12192528"/>
              <a:gd name="connsiteY523" fmla="*/ 1629235 h 3912503"/>
              <a:gd name="connsiteX524" fmla="*/ 5017133 w 12192528"/>
              <a:gd name="connsiteY524" fmla="*/ 1638717 h 3912503"/>
              <a:gd name="connsiteX525" fmla="*/ 5467232 w 12192528"/>
              <a:gd name="connsiteY525" fmla="*/ 1694834 h 3912503"/>
              <a:gd name="connsiteX526" fmla="*/ 5484494 w 12192528"/>
              <a:gd name="connsiteY526" fmla="*/ 1697630 h 3912503"/>
              <a:gd name="connsiteX527" fmla="*/ 5493337 w 12192528"/>
              <a:gd name="connsiteY527" fmla="*/ 1713144 h 3912503"/>
              <a:gd name="connsiteX528" fmla="*/ 5477153 w 12192528"/>
              <a:gd name="connsiteY528" fmla="*/ 1720514 h 3912503"/>
              <a:gd name="connsiteX529" fmla="*/ 5389251 w 12192528"/>
              <a:gd name="connsiteY529" fmla="*/ 1700765 h 3912503"/>
              <a:gd name="connsiteX530" fmla="*/ 5356133 w 12192528"/>
              <a:gd name="connsiteY530" fmla="*/ 1696011 h 3912503"/>
              <a:gd name="connsiteX531" fmla="*/ 5497172 w 12192528"/>
              <a:gd name="connsiteY531" fmla="*/ 1734144 h 3912503"/>
              <a:gd name="connsiteX532" fmla="*/ 6108276 w 12192528"/>
              <a:gd name="connsiteY532" fmla="*/ 2074822 h 3912503"/>
              <a:gd name="connsiteX533" fmla="*/ 6146858 w 12192528"/>
              <a:gd name="connsiteY533" fmla="*/ 2109890 h 3912503"/>
              <a:gd name="connsiteX534" fmla="*/ 6149367 w 12192528"/>
              <a:gd name="connsiteY534" fmla="*/ 2111743 h 3912503"/>
              <a:gd name="connsiteX535" fmla="*/ 6176331 w 12192528"/>
              <a:gd name="connsiteY535" fmla="*/ 2127293 h 3912503"/>
              <a:gd name="connsiteX536" fmla="*/ 6241887 w 12192528"/>
              <a:gd name="connsiteY536" fmla="*/ 2190772 h 3912503"/>
              <a:gd name="connsiteX537" fmla="*/ 6350117 w 12192528"/>
              <a:gd name="connsiteY537" fmla="*/ 2287711 h 3912503"/>
              <a:gd name="connsiteX538" fmla="*/ 6461731 w 12192528"/>
              <a:gd name="connsiteY538" fmla="*/ 2410512 h 3912503"/>
              <a:gd name="connsiteX539" fmla="*/ 6471242 w 12192528"/>
              <a:gd name="connsiteY539" fmla="*/ 2384680 h 3912503"/>
              <a:gd name="connsiteX540" fmla="*/ 6448551 w 12192528"/>
              <a:gd name="connsiteY540" fmla="*/ 2352402 h 3912503"/>
              <a:gd name="connsiteX541" fmla="*/ 6317077 w 12192528"/>
              <a:gd name="connsiteY541" fmla="*/ 2211359 h 3912503"/>
              <a:gd name="connsiteX542" fmla="*/ 6238422 w 12192528"/>
              <a:gd name="connsiteY542" fmla="*/ 2132113 h 3912503"/>
              <a:gd name="connsiteX543" fmla="*/ 6230286 w 12192528"/>
              <a:gd name="connsiteY543" fmla="*/ 2126362 h 3912503"/>
              <a:gd name="connsiteX544" fmla="*/ 6230166 w 12192528"/>
              <a:gd name="connsiteY544" fmla="*/ 2122666 h 3912503"/>
              <a:gd name="connsiteX545" fmla="*/ 6185979 w 12192528"/>
              <a:gd name="connsiteY545" fmla="*/ 2083352 h 3912503"/>
              <a:gd name="connsiteX546" fmla="*/ 6231235 w 12192528"/>
              <a:gd name="connsiteY546" fmla="*/ 2116002 h 3912503"/>
              <a:gd name="connsiteX547" fmla="*/ 6238420 w 12192528"/>
              <a:gd name="connsiteY547" fmla="*/ 2110045 h 3912503"/>
              <a:gd name="connsiteX548" fmla="*/ 6249447 w 12192528"/>
              <a:gd name="connsiteY548" fmla="*/ 2111328 h 3912503"/>
              <a:gd name="connsiteX549" fmla="*/ 6291377 w 12192528"/>
              <a:gd name="connsiteY549" fmla="*/ 2141096 h 3912503"/>
              <a:gd name="connsiteX550" fmla="*/ 6394627 w 12192528"/>
              <a:gd name="connsiteY550" fmla="*/ 2245789 h 3912503"/>
              <a:gd name="connsiteX551" fmla="*/ 6436562 w 12192528"/>
              <a:gd name="connsiteY551" fmla="*/ 2293242 h 3912503"/>
              <a:gd name="connsiteX552" fmla="*/ 6437768 w 12192528"/>
              <a:gd name="connsiteY552" fmla="*/ 2294418 h 3912503"/>
              <a:gd name="connsiteX553" fmla="*/ 6440279 w 12192528"/>
              <a:gd name="connsiteY553" fmla="*/ 2297454 h 3912503"/>
              <a:gd name="connsiteX554" fmla="*/ 6443729 w 12192528"/>
              <a:gd name="connsiteY554" fmla="*/ 2301354 h 3912503"/>
              <a:gd name="connsiteX555" fmla="*/ 6444971 w 12192528"/>
              <a:gd name="connsiteY555" fmla="*/ 2303119 h 3912503"/>
              <a:gd name="connsiteX556" fmla="*/ 6483937 w 12192528"/>
              <a:gd name="connsiteY556" fmla="*/ 2350194 h 3912503"/>
              <a:gd name="connsiteX557" fmla="*/ 6488663 w 12192528"/>
              <a:gd name="connsiteY557" fmla="*/ 2337349 h 3912503"/>
              <a:gd name="connsiteX558" fmla="*/ 6433933 w 12192528"/>
              <a:gd name="connsiteY558" fmla="*/ 2261706 h 3912503"/>
              <a:gd name="connsiteX559" fmla="*/ 6285011 w 12192528"/>
              <a:gd name="connsiteY559" fmla="*/ 2099996 h 3912503"/>
              <a:gd name="connsiteX560" fmla="*/ 6267052 w 12192528"/>
              <a:gd name="connsiteY560" fmla="*/ 2081952 h 3912503"/>
              <a:gd name="connsiteX561" fmla="*/ 6252693 w 12192528"/>
              <a:gd name="connsiteY561" fmla="*/ 2068951 h 3912503"/>
              <a:gd name="connsiteX562" fmla="*/ 6251057 w 12192528"/>
              <a:gd name="connsiteY562" fmla="*/ 2065525 h 3912503"/>
              <a:gd name="connsiteX563" fmla="*/ 6061716 w 12192528"/>
              <a:gd name="connsiteY563" fmla="*/ 1909575 h 3912503"/>
              <a:gd name="connsiteX564" fmla="*/ 5837514 w 12192528"/>
              <a:gd name="connsiteY564" fmla="*/ 1772266 h 3912503"/>
              <a:gd name="connsiteX565" fmla="*/ 5717199 w 12192528"/>
              <a:gd name="connsiteY565" fmla="*/ 1719450 h 3912503"/>
              <a:gd name="connsiteX566" fmla="*/ 5584900 w 12192528"/>
              <a:gd name="connsiteY566" fmla="*/ 1679208 h 3912503"/>
              <a:gd name="connsiteX567" fmla="*/ 5440035 w 12192528"/>
              <a:gd name="connsiteY567" fmla="*/ 1646823 h 3912503"/>
              <a:gd name="connsiteX568" fmla="*/ 5365518 w 12192528"/>
              <a:gd name="connsiteY568" fmla="*/ 1647015 h 3912503"/>
              <a:gd name="connsiteX569" fmla="*/ 5310532 w 12192528"/>
              <a:gd name="connsiteY569" fmla="*/ 1647190 h 3912503"/>
              <a:gd name="connsiteX570" fmla="*/ 5013373 w 12192528"/>
              <a:gd name="connsiteY570" fmla="*/ 1622666 h 3912503"/>
              <a:gd name="connsiteX571" fmla="*/ 5786006 w 12192528"/>
              <a:gd name="connsiteY571" fmla="*/ 1611402 h 3912503"/>
              <a:gd name="connsiteX572" fmla="*/ 5786068 w 12192528"/>
              <a:gd name="connsiteY572" fmla="*/ 1611427 h 3912503"/>
              <a:gd name="connsiteX573" fmla="*/ 5786068 w 12192528"/>
              <a:gd name="connsiteY573" fmla="*/ 1611402 h 3912503"/>
              <a:gd name="connsiteX574" fmla="*/ 1093926 w 12192528"/>
              <a:gd name="connsiteY574" fmla="*/ 1607896 h 3912503"/>
              <a:gd name="connsiteX575" fmla="*/ 901810 w 12192528"/>
              <a:gd name="connsiteY575" fmla="*/ 1611873 h 3912503"/>
              <a:gd name="connsiteX576" fmla="*/ 840924 w 12192528"/>
              <a:gd name="connsiteY576" fmla="*/ 1618840 h 3912503"/>
              <a:gd name="connsiteX577" fmla="*/ 843366 w 12192528"/>
              <a:gd name="connsiteY577" fmla="*/ 1626503 h 3912503"/>
              <a:gd name="connsiteX578" fmla="*/ 846438 w 12192528"/>
              <a:gd name="connsiteY578" fmla="*/ 1634787 h 3912503"/>
              <a:gd name="connsiteX579" fmla="*/ 846438 w 12192528"/>
              <a:gd name="connsiteY579" fmla="*/ 1638466 h 3912503"/>
              <a:gd name="connsiteX580" fmla="*/ 842751 w 12192528"/>
              <a:gd name="connsiteY580" fmla="*/ 1645828 h 3912503"/>
              <a:gd name="connsiteX581" fmla="*/ 842591 w 12192528"/>
              <a:gd name="connsiteY581" fmla="*/ 1646042 h 3912503"/>
              <a:gd name="connsiteX582" fmla="*/ 923277 w 12192528"/>
              <a:gd name="connsiteY582" fmla="*/ 1638023 h 3912503"/>
              <a:gd name="connsiteX583" fmla="*/ 1298386 w 12192528"/>
              <a:gd name="connsiteY583" fmla="*/ 1647780 h 3912503"/>
              <a:gd name="connsiteX584" fmla="*/ 1429781 w 12192528"/>
              <a:gd name="connsiteY584" fmla="*/ 1668711 h 3912503"/>
              <a:gd name="connsiteX585" fmla="*/ 1539651 w 12192528"/>
              <a:gd name="connsiteY585" fmla="*/ 1692705 h 3912503"/>
              <a:gd name="connsiteX586" fmla="*/ 1540816 w 12192528"/>
              <a:gd name="connsiteY586" fmla="*/ 1691624 h 3912503"/>
              <a:gd name="connsiteX587" fmla="*/ 1541996 w 12192528"/>
              <a:gd name="connsiteY587" fmla="*/ 1684313 h 3912503"/>
              <a:gd name="connsiteX588" fmla="*/ 1535625 w 12192528"/>
              <a:gd name="connsiteY588" fmla="*/ 1685728 h 3912503"/>
              <a:gd name="connsiteX589" fmla="*/ 1530670 w 12192528"/>
              <a:gd name="connsiteY589" fmla="*/ 1689737 h 3912503"/>
              <a:gd name="connsiteX590" fmla="*/ 1525950 w 12192528"/>
              <a:gd name="connsiteY590" fmla="*/ 1686671 h 3912503"/>
              <a:gd name="connsiteX591" fmla="*/ 1531142 w 12192528"/>
              <a:gd name="connsiteY591" fmla="*/ 1673229 h 3912503"/>
              <a:gd name="connsiteX592" fmla="*/ 1531142 w 12192528"/>
              <a:gd name="connsiteY592" fmla="*/ 1666469 h 3912503"/>
              <a:gd name="connsiteX593" fmla="*/ 1472889 w 12192528"/>
              <a:gd name="connsiteY593" fmla="*/ 1653805 h 3912503"/>
              <a:gd name="connsiteX594" fmla="*/ 1093926 w 12192528"/>
              <a:gd name="connsiteY594" fmla="*/ 1607896 h 3912503"/>
              <a:gd name="connsiteX595" fmla="*/ 11301516 w 12192528"/>
              <a:gd name="connsiteY595" fmla="*/ 1604577 h 3912503"/>
              <a:gd name="connsiteX596" fmla="*/ 11301162 w 12192528"/>
              <a:gd name="connsiteY596" fmla="*/ 1604783 h 3912503"/>
              <a:gd name="connsiteX597" fmla="*/ 11281366 w 12192528"/>
              <a:gd name="connsiteY597" fmla="*/ 1611416 h 3912503"/>
              <a:gd name="connsiteX598" fmla="*/ 11292353 w 12192528"/>
              <a:gd name="connsiteY598" fmla="*/ 1625201 h 3912503"/>
              <a:gd name="connsiteX599" fmla="*/ 11315108 w 12192528"/>
              <a:gd name="connsiteY599" fmla="*/ 1618298 h 3912503"/>
              <a:gd name="connsiteX600" fmla="*/ 5818474 w 12192528"/>
              <a:gd name="connsiteY600" fmla="*/ 1603296 h 3912503"/>
              <a:gd name="connsiteX601" fmla="*/ 5822072 w 12192528"/>
              <a:gd name="connsiteY601" fmla="*/ 1604196 h 3912503"/>
              <a:gd name="connsiteX602" fmla="*/ 5818474 w 12192528"/>
              <a:gd name="connsiteY602" fmla="*/ 1604197 h 3912503"/>
              <a:gd name="connsiteX603" fmla="*/ 11443269 w 12192528"/>
              <a:gd name="connsiteY603" fmla="*/ 1601367 h 3912503"/>
              <a:gd name="connsiteX604" fmla="*/ 11438669 w 12192528"/>
              <a:gd name="connsiteY604" fmla="*/ 1604113 h 3912503"/>
              <a:gd name="connsiteX605" fmla="*/ 11429110 w 12192528"/>
              <a:gd name="connsiteY605" fmla="*/ 1604828 h 3912503"/>
              <a:gd name="connsiteX606" fmla="*/ 11436101 w 12192528"/>
              <a:gd name="connsiteY606" fmla="*/ 1601902 h 3912503"/>
              <a:gd name="connsiteX607" fmla="*/ 11438490 w 12192528"/>
              <a:gd name="connsiteY607" fmla="*/ 1601724 h 3912503"/>
              <a:gd name="connsiteX608" fmla="*/ 11440879 w 12192528"/>
              <a:gd name="connsiteY608" fmla="*/ 1601545 h 3912503"/>
              <a:gd name="connsiteX609" fmla="*/ 3850133 w 12192528"/>
              <a:gd name="connsiteY609" fmla="*/ 1600633 h 3912503"/>
              <a:gd name="connsiteX610" fmla="*/ 3853369 w 12192528"/>
              <a:gd name="connsiteY610" fmla="*/ 1602700 h 3912503"/>
              <a:gd name="connsiteX611" fmla="*/ 3842616 w 12192528"/>
              <a:gd name="connsiteY611" fmla="*/ 1606720 h 3912503"/>
              <a:gd name="connsiteX612" fmla="*/ 5807670 w 12192528"/>
              <a:gd name="connsiteY612" fmla="*/ 1600592 h 3912503"/>
              <a:gd name="connsiteX613" fmla="*/ 5818474 w 12192528"/>
              <a:gd name="connsiteY613" fmla="*/ 1618609 h 3912503"/>
              <a:gd name="connsiteX614" fmla="*/ 5789670 w 12192528"/>
              <a:gd name="connsiteY614" fmla="*/ 1611403 h 3912503"/>
              <a:gd name="connsiteX615" fmla="*/ 5788641 w 12192528"/>
              <a:gd name="connsiteY615" fmla="*/ 1612432 h 3912503"/>
              <a:gd name="connsiteX616" fmla="*/ 5810097 w 12192528"/>
              <a:gd name="connsiteY616" fmla="*/ 1620819 h 3912503"/>
              <a:gd name="connsiteX617" fmla="*/ 5851378 w 12192528"/>
              <a:gd name="connsiteY617" fmla="*/ 1642319 h 3912503"/>
              <a:gd name="connsiteX618" fmla="*/ 5853574 w 12192528"/>
              <a:gd name="connsiteY618" fmla="*/ 1635726 h 3912503"/>
              <a:gd name="connsiteX619" fmla="*/ 5861676 w 12192528"/>
              <a:gd name="connsiteY619" fmla="*/ 1633022 h 3912503"/>
              <a:gd name="connsiteX620" fmla="*/ 5843675 w 12192528"/>
              <a:gd name="connsiteY620" fmla="*/ 1615007 h 3912503"/>
              <a:gd name="connsiteX621" fmla="*/ 5850874 w 12192528"/>
              <a:gd name="connsiteY621" fmla="*/ 1618609 h 3912503"/>
              <a:gd name="connsiteX622" fmla="*/ 5858075 w 12192528"/>
              <a:gd name="connsiteY622" fmla="*/ 1622213 h 3912503"/>
              <a:gd name="connsiteX623" fmla="*/ 5854475 w 12192528"/>
              <a:gd name="connsiteY623" fmla="*/ 1618609 h 3912503"/>
              <a:gd name="connsiteX624" fmla="*/ 5847277 w 12192528"/>
              <a:gd name="connsiteY624" fmla="*/ 1615007 h 3912503"/>
              <a:gd name="connsiteX625" fmla="*/ 5843675 w 12192528"/>
              <a:gd name="connsiteY625" fmla="*/ 1611403 h 3912503"/>
              <a:gd name="connsiteX626" fmla="*/ 5825672 w 12192528"/>
              <a:gd name="connsiteY626" fmla="*/ 1600593 h 3912503"/>
              <a:gd name="connsiteX627" fmla="*/ 5822072 w 12192528"/>
              <a:gd name="connsiteY627" fmla="*/ 1600593 h 3912503"/>
              <a:gd name="connsiteX628" fmla="*/ 5818474 w 12192528"/>
              <a:gd name="connsiteY628" fmla="*/ 1600593 h 3912503"/>
              <a:gd name="connsiteX629" fmla="*/ 5818474 w 12192528"/>
              <a:gd name="connsiteY629" fmla="*/ 1603296 h 3912503"/>
              <a:gd name="connsiteX630" fmla="*/ 5814872 w 12192528"/>
              <a:gd name="connsiteY630" fmla="*/ 1602395 h 3912503"/>
              <a:gd name="connsiteX631" fmla="*/ 5807670 w 12192528"/>
              <a:gd name="connsiteY631" fmla="*/ 1600592 h 3912503"/>
              <a:gd name="connsiteX632" fmla="*/ 12017190 w 12192528"/>
              <a:gd name="connsiteY632" fmla="*/ 1596902 h 3912503"/>
              <a:gd name="connsiteX633" fmla="*/ 12014802 w 12192528"/>
              <a:gd name="connsiteY633" fmla="*/ 1597080 h 3912503"/>
              <a:gd name="connsiteX634" fmla="*/ 12012412 w 12192528"/>
              <a:gd name="connsiteY634" fmla="*/ 1597258 h 3912503"/>
              <a:gd name="connsiteX635" fmla="*/ 12011728 w 12192528"/>
              <a:gd name="connsiteY635" fmla="*/ 1596978 h 3912503"/>
              <a:gd name="connsiteX636" fmla="*/ 5729195 w 12192528"/>
              <a:gd name="connsiteY636" fmla="*/ 1588094 h 3912503"/>
              <a:gd name="connsiteX637" fmla="*/ 5727368 w 12192528"/>
              <a:gd name="connsiteY637" fmla="*/ 1588484 h 3912503"/>
              <a:gd name="connsiteX638" fmla="*/ 5750519 w 12192528"/>
              <a:gd name="connsiteY638" fmla="*/ 1597531 h 3912503"/>
              <a:gd name="connsiteX639" fmla="*/ 5741513 w 12192528"/>
              <a:gd name="connsiteY639" fmla="*/ 1592486 h 3912503"/>
              <a:gd name="connsiteX640" fmla="*/ 5729195 w 12192528"/>
              <a:gd name="connsiteY640" fmla="*/ 1588094 h 3912503"/>
              <a:gd name="connsiteX641" fmla="*/ 6445161 w 12192528"/>
              <a:gd name="connsiteY641" fmla="*/ 1583619 h 3912503"/>
              <a:gd name="connsiteX642" fmla="*/ 6458402 w 12192528"/>
              <a:gd name="connsiteY642" fmla="*/ 1601272 h 3912503"/>
              <a:gd name="connsiteX643" fmla="*/ 6467224 w 12192528"/>
              <a:gd name="connsiteY643" fmla="*/ 1596859 h 3912503"/>
              <a:gd name="connsiteX644" fmla="*/ 6493708 w 12192528"/>
              <a:gd name="connsiteY644" fmla="*/ 1623339 h 3912503"/>
              <a:gd name="connsiteX645" fmla="*/ 6480468 w 12192528"/>
              <a:gd name="connsiteY645" fmla="*/ 1614513 h 3912503"/>
              <a:gd name="connsiteX646" fmla="*/ 6559906 w 12192528"/>
              <a:gd name="connsiteY646" fmla="*/ 1676299 h 3912503"/>
              <a:gd name="connsiteX647" fmla="*/ 6648172 w 12192528"/>
              <a:gd name="connsiteY647" fmla="*/ 1738086 h 3912503"/>
              <a:gd name="connsiteX648" fmla="*/ 6648172 w 12192528"/>
              <a:gd name="connsiteY648" fmla="*/ 1746913 h 3912503"/>
              <a:gd name="connsiteX649" fmla="*/ 6718784 w 12192528"/>
              <a:gd name="connsiteY649" fmla="*/ 1813113 h 3912503"/>
              <a:gd name="connsiteX650" fmla="*/ 6745263 w 12192528"/>
              <a:gd name="connsiteY650" fmla="*/ 1839593 h 3912503"/>
              <a:gd name="connsiteX651" fmla="*/ 6758503 w 12192528"/>
              <a:gd name="connsiteY651" fmla="*/ 1848420 h 3912503"/>
              <a:gd name="connsiteX652" fmla="*/ 6776157 w 12192528"/>
              <a:gd name="connsiteY652" fmla="*/ 1870486 h 3912503"/>
              <a:gd name="connsiteX653" fmla="*/ 6820290 w 12192528"/>
              <a:gd name="connsiteY653" fmla="*/ 1910206 h 3912503"/>
              <a:gd name="connsiteX654" fmla="*/ 6860009 w 12192528"/>
              <a:gd name="connsiteY654" fmla="*/ 1949926 h 3912503"/>
              <a:gd name="connsiteX655" fmla="*/ 6881151 w 12192528"/>
              <a:gd name="connsiteY655" fmla="*/ 1971614 h 3912503"/>
              <a:gd name="connsiteX656" fmla="*/ 6931108 w 12192528"/>
              <a:gd name="connsiteY656" fmla="*/ 1901353 h 3912503"/>
              <a:gd name="connsiteX657" fmla="*/ 6873248 w 12192528"/>
              <a:gd name="connsiteY657" fmla="*/ 1857246 h 3912503"/>
              <a:gd name="connsiteX658" fmla="*/ 6736436 w 12192528"/>
              <a:gd name="connsiteY658" fmla="*/ 1764566 h 3912503"/>
              <a:gd name="connsiteX659" fmla="*/ 6749678 w 12192528"/>
              <a:gd name="connsiteY659" fmla="*/ 1755739 h 3912503"/>
              <a:gd name="connsiteX660" fmla="*/ 6652584 w 12192528"/>
              <a:gd name="connsiteY660" fmla="*/ 1702780 h 3912503"/>
              <a:gd name="connsiteX661" fmla="*/ 6551080 w 12192528"/>
              <a:gd name="connsiteY661" fmla="*/ 1645405 h 3912503"/>
              <a:gd name="connsiteX662" fmla="*/ 6555490 w 12192528"/>
              <a:gd name="connsiteY662" fmla="*/ 1645405 h 3912503"/>
              <a:gd name="connsiteX663" fmla="*/ 6551080 w 12192528"/>
              <a:gd name="connsiteY663" fmla="*/ 1636580 h 3912503"/>
              <a:gd name="connsiteX664" fmla="*/ 6551080 w 12192528"/>
              <a:gd name="connsiteY664" fmla="*/ 1632165 h 3912503"/>
              <a:gd name="connsiteX665" fmla="*/ 6529013 w 12192528"/>
              <a:gd name="connsiteY665" fmla="*/ 1623339 h 3912503"/>
              <a:gd name="connsiteX666" fmla="*/ 6520186 w 12192528"/>
              <a:gd name="connsiteY666" fmla="*/ 1614513 h 3912503"/>
              <a:gd name="connsiteX667" fmla="*/ 6515773 w 12192528"/>
              <a:gd name="connsiteY667" fmla="*/ 1614513 h 3912503"/>
              <a:gd name="connsiteX668" fmla="*/ 6515773 w 12192528"/>
              <a:gd name="connsiteY668" fmla="*/ 1618926 h 3912503"/>
              <a:gd name="connsiteX669" fmla="*/ 6458402 w 12192528"/>
              <a:gd name="connsiteY669" fmla="*/ 1583619 h 3912503"/>
              <a:gd name="connsiteX670" fmla="*/ 6445161 w 12192528"/>
              <a:gd name="connsiteY670" fmla="*/ 1583619 h 3912503"/>
              <a:gd name="connsiteX671" fmla="*/ 1284334 w 12192528"/>
              <a:gd name="connsiteY671" fmla="*/ 1582209 h 3912503"/>
              <a:gd name="connsiteX672" fmla="*/ 1307754 w 12192528"/>
              <a:gd name="connsiteY672" fmla="*/ 1597821 h 3912503"/>
              <a:gd name="connsiteX673" fmla="*/ 1535475 w 12192528"/>
              <a:gd name="connsiteY673" fmla="*/ 1641297 h 3912503"/>
              <a:gd name="connsiteX674" fmla="*/ 1538692 w 12192528"/>
              <a:gd name="connsiteY674" fmla="*/ 1635732 h 3912503"/>
              <a:gd name="connsiteX675" fmla="*/ 1538928 w 12192528"/>
              <a:gd name="connsiteY675" fmla="*/ 1630072 h 3912503"/>
              <a:gd name="connsiteX676" fmla="*/ 1537040 w 12192528"/>
              <a:gd name="connsiteY676" fmla="*/ 1626299 h 3912503"/>
              <a:gd name="connsiteX677" fmla="*/ 1541051 w 12192528"/>
              <a:gd name="connsiteY677" fmla="*/ 1623705 h 3912503"/>
              <a:gd name="connsiteX678" fmla="*/ 1541754 w 12192528"/>
              <a:gd name="connsiteY678" fmla="*/ 1623604 h 3912503"/>
              <a:gd name="connsiteX679" fmla="*/ 1524925 w 12192528"/>
              <a:gd name="connsiteY679" fmla="*/ 1619264 h 3912503"/>
              <a:gd name="connsiteX680" fmla="*/ 1367084 w 12192528"/>
              <a:gd name="connsiteY680" fmla="*/ 1588454 h 3912503"/>
              <a:gd name="connsiteX681" fmla="*/ 1284334 w 12192528"/>
              <a:gd name="connsiteY681" fmla="*/ 1582209 h 3912503"/>
              <a:gd name="connsiteX682" fmla="*/ 11263868 w 12192528"/>
              <a:gd name="connsiteY682" fmla="*/ 1571431 h 3912503"/>
              <a:gd name="connsiteX683" fmla="*/ 11253650 w 12192528"/>
              <a:gd name="connsiteY683" fmla="*/ 1575897 h 3912503"/>
              <a:gd name="connsiteX684" fmla="*/ 11253252 w 12192528"/>
              <a:gd name="connsiteY684" fmla="*/ 1576142 h 3912503"/>
              <a:gd name="connsiteX685" fmla="*/ 11254953 w 12192528"/>
              <a:gd name="connsiteY685" fmla="*/ 1578278 h 3912503"/>
              <a:gd name="connsiteX686" fmla="*/ 11256793 w 12192528"/>
              <a:gd name="connsiteY686" fmla="*/ 1577764 h 3912503"/>
              <a:gd name="connsiteX687" fmla="*/ 11265806 w 12192528"/>
              <a:gd name="connsiteY687" fmla="*/ 1573787 h 3912503"/>
              <a:gd name="connsiteX688" fmla="*/ 11266135 w 12192528"/>
              <a:gd name="connsiteY688" fmla="*/ 1573407 h 3912503"/>
              <a:gd name="connsiteX689" fmla="*/ 11625824 w 12192528"/>
              <a:gd name="connsiteY689" fmla="*/ 1568495 h 3912503"/>
              <a:gd name="connsiteX690" fmla="*/ 11626002 w 12192528"/>
              <a:gd name="connsiteY690" fmla="*/ 1570885 h 3912503"/>
              <a:gd name="connsiteX691" fmla="*/ 11623613 w 12192528"/>
              <a:gd name="connsiteY691" fmla="*/ 1571063 h 3912503"/>
              <a:gd name="connsiteX692" fmla="*/ 11625824 w 12192528"/>
              <a:gd name="connsiteY692" fmla="*/ 1568495 h 3912503"/>
              <a:gd name="connsiteX693" fmla="*/ 2526989 w 12192528"/>
              <a:gd name="connsiteY693" fmla="*/ 1561572 h 3912503"/>
              <a:gd name="connsiteX694" fmla="*/ 2535640 w 12192528"/>
              <a:gd name="connsiteY694" fmla="*/ 1565856 h 3912503"/>
              <a:gd name="connsiteX695" fmla="*/ 2540542 w 12192528"/>
              <a:gd name="connsiteY695" fmla="*/ 1568448 h 3912503"/>
              <a:gd name="connsiteX696" fmla="*/ 2546021 w 12192528"/>
              <a:gd name="connsiteY696" fmla="*/ 1573057 h 3912503"/>
              <a:gd name="connsiteX697" fmla="*/ 2549482 w 12192528"/>
              <a:gd name="connsiteY697" fmla="*/ 1577665 h 3912503"/>
              <a:gd name="connsiteX698" fmla="*/ 2553520 w 12192528"/>
              <a:gd name="connsiteY698" fmla="*/ 1590338 h 3912503"/>
              <a:gd name="connsiteX699" fmla="*/ 2556404 w 12192528"/>
              <a:gd name="connsiteY699" fmla="*/ 1598115 h 3912503"/>
              <a:gd name="connsiteX700" fmla="*/ 2556404 w 12192528"/>
              <a:gd name="connsiteY700" fmla="*/ 1601571 h 3912503"/>
              <a:gd name="connsiteX701" fmla="*/ 2552942 w 12192528"/>
              <a:gd name="connsiteY701" fmla="*/ 1608483 h 3912503"/>
              <a:gd name="connsiteX702" fmla="*/ 2545156 w 12192528"/>
              <a:gd name="connsiteY702" fmla="*/ 1618853 h 3912503"/>
              <a:gd name="connsiteX703" fmla="*/ 2543138 w 12192528"/>
              <a:gd name="connsiteY703" fmla="*/ 1622885 h 3912503"/>
              <a:gd name="connsiteX704" fmla="*/ 2539677 w 12192528"/>
              <a:gd name="connsiteY704" fmla="*/ 1624324 h 3912503"/>
              <a:gd name="connsiteX705" fmla="*/ 2533044 w 12192528"/>
              <a:gd name="connsiteY705" fmla="*/ 1626341 h 3912503"/>
              <a:gd name="connsiteX706" fmla="*/ 2530737 w 12192528"/>
              <a:gd name="connsiteY706" fmla="*/ 1627493 h 3912503"/>
              <a:gd name="connsiteX707" fmla="*/ 2521509 w 12192528"/>
              <a:gd name="connsiteY707" fmla="*/ 1628645 h 3912503"/>
              <a:gd name="connsiteX708" fmla="*/ 2519489 w 12192528"/>
              <a:gd name="connsiteY708" fmla="*/ 1629221 h 3912503"/>
              <a:gd name="connsiteX709" fmla="*/ 2499014 w 12192528"/>
              <a:gd name="connsiteY709" fmla="*/ 1616260 h 3912503"/>
              <a:gd name="connsiteX710" fmla="*/ 2492670 w 12192528"/>
              <a:gd name="connsiteY710" fmla="*/ 1604452 h 3912503"/>
              <a:gd name="connsiteX711" fmla="*/ 2490651 w 12192528"/>
              <a:gd name="connsiteY711" fmla="*/ 1599555 h 3912503"/>
              <a:gd name="connsiteX712" fmla="*/ 2490362 w 12192528"/>
              <a:gd name="connsiteY712" fmla="*/ 1594658 h 3912503"/>
              <a:gd name="connsiteX713" fmla="*/ 2491228 w 12192528"/>
              <a:gd name="connsiteY713" fmla="*/ 1590914 h 3912503"/>
              <a:gd name="connsiteX714" fmla="*/ 2492670 w 12192528"/>
              <a:gd name="connsiteY714" fmla="*/ 1583138 h 3912503"/>
              <a:gd name="connsiteX715" fmla="*/ 2492958 w 12192528"/>
              <a:gd name="connsiteY715" fmla="*/ 1580257 h 3912503"/>
              <a:gd name="connsiteX716" fmla="*/ 2493823 w 12192528"/>
              <a:gd name="connsiteY716" fmla="*/ 1573344 h 3912503"/>
              <a:gd name="connsiteX717" fmla="*/ 2508243 w 12192528"/>
              <a:gd name="connsiteY717" fmla="*/ 1562111 h 3912503"/>
              <a:gd name="connsiteX718" fmla="*/ 2517471 w 12192528"/>
              <a:gd name="connsiteY718" fmla="*/ 1561824 h 3912503"/>
              <a:gd name="connsiteX719" fmla="*/ 2526989 w 12192528"/>
              <a:gd name="connsiteY719" fmla="*/ 1561572 h 3912503"/>
              <a:gd name="connsiteX720" fmla="*/ 11737946 w 12192528"/>
              <a:gd name="connsiteY720" fmla="*/ 1557710 h 3912503"/>
              <a:gd name="connsiteX721" fmla="*/ 11735556 w 12192528"/>
              <a:gd name="connsiteY721" fmla="*/ 1557889 h 3912503"/>
              <a:gd name="connsiteX722" fmla="*/ 11735549 w 12192528"/>
              <a:gd name="connsiteY722" fmla="*/ 1557776 h 3912503"/>
              <a:gd name="connsiteX723" fmla="*/ 11740157 w 12192528"/>
              <a:gd name="connsiteY723" fmla="*/ 1555142 h 3912503"/>
              <a:gd name="connsiteX724" fmla="*/ 11740023 w 12192528"/>
              <a:gd name="connsiteY724" fmla="*/ 1555298 h 3912503"/>
              <a:gd name="connsiteX725" fmla="*/ 11737766 w 12192528"/>
              <a:gd name="connsiteY725" fmla="*/ 1555321 h 3912503"/>
              <a:gd name="connsiteX726" fmla="*/ 11740157 w 12192528"/>
              <a:gd name="connsiteY726" fmla="*/ 1555142 h 3912503"/>
              <a:gd name="connsiteX727" fmla="*/ 11245767 w 12192528"/>
              <a:gd name="connsiteY727" fmla="*/ 1554323 h 3912503"/>
              <a:gd name="connsiteX728" fmla="*/ 11236367 w 12192528"/>
              <a:gd name="connsiteY728" fmla="*/ 1558672 h 3912503"/>
              <a:gd name="connsiteX729" fmla="*/ 11242962 w 12192528"/>
              <a:gd name="connsiteY729" fmla="*/ 1564701 h 3912503"/>
              <a:gd name="connsiteX730" fmla="*/ 11252069 w 12192528"/>
              <a:gd name="connsiteY730" fmla="*/ 1561090 h 3912503"/>
              <a:gd name="connsiteX731" fmla="*/ 11702451 w 12192528"/>
              <a:gd name="connsiteY731" fmla="*/ 1548951 h 3912503"/>
              <a:gd name="connsiteX732" fmla="*/ 11723074 w 12192528"/>
              <a:gd name="connsiteY732" fmla="*/ 1551613 h 3912503"/>
              <a:gd name="connsiteX733" fmla="*/ 11720863 w 12192528"/>
              <a:gd name="connsiteY733" fmla="*/ 1554182 h 3912503"/>
              <a:gd name="connsiteX734" fmla="*/ 11723253 w 12192528"/>
              <a:gd name="connsiteY734" fmla="*/ 1554003 h 3912503"/>
              <a:gd name="connsiteX735" fmla="*/ 11732987 w 12192528"/>
              <a:gd name="connsiteY735" fmla="*/ 1555678 h 3912503"/>
              <a:gd name="connsiteX736" fmla="*/ 11735379 w 12192528"/>
              <a:gd name="connsiteY736" fmla="*/ 1555499 h 3912503"/>
              <a:gd name="connsiteX737" fmla="*/ 11735549 w 12192528"/>
              <a:gd name="connsiteY737" fmla="*/ 1557776 h 3912503"/>
              <a:gd name="connsiteX738" fmla="*/ 11731613 w 12192528"/>
              <a:gd name="connsiteY738" fmla="*/ 1557883 h 3912503"/>
              <a:gd name="connsiteX739" fmla="*/ 11721399 w 12192528"/>
              <a:gd name="connsiteY739" fmla="*/ 1561350 h 3912503"/>
              <a:gd name="connsiteX740" fmla="*/ 11718831 w 12192528"/>
              <a:gd name="connsiteY740" fmla="*/ 1559139 h 3912503"/>
              <a:gd name="connsiteX741" fmla="*/ 11716442 w 12192528"/>
              <a:gd name="connsiteY741" fmla="*/ 1559318 h 3912503"/>
              <a:gd name="connsiteX742" fmla="*/ 11713872 w 12192528"/>
              <a:gd name="connsiteY742" fmla="*/ 1557107 h 3912503"/>
              <a:gd name="connsiteX743" fmla="*/ 11711484 w 12192528"/>
              <a:gd name="connsiteY743" fmla="*/ 1557285 h 3912503"/>
              <a:gd name="connsiteX744" fmla="*/ 11711662 w 12192528"/>
              <a:gd name="connsiteY744" fmla="*/ 1559675 h 3912503"/>
              <a:gd name="connsiteX745" fmla="*/ 11692726 w 12192528"/>
              <a:gd name="connsiteY745" fmla="*/ 1563494 h 3912503"/>
              <a:gd name="connsiteX746" fmla="*/ 11692548 w 12192528"/>
              <a:gd name="connsiteY746" fmla="*/ 1561105 h 3912503"/>
              <a:gd name="connsiteX747" fmla="*/ 11687768 w 12192528"/>
              <a:gd name="connsiteY747" fmla="*/ 1561461 h 3912503"/>
              <a:gd name="connsiteX748" fmla="*/ 11685380 w 12192528"/>
              <a:gd name="connsiteY748" fmla="*/ 1561641 h 3912503"/>
              <a:gd name="connsiteX749" fmla="*/ 11661307 w 12192528"/>
              <a:gd name="connsiteY749" fmla="*/ 1561037 h 3912503"/>
              <a:gd name="connsiteX750" fmla="*/ 11661485 w 12192528"/>
              <a:gd name="connsiteY750" fmla="*/ 1563427 h 3912503"/>
              <a:gd name="connsiteX751" fmla="*/ 11658917 w 12192528"/>
              <a:gd name="connsiteY751" fmla="*/ 1561215 h 3912503"/>
              <a:gd name="connsiteX752" fmla="*/ 11656706 w 12192528"/>
              <a:gd name="connsiteY752" fmla="*/ 1563784 h 3912503"/>
              <a:gd name="connsiteX753" fmla="*/ 11642371 w 12192528"/>
              <a:gd name="connsiteY753" fmla="*/ 1564856 h 3912503"/>
              <a:gd name="connsiteX754" fmla="*/ 11635381 w 12192528"/>
              <a:gd name="connsiteY754" fmla="*/ 1567781 h 3912503"/>
              <a:gd name="connsiteX755" fmla="*/ 11632813 w 12192528"/>
              <a:gd name="connsiteY755" fmla="*/ 1565571 h 3912503"/>
              <a:gd name="connsiteX756" fmla="*/ 11630780 w 12192528"/>
              <a:gd name="connsiteY756" fmla="*/ 1570527 h 3912503"/>
              <a:gd name="connsiteX757" fmla="*/ 11630602 w 12192528"/>
              <a:gd name="connsiteY757" fmla="*/ 1568138 h 3912503"/>
              <a:gd name="connsiteX758" fmla="*/ 11628212 w 12192528"/>
              <a:gd name="connsiteY758" fmla="*/ 1568317 h 3912503"/>
              <a:gd name="connsiteX759" fmla="*/ 11625824 w 12192528"/>
              <a:gd name="connsiteY759" fmla="*/ 1568495 h 3912503"/>
              <a:gd name="connsiteX760" fmla="*/ 11623434 w 12192528"/>
              <a:gd name="connsiteY760" fmla="*/ 1568674 h 3912503"/>
              <a:gd name="connsiteX761" fmla="*/ 11621044 w 12192528"/>
              <a:gd name="connsiteY761" fmla="*/ 1568853 h 3912503"/>
              <a:gd name="connsiteX762" fmla="*/ 11616087 w 12192528"/>
              <a:gd name="connsiteY762" fmla="*/ 1566821 h 3912503"/>
              <a:gd name="connsiteX763" fmla="*/ 11611487 w 12192528"/>
              <a:gd name="connsiteY763" fmla="*/ 1569568 h 3912503"/>
              <a:gd name="connsiteX764" fmla="*/ 11596972 w 12192528"/>
              <a:gd name="connsiteY764" fmla="*/ 1568250 h 3912503"/>
              <a:gd name="connsiteX765" fmla="*/ 11639802 w 12192528"/>
              <a:gd name="connsiteY765" fmla="*/ 1562645 h 3912503"/>
              <a:gd name="connsiteX766" fmla="*/ 11658381 w 12192528"/>
              <a:gd name="connsiteY766" fmla="*/ 1554048 h 3912503"/>
              <a:gd name="connsiteX767" fmla="*/ 11682097 w 12192528"/>
              <a:gd name="connsiteY767" fmla="*/ 1549872 h 3912503"/>
              <a:gd name="connsiteX768" fmla="*/ 11702451 w 12192528"/>
              <a:gd name="connsiteY768" fmla="*/ 1548951 h 3912503"/>
              <a:gd name="connsiteX769" fmla="*/ 5573650 w 12192528"/>
              <a:gd name="connsiteY769" fmla="*/ 1535735 h 3912503"/>
              <a:gd name="connsiteX770" fmla="*/ 5576678 w 12192528"/>
              <a:gd name="connsiteY770" fmla="*/ 1537105 h 3912503"/>
              <a:gd name="connsiteX771" fmla="*/ 5645856 w 12192528"/>
              <a:gd name="connsiteY771" fmla="*/ 1556624 h 3912503"/>
              <a:gd name="connsiteX772" fmla="*/ 5689903 w 12192528"/>
              <a:gd name="connsiteY772" fmla="*/ 1573840 h 3912503"/>
              <a:gd name="connsiteX773" fmla="*/ 5685709 w 12192528"/>
              <a:gd name="connsiteY773" fmla="*/ 1569965 h 3912503"/>
              <a:gd name="connsiteX774" fmla="*/ 5649256 w 12192528"/>
              <a:gd name="connsiteY774" fmla="*/ 1553750 h 3912503"/>
              <a:gd name="connsiteX775" fmla="*/ 5573650 w 12192528"/>
              <a:gd name="connsiteY775" fmla="*/ 1535735 h 3912503"/>
              <a:gd name="connsiteX776" fmla="*/ 11310914 w 12192528"/>
              <a:gd name="connsiteY776" fmla="*/ 1534374 h 3912503"/>
              <a:gd name="connsiteX777" fmla="*/ 11303925 w 12192528"/>
              <a:gd name="connsiteY777" fmla="*/ 1537298 h 3912503"/>
              <a:gd name="connsiteX778" fmla="*/ 11303746 w 12192528"/>
              <a:gd name="connsiteY778" fmla="*/ 1534909 h 3912503"/>
              <a:gd name="connsiteX779" fmla="*/ 11285346 w 12192528"/>
              <a:gd name="connsiteY779" fmla="*/ 1545895 h 3912503"/>
              <a:gd name="connsiteX780" fmla="*/ 11280568 w 12192528"/>
              <a:gd name="connsiteY780" fmla="*/ 1546253 h 3912503"/>
              <a:gd name="connsiteX781" fmla="*/ 11278178 w 12192528"/>
              <a:gd name="connsiteY781" fmla="*/ 1546432 h 3912503"/>
              <a:gd name="connsiteX782" fmla="*/ 11275788 w 12192528"/>
              <a:gd name="connsiteY782" fmla="*/ 1546610 h 3912503"/>
              <a:gd name="connsiteX783" fmla="*/ 11275815 w 12192528"/>
              <a:gd name="connsiteY783" fmla="*/ 1546961 h 3912503"/>
              <a:gd name="connsiteX784" fmla="*/ 11280366 w 12192528"/>
              <a:gd name="connsiteY784" fmla="*/ 1552208 h 3912503"/>
              <a:gd name="connsiteX785" fmla="*/ 11292184 w 12192528"/>
              <a:gd name="connsiteY785" fmla="*/ 1548989 h 3912503"/>
              <a:gd name="connsiteX786" fmla="*/ 11299683 w 12192528"/>
              <a:gd name="connsiteY786" fmla="*/ 1544824 h 3912503"/>
              <a:gd name="connsiteX787" fmla="*/ 11302073 w 12192528"/>
              <a:gd name="connsiteY787" fmla="*/ 1544646 h 3912503"/>
              <a:gd name="connsiteX788" fmla="*/ 11304462 w 12192528"/>
              <a:gd name="connsiteY788" fmla="*/ 1544466 h 3912503"/>
              <a:gd name="connsiteX789" fmla="*/ 11304282 w 12192528"/>
              <a:gd name="connsiteY789" fmla="*/ 1542077 h 3912503"/>
              <a:gd name="connsiteX790" fmla="*/ 11301892 w 12192528"/>
              <a:gd name="connsiteY790" fmla="*/ 1542256 h 3912503"/>
              <a:gd name="connsiteX791" fmla="*/ 11311272 w 12192528"/>
              <a:gd name="connsiteY791" fmla="*/ 1539152 h 3912503"/>
              <a:gd name="connsiteX792" fmla="*/ 11310914 w 12192528"/>
              <a:gd name="connsiteY792" fmla="*/ 1534374 h 3912503"/>
              <a:gd name="connsiteX793" fmla="*/ 4043942 w 12192528"/>
              <a:gd name="connsiteY793" fmla="*/ 1532803 h 3912503"/>
              <a:gd name="connsiteX794" fmla="*/ 4043807 w 12192528"/>
              <a:gd name="connsiteY794" fmla="*/ 1532885 h 3912503"/>
              <a:gd name="connsiteX795" fmla="*/ 4038502 w 12192528"/>
              <a:gd name="connsiteY795" fmla="*/ 1534055 h 3912503"/>
              <a:gd name="connsiteX796" fmla="*/ 1520195 w 12192528"/>
              <a:gd name="connsiteY796" fmla="*/ 1516692 h 3912503"/>
              <a:gd name="connsiteX797" fmla="*/ 1521010 w 12192528"/>
              <a:gd name="connsiteY797" fmla="*/ 1523208 h 3912503"/>
              <a:gd name="connsiteX798" fmla="*/ 1521421 w 12192528"/>
              <a:gd name="connsiteY798" fmla="*/ 1527317 h 3912503"/>
              <a:gd name="connsiteX799" fmla="*/ 1523479 w 12192528"/>
              <a:gd name="connsiteY799" fmla="*/ 1538413 h 3912503"/>
              <a:gd name="connsiteX800" fmla="*/ 1524713 w 12192528"/>
              <a:gd name="connsiteY800" fmla="*/ 1543756 h 3912503"/>
              <a:gd name="connsiteX801" fmla="*/ 1524301 w 12192528"/>
              <a:gd name="connsiteY801" fmla="*/ 1550742 h 3912503"/>
              <a:gd name="connsiteX802" fmla="*/ 1521421 w 12192528"/>
              <a:gd name="connsiteY802" fmla="*/ 1557728 h 3912503"/>
              <a:gd name="connsiteX803" fmla="*/ 1520621 w 12192528"/>
              <a:gd name="connsiteY803" fmla="*/ 1559216 h 3912503"/>
              <a:gd name="connsiteX804" fmla="*/ 1557567 w 12192528"/>
              <a:gd name="connsiteY804" fmla="*/ 1566598 h 3912503"/>
              <a:gd name="connsiteX805" fmla="*/ 2044700 w 12192528"/>
              <a:gd name="connsiteY805" fmla="*/ 1732086 h 3912503"/>
              <a:gd name="connsiteX806" fmla="*/ 2072803 w 12192528"/>
              <a:gd name="connsiteY806" fmla="*/ 1764871 h 3912503"/>
              <a:gd name="connsiteX807" fmla="*/ 2083734 w 12192528"/>
              <a:gd name="connsiteY807" fmla="*/ 1777361 h 3912503"/>
              <a:gd name="connsiteX808" fmla="*/ 2144160 w 12192528"/>
              <a:gd name="connsiteY808" fmla="*/ 1808500 h 3912503"/>
              <a:gd name="connsiteX809" fmla="*/ 2149319 w 12192528"/>
              <a:gd name="connsiteY809" fmla="*/ 1788482 h 3912503"/>
              <a:gd name="connsiteX810" fmla="*/ 2157949 w 12192528"/>
              <a:gd name="connsiteY810" fmla="*/ 1778131 h 3912503"/>
              <a:gd name="connsiteX811" fmla="*/ 2166424 w 12192528"/>
              <a:gd name="connsiteY811" fmla="*/ 1772423 h 3912503"/>
              <a:gd name="connsiteX812" fmla="*/ 2143844 w 12192528"/>
              <a:gd name="connsiteY812" fmla="*/ 1758236 h 3912503"/>
              <a:gd name="connsiteX813" fmla="*/ 1927600 w 12192528"/>
              <a:gd name="connsiteY813" fmla="*/ 1644658 h 3912503"/>
              <a:gd name="connsiteX814" fmla="*/ 1551712 w 12192528"/>
              <a:gd name="connsiteY814" fmla="*/ 1522103 h 3912503"/>
              <a:gd name="connsiteX815" fmla="*/ 11205212 w 12192528"/>
              <a:gd name="connsiteY815" fmla="*/ 1510774 h 3912503"/>
              <a:gd name="connsiteX816" fmla="*/ 11189992 w 12192528"/>
              <a:gd name="connsiteY816" fmla="*/ 1516273 h 3912503"/>
              <a:gd name="connsiteX817" fmla="*/ 11195545 w 12192528"/>
              <a:gd name="connsiteY817" fmla="*/ 1521349 h 3912503"/>
              <a:gd name="connsiteX818" fmla="*/ 11209758 w 12192528"/>
              <a:gd name="connsiteY818" fmla="*/ 1515656 h 3912503"/>
              <a:gd name="connsiteX819" fmla="*/ 2143439 w 12192528"/>
              <a:gd name="connsiteY819" fmla="*/ 1497950 h 3912503"/>
              <a:gd name="connsiteX820" fmla="*/ 2149252 w 12192528"/>
              <a:gd name="connsiteY820" fmla="*/ 1499389 h 3912503"/>
              <a:gd name="connsiteX821" fmla="*/ 2169825 w 12192528"/>
              <a:gd name="connsiteY821" fmla="*/ 1515415 h 3912503"/>
              <a:gd name="connsiteX822" fmla="*/ 2171059 w 12192528"/>
              <a:gd name="connsiteY822" fmla="*/ 1525279 h 3912503"/>
              <a:gd name="connsiteX823" fmla="*/ 2171470 w 12192528"/>
              <a:gd name="connsiteY823" fmla="*/ 1529387 h 3912503"/>
              <a:gd name="connsiteX824" fmla="*/ 2173528 w 12192528"/>
              <a:gd name="connsiteY824" fmla="*/ 1540483 h 3912503"/>
              <a:gd name="connsiteX825" fmla="*/ 2174763 w 12192528"/>
              <a:gd name="connsiteY825" fmla="*/ 1545825 h 3912503"/>
              <a:gd name="connsiteX826" fmla="*/ 2174351 w 12192528"/>
              <a:gd name="connsiteY826" fmla="*/ 1552813 h 3912503"/>
              <a:gd name="connsiteX827" fmla="*/ 2171470 w 12192528"/>
              <a:gd name="connsiteY827" fmla="*/ 1559798 h 3912503"/>
              <a:gd name="connsiteX828" fmla="*/ 2162418 w 12192528"/>
              <a:gd name="connsiteY828" fmla="*/ 1576648 h 3912503"/>
              <a:gd name="connsiteX829" fmla="*/ 2133204 w 12192528"/>
              <a:gd name="connsiteY829" fmla="*/ 1595140 h 3912503"/>
              <a:gd name="connsiteX830" fmla="*/ 2130324 w 12192528"/>
              <a:gd name="connsiteY830" fmla="*/ 1594318 h 3912503"/>
              <a:gd name="connsiteX831" fmla="*/ 2117156 w 12192528"/>
              <a:gd name="connsiteY831" fmla="*/ 1592673 h 3912503"/>
              <a:gd name="connsiteX832" fmla="*/ 2113865 w 12192528"/>
              <a:gd name="connsiteY832" fmla="*/ 1591030 h 3912503"/>
              <a:gd name="connsiteX833" fmla="*/ 2104400 w 12192528"/>
              <a:gd name="connsiteY833" fmla="*/ 1588154 h 3912503"/>
              <a:gd name="connsiteX834" fmla="*/ 2103158 w 12192528"/>
              <a:gd name="connsiteY834" fmla="*/ 1587637 h 3912503"/>
              <a:gd name="connsiteX835" fmla="*/ 2101436 w 12192528"/>
              <a:gd name="connsiteY835" fmla="*/ 1591844 h 3912503"/>
              <a:gd name="connsiteX836" fmla="*/ 2095578 w 12192528"/>
              <a:gd name="connsiteY836" fmla="*/ 1598841 h 3912503"/>
              <a:gd name="connsiteX837" fmla="*/ 2086989 w 12192528"/>
              <a:gd name="connsiteY837" fmla="*/ 1603117 h 3912503"/>
              <a:gd name="connsiteX838" fmla="*/ 2079179 w 12192528"/>
              <a:gd name="connsiteY838" fmla="*/ 1603117 h 3912503"/>
              <a:gd name="connsiteX839" fmla="*/ 2078008 w 12192528"/>
              <a:gd name="connsiteY839" fmla="*/ 1601562 h 3912503"/>
              <a:gd name="connsiteX840" fmla="*/ 2067074 w 12192528"/>
              <a:gd name="connsiteY840" fmla="*/ 1593010 h 3912503"/>
              <a:gd name="connsiteX841" fmla="*/ 2063559 w 12192528"/>
              <a:gd name="connsiteY841" fmla="*/ 1579794 h 3912503"/>
              <a:gd name="connsiteX842" fmla="*/ 2069027 w 12192528"/>
              <a:gd name="connsiteY842" fmla="*/ 1564244 h 3912503"/>
              <a:gd name="connsiteX843" fmla="*/ 2074883 w 12192528"/>
              <a:gd name="connsiteY843" fmla="*/ 1560746 h 3912503"/>
              <a:gd name="connsiteX844" fmla="*/ 2080535 w 12192528"/>
              <a:gd name="connsiteY844" fmla="*/ 1553638 h 3912503"/>
              <a:gd name="connsiteX845" fmla="*/ 2080535 w 12192528"/>
              <a:gd name="connsiteY845" fmla="*/ 1550757 h 3912503"/>
              <a:gd name="connsiteX846" fmla="*/ 2084649 w 12192528"/>
              <a:gd name="connsiteY846" fmla="*/ 1539662 h 3912503"/>
              <a:gd name="connsiteX847" fmla="*/ 2090411 w 12192528"/>
              <a:gd name="connsiteY847" fmla="*/ 1521580 h 3912503"/>
              <a:gd name="connsiteX848" fmla="*/ 2095348 w 12192528"/>
              <a:gd name="connsiteY848" fmla="*/ 1515005 h 3912503"/>
              <a:gd name="connsiteX849" fmla="*/ 2103166 w 12192528"/>
              <a:gd name="connsiteY849" fmla="*/ 1508430 h 3912503"/>
              <a:gd name="connsiteX850" fmla="*/ 2110161 w 12192528"/>
              <a:gd name="connsiteY850" fmla="*/ 1504730 h 3912503"/>
              <a:gd name="connsiteX851" fmla="*/ 2122505 w 12192528"/>
              <a:gd name="connsiteY851" fmla="*/ 1498618 h 3912503"/>
              <a:gd name="connsiteX852" fmla="*/ 2136083 w 12192528"/>
              <a:gd name="connsiteY852" fmla="*/ 1498978 h 3912503"/>
              <a:gd name="connsiteX853" fmla="*/ 2143439 w 12192528"/>
              <a:gd name="connsiteY853" fmla="*/ 1497950 h 3912503"/>
              <a:gd name="connsiteX854" fmla="*/ 7618397 w 12192528"/>
              <a:gd name="connsiteY854" fmla="*/ 1490081 h 3912503"/>
              <a:gd name="connsiteX855" fmla="*/ 7613886 w 12192528"/>
              <a:gd name="connsiteY855" fmla="*/ 1492291 h 3912503"/>
              <a:gd name="connsiteX856" fmla="*/ 7614345 w 12192528"/>
              <a:gd name="connsiteY856" fmla="*/ 1491396 h 3912503"/>
              <a:gd name="connsiteX857" fmla="*/ 7618397 w 12192528"/>
              <a:gd name="connsiteY857" fmla="*/ 1490081 h 3912503"/>
              <a:gd name="connsiteX858" fmla="*/ 1224994 w 12192528"/>
              <a:gd name="connsiteY858" fmla="*/ 1479214 h 3912503"/>
              <a:gd name="connsiteX859" fmla="*/ 1226764 w 12192528"/>
              <a:gd name="connsiteY859" fmla="*/ 1480150 h 3912503"/>
              <a:gd name="connsiteX860" fmla="*/ 1232193 w 12192528"/>
              <a:gd name="connsiteY860" fmla="*/ 1484717 h 3912503"/>
              <a:gd name="connsiteX861" fmla="*/ 1235623 w 12192528"/>
              <a:gd name="connsiteY861" fmla="*/ 1489284 h 3912503"/>
              <a:gd name="connsiteX862" fmla="*/ 1239625 w 12192528"/>
              <a:gd name="connsiteY862" fmla="*/ 1501843 h 3912503"/>
              <a:gd name="connsiteX863" fmla="*/ 1242000 w 12192528"/>
              <a:gd name="connsiteY863" fmla="*/ 1508249 h 3912503"/>
              <a:gd name="connsiteX864" fmla="*/ 1256767 w 12192528"/>
              <a:gd name="connsiteY864" fmla="*/ 1509734 h 3912503"/>
              <a:gd name="connsiteX865" fmla="*/ 1357327 w 12192528"/>
              <a:gd name="connsiteY865" fmla="*/ 1526591 h 3912503"/>
              <a:gd name="connsiteX866" fmla="*/ 1433068 w 12192528"/>
              <a:gd name="connsiteY866" fmla="*/ 1541724 h 3912503"/>
              <a:gd name="connsiteX867" fmla="*/ 1434600 w 12192528"/>
              <a:gd name="connsiteY867" fmla="*/ 1537592 h 3912503"/>
              <a:gd name="connsiteX868" fmla="*/ 1440361 w 12192528"/>
              <a:gd name="connsiteY868" fmla="*/ 1519510 h 3912503"/>
              <a:gd name="connsiteX869" fmla="*/ 1445299 w 12192528"/>
              <a:gd name="connsiteY869" fmla="*/ 1512935 h 3912503"/>
              <a:gd name="connsiteX870" fmla="*/ 1453117 w 12192528"/>
              <a:gd name="connsiteY870" fmla="*/ 1506359 h 3912503"/>
              <a:gd name="connsiteX871" fmla="*/ 1454806 w 12192528"/>
              <a:gd name="connsiteY871" fmla="*/ 1505466 h 3912503"/>
              <a:gd name="connsiteX872" fmla="*/ 1357619 w 12192528"/>
              <a:gd name="connsiteY872" fmla="*/ 1488781 h 3912503"/>
              <a:gd name="connsiteX873" fmla="*/ 6132368 w 12192528"/>
              <a:gd name="connsiteY873" fmla="*/ 1467768 h 3912503"/>
              <a:gd name="connsiteX874" fmla="*/ 6140641 w 12192528"/>
              <a:gd name="connsiteY874" fmla="*/ 1473285 h 3912503"/>
              <a:gd name="connsiteX875" fmla="*/ 6132066 w 12192528"/>
              <a:gd name="connsiteY875" fmla="*/ 1467836 h 3912503"/>
              <a:gd name="connsiteX876" fmla="*/ 34570 w 12192528"/>
              <a:gd name="connsiteY876" fmla="*/ 1458927 h 3912503"/>
              <a:gd name="connsiteX877" fmla="*/ 35069 w 12192528"/>
              <a:gd name="connsiteY877" fmla="*/ 1459045 h 3912503"/>
              <a:gd name="connsiteX878" fmla="*/ 34801 w 12192528"/>
              <a:gd name="connsiteY878" fmla="*/ 1459311 h 3912503"/>
              <a:gd name="connsiteX879" fmla="*/ 562 w 12192528"/>
              <a:gd name="connsiteY879" fmla="*/ 1449881 h 3912503"/>
              <a:gd name="connsiteX880" fmla="*/ 817 w 12192528"/>
              <a:gd name="connsiteY880" fmla="*/ 1450873 h 3912503"/>
              <a:gd name="connsiteX881" fmla="*/ 1252 w 12192528"/>
              <a:gd name="connsiteY881" fmla="*/ 1461103 h 3912503"/>
              <a:gd name="connsiteX882" fmla="*/ 5390 w 12192528"/>
              <a:gd name="connsiteY882" fmla="*/ 1468503 h 3912503"/>
              <a:gd name="connsiteX883" fmla="*/ 6044 w 12192528"/>
              <a:gd name="connsiteY883" fmla="*/ 1468503 h 3912503"/>
              <a:gd name="connsiteX884" fmla="*/ 10180 w 12192528"/>
              <a:gd name="connsiteY884" fmla="*/ 1471115 h 3912503"/>
              <a:gd name="connsiteX885" fmla="*/ 7132 w 12192528"/>
              <a:gd name="connsiteY885" fmla="*/ 1473509 h 3912503"/>
              <a:gd name="connsiteX886" fmla="*/ 562 w 12192528"/>
              <a:gd name="connsiteY886" fmla="*/ 1486475 h 3912503"/>
              <a:gd name="connsiteX887" fmla="*/ 1794068 w 12192528"/>
              <a:gd name="connsiteY887" fmla="*/ 1432985 h 3912503"/>
              <a:gd name="connsiteX888" fmla="*/ 1794536 w 12192528"/>
              <a:gd name="connsiteY888" fmla="*/ 1433095 h 3912503"/>
              <a:gd name="connsiteX889" fmla="*/ 1794285 w 12192528"/>
              <a:gd name="connsiteY889" fmla="*/ 1433345 h 3912503"/>
              <a:gd name="connsiteX890" fmla="*/ 4645364 w 12192528"/>
              <a:gd name="connsiteY890" fmla="*/ 1403800 h 3912503"/>
              <a:gd name="connsiteX891" fmla="*/ 4645041 w 12192528"/>
              <a:gd name="connsiteY891" fmla="*/ 1404106 h 3912503"/>
              <a:gd name="connsiteX892" fmla="*/ 4641173 w 12192528"/>
              <a:gd name="connsiteY892" fmla="*/ 1403915 h 3912503"/>
              <a:gd name="connsiteX893" fmla="*/ 6040339 w 12192528"/>
              <a:gd name="connsiteY893" fmla="*/ 1401066 h 3912503"/>
              <a:gd name="connsiteX894" fmla="*/ 6043550 w 12192528"/>
              <a:gd name="connsiteY894" fmla="*/ 1402671 h 3912503"/>
              <a:gd name="connsiteX895" fmla="*/ 6047963 w 12192528"/>
              <a:gd name="connsiteY895" fmla="*/ 1402671 h 3912503"/>
              <a:gd name="connsiteX896" fmla="*/ 6052377 w 12192528"/>
              <a:gd name="connsiteY896" fmla="*/ 1407085 h 3912503"/>
              <a:gd name="connsiteX897" fmla="*/ 6043549 w 12192528"/>
              <a:gd name="connsiteY897" fmla="*/ 1407085 h 3912503"/>
              <a:gd name="connsiteX898" fmla="*/ 6032096 w 12192528"/>
              <a:gd name="connsiteY898" fmla="*/ 1395631 h 3912503"/>
              <a:gd name="connsiteX899" fmla="*/ 6039690 w 12192528"/>
              <a:gd name="connsiteY899" fmla="*/ 1399844 h 3912503"/>
              <a:gd name="connsiteX900" fmla="*/ 6040339 w 12192528"/>
              <a:gd name="connsiteY900" fmla="*/ 1401066 h 3912503"/>
              <a:gd name="connsiteX901" fmla="*/ 6034725 w 12192528"/>
              <a:gd name="connsiteY901" fmla="*/ 1398258 h 3912503"/>
              <a:gd name="connsiteX902" fmla="*/ 4827373 w 12192528"/>
              <a:gd name="connsiteY902" fmla="*/ 1390663 h 3912503"/>
              <a:gd name="connsiteX903" fmla="*/ 4672101 w 12192528"/>
              <a:gd name="connsiteY903" fmla="*/ 1405439 h 3912503"/>
              <a:gd name="connsiteX904" fmla="*/ 4657412 w 12192528"/>
              <a:gd name="connsiteY904" fmla="*/ 1403463 h 3912503"/>
              <a:gd name="connsiteX905" fmla="*/ 4645364 w 12192528"/>
              <a:gd name="connsiteY905" fmla="*/ 1403800 h 3912503"/>
              <a:gd name="connsiteX906" fmla="*/ 4646478 w 12192528"/>
              <a:gd name="connsiteY906" fmla="*/ 1402745 h 3912503"/>
              <a:gd name="connsiteX907" fmla="*/ 4649939 w 12192528"/>
              <a:gd name="connsiteY907" fmla="*/ 1402678 h 3912503"/>
              <a:gd name="connsiteX908" fmla="*/ 4649338 w 12192528"/>
              <a:gd name="connsiteY908" fmla="*/ 1401305 h 3912503"/>
              <a:gd name="connsiteX909" fmla="*/ 4492082 w 12192528"/>
              <a:gd name="connsiteY909" fmla="*/ 1420776 h 3912503"/>
              <a:gd name="connsiteX910" fmla="*/ 4490306 w 12192528"/>
              <a:gd name="connsiteY910" fmla="*/ 1426064 h 3912503"/>
              <a:gd name="connsiteX911" fmla="*/ 4372435 w 12192528"/>
              <a:gd name="connsiteY911" fmla="*/ 1446498 h 3912503"/>
              <a:gd name="connsiteX912" fmla="*/ 4341774 w 12192528"/>
              <a:gd name="connsiteY912" fmla="*/ 1458823 h 3912503"/>
              <a:gd name="connsiteX913" fmla="*/ 4185869 w 12192528"/>
              <a:gd name="connsiteY913" fmla="*/ 1495990 h 3912503"/>
              <a:gd name="connsiteX914" fmla="*/ 4112623 w 12192528"/>
              <a:gd name="connsiteY914" fmla="*/ 1517012 h 3912503"/>
              <a:gd name="connsiteX915" fmla="*/ 4043942 w 12192528"/>
              <a:gd name="connsiteY915" fmla="*/ 1532803 h 3912503"/>
              <a:gd name="connsiteX916" fmla="*/ 4051181 w 12192528"/>
              <a:gd name="connsiteY916" fmla="*/ 1528477 h 3912503"/>
              <a:gd name="connsiteX917" fmla="*/ 4037335 w 12192528"/>
              <a:gd name="connsiteY917" fmla="*/ 1528749 h 3912503"/>
              <a:gd name="connsiteX918" fmla="*/ 4032030 w 12192528"/>
              <a:gd name="connsiteY918" fmla="*/ 1529920 h 3912503"/>
              <a:gd name="connsiteX919" fmla="*/ 4034099 w 12192528"/>
              <a:gd name="connsiteY919" fmla="*/ 1526682 h 3912503"/>
              <a:gd name="connsiteX920" fmla="*/ 4169688 w 12192528"/>
              <a:gd name="connsiteY920" fmla="*/ 1485651 h 3912503"/>
              <a:gd name="connsiteX921" fmla="*/ 4162048 w 12192528"/>
              <a:gd name="connsiteY921" fmla="*/ 1476211 h 3912503"/>
              <a:gd name="connsiteX922" fmla="*/ 4126083 w 12192528"/>
              <a:gd name="connsiteY922" fmla="*/ 1489706 h 3912503"/>
              <a:gd name="connsiteX923" fmla="*/ 4068898 w 12192528"/>
              <a:gd name="connsiteY923" fmla="*/ 1507881 h 3912503"/>
              <a:gd name="connsiteX924" fmla="*/ 3874055 w 12192528"/>
              <a:gd name="connsiteY924" fmla="*/ 1570324 h 3912503"/>
              <a:gd name="connsiteX925" fmla="*/ 3857240 w 12192528"/>
              <a:gd name="connsiteY925" fmla="*/ 1582377 h 3912503"/>
              <a:gd name="connsiteX926" fmla="*/ 3781170 w 12192528"/>
              <a:gd name="connsiteY926" fmla="*/ 1615843 h 3912503"/>
              <a:gd name="connsiteX927" fmla="*/ 3767325 w 12192528"/>
              <a:gd name="connsiteY927" fmla="*/ 1616114 h 3912503"/>
              <a:gd name="connsiteX928" fmla="*/ 3732527 w 12192528"/>
              <a:gd name="connsiteY928" fmla="*/ 1634915 h 3912503"/>
              <a:gd name="connsiteX929" fmla="*/ 3736664 w 12192528"/>
              <a:gd name="connsiteY929" fmla="*/ 1628439 h 3912503"/>
              <a:gd name="connsiteX930" fmla="*/ 3657624 w 12192528"/>
              <a:gd name="connsiteY930" fmla="*/ 1673686 h 3912503"/>
              <a:gd name="connsiteX931" fmla="*/ 3724251 w 12192528"/>
              <a:gd name="connsiteY931" fmla="*/ 1647866 h 3912503"/>
              <a:gd name="connsiteX932" fmla="*/ 3785269 w 12192528"/>
              <a:gd name="connsiteY932" fmla="*/ 1628150 h 3912503"/>
              <a:gd name="connsiteX933" fmla="*/ 3842616 w 12192528"/>
              <a:gd name="connsiteY933" fmla="*/ 1606720 h 3912503"/>
              <a:gd name="connsiteX934" fmla="*/ 3840691 w 12192528"/>
              <a:gd name="connsiteY934" fmla="*/ 1608278 h 3912503"/>
              <a:gd name="connsiteX935" fmla="*/ 3849231 w 12192528"/>
              <a:gd name="connsiteY935" fmla="*/ 1609175 h 3912503"/>
              <a:gd name="connsiteX936" fmla="*/ 3852467 w 12192528"/>
              <a:gd name="connsiteY936" fmla="*/ 1611244 h 3912503"/>
              <a:gd name="connsiteX937" fmla="*/ 3716243 w 12192528"/>
              <a:gd name="connsiteY937" fmla="*/ 1674665 h 3912503"/>
              <a:gd name="connsiteX938" fmla="*/ 3650148 w 12192528"/>
              <a:gd name="connsiteY938" fmla="*/ 1728182 h 3912503"/>
              <a:gd name="connsiteX939" fmla="*/ 3887797 w 12192528"/>
              <a:gd name="connsiteY939" fmla="*/ 1620139 h 3912503"/>
              <a:gd name="connsiteX940" fmla="*/ 3963866 w 12192528"/>
              <a:gd name="connsiteY940" fmla="*/ 1586674 h 3912503"/>
              <a:gd name="connsiteX941" fmla="*/ 3970604 w 12192528"/>
              <a:gd name="connsiteY941" fmla="*/ 1604658 h 3912503"/>
              <a:gd name="connsiteX942" fmla="*/ 3992724 w 12192528"/>
              <a:gd name="connsiteY942" fmla="*/ 1591434 h 3912503"/>
              <a:gd name="connsiteX943" fmla="*/ 3988320 w 12192528"/>
              <a:gd name="connsiteY943" fmla="*/ 1584062 h 3912503"/>
              <a:gd name="connsiteX944" fmla="*/ 4124811 w 12192528"/>
              <a:gd name="connsiteY944" fmla="*/ 1534489 h 3912503"/>
              <a:gd name="connsiteX945" fmla="*/ 4200245 w 12192528"/>
              <a:gd name="connsiteY945" fmla="*/ 1523415 h 3912503"/>
              <a:gd name="connsiteX946" fmla="*/ 4281883 w 12192528"/>
              <a:gd name="connsiteY946" fmla="*/ 1502627 h 3912503"/>
              <a:gd name="connsiteX947" fmla="*/ 4256528 w 12192528"/>
              <a:gd name="connsiteY947" fmla="*/ 1513783 h 3912503"/>
              <a:gd name="connsiteX948" fmla="*/ 4266236 w 12192528"/>
              <a:gd name="connsiteY948" fmla="*/ 1519986 h 3912503"/>
              <a:gd name="connsiteX949" fmla="*/ 4327824 w 12192528"/>
              <a:gd name="connsiteY949" fmla="*/ 1509183 h 3912503"/>
              <a:gd name="connsiteX950" fmla="*/ 4337267 w 12192528"/>
              <a:gd name="connsiteY950" fmla="*/ 1501538 h 3912503"/>
              <a:gd name="connsiteX951" fmla="*/ 4328461 w 12192528"/>
              <a:gd name="connsiteY951" fmla="*/ 1486792 h 3912503"/>
              <a:gd name="connsiteX952" fmla="*/ 4403894 w 12192528"/>
              <a:gd name="connsiteY952" fmla="*/ 1475718 h 3912503"/>
              <a:gd name="connsiteX953" fmla="*/ 4488769 w 12192528"/>
              <a:gd name="connsiteY953" fmla="*/ 1456999 h 3912503"/>
              <a:gd name="connsiteX954" fmla="*/ 4492907 w 12192528"/>
              <a:gd name="connsiteY954" fmla="*/ 1450523 h 3912503"/>
              <a:gd name="connsiteX955" fmla="*/ 4545052 w 12192528"/>
              <a:gd name="connsiteY955" fmla="*/ 1447366 h 3912503"/>
              <a:gd name="connsiteX956" fmla="*/ 4582186 w 12192528"/>
              <a:gd name="connsiteY956" fmla="*/ 1439177 h 3912503"/>
              <a:gd name="connsiteX957" fmla="*/ 4787533 w 12192528"/>
              <a:gd name="connsiteY957" fmla="*/ 1424481 h 3912503"/>
              <a:gd name="connsiteX958" fmla="*/ 4814058 w 12192528"/>
              <a:gd name="connsiteY958" fmla="*/ 1418633 h 3912503"/>
              <a:gd name="connsiteX959" fmla="*/ 4834375 w 12192528"/>
              <a:gd name="connsiteY959" fmla="*/ 1422495 h 3912503"/>
              <a:gd name="connsiteX960" fmla="*/ 4801647 w 12192528"/>
              <a:gd name="connsiteY960" fmla="*/ 1438057 h 3912503"/>
              <a:gd name="connsiteX961" fmla="*/ 4888857 w 12192528"/>
              <a:gd name="connsiteY961" fmla="*/ 1429949 h 3912503"/>
              <a:gd name="connsiteX962" fmla="*/ 4872675 w 12192528"/>
              <a:gd name="connsiteY962" fmla="*/ 1419611 h 3912503"/>
              <a:gd name="connsiteX963" fmla="*/ 4882118 w 12192528"/>
              <a:gd name="connsiteY963" fmla="*/ 1411966 h 3912503"/>
              <a:gd name="connsiteX964" fmla="*/ 4888324 w 12192528"/>
              <a:gd name="connsiteY964" fmla="*/ 1402253 h 3912503"/>
              <a:gd name="connsiteX965" fmla="*/ 4891559 w 12192528"/>
              <a:gd name="connsiteY965" fmla="*/ 1404320 h 3912503"/>
              <a:gd name="connsiteX966" fmla="*/ 4886255 w 12192528"/>
              <a:gd name="connsiteY966" fmla="*/ 1405491 h 3912503"/>
              <a:gd name="connsiteX967" fmla="*/ 4889490 w 12192528"/>
              <a:gd name="connsiteY967" fmla="*/ 1407558 h 3912503"/>
              <a:gd name="connsiteX968" fmla="*/ 4892727 w 12192528"/>
              <a:gd name="connsiteY968" fmla="*/ 1409625 h 3912503"/>
              <a:gd name="connsiteX969" fmla="*/ 4898033 w 12192528"/>
              <a:gd name="connsiteY969" fmla="*/ 1408456 h 3912503"/>
              <a:gd name="connsiteX970" fmla="*/ 4900100 w 12192528"/>
              <a:gd name="connsiteY970" fmla="*/ 1405217 h 3912503"/>
              <a:gd name="connsiteX971" fmla="*/ 4925723 w 12192528"/>
              <a:gd name="connsiteY971" fmla="*/ 1407911 h 3912503"/>
              <a:gd name="connsiteX972" fmla="*/ 4922487 w 12192528"/>
              <a:gd name="connsiteY972" fmla="*/ 1405843 h 3912503"/>
              <a:gd name="connsiteX973" fmla="*/ 4931029 w 12192528"/>
              <a:gd name="connsiteY973" fmla="*/ 1406740 h 3912503"/>
              <a:gd name="connsiteX974" fmla="*/ 4936333 w 12192528"/>
              <a:gd name="connsiteY974" fmla="*/ 1405571 h 3912503"/>
              <a:gd name="connsiteX975" fmla="*/ 4933097 w 12192528"/>
              <a:gd name="connsiteY975" fmla="*/ 1403503 h 3912503"/>
              <a:gd name="connsiteX976" fmla="*/ 4929860 w 12192528"/>
              <a:gd name="connsiteY976" fmla="*/ 1401436 h 3912503"/>
              <a:gd name="connsiteX977" fmla="*/ 5035319 w 12192528"/>
              <a:gd name="connsiteY977" fmla="*/ 1400428 h 3912503"/>
              <a:gd name="connsiteX978" fmla="*/ 5003757 w 12192528"/>
              <a:gd name="connsiteY978" fmla="*/ 1421295 h 3912503"/>
              <a:gd name="connsiteX979" fmla="*/ 5019937 w 12192528"/>
              <a:gd name="connsiteY979" fmla="*/ 1431633 h 3912503"/>
              <a:gd name="connsiteX980" fmla="*/ 5076486 w 12192528"/>
              <a:gd name="connsiteY980" fmla="*/ 1435850 h 3912503"/>
              <a:gd name="connsiteX981" fmla="*/ 5077387 w 12192528"/>
              <a:gd name="connsiteY981" fmla="*/ 1427307 h 3912503"/>
              <a:gd name="connsiteX982" fmla="*/ 5135105 w 12192528"/>
              <a:gd name="connsiteY982" fmla="*/ 1436828 h 3912503"/>
              <a:gd name="connsiteX983" fmla="*/ 5236425 w 12192528"/>
              <a:gd name="connsiteY983" fmla="*/ 1442296 h 3912503"/>
              <a:gd name="connsiteX984" fmla="*/ 5238761 w 12192528"/>
              <a:gd name="connsiteY984" fmla="*/ 1452907 h 3912503"/>
              <a:gd name="connsiteX985" fmla="*/ 5360662 w 12192528"/>
              <a:gd name="connsiteY985" fmla="*/ 1476084 h 3912503"/>
              <a:gd name="connsiteX986" fmla="*/ 5468724 w 12192528"/>
              <a:gd name="connsiteY986" fmla="*/ 1499537 h 3912503"/>
              <a:gd name="connsiteX987" fmla="*/ 5476098 w 12192528"/>
              <a:gd name="connsiteY987" fmla="*/ 1495129 h 3912503"/>
              <a:gd name="connsiteX988" fmla="*/ 5500817 w 12192528"/>
              <a:gd name="connsiteY988" fmla="*/ 1506365 h 3912503"/>
              <a:gd name="connsiteX989" fmla="*/ 5580018 w 12192528"/>
              <a:gd name="connsiteY989" fmla="*/ 1525055 h 3912503"/>
              <a:gd name="connsiteX990" fmla="*/ 5605907 w 12192528"/>
              <a:gd name="connsiteY990" fmla="*/ 1541597 h 3912503"/>
              <a:gd name="connsiteX991" fmla="*/ 5656251 w 12192528"/>
              <a:gd name="connsiteY991" fmla="*/ 1555525 h 3912503"/>
              <a:gd name="connsiteX992" fmla="*/ 5698051 w 12192528"/>
              <a:gd name="connsiteY992" fmla="*/ 1568557 h 3912503"/>
              <a:gd name="connsiteX993" fmla="*/ 5700120 w 12192528"/>
              <a:gd name="connsiteY993" fmla="*/ 1565319 h 3912503"/>
              <a:gd name="connsiteX994" fmla="*/ 5683939 w 12192528"/>
              <a:gd name="connsiteY994" fmla="*/ 1554980 h 3912503"/>
              <a:gd name="connsiteX995" fmla="*/ 5629194 w 12192528"/>
              <a:gd name="connsiteY995" fmla="*/ 1533678 h 3912503"/>
              <a:gd name="connsiteX996" fmla="*/ 5543521 w 12192528"/>
              <a:gd name="connsiteY996" fmla="*/ 1510854 h 3912503"/>
              <a:gd name="connsiteX997" fmla="*/ 5527341 w 12192528"/>
              <a:gd name="connsiteY997" fmla="*/ 1500515 h 3912503"/>
              <a:gd name="connsiteX998" fmla="*/ 5386922 w 12192528"/>
              <a:gd name="connsiteY998" fmla="*/ 1456387 h 3912503"/>
              <a:gd name="connsiteX999" fmla="*/ 5172236 w 12192528"/>
              <a:gd name="connsiteY999" fmla="*/ 1428639 h 3912503"/>
              <a:gd name="connsiteX1000" fmla="*/ 5163429 w 12192528"/>
              <a:gd name="connsiteY1000" fmla="*/ 1413892 h 3912503"/>
              <a:gd name="connsiteX1001" fmla="*/ 5112186 w 12192528"/>
              <a:gd name="connsiteY1001" fmla="*/ 1408507 h 3912503"/>
              <a:gd name="connsiteX1002" fmla="*/ 5117489 w 12192528"/>
              <a:gd name="connsiteY1002" fmla="*/ 1407337 h 3912503"/>
              <a:gd name="connsiteX1003" fmla="*/ 5122797 w 12192528"/>
              <a:gd name="connsiteY1003" fmla="*/ 1406166 h 3912503"/>
              <a:gd name="connsiteX1004" fmla="*/ 5113087 w 12192528"/>
              <a:gd name="connsiteY1004" fmla="*/ 1399963 h 3912503"/>
              <a:gd name="connsiteX1005" fmla="*/ 5107782 w 12192528"/>
              <a:gd name="connsiteY1005" fmla="*/ 1401134 h 3912503"/>
              <a:gd name="connsiteX1006" fmla="*/ 5105715 w 12192528"/>
              <a:gd name="connsiteY1006" fmla="*/ 1404371 h 3912503"/>
              <a:gd name="connsiteX1007" fmla="*/ 5017069 w 12192528"/>
              <a:gd name="connsiteY1007" fmla="*/ 1393327 h 3912503"/>
              <a:gd name="connsiteX1008" fmla="*/ 4872144 w 12192528"/>
              <a:gd name="connsiteY1008" fmla="*/ 1391914 h 3912503"/>
              <a:gd name="connsiteX1009" fmla="*/ 4827373 w 12192528"/>
              <a:gd name="connsiteY1009" fmla="*/ 1390663 h 3912503"/>
              <a:gd name="connsiteX1010" fmla="*/ 6010071 w 12192528"/>
              <a:gd name="connsiteY1010" fmla="*/ 1385873 h 3912503"/>
              <a:gd name="connsiteX1011" fmla="*/ 6017070 w 12192528"/>
              <a:gd name="connsiteY1011" fmla="*/ 1388666 h 3912503"/>
              <a:gd name="connsiteX1012" fmla="*/ 6017071 w 12192528"/>
              <a:gd name="connsiteY1012" fmla="*/ 1389431 h 3912503"/>
              <a:gd name="connsiteX1013" fmla="*/ 6017071 w 12192528"/>
              <a:gd name="connsiteY1013" fmla="*/ 1385018 h 3912503"/>
              <a:gd name="connsiteX1014" fmla="*/ 6030310 w 12192528"/>
              <a:gd name="connsiteY1014" fmla="*/ 1393844 h 3912503"/>
              <a:gd name="connsiteX1015" fmla="*/ 6032096 w 12192528"/>
              <a:gd name="connsiteY1015" fmla="*/ 1395631 h 3912503"/>
              <a:gd name="connsiteX1016" fmla="*/ 6025895 w 12192528"/>
              <a:gd name="connsiteY1016" fmla="*/ 1392190 h 3912503"/>
              <a:gd name="connsiteX1017" fmla="*/ 6017070 w 12192528"/>
              <a:gd name="connsiteY1017" fmla="*/ 1388666 h 3912503"/>
              <a:gd name="connsiteX1018" fmla="*/ 6102027 w 12192528"/>
              <a:gd name="connsiteY1018" fmla="*/ 1366261 h 3912503"/>
              <a:gd name="connsiteX1019" fmla="*/ 6100923 w 12192528"/>
              <a:gd name="connsiteY1019" fmla="*/ 1371777 h 3912503"/>
              <a:gd name="connsiteX1020" fmla="*/ 6096509 w 12192528"/>
              <a:gd name="connsiteY1020" fmla="*/ 1367364 h 3912503"/>
              <a:gd name="connsiteX1021" fmla="*/ 6102027 w 12192528"/>
              <a:gd name="connsiteY1021" fmla="*/ 1366261 h 3912503"/>
              <a:gd name="connsiteX1022" fmla="*/ 8033215 w 12192528"/>
              <a:gd name="connsiteY1022" fmla="*/ 1346577 h 3912503"/>
              <a:gd name="connsiteX1023" fmla="*/ 8031841 w 12192528"/>
              <a:gd name="connsiteY1023" fmla="*/ 1350007 h 3912503"/>
              <a:gd name="connsiteX1024" fmla="*/ 8037040 w 12192528"/>
              <a:gd name="connsiteY1024" fmla="*/ 1346609 h 3912503"/>
              <a:gd name="connsiteX1025" fmla="*/ 169856 w 12192528"/>
              <a:gd name="connsiteY1025" fmla="*/ 1343418 h 3912503"/>
              <a:gd name="connsiteX1026" fmla="*/ 175669 w 12192528"/>
              <a:gd name="connsiteY1026" fmla="*/ 1344856 h 3912503"/>
              <a:gd name="connsiteX1027" fmla="*/ 196243 w 12192528"/>
              <a:gd name="connsiteY1027" fmla="*/ 1360883 h 3912503"/>
              <a:gd name="connsiteX1028" fmla="*/ 197477 w 12192528"/>
              <a:gd name="connsiteY1028" fmla="*/ 1370746 h 3912503"/>
              <a:gd name="connsiteX1029" fmla="*/ 197887 w 12192528"/>
              <a:gd name="connsiteY1029" fmla="*/ 1374854 h 3912503"/>
              <a:gd name="connsiteX1030" fmla="*/ 199945 w 12192528"/>
              <a:gd name="connsiteY1030" fmla="*/ 1385950 h 3912503"/>
              <a:gd name="connsiteX1031" fmla="*/ 201180 w 12192528"/>
              <a:gd name="connsiteY1031" fmla="*/ 1391293 h 3912503"/>
              <a:gd name="connsiteX1032" fmla="*/ 200768 w 12192528"/>
              <a:gd name="connsiteY1032" fmla="*/ 1398280 h 3912503"/>
              <a:gd name="connsiteX1033" fmla="*/ 197887 w 12192528"/>
              <a:gd name="connsiteY1033" fmla="*/ 1405266 h 3912503"/>
              <a:gd name="connsiteX1034" fmla="*/ 188836 w 12192528"/>
              <a:gd name="connsiteY1034" fmla="*/ 1422115 h 3912503"/>
              <a:gd name="connsiteX1035" fmla="*/ 159620 w 12192528"/>
              <a:gd name="connsiteY1035" fmla="*/ 1440607 h 3912503"/>
              <a:gd name="connsiteX1036" fmla="*/ 156741 w 12192528"/>
              <a:gd name="connsiteY1036" fmla="*/ 1439785 h 3912503"/>
              <a:gd name="connsiteX1037" fmla="*/ 143574 w 12192528"/>
              <a:gd name="connsiteY1037" fmla="*/ 1438141 h 3912503"/>
              <a:gd name="connsiteX1038" fmla="*/ 140282 w 12192528"/>
              <a:gd name="connsiteY1038" fmla="*/ 1436497 h 3912503"/>
              <a:gd name="connsiteX1039" fmla="*/ 130817 w 12192528"/>
              <a:gd name="connsiteY1039" fmla="*/ 1433622 h 3912503"/>
              <a:gd name="connsiteX1040" fmla="*/ 125880 w 12192528"/>
              <a:gd name="connsiteY1040" fmla="*/ 1431566 h 3912503"/>
              <a:gd name="connsiteX1041" fmla="*/ 122999 w 12192528"/>
              <a:gd name="connsiteY1041" fmla="*/ 1425812 h 3912503"/>
              <a:gd name="connsiteX1042" fmla="*/ 111889 w 12192528"/>
              <a:gd name="connsiteY1042" fmla="*/ 1411019 h 3912503"/>
              <a:gd name="connsiteX1043" fmla="*/ 106952 w 12192528"/>
              <a:gd name="connsiteY1043" fmla="*/ 1401156 h 3912503"/>
              <a:gd name="connsiteX1044" fmla="*/ 106952 w 12192528"/>
              <a:gd name="connsiteY1044" fmla="*/ 1396225 h 3912503"/>
              <a:gd name="connsiteX1045" fmla="*/ 111067 w 12192528"/>
              <a:gd name="connsiteY1045" fmla="*/ 1385129 h 3912503"/>
              <a:gd name="connsiteX1046" fmla="*/ 116828 w 12192528"/>
              <a:gd name="connsiteY1046" fmla="*/ 1367047 h 3912503"/>
              <a:gd name="connsiteX1047" fmla="*/ 121765 w 12192528"/>
              <a:gd name="connsiteY1047" fmla="*/ 1360473 h 3912503"/>
              <a:gd name="connsiteX1048" fmla="*/ 129583 w 12192528"/>
              <a:gd name="connsiteY1048" fmla="*/ 1353897 h 3912503"/>
              <a:gd name="connsiteX1049" fmla="*/ 136579 w 12192528"/>
              <a:gd name="connsiteY1049" fmla="*/ 1350198 h 3912503"/>
              <a:gd name="connsiteX1050" fmla="*/ 148923 w 12192528"/>
              <a:gd name="connsiteY1050" fmla="*/ 1344085 h 3912503"/>
              <a:gd name="connsiteX1051" fmla="*/ 162501 w 12192528"/>
              <a:gd name="connsiteY1051" fmla="*/ 1344445 h 3912503"/>
              <a:gd name="connsiteX1052" fmla="*/ 169856 w 12192528"/>
              <a:gd name="connsiteY1052" fmla="*/ 1343418 h 3912503"/>
              <a:gd name="connsiteX1053" fmla="*/ 977648 w 12192528"/>
              <a:gd name="connsiteY1053" fmla="*/ 1343134 h 3912503"/>
              <a:gd name="connsiteX1054" fmla="*/ 986861 w 12192528"/>
              <a:gd name="connsiteY1054" fmla="*/ 1347698 h 3912503"/>
              <a:gd name="connsiteX1055" fmla="*/ 992081 w 12192528"/>
              <a:gd name="connsiteY1055" fmla="*/ 1350458 h 3912503"/>
              <a:gd name="connsiteX1056" fmla="*/ 997918 w 12192528"/>
              <a:gd name="connsiteY1056" fmla="*/ 1355367 h 3912503"/>
              <a:gd name="connsiteX1057" fmla="*/ 1001603 w 12192528"/>
              <a:gd name="connsiteY1057" fmla="*/ 1360274 h 3912503"/>
              <a:gd name="connsiteX1058" fmla="*/ 1005903 w 12192528"/>
              <a:gd name="connsiteY1058" fmla="*/ 1373770 h 3912503"/>
              <a:gd name="connsiteX1059" fmla="*/ 1008974 w 12192528"/>
              <a:gd name="connsiteY1059" fmla="*/ 1382053 h 3912503"/>
              <a:gd name="connsiteX1060" fmla="*/ 1008974 w 12192528"/>
              <a:gd name="connsiteY1060" fmla="*/ 1385733 h 3912503"/>
              <a:gd name="connsiteX1061" fmla="*/ 1005288 w 12192528"/>
              <a:gd name="connsiteY1061" fmla="*/ 1393094 h 3912503"/>
              <a:gd name="connsiteX1062" fmla="*/ 996996 w 12192528"/>
              <a:gd name="connsiteY1062" fmla="*/ 1404138 h 3912503"/>
              <a:gd name="connsiteX1063" fmla="*/ 994847 w 12192528"/>
              <a:gd name="connsiteY1063" fmla="*/ 1408431 h 3912503"/>
              <a:gd name="connsiteX1064" fmla="*/ 991161 w 12192528"/>
              <a:gd name="connsiteY1064" fmla="*/ 1409964 h 3912503"/>
              <a:gd name="connsiteX1065" fmla="*/ 984097 w 12192528"/>
              <a:gd name="connsiteY1065" fmla="*/ 1412112 h 3912503"/>
              <a:gd name="connsiteX1066" fmla="*/ 981639 w 12192528"/>
              <a:gd name="connsiteY1066" fmla="*/ 1413338 h 3912503"/>
              <a:gd name="connsiteX1067" fmla="*/ 971812 w 12192528"/>
              <a:gd name="connsiteY1067" fmla="*/ 1414566 h 3912503"/>
              <a:gd name="connsiteX1068" fmla="*/ 969662 w 12192528"/>
              <a:gd name="connsiteY1068" fmla="*/ 1415180 h 3912503"/>
              <a:gd name="connsiteX1069" fmla="*/ 947856 w 12192528"/>
              <a:gd name="connsiteY1069" fmla="*/ 1401375 h 3912503"/>
              <a:gd name="connsiteX1070" fmla="*/ 941100 w 12192528"/>
              <a:gd name="connsiteY1070" fmla="*/ 1388800 h 3912503"/>
              <a:gd name="connsiteX1071" fmla="*/ 938949 w 12192528"/>
              <a:gd name="connsiteY1071" fmla="*/ 1383586 h 3912503"/>
              <a:gd name="connsiteX1072" fmla="*/ 938642 w 12192528"/>
              <a:gd name="connsiteY1072" fmla="*/ 1378371 h 3912503"/>
              <a:gd name="connsiteX1073" fmla="*/ 939564 w 12192528"/>
              <a:gd name="connsiteY1073" fmla="*/ 1374384 h 3912503"/>
              <a:gd name="connsiteX1074" fmla="*/ 941100 w 12192528"/>
              <a:gd name="connsiteY1074" fmla="*/ 1366101 h 3912503"/>
              <a:gd name="connsiteX1075" fmla="*/ 941406 w 12192528"/>
              <a:gd name="connsiteY1075" fmla="*/ 1363034 h 3912503"/>
              <a:gd name="connsiteX1076" fmla="*/ 942328 w 12192528"/>
              <a:gd name="connsiteY1076" fmla="*/ 1355672 h 3912503"/>
              <a:gd name="connsiteX1077" fmla="*/ 957685 w 12192528"/>
              <a:gd name="connsiteY1077" fmla="*/ 1343709 h 3912503"/>
              <a:gd name="connsiteX1078" fmla="*/ 967513 w 12192528"/>
              <a:gd name="connsiteY1078" fmla="*/ 1343404 h 3912503"/>
              <a:gd name="connsiteX1079" fmla="*/ 977648 w 12192528"/>
              <a:gd name="connsiteY1079" fmla="*/ 1343134 h 3912503"/>
              <a:gd name="connsiteX1080" fmla="*/ 8369829 w 12192528"/>
              <a:gd name="connsiteY1080" fmla="*/ 1337567 h 3912503"/>
              <a:gd name="connsiteX1081" fmla="*/ 8369629 w 12192528"/>
              <a:gd name="connsiteY1081" fmla="*/ 1337966 h 3912503"/>
              <a:gd name="connsiteX1082" fmla="*/ 8365928 w 12192528"/>
              <a:gd name="connsiteY1082" fmla="*/ 1339098 h 3912503"/>
              <a:gd name="connsiteX1083" fmla="*/ 1901444 w 12192528"/>
              <a:gd name="connsiteY1083" fmla="*/ 1325150 h 3912503"/>
              <a:gd name="connsiteX1084" fmla="*/ 1914194 w 12192528"/>
              <a:gd name="connsiteY1084" fmla="*/ 1325488 h 3912503"/>
              <a:gd name="connsiteX1085" fmla="*/ 1926558 w 12192528"/>
              <a:gd name="connsiteY1085" fmla="*/ 1325873 h 3912503"/>
              <a:gd name="connsiteX1086" fmla="*/ 1945877 w 12192528"/>
              <a:gd name="connsiteY1086" fmla="*/ 1340922 h 3912503"/>
              <a:gd name="connsiteX1087" fmla="*/ 1947036 w 12192528"/>
              <a:gd name="connsiteY1087" fmla="*/ 1350184 h 3912503"/>
              <a:gd name="connsiteX1088" fmla="*/ 1947421 w 12192528"/>
              <a:gd name="connsiteY1088" fmla="*/ 1354042 h 3912503"/>
              <a:gd name="connsiteX1089" fmla="*/ 1949353 w 12192528"/>
              <a:gd name="connsiteY1089" fmla="*/ 1364460 h 3912503"/>
              <a:gd name="connsiteX1090" fmla="*/ 1950513 w 12192528"/>
              <a:gd name="connsiteY1090" fmla="*/ 1369477 h 3912503"/>
              <a:gd name="connsiteX1091" fmla="*/ 1950126 w 12192528"/>
              <a:gd name="connsiteY1091" fmla="*/ 1376038 h 3912503"/>
              <a:gd name="connsiteX1092" fmla="*/ 1947421 w 12192528"/>
              <a:gd name="connsiteY1092" fmla="*/ 1382597 h 3912503"/>
              <a:gd name="connsiteX1093" fmla="*/ 1938921 w 12192528"/>
              <a:gd name="connsiteY1093" fmla="*/ 1398419 h 3912503"/>
              <a:gd name="connsiteX1094" fmla="*/ 1911489 w 12192528"/>
              <a:gd name="connsiteY1094" fmla="*/ 1415783 h 3912503"/>
              <a:gd name="connsiteX1095" fmla="*/ 1908785 w 12192528"/>
              <a:gd name="connsiteY1095" fmla="*/ 1415011 h 3912503"/>
              <a:gd name="connsiteX1096" fmla="*/ 1896421 w 12192528"/>
              <a:gd name="connsiteY1096" fmla="*/ 1413467 h 3912503"/>
              <a:gd name="connsiteX1097" fmla="*/ 1893330 w 12192528"/>
              <a:gd name="connsiteY1097" fmla="*/ 1411923 h 3912503"/>
              <a:gd name="connsiteX1098" fmla="*/ 1884443 w 12192528"/>
              <a:gd name="connsiteY1098" fmla="*/ 1409223 h 3912503"/>
              <a:gd name="connsiteX1099" fmla="*/ 1879807 w 12192528"/>
              <a:gd name="connsiteY1099" fmla="*/ 1407294 h 3912503"/>
              <a:gd name="connsiteX1100" fmla="*/ 1877102 w 12192528"/>
              <a:gd name="connsiteY1100" fmla="*/ 1401891 h 3912503"/>
              <a:gd name="connsiteX1101" fmla="*/ 1866670 w 12192528"/>
              <a:gd name="connsiteY1101" fmla="*/ 1387999 h 3912503"/>
              <a:gd name="connsiteX1102" fmla="*/ 1862034 w 12192528"/>
              <a:gd name="connsiteY1102" fmla="*/ 1378738 h 3912503"/>
              <a:gd name="connsiteX1103" fmla="*/ 1862034 w 12192528"/>
              <a:gd name="connsiteY1103" fmla="*/ 1374108 h 3912503"/>
              <a:gd name="connsiteX1104" fmla="*/ 1865897 w 12192528"/>
              <a:gd name="connsiteY1104" fmla="*/ 1363690 h 3912503"/>
              <a:gd name="connsiteX1105" fmla="*/ 1871307 w 12192528"/>
              <a:gd name="connsiteY1105" fmla="*/ 1346711 h 3912503"/>
              <a:gd name="connsiteX1106" fmla="*/ 1875943 w 12192528"/>
              <a:gd name="connsiteY1106" fmla="*/ 1340537 h 3912503"/>
              <a:gd name="connsiteX1107" fmla="*/ 1883284 w 12192528"/>
              <a:gd name="connsiteY1107" fmla="*/ 1334362 h 3912503"/>
              <a:gd name="connsiteX1108" fmla="*/ 1889853 w 12192528"/>
              <a:gd name="connsiteY1108" fmla="*/ 1330889 h 3912503"/>
              <a:gd name="connsiteX1109" fmla="*/ 1901444 w 12192528"/>
              <a:gd name="connsiteY1109" fmla="*/ 1325150 h 3912503"/>
              <a:gd name="connsiteX1110" fmla="*/ 2679609 w 12192528"/>
              <a:gd name="connsiteY1110" fmla="*/ 1324257 h 3912503"/>
              <a:gd name="connsiteX1111" fmla="*/ 2688260 w 12192528"/>
              <a:gd name="connsiteY1111" fmla="*/ 1328541 h 3912503"/>
              <a:gd name="connsiteX1112" fmla="*/ 2693162 w 12192528"/>
              <a:gd name="connsiteY1112" fmla="*/ 1331133 h 3912503"/>
              <a:gd name="connsiteX1113" fmla="*/ 2698642 w 12192528"/>
              <a:gd name="connsiteY1113" fmla="*/ 1335742 h 3912503"/>
              <a:gd name="connsiteX1114" fmla="*/ 2702103 w 12192528"/>
              <a:gd name="connsiteY1114" fmla="*/ 1340350 h 3912503"/>
              <a:gd name="connsiteX1115" fmla="*/ 2706140 w 12192528"/>
              <a:gd name="connsiteY1115" fmla="*/ 1353023 h 3912503"/>
              <a:gd name="connsiteX1116" fmla="*/ 2709024 w 12192528"/>
              <a:gd name="connsiteY1116" fmla="*/ 1360800 h 3912503"/>
              <a:gd name="connsiteX1117" fmla="*/ 2709024 w 12192528"/>
              <a:gd name="connsiteY1117" fmla="*/ 1364256 h 3912503"/>
              <a:gd name="connsiteX1118" fmla="*/ 2705563 w 12192528"/>
              <a:gd name="connsiteY1118" fmla="*/ 1371169 h 3912503"/>
              <a:gd name="connsiteX1119" fmla="*/ 2697777 w 12192528"/>
              <a:gd name="connsiteY1119" fmla="*/ 1381538 h 3912503"/>
              <a:gd name="connsiteX1120" fmla="*/ 2695759 w 12192528"/>
              <a:gd name="connsiteY1120" fmla="*/ 1385570 h 3912503"/>
              <a:gd name="connsiteX1121" fmla="*/ 2692298 w 12192528"/>
              <a:gd name="connsiteY1121" fmla="*/ 1387010 h 3912503"/>
              <a:gd name="connsiteX1122" fmla="*/ 2685665 w 12192528"/>
              <a:gd name="connsiteY1122" fmla="*/ 1389027 h 3912503"/>
              <a:gd name="connsiteX1123" fmla="*/ 2683357 w 12192528"/>
              <a:gd name="connsiteY1123" fmla="*/ 1390178 h 3912503"/>
              <a:gd name="connsiteX1124" fmla="*/ 2674129 w 12192528"/>
              <a:gd name="connsiteY1124" fmla="*/ 1391330 h 3912503"/>
              <a:gd name="connsiteX1125" fmla="*/ 2672110 w 12192528"/>
              <a:gd name="connsiteY1125" fmla="*/ 1391906 h 3912503"/>
              <a:gd name="connsiteX1126" fmla="*/ 2651635 w 12192528"/>
              <a:gd name="connsiteY1126" fmla="*/ 1378945 h 3912503"/>
              <a:gd name="connsiteX1127" fmla="*/ 2645291 w 12192528"/>
              <a:gd name="connsiteY1127" fmla="*/ 1367137 h 3912503"/>
              <a:gd name="connsiteX1128" fmla="*/ 2643271 w 12192528"/>
              <a:gd name="connsiteY1128" fmla="*/ 1362240 h 3912503"/>
              <a:gd name="connsiteX1129" fmla="*/ 2642983 w 12192528"/>
              <a:gd name="connsiteY1129" fmla="*/ 1357343 h 3912503"/>
              <a:gd name="connsiteX1130" fmla="*/ 2643849 w 12192528"/>
              <a:gd name="connsiteY1130" fmla="*/ 1353599 h 3912503"/>
              <a:gd name="connsiteX1131" fmla="*/ 2645291 w 12192528"/>
              <a:gd name="connsiteY1131" fmla="*/ 1345823 h 3912503"/>
              <a:gd name="connsiteX1132" fmla="*/ 2645578 w 12192528"/>
              <a:gd name="connsiteY1132" fmla="*/ 1342942 h 3912503"/>
              <a:gd name="connsiteX1133" fmla="*/ 2646444 w 12192528"/>
              <a:gd name="connsiteY1133" fmla="*/ 1336030 h 3912503"/>
              <a:gd name="connsiteX1134" fmla="*/ 2660864 w 12192528"/>
              <a:gd name="connsiteY1134" fmla="*/ 1324797 h 3912503"/>
              <a:gd name="connsiteX1135" fmla="*/ 2670092 w 12192528"/>
              <a:gd name="connsiteY1135" fmla="*/ 1324509 h 3912503"/>
              <a:gd name="connsiteX1136" fmla="*/ 2679609 w 12192528"/>
              <a:gd name="connsiteY1136" fmla="*/ 1324257 h 3912503"/>
              <a:gd name="connsiteX1137" fmla="*/ 466848 w 12192528"/>
              <a:gd name="connsiteY1137" fmla="*/ 1320313 h 3912503"/>
              <a:gd name="connsiteX1138" fmla="*/ 475421 w 12192528"/>
              <a:gd name="connsiteY1138" fmla="*/ 1324559 h 3912503"/>
              <a:gd name="connsiteX1139" fmla="*/ 480282 w 12192528"/>
              <a:gd name="connsiteY1139" fmla="*/ 1327128 h 3912503"/>
              <a:gd name="connsiteX1140" fmla="*/ 485711 w 12192528"/>
              <a:gd name="connsiteY1140" fmla="*/ 1331694 h 3912503"/>
              <a:gd name="connsiteX1141" fmla="*/ 489140 w 12192528"/>
              <a:gd name="connsiteY1141" fmla="*/ 1336262 h 3912503"/>
              <a:gd name="connsiteX1142" fmla="*/ 493142 w 12192528"/>
              <a:gd name="connsiteY1142" fmla="*/ 1348821 h 3912503"/>
              <a:gd name="connsiteX1143" fmla="*/ 496000 w 12192528"/>
              <a:gd name="connsiteY1143" fmla="*/ 1356528 h 3912503"/>
              <a:gd name="connsiteX1144" fmla="*/ 496000 w 12192528"/>
              <a:gd name="connsiteY1144" fmla="*/ 1359953 h 3912503"/>
              <a:gd name="connsiteX1145" fmla="*/ 492571 w 12192528"/>
              <a:gd name="connsiteY1145" fmla="*/ 1366804 h 3912503"/>
              <a:gd name="connsiteX1146" fmla="*/ 484854 w 12192528"/>
              <a:gd name="connsiteY1146" fmla="*/ 1377080 h 3912503"/>
              <a:gd name="connsiteX1147" fmla="*/ 482854 w 12192528"/>
              <a:gd name="connsiteY1147" fmla="*/ 1381076 h 3912503"/>
              <a:gd name="connsiteX1148" fmla="*/ 479423 w 12192528"/>
              <a:gd name="connsiteY1148" fmla="*/ 1382503 h 3912503"/>
              <a:gd name="connsiteX1149" fmla="*/ 472849 w 12192528"/>
              <a:gd name="connsiteY1149" fmla="*/ 1384501 h 3912503"/>
              <a:gd name="connsiteX1150" fmla="*/ 470563 w 12192528"/>
              <a:gd name="connsiteY1150" fmla="*/ 1385643 h 3912503"/>
              <a:gd name="connsiteX1151" fmla="*/ 461418 w 12192528"/>
              <a:gd name="connsiteY1151" fmla="*/ 1386785 h 3912503"/>
              <a:gd name="connsiteX1152" fmla="*/ 459417 w 12192528"/>
              <a:gd name="connsiteY1152" fmla="*/ 1387356 h 3912503"/>
              <a:gd name="connsiteX1153" fmla="*/ 439125 w 12192528"/>
              <a:gd name="connsiteY1153" fmla="*/ 1374512 h 3912503"/>
              <a:gd name="connsiteX1154" fmla="*/ 432837 w 12192528"/>
              <a:gd name="connsiteY1154" fmla="*/ 1362809 h 3912503"/>
              <a:gd name="connsiteX1155" fmla="*/ 430836 w 12192528"/>
              <a:gd name="connsiteY1155" fmla="*/ 1357955 h 3912503"/>
              <a:gd name="connsiteX1156" fmla="*/ 430551 w 12192528"/>
              <a:gd name="connsiteY1156" fmla="*/ 1353102 h 3912503"/>
              <a:gd name="connsiteX1157" fmla="*/ 431408 w 12192528"/>
              <a:gd name="connsiteY1157" fmla="*/ 1349392 h 3912503"/>
              <a:gd name="connsiteX1158" fmla="*/ 432837 w 12192528"/>
              <a:gd name="connsiteY1158" fmla="*/ 1341685 h 3912503"/>
              <a:gd name="connsiteX1159" fmla="*/ 433123 w 12192528"/>
              <a:gd name="connsiteY1159" fmla="*/ 1338832 h 3912503"/>
              <a:gd name="connsiteX1160" fmla="*/ 433981 w 12192528"/>
              <a:gd name="connsiteY1160" fmla="*/ 1331981 h 3912503"/>
              <a:gd name="connsiteX1161" fmla="*/ 448271 w 12192528"/>
              <a:gd name="connsiteY1161" fmla="*/ 1320848 h 3912503"/>
              <a:gd name="connsiteX1162" fmla="*/ 457416 w 12192528"/>
              <a:gd name="connsiteY1162" fmla="*/ 1320563 h 3912503"/>
              <a:gd name="connsiteX1163" fmla="*/ 466848 w 12192528"/>
              <a:gd name="connsiteY1163" fmla="*/ 1320313 h 3912503"/>
              <a:gd name="connsiteX1164" fmla="*/ 12191438 w 12192528"/>
              <a:gd name="connsiteY1164" fmla="*/ 1309133 h 3912503"/>
              <a:gd name="connsiteX1165" fmla="*/ 12192528 w 12192528"/>
              <a:gd name="connsiteY1165" fmla="*/ 1309308 h 3912503"/>
              <a:gd name="connsiteX1166" fmla="*/ 12192528 w 12192528"/>
              <a:gd name="connsiteY1166" fmla="*/ 1309531 h 3912503"/>
              <a:gd name="connsiteX1167" fmla="*/ 2199973 w 12192528"/>
              <a:gd name="connsiteY1167" fmla="*/ 1302827 h 3912503"/>
              <a:gd name="connsiteX1168" fmla="*/ 2208023 w 12192528"/>
              <a:gd name="connsiteY1168" fmla="*/ 1306814 h 3912503"/>
              <a:gd name="connsiteX1169" fmla="*/ 2212587 w 12192528"/>
              <a:gd name="connsiteY1169" fmla="*/ 1309227 h 3912503"/>
              <a:gd name="connsiteX1170" fmla="*/ 2217685 w 12192528"/>
              <a:gd name="connsiteY1170" fmla="*/ 1313514 h 3912503"/>
              <a:gd name="connsiteX1171" fmla="*/ 2220905 w 12192528"/>
              <a:gd name="connsiteY1171" fmla="*/ 1317803 h 3912503"/>
              <a:gd name="connsiteX1172" fmla="*/ 2224662 w 12192528"/>
              <a:gd name="connsiteY1172" fmla="*/ 1329596 h 3912503"/>
              <a:gd name="connsiteX1173" fmla="*/ 2227346 w 12192528"/>
              <a:gd name="connsiteY1173" fmla="*/ 1336833 h 3912503"/>
              <a:gd name="connsiteX1174" fmla="*/ 2227346 w 12192528"/>
              <a:gd name="connsiteY1174" fmla="*/ 1340049 h 3912503"/>
              <a:gd name="connsiteX1175" fmla="*/ 2224126 w 12192528"/>
              <a:gd name="connsiteY1175" fmla="*/ 1346482 h 3912503"/>
              <a:gd name="connsiteX1176" fmla="*/ 2216880 w 12192528"/>
              <a:gd name="connsiteY1176" fmla="*/ 1356131 h 3912503"/>
              <a:gd name="connsiteX1177" fmla="*/ 2215001 w 12192528"/>
              <a:gd name="connsiteY1177" fmla="*/ 1359883 h 3912503"/>
              <a:gd name="connsiteX1178" fmla="*/ 2211781 w 12192528"/>
              <a:gd name="connsiteY1178" fmla="*/ 1361223 h 3912503"/>
              <a:gd name="connsiteX1179" fmla="*/ 2205608 w 12192528"/>
              <a:gd name="connsiteY1179" fmla="*/ 1363099 h 3912503"/>
              <a:gd name="connsiteX1180" fmla="*/ 2203461 w 12192528"/>
              <a:gd name="connsiteY1180" fmla="*/ 1364172 h 3912503"/>
              <a:gd name="connsiteX1181" fmla="*/ 2194874 w 12192528"/>
              <a:gd name="connsiteY1181" fmla="*/ 1365244 h 3912503"/>
              <a:gd name="connsiteX1182" fmla="*/ 2192995 w 12192528"/>
              <a:gd name="connsiteY1182" fmla="*/ 1365780 h 3912503"/>
              <a:gd name="connsiteX1183" fmla="*/ 2173941 w 12192528"/>
              <a:gd name="connsiteY1183" fmla="*/ 1353719 h 3912503"/>
              <a:gd name="connsiteX1184" fmla="*/ 2168037 w 12192528"/>
              <a:gd name="connsiteY1184" fmla="*/ 1342730 h 3912503"/>
              <a:gd name="connsiteX1185" fmla="*/ 2166158 w 12192528"/>
              <a:gd name="connsiteY1185" fmla="*/ 1338173 h 3912503"/>
              <a:gd name="connsiteX1186" fmla="*/ 2165890 w 12192528"/>
              <a:gd name="connsiteY1186" fmla="*/ 1333617 h 3912503"/>
              <a:gd name="connsiteX1187" fmla="*/ 2166695 w 12192528"/>
              <a:gd name="connsiteY1187" fmla="*/ 1330133 h 3912503"/>
              <a:gd name="connsiteX1188" fmla="*/ 2168037 w 12192528"/>
              <a:gd name="connsiteY1188" fmla="*/ 1322895 h 3912503"/>
              <a:gd name="connsiteX1189" fmla="*/ 2168305 w 12192528"/>
              <a:gd name="connsiteY1189" fmla="*/ 1320216 h 3912503"/>
              <a:gd name="connsiteX1190" fmla="*/ 2169111 w 12192528"/>
              <a:gd name="connsiteY1190" fmla="*/ 1313783 h 3912503"/>
              <a:gd name="connsiteX1191" fmla="*/ 2182529 w 12192528"/>
              <a:gd name="connsiteY1191" fmla="*/ 1303330 h 3912503"/>
              <a:gd name="connsiteX1192" fmla="*/ 2191116 w 12192528"/>
              <a:gd name="connsiteY1192" fmla="*/ 1303062 h 3912503"/>
              <a:gd name="connsiteX1193" fmla="*/ 2199973 w 12192528"/>
              <a:gd name="connsiteY1193" fmla="*/ 1302827 h 3912503"/>
              <a:gd name="connsiteX1194" fmla="*/ 8123738 w 12192528"/>
              <a:gd name="connsiteY1194" fmla="*/ 1295917 h 3912503"/>
              <a:gd name="connsiteX1195" fmla="*/ 8118487 w 12192528"/>
              <a:gd name="connsiteY1195" fmla="*/ 1298762 h 3912503"/>
              <a:gd name="connsiteX1196" fmla="*/ 8096071 w 12192528"/>
              <a:gd name="connsiteY1196" fmla="*/ 1311213 h 3912503"/>
              <a:gd name="connsiteX1197" fmla="*/ 8089514 w 12192528"/>
              <a:gd name="connsiteY1197" fmla="*/ 1315681 h 3912503"/>
              <a:gd name="connsiteX1198" fmla="*/ 5839320 w 12192528"/>
              <a:gd name="connsiteY1198" fmla="*/ 1269662 h 3912503"/>
              <a:gd name="connsiteX1199" fmla="*/ 5849364 w 12192528"/>
              <a:gd name="connsiteY1199" fmla="*/ 1270271 h 3912503"/>
              <a:gd name="connsiteX1200" fmla="*/ 5844952 w 12192528"/>
              <a:gd name="connsiteY1200" fmla="*/ 1270271 h 3912503"/>
              <a:gd name="connsiteX1201" fmla="*/ 5840538 w 12192528"/>
              <a:gd name="connsiteY1201" fmla="*/ 1270271 h 3912503"/>
              <a:gd name="connsiteX1202" fmla="*/ 8260284 w 12192528"/>
              <a:gd name="connsiteY1202" fmla="*/ 1261482 h 3912503"/>
              <a:gd name="connsiteX1203" fmla="*/ 7803694 w 12192528"/>
              <a:gd name="connsiteY1203" fmla="*/ 1518508 h 3912503"/>
              <a:gd name="connsiteX1204" fmla="*/ 7802681 w 12192528"/>
              <a:gd name="connsiteY1204" fmla="*/ 1516829 h 3912503"/>
              <a:gd name="connsiteX1205" fmla="*/ 7767484 w 12192528"/>
              <a:gd name="connsiteY1205" fmla="*/ 1549228 h 3912503"/>
              <a:gd name="connsiteX1206" fmla="*/ 7676563 w 12192528"/>
              <a:gd name="connsiteY1206" fmla="*/ 1627987 h 3912503"/>
              <a:gd name="connsiteX1207" fmla="*/ 7671090 w 12192528"/>
              <a:gd name="connsiteY1207" fmla="*/ 1638722 h 3912503"/>
              <a:gd name="connsiteX1208" fmla="*/ 7669773 w 12192528"/>
              <a:gd name="connsiteY1208" fmla="*/ 1634671 h 3912503"/>
              <a:gd name="connsiteX1209" fmla="*/ 7630342 w 12192528"/>
              <a:gd name="connsiteY1209" fmla="*/ 1678814 h 3912503"/>
              <a:gd name="connsiteX1210" fmla="*/ 7604598 w 12192528"/>
              <a:gd name="connsiteY1210" fmla="*/ 1696122 h 3912503"/>
              <a:gd name="connsiteX1211" fmla="*/ 7611280 w 12192528"/>
              <a:gd name="connsiteY1211" fmla="*/ 1702913 h 3912503"/>
              <a:gd name="connsiteX1212" fmla="*/ 7594959 w 12192528"/>
              <a:gd name="connsiteY1212" fmla="*/ 1721645 h 3912503"/>
              <a:gd name="connsiteX1213" fmla="*/ 7581487 w 12192528"/>
              <a:gd name="connsiteY1213" fmla="*/ 1721535 h 3912503"/>
              <a:gd name="connsiteX1214" fmla="*/ 7507986 w 12192528"/>
              <a:gd name="connsiteY1214" fmla="*/ 1812562 h 3912503"/>
              <a:gd name="connsiteX1215" fmla="*/ 7501198 w 12192528"/>
              <a:gd name="connsiteY1215" fmla="*/ 1819243 h 3912503"/>
              <a:gd name="connsiteX1216" fmla="*/ 7498458 w 12192528"/>
              <a:gd name="connsiteY1216" fmla="*/ 1824612 h 3912503"/>
              <a:gd name="connsiteX1217" fmla="*/ 7502513 w 12192528"/>
              <a:gd name="connsiteY1217" fmla="*/ 1823297 h 3912503"/>
              <a:gd name="connsiteX1218" fmla="*/ 7506564 w 12192528"/>
              <a:gd name="connsiteY1218" fmla="*/ 1821982 h 3912503"/>
              <a:gd name="connsiteX1219" fmla="*/ 7426279 w 12192528"/>
              <a:gd name="connsiteY1219" fmla="*/ 1919691 h 3912503"/>
              <a:gd name="connsiteX1220" fmla="*/ 7412805 w 12192528"/>
              <a:gd name="connsiteY1220" fmla="*/ 1919582 h 3912503"/>
              <a:gd name="connsiteX1221" fmla="*/ 7371706 w 12192528"/>
              <a:gd name="connsiteY1221" fmla="*/ 1978466 h 3912503"/>
              <a:gd name="connsiteX1222" fmla="*/ 7377643 w 12192528"/>
              <a:gd name="connsiteY1222" fmla="*/ 1988410 h 3912503"/>
              <a:gd name="connsiteX1223" fmla="*/ 7408533 w 12192528"/>
              <a:gd name="connsiteY1223" fmla="*/ 1947843 h 3912503"/>
              <a:gd name="connsiteX1224" fmla="*/ 7423432 w 12192528"/>
              <a:gd name="connsiteY1224" fmla="*/ 1938532 h 3912503"/>
              <a:gd name="connsiteX1225" fmla="*/ 7476552 w 12192528"/>
              <a:gd name="connsiteY1225" fmla="*/ 1867550 h 3912503"/>
              <a:gd name="connsiteX1226" fmla="*/ 7484657 w 12192528"/>
              <a:gd name="connsiteY1226" fmla="*/ 1864921 h 3912503"/>
              <a:gd name="connsiteX1227" fmla="*/ 7482028 w 12192528"/>
              <a:gd name="connsiteY1227" fmla="*/ 1856816 h 3912503"/>
              <a:gd name="connsiteX1228" fmla="*/ 7559467 w 12192528"/>
              <a:gd name="connsiteY1228" fmla="*/ 1777947 h 3912503"/>
              <a:gd name="connsiteX1229" fmla="*/ 7549940 w 12192528"/>
              <a:gd name="connsiteY1229" fmla="*/ 1789996 h 3912503"/>
              <a:gd name="connsiteX1230" fmla="*/ 7525405 w 12192528"/>
              <a:gd name="connsiteY1230" fmla="*/ 1824830 h 3912503"/>
              <a:gd name="connsiteX1231" fmla="*/ 7479071 w 12192528"/>
              <a:gd name="connsiteY1231" fmla="*/ 1889129 h 3912503"/>
              <a:gd name="connsiteX1232" fmla="*/ 7472282 w 12192528"/>
              <a:gd name="connsiteY1232" fmla="*/ 1895812 h 3912503"/>
              <a:gd name="connsiteX1233" fmla="*/ 7464177 w 12192528"/>
              <a:gd name="connsiteY1233" fmla="*/ 1898440 h 3912503"/>
              <a:gd name="connsiteX1234" fmla="*/ 7450485 w 12192528"/>
              <a:gd name="connsiteY1234" fmla="*/ 1925278 h 3912503"/>
              <a:gd name="connsiteX1235" fmla="*/ 7428687 w 12192528"/>
              <a:gd name="connsiteY1235" fmla="*/ 1954743 h 3912503"/>
              <a:gd name="connsiteX1236" fmla="*/ 7385207 w 12192528"/>
              <a:gd name="connsiteY1236" fmla="*/ 2000202 h 3912503"/>
              <a:gd name="connsiteX1237" fmla="*/ 7387380 w 12192528"/>
              <a:gd name="connsiteY1237" fmla="*/ 2001736 h 3912503"/>
              <a:gd name="connsiteX1238" fmla="*/ 7386735 w 12192528"/>
              <a:gd name="connsiteY1238" fmla="*/ 2003634 h 3912503"/>
              <a:gd name="connsiteX1239" fmla="*/ 7396409 w 12192528"/>
              <a:gd name="connsiteY1239" fmla="*/ 2019844 h 3912503"/>
              <a:gd name="connsiteX1240" fmla="*/ 7462534 w 12192528"/>
              <a:gd name="connsiteY1240" fmla="*/ 1934806 h 3912503"/>
              <a:gd name="connsiteX1241" fmla="*/ 7481591 w 12192528"/>
              <a:gd name="connsiteY1241" fmla="*/ 1910708 h 3912503"/>
              <a:gd name="connsiteX1242" fmla="*/ 7485646 w 12192528"/>
              <a:gd name="connsiteY1242" fmla="*/ 1909393 h 3912503"/>
              <a:gd name="connsiteX1243" fmla="*/ 7496487 w 12192528"/>
              <a:gd name="connsiteY1243" fmla="*/ 1901397 h 3912503"/>
              <a:gd name="connsiteX1244" fmla="*/ 7499228 w 12192528"/>
              <a:gd name="connsiteY1244" fmla="*/ 1896029 h 3912503"/>
              <a:gd name="connsiteX1245" fmla="*/ 7495175 w 12192528"/>
              <a:gd name="connsiteY1245" fmla="*/ 1897344 h 3912503"/>
              <a:gd name="connsiteX1246" fmla="*/ 7544135 w 12192528"/>
              <a:gd name="connsiteY1246" fmla="*/ 1841151 h 3912503"/>
              <a:gd name="connsiteX1247" fmla="*/ 7583568 w 12192528"/>
              <a:gd name="connsiteY1247" fmla="*/ 1797006 h 3912503"/>
              <a:gd name="connsiteX1248" fmla="*/ 7585733 w 12192528"/>
              <a:gd name="connsiteY1248" fmla="*/ 1794876 h 3912503"/>
              <a:gd name="connsiteX1249" fmla="*/ 7586554 w 12192528"/>
              <a:gd name="connsiteY1249" fmla="*/ 1793880 h 3912503"/>
              <a:gd name="connsiteX1250" fmla="*/ 7661003 w 12192528"/>
              <a:gd name="connsiteY1250" fmla="*/ 1718541 h 3912503"/>
              <a:gd name="connsiteX1251" fmla="*/ 7661013 w 12192528"/>
              <a:gd name="connsiteY1251" fmla="*/ 1718136 h 3912503"/>
              <a:gd name="connsiteX1252" fmla="*/ 7670454 w 12192528"/>
              <a:gd name="connsiteY1252" fmla="*/ 1708976 h 3912503"/>
              <a:gd name="connsiteX1253" fmla="*/ 7788388 w 12192528"/>
              <a:gd name="connsiteY1253" fmla="*/ 1589632 h 3912503"/>
              <a:gd name="connsiteX1254" fmla="*/ 8260284 w 12192528"/>
              <a:gd name="connsiteY1254" fmla="*/ 1261482 h 3912503"/>
              <a:gd name="connsiteX1255" fmla="*/ 12104980 w 12192528"/>
              <a:gd name="connsiteY1255" fmla="*/ 1249920 h 3912503"/>
              <a:gd name="connsiteX1256" fmla="*/ 12105097 w 12192528"/>
              <a:gd name="connsiteY1256" fmla="*/ 1250254 h 3912503"/>
              <a:gd name="connsiteX1257" fmla="*/ 12104628 w 12192528"/>
              <a:gd name="connsiteY1257" fmla="*/ 1250151 h 3912503"/>
              <a:gd name="connsiteX1258" fmla="*/ 8417266 w 12192528"/>
              <a:gd name="connsiteY1258" fmla="*/ 1232514 h 3912503"/>
              <a:gd name="connsiteX1259" fmla="*/ 8411559 w 12192528"/>
              <a:gd name="connsiteY1259" fmla="*/ 1234786 h 3912503"/>
              <a:gd name="connsiteX1260" fmla="*/ 8410022 w 12192528"/>
              <a:gd name="connsiteY1260" fmla="*/ 1237798 h 3912503"/>
              <a:gd name="connsiteX1261" fmla="*/ 8418129 w 12192528"/>
              <a:gd name="connsiteY1261" fmla="*/ 1235169 h 3912503"/>
              <a:gd name="connsiteX1262" fmla="*/ 2911864 w 12192528"/>
              <a:gd name="connsiteY1262" fmla="*/ 1232309 h 3912503"/>
              <a:gd name="connsiteX1263" fmla="*/ 2863322 w 12192528"/>
              <a:gd name="connsiteY1263" fmla="*/ 1295774 h 3912503"/>
              <a:gd name="connsiteX1264" fmla="*/ 2850587 w 12192528"/>
              <a:gd name="connsiteY1264" fmla="*/ 1310351 h 3912503"/>
              <a:gd name="connsiteX1265" fmla="*/ 2852691 w 12192528"/>
              <a:gd name="connsiteY1265" fmla="*/ 1311805 h 3912503"/>
              <a:gd name="connsiteX1266" fmla="*/ 2867409 w 12192528"/>
              <a:gd name="connsiteY1266" fmla="*/ 1313020 h 3912503"/>
              <a:gd name="connsiteX1267" fmla="*/ 2890959 w 12192528"/>
              <a:gd name="connsiteY1267" fmla="*/ 1289088 h 3912503"/>
              <a:gd name="connsiteX1268" fmla="*/ 2905911 w 12192528"/>
              <a:gd name="connsiteY1268" fmla="*/ 1244216 h 3912503"/>
              <a:gd name="connsiteX1269" fmla="*/ 2911933 w 12192528"/>
              <a:gd name="connsiteY1269" fmla="*/ 1233374 h 3912503"/>
              <a:gd name="connsiteX1270" fmla="*/ 2155643 w 12192528"/>
              <a:gd name="connsiteY1270" fmla="*/ 1216915 h 3912503"/>
              <a:gd name="connsiteX1271" fmla="*/ 2164217 w 12192528"/>
              <a:gd name="connsiteY1271" fmla="*/ 1221161 h 3912503"/>
              <a:gd name="connsiteX1272" fmla="*/ 2169076 w 12192528"/>
              <a:gd name="connsiteY1272" fmla="*/ 1223730 h 3912503"/>
              <a:gd name="connsiteX1273" fmla="*/ 2174507 w 12192528"/>
              <a:gd name="connsiteY1273" fmla="*/ 1228297 h 3912503"/>
              <a:gd name="connsiteX1274" fmla="*/ 2177936 w 12192528"/>
              <a:gd name="connsiteY1274" fmla="*/ 1232864 h 3912503"/>
              <a:gd name="connsiteX1275" fmla="*/ 2181937 w 12192528"/>
              <a:gd name="connsiteY1275" fmla="*/ 1245423 h 3912503"/>
              <a:gd name="connsiteX1276" fmla="*/ 2184795 w 12192528"/>
              <a:gd name="connsiteY1276" fmla="*/ 1253130 h 3912503"/>
              <a:gd name="connsiteX1277" fmla="*/ 2184795 w 12192528"/>
              <a:gd name="connsiteY1277" fmla="*/ 1256556 h 3912503"/>
              <a:gd name="connsiteX1278" fmla="*/ 2181366 w 12192528"/>
              <a:gd name="connsiteY1278" fmla="*/ 1263406 h 3912503"/>
              <a:gd name="connsiteX1279" fmla="*/ 2173649 w 12192528"/>
              <a:gd name="connsiteY1279" fmla="*/ 1273682 h 3912503"/>
              <a:gd name="connsiteX1280" fmla="*/ 2171648 w 12192528"/>
              <a:gd name="connsiteY1280" fmla="*/ 1277678 h 3912503"/>
              <a:gd name="connsiteX1281" fmla="*/ 2168219 w 12192528"/>
              <a:gd name="connsiteY1281" fmla="*/ 1279105 h 3912503"/>
              <a:gd name="connsiteX1282" fmla="*/ 2161645 w 12192528"/>
              <a:gd name="connsiteY1282" fmla="*/ 1281103 h 3912503"/>
              <a:gd name="connsiteX1283" fmla="*/ 2159358 w 12192528"/>
              <a:gd name="connsiteY1283" fmla="*/ 1282245 h 3912503"/>
              <a:gd name="connsiteX1284" fmla="*/ 2150213 w 12192528"/>
              <a:gd name="connsiteY1284" fmla="*/ 1283387 h 3912503"/>
              <a:gd name="connsiteX1285" fmla="*/ 2148211 w 12192528"/>
              <a:gd name="connsiteY1285" fmla="*/ 1283958 h 3912503"/>
              <a:gd name="connsiteX1286" fmla="*/ 2127919 w 12192528"/>
              <a:gd name="connsiteY1286" fmla="*/ 1271113 h 3912503"/>
              <a:gd name="connsiteX1287" fmla="*/ 2121633 w 12192528"/>
              <a:gd name="connsiteY1287" fmla="*/ 1259410 h 3912503"/>
              <a:gd name="connsiteX1288" fmla="*/ 2119632 w 12192528"/>
              <a:gd name="connsiteY1288" fmla="*/ 1254558 h 3912503"/>
              <a:gd name="connsiteX1289" fmla="*/ 2119346 w 12192528"/>
              <a:gd name="connsiteY1289" fmla="*/ 1249705 h 3912503"/>
              <a:gd name="connsiteX1290" fmla="*/ 2120203 w 12192528"/>
              <a:gd name="connsiteY1290" fmla="*/ 1245995 h 3912503"/>
              <a:gd name="connsiteX1291" fmla="*/ 2121633 w 12192528"/>
              <a:gd name="connsiteY1291" fmla="*/ 1238288 h 3912503"/>
              <a:gd name="connsiteX1292" fmla="*/ 2121918 w 12192528"/>
              <a:gd name="connsiteY1292" fmla="*/ 1235433 h 3912503"/>
              <a:gd name="connsiteX1293" fmla="*/ 2122776 w 12192528"/>
              <a:gd name="connsiteY1293" fmla="*/ 1228582 h 3912503"/>
              <a:gd name="connsiteX1294" fmla="*/ 2137066 w 12192528"/>
              <a:gd name="connsiteY1294" fmla="*/ 1217450 h 3912503"/>
              <a:gd name="connsiteX1295" fmla="*/ 2146211 w 12192528"/>
              <a:gd name="connsiteY1295" fmla="*/ 1217165 h 3912503"/>
              <a:gd name="connsiteX1296" fmla="*/ 2155643 w 12192528"/>
              <a:gd name="connsiteY1296" fmla="*/ 1216915 h 3912503"/>
              <a:gd name="connsiteX1297" fmla="*/ 8275194 w 12192528"/>
              <a:gd name="connsiteY1297" fmla="*/ 1215563 h 3912503"/>
              <a:gd name="connsiteX1298" fmla="*/ 8263740 w 12192528"/>
              <a:gd name="connsiteY1298" fmla="*/ 1220296 h 3912503"/>
              <a:gd name="connsiteX1299" fmla="*/ 8233022 w 12192528"/>
              <a:gd name="connsiteY1299" fmla="*/ 1235857 h 3912503"/>
              <a:gd name="connsiteX1300" fmla="*/ 8211486 w 12192528"/>
              <a:gd name="connsiteY1300" fmla="*/ 1247811 h 3912503"/>
              <a:gd name="connsiteX1301" fmla="*/ 7487079 w 12192528"/>
              <a:gd name="connsiteY1301" fmla="*/ 1209056 h 3912503"/>
              <a:gd name="connsiteX1302" fmla="*/ 7486867 w 12192528"/>
              <a:gd name="connsiteY1302" fmla="*/ 1209417 h 3912503"/>
              <a:gd name="connsiteX1303" fmla="*/ 7486613 w 12192528"/>
              <a:gd name="connsiteY1303" fmla="*/ 1209167 h 3912503"/>
              <a:gd name="connsiteX1304" fmla="*/ 1563784 w 12192528"/>
              <a:gd name="connsiteY1304" fmla="*/ 1205899 h 3912503"/>
              <a:gd name="connsiteX1305" fmla="*/ 1563518 w 12192528"/>
              <a:gd name="connsiteY1305" fmla="*/ 1206342 h 3912503"/>
              <a:gd name="connsiteX1306" fmla="*/ 1563209 w 12192528"/>
              <a:gd name="connsiteY1306" fmla="*/ 1206035 h 3912503"/>
              <a:gd name="connsiteX1307" fmla="*/ 4781344 w 12192528"/>
              <a:gd name="connsiteY1307" fmla="*/ 1199658 h 3912503"/>
              <a:gd name="connsiteX1308" fmla="*/ 4785755 w 12192528"/>
              <a:gd name="connsiteY1308" fmla="*/ 1199658 h 3912503"/>
              <a:gd name="connsiteX1309" fmla="*/ 4790168 w 12192528"/>
              <a:gd name="connsiteY1309" fmla="*/ 1199658 h 3912503"/>
              <a:gd name="connsiteX1310" fmla="*/ 4794583 w 12192528"/>
              <a:gd name="connsiteY1310" fmla="*/ 1199658 h 3912503"/>
              <a:gd name="connsiteX1311" fmla="*/ 4785755 w 12192528"/>
              <a:gd name="connsiteY1311" fmla="*/ 1204071 h 3912503"/>
              <a:gd name="connsiteX1312" fmla="*/ 4768102 w 12192528"/>
              <a:gd name="connsiteY1312" fmla="*/ 1204071 h 3912503"/>
              <a:gd name="connsiteX1313" fmla="*/ 4781344 w 12192528"/>
              <a:gd name="connsiteY1313" fmla="*/ 1199658 h 3912503"/>
              <a:gd name="connsiteX1314" fmla="*/ 62800 w 12192528"/>
              <a:gd name="connsiteY1314" fmla="*/ 1178205 h 3912503"/>
              <a:gd name="connsiteX1315" fmla="*/ 73611 w 12192528"/>
              <a:gd name="connsiteY1315" fmla="*/ 1179861 h 3912503"/>
              <a:gd name="connsiteX1316" fmla="*/ 82760 w 12192528"/>
              <a:gd name="connsiteY1316" fmla="*/ 1185657 h 3912503"/>
              <a:gd name="connsiteX1317" fmla="*/ 87750 w 12192528"/>
              <a:gd name="connsiteY1317" fmla="*/ 1191452 h 3912503"/>
              <a:gd name="connsiteX1318" fmla="*/ 87750 w 12192528"/>
              <a:gd name="connsiteY1318" fmla="*/ 1206355 h 3912503"/>
              <a:gd name="connsiteX1319" fmla="*/ 78601 w 12192528"/>
              <a:gd name="connsiteY1319" fmla="*/ 1215463 h 3912503"/>
              <a:gd name="connsiteX1320" fmla="*/ 72779 w 12192528"/>
              <a:gd name="connsiteY1320" fmla="*/ 1226227 h 3912503"/>
              <a:gd name="connsiteX1321" fmla="*/ 68205 w 12192528"/>
              <a:gd name="connsiteY1321" fmla="*/ 1237405 h 3912503"/>
              <a:gd name="connsiteX1322" fmla="*/ 61967 w 12192528"/>
              <a:gd name="connsiteY1322" fmla="*/ 1244856 h 3912503"/>
              <a:gd name="connsiteX1323" fmla="*/ 52820 w 12192528"/>
              <a:gd name="connsiteY1323" fmla="*/ 1249409 h 3912503"/>
              <a:gd name="connsiteX1324" fmla="*/ 44502 w 12192528"/>
              <a:gd name="connsiteY1324" fmla="*/ 1249409 h 3912503"/>
              <a:gd name="connsiteX1325" fmla="*/ 43255 w 12192528"/>
              <a:gd name="connsiteY1325" fmla="*/ 1247754 h 3912503"/>
              <a:gd name="connsiteX1326" fmla="*/ 31611 w 12192528"/>
              <a:gd name="connsiteY1326" fmla="*/ 1238645 h 3912503"/>
              <a:gd name="connsiteX1327" fmla="*/ 27868 w 12192528"/>
              <a:gd name="connsiteY1327" fmla="*/ 1224571 h 3912503"/>
              <a:gd name="connsiteX1328" fmla="*/ 33690 w 12192528"/>
              <a:gd name="connsiteY1328" fmla="*/ 1208011 h 3912503"/>
              <a:gd name="connsiteX1329" fmla="*/ 39927 w 12192528"/>
              <a:gd name="connsiteY1329" fmla="*/ 1204286 h 3912503"/>
              <a:gd name="connsiteX1330" fmla="*/ 47829 w 12192528"/>
              <a:gd name="connsiteY1330" fmla="*/ 1194350 h 3912503"/>
              <a:gd name="connsiteX1331" fmla="*/ 50324 w 12192528"/>
              <a:gd name="connsiteY1331" fmla="*/ 1189796 h 3912503"/>
              <a:gd name="connsiteX1332" fmla="*/ 62800 w 12192528"/>
              <a:gd name="connsiteY1332" fmla="*/ 1178205 h 3912503"/>
              <a:gd name="connsiteX1333" fmla="*/ 1179814 w 12192528"/>
              <a:gd name="connsiteY1333" fmla="*/ 1173359 h 3912503"/>
              <a:gd name="connsiteX1334" fmla="*/ 1189028 w 12192528"/>
              <a:gd name="connsiteY1334" fmla="*/ 1177922 h 3912503"/>
              <a:gd name="connsiteX1335" fmla="*/ 1194248 w 12192528"/>
              <a:gd name="connsiteY1335" fmla="*/ 1180682 h 3912503"/>
              <a:gd name="connsiteX1336" fmla="*/ 1200083 w 12192528"/>
              <a:gd name="connsiteY1336" fmla="*/ 1185592 h 3912503"/>
              <a:gd name="connsiteX1337" fmla="*/ 1203769 w 12192528"/>
              <a:gd name="connsiteY1337" fmla="*/ 1190499 h 3912503"/>
              <a:gd name="connsiteX1338" fmla="*/ 1208069 w 12192528"/>
              <a:gd name="connsiteY1338" fmla="*/ 1203994 h 3912503"/>
              <a:gd name="connsiteX1339" fmla="*/ 1211140 w 12192528"/>
              <a:gd name="connsiteY1339" fmla="*/ 1212278 h 3912503"/>
              <a:gd name="connsiteX1340" fmla="*/ 1211140 w 12192528"/>
              <a:gd name="connsiteY1340" fmla="*/ 1215957 h 3912503"/>
              <a:gd name="connsiteX1341" fmla="*/ 1207454 w 12192528"/>
              <a:gd name="connsiteY1341" fmla="*/ 1223319 h 3912503"/>
              <a:gd name="connsiteX1342" fmla="*/ 1199162 w 12192528"/>
              <a:gd name="connsiteY1342" fmla="*/ 1234362 h 3912503"/>
              <a:gd name="connsiteX1343" fmla="*/ 1197013 w 12192528"/>
              <a:gd name="connsiteY1343" fmla="*/ 1238656 h 3912503"/>
              <a:gd name="connsiteX1344" fmla="*/ 1193327 w 12192528"/>
              <a:gd name="connsiteY1344" fmla="*/ 1240190 h 3912503"/>
              <a:gd name="connsiteX1345" fmla="*/ 1186263 w 12192528"/>
              <a:gd name="connsiteY1345" fmla="*/ 1242338 h 3912503"/>
              <a:gd name="connsiteX1346" fmla="*/ 1183805 w 12192528"/>
              <a:gd name="connsiteY1346" fmla="*/ 1243563 h 3912503"/>
              <a:gd name="connsiteX1347" fmla="*/ 1173978 w 12192528"/>
              <a:gd name="connsiteY1347" fmla="*/ 1244790 h 3912503"/>
              <a:gd name="connsiteX1348" fmla="*/ 1171828 w 12192528"/>
              <a:gd name="connsiteY1348" fmla="*/ 1245405 h 3912503"/>
              <a:gd name="connsiteX1349" fmla="*/ 1150022 w 12192528"/>
              <a:gd name="connsiteY1349" fmla="*/ 1231601 h 3912503"/>
              <a:gd name="connsiteX1350" fmla="*/ 1143266 w 12192528"/>
              <a:gd name="connsiteY1350" fmla="*/ 1219025 h 3912503"/>
              <a:gd name="connsiteX1351" fmla="*/ 1141116 w 12192528"/>
              <a:gd name="connsiteY1351" fmla="*/ 1213810 h 3912503"/>
              <a:gd name="connsiteX1352" fmla="*/ 1140808 w 12192528"/>
              <a:gd name="connsiteY1352" fmla="*/ 1208596 h 3912503"/>
              <a:gd name="connsiteX1353" fmla="*/ 1141731 w 12192528"/>
              <a:gd name="connsiteY1353" fmla="*/ 1204609 h 3912503"/>
              <a:gd name="connsiteX1354" fmla="*/ 1143266 w 12192528"/>
              <a:gd name="connsiteY1354" fmla="*/ 1196327 h 3912503"/>
              <a:gd name="connsiteX1355" fmla="*/ 1143572 w 12192528"/>
              <a:gd name="connsiteY1355" fmla="*/ 1193259 h 3912503"/>
              <a:gd name="connsiteX1356" fmla="*/ 1144494 w 12192528"/>
              <a:gd name="connsiteY1356" fmla="*/ 1185897 h 3912503"/>
              <a:gd name="connsiteX1357" fmla="*/ 1159851 w 12192528"/>
              <a:gd name="connsiteY1357" fmla="*/ 1173934 h 3912503"/>
              <a:gd name="connsiteX1358" fmla="*/ 1169678 w 12192528"/>
              <a:gd name="connsiteY1358" fmla="*/ 1173629 h 3912503"/>
              <a:gd name="connsiteX1359" fmla="*/ 1179814 w 12192528"/>
              <a:gd name="connsiteY1359" fmla="*/ 1173359 h 3912503"/>
              <a:gd name="connsiteX1360" fmla="*/ 1820575 w 12192528"/>
              <a:gd name="connsiteY1360" fmla="*/ 1169389 h 3912503"/>
              <a:gd name="connsiteX1361" fmla="*/ 1830727 w 12192528"/>
              <a:gd name="connsiteY1361" fmla="*/ 1170944 h 3912503"/>
              <a:gd name="connsiteX1362" fmla="*/ 1839318 w 12192528"/>
              <a:gd name="connsiteY1362" fmla="*/ 1176386 h 3912503"/>
              <a:gd name="connsiteX1363" fmla="*/ 1844003 w 12192528"/>
              <a:gd name="connsiteY1363" fmla="*/ 1181828 h 3912503"/>
              <a:gd name="connsiteX1364" fmla="*/ 1844003 w 12192528"/>
              <a:gd name="connsiteY1364" fmla="*/ 1195823 h 3912503"/>
              <a:gd name="connsiteX1365" fmla="*/ 1835413 w 12192528"/>
              <a:gd name="connsiteY1365" fmla="*/ 1204374 h 3912503"/>
              <a:gd name="connsiteX1366" fmla="*/ 1829946 w 12192528"/>
              <a:gd name="connsiteY1366" fmla="*/ 1214481 h 3912503"/>
              <a:gd name="connsiteX1367" fmla="*/ 1825651 w 12192528"/>
              <a:gd name="connsiteY1367" fmla="*/ 1224977 h 3912503"/>
              <a:gd name="connsiteX1368" fmla="*/ 1819793 w 12192528"/>
              <a:gd name="connsiteY1368" fmla="*/ 1231974 h 3912503"/>
              <a:gd name="connsiteX1369" fmla="*/ 1811204 w 12192528"/>
              <a:gd name="connsiteY1369" fmla="*/ 1236250 h 3912503"/>
              <a:gd name="connsiteX1370" fmla="*/ 1803394 w 12192528"/>
              <a:gd name="connsiteY1370" fmla="*/ 1236250 h 3912503"/>
              <a:gd name="connsiteX1371" fmla="*/ 1802223 w 12192528"/>
              <a:gd name="connsiteY1371" fmla="*/ 1234695 h 3912503"/>
              <a:gd name="connsiteX1372" fmla="*/ 1791289 w 12192528"/>
              <a:gd name="connsiteY1372" fmla="*/ 1226143 h 3912503"/>
              <a:gd name="connsiteX1373" fmla="*/ 1787775 w 12192528"/>
              <a:gd name="connsiteY1373" fmla="*/ 1212927 h 3912503"/>
              <a:gd name="connsiteX1374" fmla="*/ 1793242 w 12192528"/>
              <a:gd name="connsiteY1374" fmla="*/ 1197377 h 3912503"/>
              <a:gd name="connsiteX1375" fmla="*/ 1799098 w 12192528"/>
              <a:gd name="connsiteY1375" fmla="*/ 1193879 h 3912503"/>
              <a:gd name="connsiteX1376" fmla="*/ 1806518 w 12192528"/>
              <a:gd name="connsiteY1376" fmla="*/ 1184549 h 3912503"/>
              <a:gd name="connsiteX1377" fmla="*/ 1808861 w 12192528"/>
              <a:gd name="connsiteY1377" fmla="*/ 1180274 h 3912503"/>
              <a:gd name="connsiteX1378" fmla="*/ 1820575 w 12192528"/>
              <a:gd name="connsiteY1378" fmla="*/ 1169389 h 3912503"/>
              <a:gd name="connsiteX1379" fmla="*/ 5134407 w 12192528"/>
              <a:gd name="connsiteY1379" fmla="*/ 1164351 h 3912503"/>
              <a:gd name="connsiteX1380" fmla="*/ 5134407 w 12192528"/>
              <a:gd name="connsiteY1380" fmla="*/ 1168764 h 3912503"/>
              <a:gd name="connsiteX1381" fmla="*/ 5129996 w 12192528"/>
              <a:gd name="connsiteY1381" fmla="*/ 1168764 h 3912503"/>
              <a:gd name="connsiteX1382" fmla="*/ 5134407 w 12192528"/>
              <a:gd name="connsiteY1382" fmla="*/ 1164351 h 3912503"/>
              <a:gd name="connsiteX1383" fmla="*/ 12023158 w 12192528"/>
              <a:gd name="connsiteY1383" fmla="*/ 1160424 h 3912503"/>
              <a:gd name="connsiteX1384" fmla="*/ 12036966 w 12192528"/>
              <a:gd name="connsiteY1384" fmla="*/ 1160536 h 3912503"/>
              <a:gd name="connsiteX1385" fmla="*/ 12042462 w 12192528"/>
              <a:gd name="connsiteY1385" fmla="*/ 1161385 h 3912503"/>
              <a:gd name="connsiteX1386" fmla="*/ 12051450 w 12192528"/>
              <a:gd name="connsiteY1386" fmla="*/ 1163473 h 3912503"/>
              <a:gd name="connsiteX1387" fmla="*/ 12060108 w 12192528"/>
              <a:gd name="connsiteY1387" fmla="*/ 1161087 h 3912503"/>
              <a:gd name="connsiteX1388" fmla="*/ 12063348 w 12192528"/>
              <a:gd name="connsiteY1388" fmla="*/ 1161436 h 3912503"/>
              <a:gd name="connsiteX1389" fmla="*/ 12063810 w 12192528"/>
              <a:gd name="connsiteY1389" fmla="*/ 1164700 h 3912503"/>
              <a:gd name="connsiteX1390" fmla="*/ 12063291 w 12192528"/>
              <a:gd name="connsiteY1390" fmla="*/ 1167174 h 3912503"/>
              <a:gd name="connsiteX1391" fmla="*/ 12063698 w 12192528"/>
              <a:gd name="connsiteY1391" fmla="*/ 1170551 h 3912503"/>
              <a:gd name="connsiteX1392" fmla="*/ 12066893 w 12192528"/>
              <a:gd name="connsiteY1392" fmla="*/ 1170057 h 3912503"/>
              <a:gd name="connsiteX1393" fmla="*/ 12071966 w 12192528"/>
              <a:gd name="connsiteY1393" fmla="*/ 1173653 h 3912503"/>
              <a:gd name="connsiteX1394" fmla="*/ 12071910 w 12192528"/>
              <a:gd name="connsiteY1394" fmla="*/ 1176580 h 3912503"/>
              <a:gd name="connsiteX1395" fmla="*/ 12074597 w 12192528"/>
              <a:gd name="connsiteY1395" fmla="*/ 1179474 h 3912503"/>
              <a:gd name="connsiteX1396" fmla="*/ 12077401 w 12192528"/>
              <a:gd name="connsiteY1396" fmla="*/ 1176972 h 3912503"/>
              <a:gd name="connsiteX1397" fmla="*/ 12078441 w 12192528"/>
              <a:gd name="connsiteY1397" fmla="*/ 1174040 h 3912503"/>
              <a:gd name="connsiteX1398" fmla="*/ 12085882 w 12192528"/>
              <a:gd name="connsiteY1398" fmla="*/ 1195317 h 3912503"/>
              <a:gd name="connsiteX1399" fmla="*/ 12084493 w 12192528"/>
              <a:gd name="connsiteY1399" fmla="*/ 1196085 h 3912503"/>
              <a:gd name="connsiteX1400" fmla="*/ 12084454 w 12192528"/>
              <a:gd name="connsiteY1400" fmla="*/ 1200383 h 3912503"/>
              <a:gd name="connsiteX1401" fmla="*/ 12087051 w 12192528"/>
              <a:gd name="connsiteY1401" fmla="*/ 1203460 h 3912503"/>
              <a:gd name="connsiteX1402" fmla="*/ 12087118 w 12192528"/>
              <a:gd name="connsiteY1402" fmla="*/ 1208945 h 3912503"/>
              <a:gd name="connsiteX1403" fmla="*/ 12087424 w 12192528"/>
              <a:gd name="connsiteY1403" fmla="*/ 1226585 h 3912503"/>
              <a:gd name="connsiteX1404" fmla="*/ 12089018 w 12192528"/>
              <a:gd name="connsiteY1404" fmla="*/ 1229857 h 3912503"/>
              <a:gd name="connsiteX1405" fmla="*/ 12084453 w 12192528"/>
              <a:gd name="connsiteY1405" fmla="*/ 1230367 h 3912503"/>
              <a:gd name="connsiteX1406" fmla="*/ 12083902 w 12192528"/>
              <a:gd name="connsiteY1406" fmla="*/ 1230099 h 3912503"/>
              <a:gd name="connsiteX1407" fmla="*/ 12077373 w 12192528"/>
              <a:gd name="connsiteY1407" fmla="*/ 1234656 h 3912503"/>
              <a:gd name="connsiteX1408" fmla="*/ 12072812 w 12192528"/>
              <a:gd name="connsiteY1408" fmla="*/ 1243120 h 3912503"/>
              <a:gd name="connsiteX1409" fmla="*/ 12063796 w 12192528"/>
              <a:gd name="connsiteY1409" fmla="*/ 1253739 h 3912503"/>
              <a:gd name="connsiteX1410" fmla="*/ 12059432 w 12192528"/>
              <a:gd name="connsiteY1410" fmla="*/ 1255710 h 3912503"/>
              <a:gd name="connsiteX1411" fmla="*/ 12047250 w 12192528"/>
              <a:gd name="connsiteY1411" fmla="*/ 1261612 h 3912503"/>
              <a:gd name="connsiteX1412" fmla="*/ 12042032 w 12192528"/>
              <a:gd name="connsiteY1412" fmla="*/ 1261126 h 3912503"/>
              <a:gd name="connsiteX1413" fmla="*/ 12021232 w 12192528"/>
              <a:gd name="connsiteY1413" fmla="*/ 1257622 h 3912503"/>
              <a:gd name="connsiteX1414" fmla="*/ 12019268 w 12192528"/>
              <a:gd name="connsiteY1414" fmla="*/ 1261668 h 3912503"/>
              <a:gd name="connsiteX1415" fmla="*/ 12023783 w 12192528"/>
              <a:gd name="connsiteY1415" fmla="*/ 1264540 h 3912503"/>
              <a:gd name="connsiteX1416" fmla="*/ 12028165 w 12192528"/>
              <a:gd name="connsiteY1416" fmla="*/ 1263940 h 3912503"/>
              <a:gd name="connsiteX1417" fmla="*/ 12031471 w 12192528"/>
              <a:gd name="connsiteY1417" fmla="*/ 1265090 h 3912503"/>
              <a:gd name="connsiteX1418" fmla="*/ 12029315 w 12192528"/>
              <a:gd name="connsiteY1418" fmla="*/ 1268131 h 3912503"/>
              <a:gd name="connsiteX1419" fmla="*/ 12025578 w 12192528"/>
              <a:gd name="connsiteY1419" fmla="*/ 1269272 h 3912503"/>
              <a:gd name="connsiteX1420" fmla="*/ 12021893 w 12192528"/>
              <a:gd name="connsiteY1420" fmla="*/ 1274526 h 3912503"/>
              <a:gd name="connsiteX1421" fmla="*/ 12027395 w 12192528"/>
              <a:gd name="connsiteY1421" fmla="*/ 1275833 h 3912503"/>
              <a:gd name="connsiteX1422" fmla="*/ 12032776 w 12192528"/>
              <a:gd name="connsiteY1422" fmla="*/ 1274581 h 3912503"/>
              <a:gd name="connsiteX1423" fmla="*/ 12035296 w 12192528"/>
              <a:gd name="connsiteY1423" fmla="*/ 1278756 h 3912503"/>
              <a:gd name="connsiteX1424" fmla="*/ 12026163 w 12192528"/>
              <a:gd name="connsiteY1424" fmla="*/ 1287275 h 3912503"/>
              <a:gd name="connsiteX1425" fmla="*/ 12021257 w 12192528"/>
              <a:gd name="connsiteY1425" fmla="*/ 1297388 h 3912503"/>
              <a:gd name="connsiteX1426" fmla="*/ 12022974 w 12192528"/>
              <a:gd name="connsiteY1426" fmla="*/ 1303219 h 3912503"/>
              <a:gd name="connsiteX1427" fmla="*/ 12023097 w 12192528"/>
              <a:gd name="connsiteY1427" fmla="*/ 1305777 h 3912503"/>
              <a:gd name="connsiteX1428" fmla="*/ 12020537 w 12192528"/>
              <a:gd name="connsiteY1428" fmla="*/ 1305898 h 3912503"/>
              <a:gd name="connsiteX1429" fmla="*/ 12014890 w 12192528"/>
              <a:gd name="connsiteY1429" fmla="*/ 1307702 h 3912503"/>
              <a:gd name="connsiteX1430" fmla="*/ 12006092 w 12192528"/>
              <a:gd name="connsiteY1430" fmla="*/ 1313656 h 3912503"/>
              <a:gd name="connsiteX1431" fmla="*/ 12003767 w 12192528"/>
              <a:gd name="connsiteY1431" fmla="*/ 1317979 h 3912503"/>
              <a:gd name="connsiteX1432" fmla="*/ 12003812 w 12192528"/>
              <a:gd name="connsiteY1432" fmla="*/ 1321635 h 3912503"/>
              <a:gd name="connsiteX1433" fmla="*/ 11999702 w 12192528"/>
              <a:gd name="connsiteY1433" fmla="*/ 1322141 h 3912503"/>
              <a:gd name="connsiteX1434" fmla="*/ 11996949 w 12192528"/>
              <a:gd name="connsiteY1434" fmla="*/ 1321259 h 3912503"/>
              <a:gd name="connsiteX1435" fmla="*/ 11990164 w 12192528"/>
              <a:gd name="connsiteY1435" fmla="*/ 1327281 h 3912503"/>
              <a:gd name="connsiteX1436" fmla="*/ 11990371 w 12192528"/>
              <a:gd name="connsiteY1436" fmla="*/ 1329198 h 3912503"/>
              <a:gd name="connsiteX1437" fmla="*/ 11988580 w 12192528"/>
              <a:gd name="connsiteY1437" fmla="*/ 1332419 h 3912503"/>
              <a:gd name="connsiteX1438" fmla="*/ 11985993 w 12192528"/>
              <a:gd name="connsiteY1438" fmla="*/ 1330255 h 3912503"/>
              <a:gd name="connsiteX1439" fmla="*/ 11985314 w 12192528"/>
              <a:gd name="connsiteY1439" fmla="*/ 1326972 h 3912503"/>
              <a:gd name="connsiteX1440" fmla="*/ 11981901 w 12192528"/>
              <a:gd name="connsiteY1440" fmla="*/ 1324636 h 3912503"/>
              <a:gd name="connsiteX1441" fmla="*/ 11969251 w 12192528"/>
              <a:gd name="connsiteY1441" fmla="*/ 1322134 h 3912503"/>
              <a:gd name="connsiteX1442" fmla="*/ 11954824 w 12192528"/>
              <a:gd name="connsiteY1442" fmla="*/ 1316270 h 3912503"/>
              <a:gd name="connsiteX1443" fmla="*/ 11952315 w 12192528"/>
              <a:gd name="connsiteY1443" fmla="*/ 1313008 h 3912503"/>
              <a:gd name="connsiteX1444" fmla="*/ 11944890 w 12192528"/>
              <a:gd name="connsiteY1444" fmla="*/ 1303954 h 3912503"/>
              <a:gd name="connsiteX1445" fmla="*/ 11943674 w 12192528"/>
              <a:gd name="connsiteY1445" fmla="*/ 1301774 h 3912503"/>
              <a:gd name="connsiteX1446" fmla="*/ 11940307 w 12192528"/>
              <a:gd name="connsiteY1446" fmla="*/ 1288101 h 3912503"/>
              <a:gd name="connsiteX1447" fmla="*/ 11943368 w 12192528"/>
              <a:gd name="connsiteY1447" fmla="*/ 1269142 h 3912503"/>
              <a:gd name="connsiteX1448" fmla="*/ 11943742 w 12192528"/>
              <a:gd name="connsiteY1448" fmla="*/ 1262282 h 3912503"/>
              <a:gd name="connsiteX1449" fmla="*/ 11948219 w 12192528"/>
              <a:gd name="connsiteY1449" fmla="*/ 1254459 h 3912503"/>
              <a:gd name="connsiteX1450" fmla="*/ 11952256 w 12192528"/>
              <a:gd name="connsiteY1450" fmla="*/ 1248012 h 3912503"/>
              <a:gd name="connsiteX1451" fmla="*/ 11953409 w 12192528"/>
              <a:gd name="connsiteY1451" fmla="*/ 1245164 h 3912503"/>
              <a:gd name="connsiteX1452" fmla="*/ 11970330 w 12192528"/>
              <a:gd name="connsiteY1452" fmla="*/ 1237926 h 3912503"/>
              <a:gd name="connsiteX1453" fmla="*/ 11983577 w 12192528"/>
              <a:gd name="connsiteY1453" fmla="*/ 1236857 h 3912503"/>
              <a:gd name="connsiteX1454" fmla="*/ 11996210 w 12192528"/>
              <a:gd name="connsiteY1454" fmla="*/ 1230492 h 3912503"/>
              <a:gd name="connsiteX1455" fmla="*/ 11996087 w 12192528"/>
              <a:gd name="connsiteY1455" fmla="*/ 1227934 h 3912503"/>
              <a:gd name="connsiteX1456" fmla="*/ 11991478 w 12192528"/>
              <a:gd name="connsiteY1456" fmla="*/ 1209796 h 3912503"/>
              <a:gd name="connsiteX1457" fmla="*/ 11991432 w 12192528"/>
              <a:gd name="connsiteY1457" fmla="*/ 1206140 h 3912503"/>
              <a:gd name="connsiteX1458" fmla="*/ 11994421 w 12192528"/>
              <a:gd name="connsiteY1458" fmla="*/ 1196231 h 3912503"/>
              <a:gd name="connsiteX1459" fmla="*/ 11997020 w 12192528"/>
              <a:gd name="connsiteY1459" fmla="*/ 1184317 h 3912503"/>
              <a:gd name="connsiteX1460" fmla="*/ 11999344 w 12192528"/>
              <a:gd name="connsiteY1460" fmla="*/ 1179993 h 3912503"/>
              <a:gd name="connsiteX1461" fmla="*/ 12020603 w 12192528"/>
              <a:gd name="connsiteY1461" fmla="*/ 1161002 h 3912503"/>
              <a:gd name="connsiteX1462" fmla="*/ 12023158 w 12192528"/>
              <a:gd name="connsiteY1462" fmla="*/ 1160424 h 3912503"/>
              <a:gd name="connsiteX1463" fmla="*/ 5337420 w 12192528"/>
              <a:gd name="connsiteY1463" fmla="*/ 1159731 h 3912503"/>
              <a:gd name="connsiteX1464" fmla="*/ 5341835 w 12192528"/>
              <a:gd name="connsiteY1464" fmla="*/ 1159938 h 3912503"/>
              <a:gd name="connsiteX1465" fmla="*/ 5337418 w 12192528"/>
              <a:gd name="connsiteY1465" fmla="*/ 1159938 h 3912503"/>
              <a:gd name="connsiteX1466" fmla="*/ 5341832 w 12192528"/>
              <a:gd name="connsiteY1466" fmla="*/ 1155525 h 3912503"/>
              <a:gd name="connsiteX1467" fmla="*/ 5346247 w 12192528"/>
              <a:gd name="connsiteY1467" fmla="*/ 1155525 h 3912503"/>
              <a:gd name="connsiteX1468" fmla="*/ 5345978 w 12192528"/>
              <a:gd name="connsiteY1468" fmla="*/ 1155793 h 3912503"/>
              <a:gd name="connsiteX1469" fmla="*/ 8672136 w 12192528"/>
              <a:gd name="connsiteY1469" fmla="*/ 1148300 h 3912503"/>
              <a:gd name="connsiteX1470" fmla="*/ 8668085 w 12192528"/>
              <a:gd name="connsiteY1470" fmla="*/ 1149614 h 3912503"/>
              <a:gd name="connsiteX1471" fmla="*/ 8664032 w 12192528"/>
              <a:gd name="connsiteY1471" fmla="*/ 1150928 h 3912503"/>
              <a:gd name="connsiteX1472" fmla="*/ 8647820 w 12192528"/>
              <a:gd name="connsiteY1472" fmla="*/ 1156186 h 3912503"/>
              <a:gd name="connsiteX1473" fmla="*/ 8638440 w 12192528"/>
              <a:gd name="connsiteY1473" fmla="*/ 1156831 h 3912503"/>
              <a:gd name="connsiteX1474" fmla="*/ 1907816 w 12192528"/>
              <a:gd name="connsiteY1474" fmla="*/ 1140199 h 3912503"/>
              <a:gd name="connsiteX1475" fmla="*/ 1916390 w 12192528"/>
              <a:gd name="connsiteY1475" fmla="*/ 1144445 h 3912503"/>
              <a:gd name="connsiteX1476" fmla="*/ 1921251 w 12192528"/>
              <a:gd name="connsiteY1476" fmla="*/ 1147015 h 3912503"/>
              <a:gd name="connsiteX1477" fmla="*/ 1926680 w 12192528"/>
              <a:gd name="connsiteY1477" fmla="*/ 1151582 h 3912503"/>
              <a:gd name="connsiteX1478" fmla="*/ 1930109 w 12192528"/>
              <a:gd name="connsiteY1478" fmla="*/ 1156149 h 3912503"/>
              <a:gd name="connsiteX1479" fmla="*/ 1934110 w 12192528"/>
              <a:gd name="connsiteY1479" fmla="*/ 1168708 h 3912503"/>
              <a:gd name="connsiteX1480" fmla="*/ 1936969 w 12192528"/>
              <a:gd name="connsiteY1480" fmla="*/ 1176416 h 3912503"/>
              <a:gd name="connsiteX1481" fmla="*/ 1936969 w 12192528"/>
              <a:gd name="connsiteY1481" fmla="*/ 1179841 h 3912503"/>
              <a:gd name="connsiteX1482" fmla="*/ 1933539 w 12192528"/>
              <a:gd name="connsiteY1482" fmla="*/ 1186692 h 3912503"/>
              <a:gd name="connsiteX1483" fmla="*/ 1925823 w 12192528"/>
              <a:gd name="connsiteY1483" fmla="*/ 1196968 h 3912503"/>
              <a:gd name="connsiteX1484" fmla="*/ 1923823 w 12192528"/>
              <a:gd name="connsiteY1484" fmla="*/ 1200963 h 3912503"/>
              <a:gd name="connsiteX1485" fmla="*/ 1920392 w 12192528"/>
              <a:gd name="connsiteY1485" fmla="*/ 1202391 h 3912503"/>
              <a:gd name="connsiteX1486" fmla="*/ 1913818 w 12192528"/>
              <a:gd name="connsiteY1486" fmla="*/ 1204388 h 3912503"/>
              <a:gd name="connsiteX1487" fmla="*/ 1911532 w 12192528"/>
              <a:gd name="connsiteY1487" fmla="*/ 1205530 h 3912503"/>
              <a:gd name="connsiteX1488" fmla="*/ 1902387 w 12192528"/>
              <a:gd name="connsiteY1488" fmla="*/ 1206673 h 3912503"/>
              <a:gd name="connsiteX1489" fmla="*/ 1900386 w 12192528"/>
              <a:gd name="connsiteY1489" fmla="*/ 1207244 h 3912503"/>
              <a:gd name="connsiteX1490" fmla="*/ 1880094 w 12192528"/>
              <a:gd name="connsiteY1490" fmla="*/ 1194399 h 3912503"/>
              <a:gd name="connsiteX1491" fmla="*/ 1873806 w 12192528"/>
              <a:gd name="connsiteY1491" fmla="*/ 1182696 h 3912503"/>
              <a:gd name="connsiteX1492" fmla="*/ 1871805 w 12192528"/>
              <a:gd name="connsiteY1492" fmla="*/ 1177843 h 3912503"/>
              <a:gd name="connsiteX1493" fmla="*/ 1871520 w 12192528"/>
              <a:gd name="connsiteY1493" fmla="*/ 1172990 h 3912503"/>
              <a:gd name="connsiteX1494" fmla="*/ 1872377 w 12192528"/>
              <a:gd name="connsiteY1494" fmla="*/ 1169279 h 3912503"/>
              <a:gd name="connsiteX1495" fmla="*/ 1873806 w 12192528"/>
              <a:gd name="connsiteY1495" fmla="*/ 1161572 h 3912503"/>
              <a:gd name="connsiteX1496" fmla="*/ 1874091 w 12192528"/>
              <a:gd name="connsiteY1496" fmla="*/ 1158718 h 3912503"/>
              <a:gd name="connsiteX1497" fmla="*/ 1874950 w 12192528"/>
              <a:gd name="connsiteY1497" fmla="*/ 1151868 h 3912503"/>
              <a:gd name="connsiteX1498" fmla="*/ 1889240 w 12192528"/>
              <a:gd name="connsiteY1498" fmla="*/ 1140735 h 3912503"/>
              <a:gd name="connsiteX1499" fmla="*/ 1898384 w 12192528"/>
              <a:gd name="connsiteY1499" fmla="*/ 1140450 h 3912503"/>
              <a:gd name="connsiteX1500" fmla="*/ 1907816 w 12192528"/>
              <a:gd name="connsiteY1500" fmla="*/ 1140199 h 3912503"/>
              <a:gd name="connsiteX1501" fmla="*/ 5240327 w 12192528"/>
              <a:gd name="connsiteY1501" fmla="*/ 1137871 h 3912503"/>
              <a:gd name="connsiteX1502" fmla="*/ 5315354 w 12192528"/>
              <a:gd name="connsiteY1502" fmla="*/ 1146697 h 3912503"/>
              <a:gd name="connsiteX1503" fmla="*/ 5310940 w 12192528"/>
              <a:gd name="connsiteY1503" fmla="*/ 1151112 h 3912503"/>
              <a:gd name="connsiteX1504" fmla="*/ 5315354 w 12192528"/>
              <a:gd name="connsiteY1504" fmla="*/ 1151110 h 3912503"/>
              <a:gd name="connsiteX1505" fmla="*/ 5333006 w 12192528"/>
              <a:gd name="connsiteY1505" fmla="*/ 1155525 h 3912503"/>
              <a:gd name="connsiteX1506" fmla="*/ 5337420 w 12192528"/>
              <a:gd name="connsiteY1506" fmla="*/ 1155525 h 3912503"/>
              <a:gd name="connsiteX1507" fmla="*/ 5337420 w 12192528"/>
              <a:gd name="connsiteY1507" fmla="*/ 1159731 h 3912503"/>
              <a:gd name="connsiteX1508" fmla="*/ 5330181 w 12192528"/>
              <a:gd name="connsiteY1508" fmla="*/ 1159386 h 3912503"/>
              <a:gd name="connsiteX1509" fmla="*/ 5310940 w 12192528"/>
              <a:gd name="connsiteY1509" fmla="*/ 1164351 h 3912503"/>
              <a:gd name="connsiteX1510" fmla="*/ 5306526 w 12192528"/>
              <a:gd name="connsiteY1510" fmla="*/ 1159938 h 3912503"/>
              <a:gd name="connsiteX1511" fmla="*/ 5302115 w 12192528"/>
              <a:gd name="connsiteY1511" fmla="*/ 1159938 h 3912503"/>
              <a:gd name="connsiteX1512" fmla="*/ 5297701 w 12192528"/>
              <a:gd name="connsiteY1512" fmla="*/ 1155525 h 3912503"/>
              <a:gd name="connsiteX1513" fmla="*/ 5293288 w 12192528"/>
              <a:gd name="connsiteY1513" fmla="*/ 1155525 h 3912503"/>
              <a:gd name="connsiteX1514" fmla="*/ 5293288 w 12192528"/>
              <a:gd name="connsiteY1514" fmla="*/ 1159938 h 3912503"/>
              <a:gd name="connsiteX1515" fmla="*/ 5257981 w 12192528"/>
              <a:gd name="connsiteY1515" fmla="*/ 1164351 h 3912503"/>
              <a:gd name="connsiteX1516" fmla="*/ 5257981 w 12192528"/>
              <a:gd name="connsiteY1516" fmla="*/ 1159938 h 3912503"/>
              <a:gd name="connsiteX1517" fmla="*/ 5249152 w 12192528"/>
              <a:gd name="connsiteY1517" fmla="*/ 1159938 h 3912503"/>
              <a:gd name="connsiteX1518" fmla="*/ 5244741 w 12192528"/>
              <a:gd name="connsiteY1518" fmla="*/ 1159938 h 3912503"/>
              <a:gd name="connsiteX1519" fmla="*/ 5200609 w 12192528"/>
              <a:gd name="connsiteY1519" fmla="*/ 1155525 h 3912503"/>
              <a:gd name="connsiteX1520" fmla="*/ 5200607 w 12192528"/>
              <a:gd name="connsiteY1520" fmla="*/ 1159938 h 3912503"/>
              <a:gd name="connsiteX1521" fmla="*/ 5196195 w 12192528"/>
              <a:gd name="connsiteY1521" fmla="*/ 1155525 h 3912503"/>
              <a:gd name="connsiteX1522" fmla="*/ 5191780 w 12192528"/>
              <a:gd name="connsiteY1522" fmla="*/ 1159939 h 3912503"/>
              <a:gd name="connsiteX1523" fmla="*/ 5165301 w 12192528"/>
              <a:gd name="connsiteY1523" fmla="*/ 1159938 h 3912503"/>
              <a:gd name="connsiteX1524" fmla="*/ 5152061 w 12192528"/>
              <a:gd name="connsiteY1524" fmla="*/ 1164351 h 3912503"/>
              <a:gd name="connsiteX1525" fmla="*/ 5147646 w 12192528"/>
              <a:gd name="connsiteY1525" fmla="*/ 1159938 h 3912503"/>
              <a:gd name="connsiteX1526" fmla="*/ 5143235 w 12192528"/>
              <a:gd name="connsiteY1526" fmla="*/ 1168764 h 3912503"/>
              <a:gd name="connsiteX1527" fmla="*/ 5143235 w 12192528"/>
              <a:gd name="connsiteY1527" fmla="*/ 1164351 h 3912503"/>
              <a:gd name="connsiteX1528" fmla="*/ 5138821 w 12192528"/>
              <a:gd name="connsiteY1528" fmla="*/ 1164351 h 3912503"/>
              <a:gd name="connsiteX1529" fmla="*/ 5134407 w 12192528"/>
              <a:gd name="connsiteY1529" fmla="*/ 1164351 h 3912503"/>
              <a:gd name="connsiteX1530" fmla="*/ 5129996 w 12192528"/>
              <a:gd name="connsiteY1530" fmla="*/ 1164352 h 3912503"/>
              <a:gd name="connsiteX1531" fmla="*/ 5125580 w 12192528"/>
              <a:gd name="connsiteY1531" fmla="*/ 1164351 h 3912503"/>
              <a:gd name="connsiteX1532" fmla="*/ 5116754 w 12192528"/>
              <a:gd name="connsiteY1532" fmla="*/ 1159938 h 3912503"/>
              <a:gd name="connsiteX1533" fmla="*/ 5107927 w 12192528"/>
              <a:gd name="connsiteY1533" fmla="*/ 1164351 h 3912503"/>
              <a:gd name="connsiteX1534" fmla="*/ 5081448 w 12192528"/>
              <a:gd name="connsiteY1534" fmla="*/ 1159938 h 3912503"/>
              <a:gd name="connsiteX1535" fmla="*/ 5160887 w 12192528"/>
              <a:gd name="connsiteY1535" fmla="*/ 1155525 h 3912503"/>
              <a:gd name="connsiteX1536" fmla="*/ 5196195 w 12192528"/>
              <a:gd name="connsiteY1536" fmla="*/ 1142285 h 3912503"/>
              <a:gd name="connsiteX1537" fmla="*/ 5240327 w 12192528"/>
              <a:gd name="connsiteY1537" fmla="*/ 1137871 h 3912503"/>
              <a:gd name="connsiteX1538" fmla="*/ 9339349 w 12192528"/>
              <a:gd name="connsiteY1538" fmla="*/ 1125863 h 3912503"/>
              <a:gd name="connsiteX1539" fmla="*/ 9251014 w 12192528"/>
              <a:gd name="connsiteY1539" fmla="*/ 1133467 h 3912503"/>
              <a:gd name="connsiteX1540" fmla="*/ 9232286 w 12192528"/>
              <a:gd name="connsiteY1540" fmla="*/ 1129233 h 3912503"/>
              <a:gd name="connsiteX1541" fmla="*/ 9085225 w 12192528"/>
              <a:gd name="connsiteY1541" fmla="*/ 1135377 h 3912503"/>
              <a:gd name="connsiteX1542" fmla="*/ 8873864 w 12192528"/>
              <a:gd name="connsiteY1542" fmla="*/ 1182131 h 3912503"/>
              <a:gd name="connsiteX1543" fmla="*/ 8860575 w 12192528"/>
              <a:gd name="connsiteY1543" fmla="*/ 1171249 h 3912503"/>
              <a:gd name="connsiteX1544" fmla="*/ 8810544 w 12192528"/>
              <a:gd name="connsiteY1544" fmla="*/ 1183574 h 3912503"/>
              <a:gd name="connsiteX1545" fmla="*/ 8815136 w 12192528"/>
              <a:gd name="connsiteY1545" fmla="*/ 1180673 h 3912503"/>
              <a:gd name="connsiteX1546" fmla="*/ 8819730 w 12192528"/>
              <a:gd name="connsiteY1546" fmla="*/ 1177772 h 3912503"/>
              <a:gd name="connsiteX1547" fmla="*/ 8808493 w 12192528"/>
              <a:gd name="connsiteY1547" fmla="*/ 1175232 h 3912503"/>
              <a:gd name="connsiteX1548" fmla="*/ 8803900 w 12192528"/>
              <a:gd name="connsiteY1548" fmla="*/ 1178132 h 3912503"/>
              <a:gd name="connsiteX1549" fmla="*/ 8803052 w 12192528"/>
              <a:gd name="connsiteY1549" fmla="*/ 1181880 h 3912503"/>
              <a:gd name="connsiteX1550" fmla="*/ 8715921 w 12192528"/>
              <a:gd name="connsiteY1550" fmla="*/ 1201573 h 3912503"/>
              <a:gd name="connsiteX1551" fmla="*/ 8579116 w 12192528"/>
              <a:gd name="connsiteY1551" fmla="*/ 1249427 h 3912503"/>
              <a:gd name="connsiteX1552" fmla="*/ 8536577 w 12192528"/>
              <a:gd name="connsiteY1552" fmla="*/ 1263444 h 3912503"/>
              <a:gd name="connsiteX1553" fmla="*/ 8395536 w 12192528"/>
              <a:gd name="connsiteY1553" fmla="*/ 1330037 h 3912503"/>
              <a:gd name="connsiteX1554" fmla="*/ 8381050 w 12192528"/>
              <a:gd name="connsiteY1554" fmla="*/ 1333162 h 3912503"/>
              <a:gd name="connsiteX1555" fmla="*/ 8369829 w 12192528"/>
              <a:gd name="connsiteY1555" fmla="*/ 1337567 h 3912503"/>
              <a:gd name="connsiteX1556" fmla="*/ 8370520 w 12192528"/>
              <a:gd name="connsiteY1556" fmla="*/ 1336198 h 3912503"/>
              <a:gd name="connsiteX1557" fmla="*/ 8373754 w 12192528"/>
              <a:gd name="connsiteY1557" fmla="*/ 1334960 h 3912503"/>
              <a:gd name="connsiteX1558" fmla="*/ 8372721 w 12192528"/>
              <a:gd name="connsiteY1558" fmla="*/ 1333873 h 3912503"/>
              <a:gd name="connsiteX1559" fmla="*/ 8231404 w 12192528"/>
              <a:gd name="connsiteY1559" fmla="*/ 1405556 h 3912503"/>
              <a:gd name="connsiteX1560" fmla="*/ 8231531 w 12192528"/>
              <a:gd name="connsiteY1560" fmla="*/ 1411132 h 3912503"/>
              <a:gd name="connsiteX1561" fmla="*/ 8127589 w 12192528"/>
              <a:gd name="connsiteY1561" fmla="*/ 1470355 h 3912503"/>
              <a:gd name="connsiteX1562" fmla="*/ 8102929 w 12192528"/>
              <a:gd name="connsiteY1562" fmla="*/ 1492353 h 3912503"/>
              <a:gd name="connsiteX1563" fmla="*/ 7968889 w 12192528"/>
              <a:gd name="connsiteY1563" fmla="*/ 1580223 h 3912503"/>
              <a:gd name="connsiteX1564" fmla="*/ 7907125 w 12192528"/>
              <a:gd name="connsiteY1564" fmla="*/ 1624855 h 3912503"/>
              <a:gd name="connsiteX1565" fmla="*/ 7847880 w 12192528"/>
              <a:gd name="connsiteY1565" fmla="*/ 1663016 h 3912503"/>
              <a:gd name="connsiteX1566" fmla="*/ 7853220 w 12192528"/>
              <a:gd name="connsiteY1566" fmla="*/ 1656491 h 3912503"/>
              <a:gd name="connsiteX1567" fmla="*/ 7840290 w 12192528"/>
              <a:gd name="connsiteY1567" fmla="*/ 1661445 h 3912503"/>
              <a:gd name="connsiteX1568" fmla="*/ 7835695 w 12192528"/>
              <a:gd name="connsiteY1568" fmla="*/ 1664347 h 3912503"/>
              <a:gd name="connsiteX1569" fmla="*/ 7836543 w 12192528"/>
              <a:gd name="connsiteY1569" fmla="*/ 1660599 h 3912503"/>
              <a:gd name="connsiteX1570" fmla="*/ 7950161 w 12192528"/>
              <a:gd name="connsiteY1570" fmla="*/ 1575989 h 3912503"/>
              <a:gd name="connsiteX1571" fmla="*/ 7939771 w 12192528"/>
              <a:gd name="connsiteY1571" fmla="*/ 1569703 h 3912503"/>
              <a:gd name="connsiteX1572" fmla="*/ 7910520 w 12192528"/>
              <a:gd name="connsiteY1572" fmla="*/ 1594601 h 3912503"/>
              <a:gd name="connsiteX1573" fmla="*/ 7862896 w 12192528"/>
              <a:gd name="connsiteY1573" fmla="*/ 1631105 h 3912503"/>
              <a:gd name="connsiteX1574" fmla="*/ 7700808 w 12192528"/>
              <a:gd name="connsiteY1574" fmla="*/ 1755965 h 3912503"/>
              <a:gd name="connsiteX1575" fmla="*/ 7689081 w 12192528"/>
              <a:gd name="connsiteY1575" fmla="*/ 1773008 h 3912503"/>
              <a:gd name="connsiteX1576" fmla="*/ 7628881 w 12192528"/>
              <a:gd name="connsiteY1576" fmla="*/ 1830304 h 3912503"/>
              <a:gd name="connsiteX1577" fmla="*/ 7615952 w 12192528"/>
              <a:gd name="connsiteY1577" fmla="*/ 1835257 h 3912503"/>
              <a:gd name="connsiteX1578" fmla="*/ 7589597 w 12192528"/>
              <a:gd name="connsiteY1578" fmla="*/ 1864752 h 3912503"/>
              <a:gd name="connsiteX1579" fmla="*/ 7591292 w 12192528"/>
              <a:gd name="connsiteY1579" fmla="*/ 1857256 h 3912503"/>
              <a:gd name="connsiteX1580" fmla="*/ 7532298 w 12192528"/>
              <a:gd name="connsiteY1580" fmla="*/ 1926641 h 3912503"/>
              <a:gd name="connsiteX1581" fmla="*/ 7586207 w 12192528"/>
              <a:gd name="connsiteY1581" fmla="*/ 1879742 h 3912503"/>
              <a:gd name="connsiteX1582" fmla="*/ 7636914 w 12192528"/>
              <a:gd name="connsiteY1582" fmla="*/ 1840489 h 3912503"/>
              <a:gd name="connsiteX1583" fmla="*/ 7683586 w 12192528"/>
              <a:gd name="connsiteY1583" fmla="*/ 1800869 h 3912503"/>
              <a:gd name="connsiteX1584" fmla="*/ 7682302 w 12192528"/>
              <a:gd name="connsiteY1584" fmla="*/ 1802989 h 3912503"/>
              <a:gd name="connsiteX1585" fmla="*/ 7690641 w 12192528"/>
              <a:gd name="connsiteY1585" fmla="*/ 1800935 h 3912503"/>
              <a:gd name="connsiteX1586" fmla="*/ 7694387 w 12192528"/>
              <a:gd name="connsiteY1586" fmla="*/ 1801781 h 3912503"/>
              <a:gd name="connsiteX1587" fmla="*/ 7587770 w 12192528"/>
              <a:gd name="connsiteY1587" fmla="*/ 1907669 h 3912503"/>
              <a:gd name="connsiteX1588" fmla="*/ 7543759 w 12192528"/>
              <a:gd name="connsiteY1588" fmla="*/ 1980440 h 3912503"/>
              <a:gd name="connsiteX1589" fmla="*/ 7730640 w 12192528"/>
              <a:gd name="connsiteY1589" fmla="*/ 1798159 h 3912503"/>
              <a:gd name="connsiteX1590" fmla="*/ 7790837 w 12192528"/>
              <a:gd name="connsiteY1590" fmla="*/ 1740866 h 3912503"/>
              <a:gd name="connsiteX1591" fmla="*/ 7803279 w 12192528"/>
              <a:gd name="connsiteY1591" fmla="*/ 1755496 h 3912503"/>
              <a:gd name="connsiteX1592" fmla="*/ 7819596 w 12192528"/>
              <a:gd name="connsiteY1592" fmla="*/ 1735551 h 3912503"/>
              <a:gd name="connsiteX1593" fmla="*/ 7812954 w 12192528"/>
              <a:gd name="connsiteY1593" fmla="*/ 1730108 h 3912503"/>
              <a:gd name="connsiteX1594" fmla="*/ 7924521 w 12192528"/>
              <a:gd name="connsiteY1594" fmla="*/ 1637158 h 3912503"/>
              <a:gd name="connsiteX1595" fmla="*/ 7991719 w 12192528"/>
              <a:gd name="connsiteY1595" fmla="*/ 1601142 h 3912503"/>
              <a:gd name="connsiteX1596" fmla="*/ 8061460 w 12192528"/>
              <a:gd name="connsiteY1596" fmla="*/ 1553883 h 3912503"/>
              <a:gd name="connsiteX1597" fmla="*/ 8041395 w 12192528"/>
              <a:gd name="connsiteY1597" fmla="*/ 1572980 h 3912503"/>
              <a:gd name="connsiteX1598" fmla="*/ 8052631 w 12192528"/>
              <a:gd name="connsiteY1598" fmla="*/ 1575521 h 3912503"/>
              <a:gd name="connsiteX1599" fmla="*/ 8106898 w 12192528"/>
              <a:gd name="connsiteY1599" fmla="*/ 1544460 h 3912503"/>
              <a:gd name="connsiteX1600" fmla="*/ 8113187 w 12192528"/>
              <a:gd name="connsiteY1600" fmla="*/ 1534063 h 3912503"/>
              <a:gd name="connsiteX1601" fmla="*/ 8099898 w 12192528"/>
              <a:gd name="connsiteY1601" fmla="*/ 1523181 h 3912503"/>
              <a:gd name="connsiteX1602" fmla="*/ 8167097 w 12192528"/>
              <a:gd name="connsiteY1602" fmla="*/ 1487164 h 3912503"/>
              <a:gd name="connsiteX1603" fmla="*/ 8240583 w 12192528"/>
              <a:gd name="connsiteY1603" fmla="*/ 1440752 h 3912503"/>
              <a:gd name="connsiteX1604" fmla="*/ 8242275 w 12192528"/>
              <a:gd name="connsiteY1604" fmla="*/ 1433257 h 3912503"/>
              <a:gd name="connsiteX1605" fmla="*/ 8290257 w 12192528"/>
              <a:gd name="connsiteY1605" fmla="*/ 1412591 h 3912503"/>
              <a:gd name="connsiteX1606" fmla="*/ 8322408 w 12192528"/>
              <a:gd name="connsiteY1606" fmla="*/ 1392286 h 3912503"/>
              <a:gd name="connsiteX1607" fmla="*/ 8510581 w 12192528"/>
              <a:gd name="connsiteY1607" fmla="*/ 1308775 h 3912503"/>
              <a:gd name="connsiteX1608" fmla="*/ 8533544 w 12192528"/>
              <a:gd name="connsiteY1608" fmla="*/ 1294272 h 3912503"/>
              <a:gd name="connsiteX1609" fmla="*/ 8553968 w 12192528"/>
              <a:gd name="connsiteY1609" fmla="*/ 1291010 h 3912503"/>
              <a:gd name="connsiteX1610" fmla="*/ 8528461 w 12192528"/>
              <a:gd name="connsiteY1610" fmla="*/ 1316757 h 3912503"/>
              <a:gd name="connsiteX1611" fmla="*/ 8607744 w 12192528"/>
              <a:gd name="connsiteY1611" fmla="*/ 1279533 h 3912503"/>
              <a:gd name="connsiteX1612" fmla="*/ 8589016 w 12192528"/>
              <a:gd name="connsiteY1612" fmla="*/ 1275299 h 3912503"/>
              <a:gd name="connsiteX1613" fmla="*/ 8595302 w 12192528"/>
              <a:gd name="connsiteY1613" fmla="*/ 1264905 h 3912503"/>
              <a:gd name="connsiteX1614" fmla="*/ 8597844 w 12192528"/>
              <a:gd name="connsiteY1614" fmla="*/ 1253661 h 3912503"/>
              <a:gd name="connsiteX1615" fmla="*/ 8601591 w 12192528"/>
              <a:gd name="connsiteY1615" fmla="*/ 1254508 h 3912503"/>
              <a:gd name="connsiteX1616" fmla="*/ 8596997 w 12192528"/>
              <a:gd name="connsiteY1616" fmla="*/ 1257408 h 3912503"/>
              <a:gd name="connsiteX1617" fmla="*/ 8600742 w 12192528"/>
              <a:gd name="connsiteY1617" fmla="*/ 1258256 h 3912503"/>
              <a:gd name="connsiteX1618" fmla="*/ 8604489 w 12192528"/>
              <a:gd name="connsiteY1618" fmla="*/ 1259103 h 3912503"/>
              <a:gd name="connsiteX1619" fmla="*/ 8609082 w 12192528"/>
              <a:gd name="connsiteY1619" fmla="*/ 1256201 h 3912503"/>
              <a:gd name="connsiteX1620" fmla="*/ 8609929 w 12192528"/>
              <a:gd name="connsiteY1620" fmla="*/ 1252454 h 3912503"/>
              <a:gd name="connsiteX1621" fmla="*/ 8634944 w 12192528"/>
              <a:gd name="connsiteY1621" fmla="*/ 1246291 h 3912503"/>
              <a:gd name="connsiteX1622" fmla="*/ 8631199 w 12192528"/>
              <a:gd name="connsiteY1622" fmla="*/ 1245445 h 3912503"/>
              <a:gd name="connsiteX1623" fmla="*/ 8639538 w 12192528"/>
              <a:gd name="connsiteY1623" fmla="*/ 1243391 h 3912503"/>
              <a:gd name="connsiteX1624" fmla="*/ 8644130 w 12192528"/>
              <a:gd name="connsiteY1624" fmla="*/ 1240490 h 3912503"/>
              <a:gd name="connsiteX1625" fmla="*/ 8640384 w 12192528"/>
              <a:gd name="connsiteY1625" fmla="*/ 1239644 h 3912503"/>
              <a:gd name="connsiteX1626" fmla="*/ 8636638 w 12192528"/>
              <a:gd name="connsiteY1626" fmla="*/ 1238797 h 3912503"/>
              <a:gd name="connsiteX1627" fmla="*/ 8735498 w 12192528"/>
              <a:gd name="connsiteY1627" fmla="*/ 1202060 h 3912503"/>
              <a:gd name="connsiteX1628" fmla="*/ 8712890 w 12192528"/>
              <a:gd name="connsiteY1628" fmla="*/ 1232399 h 3912503"/>
              <a:gd name="connsiteX1629" fmla="*/ 8731618 w 12192528"/>
              <a:gd name="connsiteY1629" fmla="*/ 1236633 h 3912503"/>
              <a:gd name="connsiteX1630" fmla="*/ 8786242 w 12192528"/>
              <a:gd name="connsiteY1630" fmla="*/ 1221409 h 3912503"/>
              <a:gd name="connsiteX1631" fmla="*/ 8784190 w 12192528"/>
              <a:gd name="connsiteY1631" fmla="*/ 1213068 h 3912503"/>
              <a:gd name="connsiteX1632" fmla="*/ 8841714 w 12192528"/>
              <a:gd name="connsiteY1632" fmla="*/ 1202437 h 3912503"/>
              <a:gd name="connsiteX1633" fmla="*/ 8938877 w 12192528"/>
              <a:gd name="connsiteY1633" fmla="*/ 1173195 h 3912503"/>
              <a:gd name="connsiteX1634" fmla="*/ 8944674 w 12192528"/>
              <a:gd name="connsiteY1634" fmla="*/ 1182384 h 3912503"/>
              <a:gd name="connsiteX1635" fmla="*/ 9067210 w 12192528"/>
              <a:gd name="connsiteY1635" fmla="*/ 1162817 h 3912503"/>
              <a:gd name="connsiteX1636" fmla="*/ 9176815 w 12192528"/>
              <a:gd name="connsiteY1636" fmla="*/ 1148205 h 3912503"/>
              <a:gd name="connsiteX1637" fmla="*/ 9182255 w 12192528"/>
              <a:gd name="connsiteY1637" fmla="*/ 1141557 h 3912503"/>
              <a:gd name="connsiteX1638" fmla="*/ 9209322 w 12192528"/>
              <a:gd name="connsiteY1638" fmla="*/ 1143737 h 3912503"/>
              <a:gd name="connsiteX1639" fmla="*/ 9290166 w 12192528"/>
              <a:gd name="connsiteY1639" fmla="*/ 1134440 h 3912503"/>
              <a:gd name="connsiteX1640" fmla="*/ 9320131 w 12192528"/>
              <a:gd name="connsiteY1640" fmla="*/ 1141213 h 3912503"/>
              <a:gd name="connsiteX1641" fmla="*/ 9372214 w 12192528"/>
              <a:gd name="connsiteY1641" fmla="*/ 1137231 h 3912503"/>
              <a:gd name="connsiteX1642" fmla="*/ 9415957 w 12192528"/>
              <a:gd name="connsiteY1642" fmla="*/ 1135303 h 3912503"/>
              <a:gd name="connsiteX1643" fmla="*/ 9416804 w 12192528"/>
              <a:gd name="connsiteY1643" fmla="*/ 1131556 h 3912503"/>
              <a:gd name="connsiteX1644" fmla="*/ 9398076 w 12192528"/>
              <a:gd name="connsiteY1644" fmla="*/ 1127322 h 3912503"/>
              <a:gd name="connsiteX1645" fmla="*/ 9339349 w 12192528"/>
              <a:gd name="connsiteY1645" fmla="*/ 1125863 h 3912503"/>
              <a:gd name="connsiteX1646" fmla="*/ 1478794 w 12192528"/>
              <a:gd name="connsiteY1646" fmla="*/ 1120425 h 3912503"/>
              <a:gd name="connsiteX1647" fmla="*/ 1496361 w 12192528"/>
              <a:gd name="connsiteY1647" fmla="*/ 1136748 h 3912503"/>
              <a:gd name="connsiteX1648" fmla="*/ 1499875 w 12192528"/>
              <a:gd name="connsiteY1648" fmla="*/ 1143161 h 3912503"/>
              <a:gd name="connsiteX1649" fmla="*/ 1511002 w 12192528"/>
              <a:gd name="connsiteY1649" fmla="*/ 1157153 h 3912503"/>
              <a:gd name="connsiteX1650" fmla="*/ 1519785 w 12192528"/>
              <a:gd name="connsiteY1650" fmla="*/ 1162399 h 3912503"/>
              <a:gd name="connsiteX1651" fmla="*/ 1527983 w 12192528"/>
              <a:gd name="connsiteY1651" fmla="*/ 1185718 h 3912503"/>
              <a:gd name="connsiteX1652" fmla="*/ 1522713 w 12192528"/>
              <a:gd name="connsiteY1652" fmla="*/ 1205539 h 3912503"/>
              <a:gd name="connsiteX1653" fmla="*/ 1506317 w 12192528"/>
              <a:gd name="connsiteY1653" fmla="*/ 1218364 h 3912503"/>
              <a:gd name="connsiteX1654" fmla="*/ 1504561 w 12192528"/>
              <a:gd name="connsiteY1654" fmla="*/ 1220696 h 3912503"/>
              <a:gd name="connsiteX1655" fmla="*/ 1492848 w 12192528"/>
              <a:gd name="connsiteY1655" fmla="*/ 1220696 h 3912503"/>
              <a:gd name="connsiteX1656" fmla="*/ 1479965 w 12192528"/>
              <a:gd name="connsiteY1656" fmla="*/ 1214283 h 3912503"/>
              <a:gd name="connsiteX1657" fmla="*/ 1471180 w 12192528"/>
              <a:gd name="connsiteY1657" fmla="*/ 1203790 h 3912503"/>
              <a:gd name="connsiteX1658" fmla="*/ 1464738 w 12192528"/>
              <a:gd name="connsiteY1658" fmla="*/ 1188050 h 3912503"/>
              <a:gd name="connsiteX1659" fmla="*/ 1456541 w 12192528"/>
              <a:gd name="connsiteY1659" fmla="*/ 1172893 h 3912503"/>
              <a:gd name="connsiteX1660" fmla="*/ 1443657 w 12192528"/>
              <a:gd name="connsiteY1660" fmla="*/ 1160066 h 3912503"/>
              <a:gd name="connsiteX1661" fmla="*/ 1443657 w 12192528"/>
              <a:gd name="connsiteY1661" fmla="*/ 1139080 h 3912503"/>
              <a:gd name="connsiteX1662" fmla="*/ 1450685 w 12192528"/>
              <a:gd name="connsiteY1662" fmla="*/ 1130918 h 3912503"/>
              <a:gd name="connsiteX1663" fmla="*/ 1463567 w 12192528"/>
              <a:gd name="connsiteY1663" fmla="*/ 1122757 h 3912503"/>
              <a:gd name="connsiteX1664" fmla="*/ 1478794 w 12192528"/>
              <a:gd name="connsiteY1664" fmla="*/ 1120425 h 3912503"/>
              <a:gd name="connsiteX1665" fmla="*/ 728989 w 12192528"/>
              <a:gd name="connsiteY1665" fmla="*/ 1116721 h 3912503"/>
              <a:gd name="connsiteX1666" fmla="*/ 745343 w 12192528"/>
              <a:gd name="connsiteY1666" fmla="*/ 1120768 h 3912503"/>
              <a:gd name="connsiteX1667" fmla="*/ 755487 w 12192528"/>
              <a:gd name="connsiteY1667" fmla="*/ 1129914 h 3912503"/>
              <a:gd name="connsiteX1668" fmla="*/ 767755 w 12192528"/>
              <a:gd name="connsiteY1668" fmla="*/ 1118514 h 3912503"/>
              <a:gd name="connsiteX1669" fmla="*/ 782981 w 12192528"/>
              <a:gd name="connsiteY1669" fmla="*/ 1120847 h 3912503"/>
              <a:gd name="connsiteX1670" fmla="*/ 795864 w 12192528"/>
              <a:gd name="connsiteY1670" fmla="*/ 1129007 h 3912503"/>
              <a:gd name="connsiteX1671" fmla="*/ 802891 w 12192528"/>
              <a:gd name="connsiteY1671" fmla="*/ 1137169 h 3912503"/>
              <a:gd name="connsiteX1672" fmla="*/ 802891 w 12192528"/>
              <a:gd name="connsiteY1672" fmla="*/ 1158156 h 3912503"/>
              <a:gd name="connsiteX1673" fmla="*/ 800149 w 12192528"/>
              <a:gd name="connsiteY1673" fmla="*/ 1160887 h 3912503"/>
              <a:gd name="connsiteX1674" fmla="*/ 803231 w 12192528"/>
              <a:gd name="connsiteY1674" fmla="*/ 1165863 h 3912503"/>
              <a:gd name="connsiteX1675" fmla="*/ 806704 w 12192528"/>
              <a:gd name="connsiteY1675" fmla="*/ 1193613 h 3912503"/>
              <a:gd name="connsiteX1676" fmla="*/ 807861 w 12192528"/>
              <a:gd name="connsiteY1676" fmla="*/ 1205175 h 3912503"/>
              <a:gd name="connsiteX1677" fmla="*/ 813650 w 12192528"/>
              <a:gd name="connsiteY1677" fmla="*/ 1236395 h 3912503"/>
              <a:gd name="connsiteX1678" fmla="*/ 817123 w 12192528"/>
              <a:gd name="connsiteY1678" fmla="*/ 1251426 h 3912503"/>
              <a:gd name="connsiteX1679" fmla="*/ 815965 w 12192528"/>
              <a:gd name="connsiteY1679" fmla="*/ 1271083 h 3912503"/>
              <a:gd name="connsiteX1680" fmla="*/ 807861 w 12192528"/>
              <a:gd name="connsiteY1680" fmla="*/ 1290740 h 3912503"/>
              <a:gd name="connsiteX1681" fmla="*/ 782391 w 12192528"/>
              <a:gd name="connsiteY1681" fmla="*/ 1338147 h 3912503"/>
              <a:gd name="connsiteX1682" fmla="*/ 700190 w 12192528"/>
              <a:gd name="connsiteY1682" fmla="*/ 1390179 h 3912503"/>
              <a:gd name="connsiteX1683" fmla="*/ 692086 w 12192528"/>
              <a:gd name="connsiteY1683" fmla="*/ 1387867 h 3912503"/>
              <a:gd name="connsiteX1684" fmla="*/ 655038 w 12192528"/>
              <a:gd name="connsiteY1684" fmla="*/ 1383241 h 3912503"/>
              <a:gd name="connsiteX1685" fmla="*/ 645776 w 12192528"/>
              <a:gd name="connsiteY1685" fmla="*/ 1378617 h 3912503"/>
              <a:gd name="connsiteX1686" fmla="*/ 619146 w 12192528"/>
              <a:gd name="connsiteY1686" fmla="*/ 1370523 h 3912503"/>
              <a:gd name="connsiteX1687" fmla="*/ 605254 w 12192528"/>
              <a:gd name="connsiteY1687" fmla="*/ 1364740 h 3912503"/>
              <a:gd name="connsiteX1688" fmla="*/ 597150 w 12192528"/>
              <a:gd name="connsiteY1688" fmla="*/ 1348553 h 3912503"/>
              <a:gd name="connsiteX1689" fmla="*/ 565890 w 12192528"/>
              <a:gd name="connsiteY1689" fmla="*/ 1306928 h 3912503"/>
              <a:gd name="connsiteX1690" fmla="*/ 551997 w 12192528"/>
              <a:gd name="connsiteY1690" fmla="*/ 1279177 h 3912503"/>
              <a:gd name="connsiteX1691" fmla="*/ 551997 w 12192528"/>
              <a:gd name="connsiteY1691" fmla="*/ 1265302 h 3912503"/>
              <a:gd name="connsiteX1692" fmla="*/ 563575 w 12192528"/>
              <a:gd name="connsiteY1692" fmla="*/ 1234082 h 3912503"/>
              <a:gd name="connsiteX1693" fmla="*/ 579783 w 12192528"/>
              <a:gd name="connsiteY1693" fmla="*/ 1183207 h 3912503"/>
              <a:gd name="connsiteX1694" fmla="*/ 593677 w 12192528"/>
              <a:gd name="connsiteY1694" fmla="*/ 1164706 h 3912503"/>
              <a:gd name="connsiteX1695" fmla="*/ 615673 w 12192528"/>
              <a:gd name="connsiteY1695" fmla="*/ 1146205 h 3912503"/>
              <a:gd name="connsiteX1696" fmla="*/ 635355 w 12192528"/>
              <a:gd name="connsiteY1696" fmla="*/ 1135799 h 3912503"/>
              <a:gd name="connsiteX1697" fmla="*/ 708295 w 12192528"/>
              <a:gd name="connsiteY1697" fmla="*/ 1119611 h 3912503"/>
              <a:gd name="connsiteX1698" fmla="*/ 728989 w 12192528"/>
              <a:gd name="connsiteY1698" fmla="*/ 1116721 h 3912503"/>
              <a:gd name="connsiteX1699" fmla="*/ 4481236 w 12192528"/>
              <a:gd name="connsiteY1699" fmla="*/ 1115804 h 3912503"/>
              <a:gd name="connsiteX1700" fmla="*/ 4428277 w 12192528"/>
              <a:gd name="connsiteY1700" fmla="*/ 1137871 h 3912503"/>
              <a:gd name="connsiteX1701" fmla="*/ 4419450 w 12192528"/>
              <a:gd name="connsiteY1701" fmla="*/ 1137871 h 3912503"/>
              <a:gd name="connsiteX1702" fmla="*/ 4415036 w 12192528"/>
              <a:gd name="connsiteY1702" fmla="*/ 1142285 h 3912503"/>
              <a:gd name="connsiteX1703" fmla="*/ 4344424 w 12192528"/>
              <a:gd name="connsiteY1703" fmla="*/ 1164352 h 3912503"/>
              <a:gd name="connsiteX1704" fmla="*/ 4201432 w 12192528"/>
              <a:gd name="connsiteY1704" fmla="*/ 1218455 h 3912503"/>
              <a:gd name="connsiteX1705" fmla="*/ 4204241 w 12192528"/>
              <a:gd name="connsiteY1705" fmla="*/ 1236168 h 3912503"/>
              <a:gd name="connsiteX1706" fmla="*/ 4207611 w 12192528"/>
              <a:gd name="connsiteY1706" fmla="*/ 1234964 h 3912503"/>
              <a:gd name="connsiteX1707" fmla="*/ 4212023 w 12192528"/>
              <a:gd name="connsiteY1707" fmla="*/ 1234965 h 3912503"/>
              <a:gd name="connsiteX1708" fmla="*/ 4220849 w 12192528"/>
              <a:gd name="connsiteY1708" fmla="*/ 1234965 h 3912503"/>
              <a:gd name="connsiteX1709" fmla="*/ 4220850 w 12192528"/>
              <a:gd name="connsiteY1709" fmla="*/ 1230551 h 3912503"/>
              <a:gd name="connsiteX1710" fmla="*/ 4287051 w 12192528"/>
              <a:gd name="connsiteY1710" fmla="*/ 1199658 h 3912503"/>
              <a:gd name="connsiteX1711" fmla="*/ 4375317 w 12192528"/>
              <a:gd name="connsiteY1711" fmla="*/ 1164351 h 3912503"/>
              <a:gd name="connsiteX1712" fmla="*/ 4423862 w 12192528"/>
              <a:gd name="connsiteY1712" fmla="*/ 1146697 h 3912503"/>
              <a:gd name="connsiteX1713" fmla="*/ 4428277 w 12192528"/>
              <a:gd name="connsiteY1713" fmla="*/ 1146697 h 3912503"/>
              <a:gd name="connsiteX1714" fmla="*/ 4432690 w 12192528"/>
              <a:gd name="connsiteY1714" fmla="*/ 1146697 h 3912503"/>
              <a:gd name="connsiteX1715" fmla="*/ 4437104 w 12192528"/>
              <a:gd name="connsiteY1715" fmla="*/ 1146697 h 3912503"/>
              <a:gd name="connsiteX1716" fmla="*/ 4437104 w 12192528"/>
              <a:gd name="connsiteY1716" fmla="*/ 1142285 h 3912503"/>
              <a:gd name="connsiteX1717" fmla="*/ 4441516 w 12192528"/>
              <a:gd name="connsiteY1717" fmla="*/ 1133457 h 3912503"/>
              <a:gd name="connsiteX1718" fmla="*/ 4472409 w 12192528"/>
              <a:gd name="connsiteY1718" fmla="*/ 1124632 h 3912503"/>
              <a:gd name="connsiteX1719" fmla="*/ 4481236 w 12192528"/>
              <a:gd name="connsiteY1719" fmla="*/ 1115804 h 3912503"/>
              <a:gd name="connsiteX1720" fmla="*/ 2482521 w 12192528"/>
              <a:gd name="connsiteY1720" fmla="*/ 1113340 h 3912503"/>
              <a:gd name="connsiteX1721" fmla="*/ 2496819 w 12192528"/>
              <a:gd name="connsiteY1721" fmla="*/ 1115530 h 3912503"/>
              <a:gd name="connsiteX1722" fmla="*/ 2508916 w 12192528"/>
              <a:gd name="connsiteY1722" fmla="*/ 1123194 h 3912503"/>
              <a:gd name="connsiteX1723" fmla="*/ 2515514 w 12192528"/>
              <a:gd name="connsiteY1723" fmla="*/ 1130857 h 3912503"/>
              <a:gd name="connsiteX1724" fmla="*/ 2515514 w 12192528"/>
              <a:gd name="connsiteY1724" fmla="*/ 1150564 h 3912503"/>
              <a:gd name="connsiteX1725" fmla="*/ 2503417 w 12192528"/>
              <a:gd name="connsiteY1725" fmla="*/ 1162607 h 3912503"/>
              <a:gd name="connsiteX1726" fmla="*/ 2495719 w 12192528"/>
              <a:gd name="connsiteY1726" fmla="*/ 1176840 h 3912503"/>
              <a:gd name="connsiteX1727" fmla="*/ 2489670 w 12192528"/>
              <a:gd name="connsiteY1727" fmla="*/ 1191619 h 3912503"/>
              <a:gd name="connsiteX1728" fmla="*/ 2481422 w 12192528"/>
              <a:gd name="connsiteY1728" fmla="*/ 1201473 h 3912503"/>
              <a:gd name="connsiteX1729" fmla="*/ 2469325 w 12192528"/>
              <a:gd name="connsiteY1729" fmla="*/ 1207494 h 3912503"/>
              <a:gd name="connsiteX1730" fmla="*/ 2458327 w 12192528"/>
              <a:gd name="connsiteY1730" fmla="*/ 1207494 h 3912503"/>
              <a:gd name="connsiteX1731" fmla="*/ 2456677 w 12192528"/>
              <a:gd name="connsiteY1731" fmla="*/ 1205304 h 3912503"/>
              <a:gd name="connsiteX1732" fmla="*/ 2441281 w 12192528"/>
              <a:gd name="connsiteY1732" fmla="*/ 1193261 h 3912503"/>
              <a:gd name="connsiteX1733" fmla="*/ 2436332 w 12192528"/>
              <a:gd name="connsiteY1733" fmla="*/ 1174650 h 3912503"/>
              <a:gd name="connsiteX1734" fmla="*/ 2444031 w 12192528"/>
              <a:gd name="connsiteY1734" fmla="*/ 1152754 h 3912503"/>
              <a:gd name="connsiteX1735" fmla="*/ 2452278 w 12192528"/>
              <a:gd name="connsiteY1735" fmla="*/ 1147827 h 3912503"/>
              <a:gd name="connsiteX1736" fmla="*/ 2462726 w 12192528"/>
              <a:gd name="connsiteY1736" fmla="*/ 1134689 h 3912503"/>
              <a:gd name="connsiteX1737" fmla="*/ 2466026 w 12192528"/>
              <a:gd name="connsiteY1737" fmla="*/ 1128667 h 3912503"/>
              <a:gd name="connsiteX1738" fmla="*/ 2482521 w 12192528"/>
              <a:gd name="connsiteY1738" fmla="*/ 1113340 h 3912503"/>
              <a:gd name="connsiteX1739" fmla="*/ 8962880 w 12192528"/>
              <a:gd name="connsiteY1739" fmla="*/ 1089485 h 3912503"/>
              <a:gd name="connsiteX1740" fmla="*/ 8767012 w 12192528"/>
              <a:gd name="connsiteY1740" fmla="*/ 1125151 h 3912503"/>
              <a:gd name="connsiteX1741" fmla="*/ 8743275 w 12192528"/>
              <a:gd name="connsiteY1741" fmla="*/ 1130603 h 3912503"/>
              <a:gd name="connsiteX1742" fmla="*/ 8739829 w 12192528"/>
              <a:gd name="connsiteY1742" fmla="*/ 1132153 h 3912503"/>
              <a:gd name="connsiteX1743" fmla="*/ 8703136 w 12192528"/>
              <a:gd name="connsiteY1743" fmla="*/ 1147203 h 3912503"/>
              <a:gd name="connsiteX1744" fmla="*/ 8699085 w 12192528"/>
              <a:gd name="connsiteY1744" fmla="*/ 1148518 h 3912503"/>
              <a:gd name="connsiteX1745" fmla="*/ 8681560 w 12192528"/>
              <a:gd name="connsiteY1745" fmla="*/ 1149723 h 3912503"/>
              <a:gd name="connsiteX1746" fmla="*/ 8680243 w 12192528"/>
              <a:gd name="connsiteY1746" fmla="*/ 1145670 h 3912503"/>
              <a:gd name="connsiteX1747" fmla="*/ 8680065 w 12192528"/>
              <a:gd name="connsiteY1747" fmla="*/ 1145122 h 3912503"/>
              <a:gd name="connsiteX1748" fmla="*/ 8648083 w 12192528"/>
              <a:gd name="connsiteY1748" fmla="*/ 1152467 h 3912503"/>
              <a:gd name="connsiteX1749" fmla="*/ 8631892 w 12192528"/>
              <a:gd name="connsiteY1749" fmla="*/ 1157282 h 3912503"/>
              <a:gd name="connsiteX1750" fmla="*/ 8638440 w 12192528"/>
              <a:gd name="connsiteY1750" fmla="*/ 1156831 h 3912503"/>
              <a:gd name="connsiteX1751" fmla="*/ 8604542 w 12192528"/>
              <a:gd name="connsiteY1751" fmla="*/ 1165415 h 3912503"/>
              <a:gd name="connsiteX1752" fmla="*/ 8570032 w 12192528"/>
              <a:gd name="connsiteY1752" fmla="*/ 1175677 h 3912503"/>
              <a:gd name="connsiteX1753" fmla="*/ 8557093 w 12192528"/>
              <a:gd name="connsiteY1753" fmla="*/ 1180504 h 3912503"/>
              <a:gd name="connsiteX1754" fmla="*/ 8541130 w 12192528"/>
              <a:gd name="connsiteY1754" fmla="*/ 1186312 h 3912503"/>
              <a:gd name="connsiteX1755" fmla="*/ 8537077 w 12192528"/>
              <a:gd name="connsiteY1755" fmla="*/ 1187626 h 3912503"/>
              <a:gd name="connsiteX1756" fmla="*/ 8493924 w 12192528"/>
              <a:gd name="connsiteY1756" fmla="*/ 1202024 h 3912503"/>
              <a:gd name="connsiteX1757" fmla="*/ 8438330 w 12192528"/>
              <a:gd name="connsiteY1757" fmla="*/ 1224137 h 3912503"/>
              <a:gd name="connsiteX1758" fmla="*/ 8450062 w 12192528"/>
              <a:gd name="connsiteY1758" fmla="*/ 1220332 h 3912503"/>
              <a:gd name="connsiteX1759" fmla="*/ 8538392 w 12192528"/>
              <a:gd name="connsiteY1759" fmla="*/ 1191679 h 3912503"/>
              <a:gd name="connsiteX1760" fmla="*/ 8545074 w 12192528"/>
              <a:gd name="connsiteY1760" fmla="*/ 1198470 h 3912503"/>
              <a:gd name="connsiteX1761" fmla="*/ 8549126 w 12192528"/>
              <a:gd name="connsiteY1761" fmla="*/ 1197155 h 3912503"/>
              <a:gd name="connsiteX1762" fmla="*/ 8547812 w 12192528"/>
              <a:gd name="connsiteY1762" fmla="*/ 1193103 h 3912503"/>
              <a:gd name="connsiteX1763" fmla="*/ 8632924 w 12192528"/>
              <a:gd name="connsiteY1763" fmla="*/ 1165497 h 3912503"/>
              <a:gd name="connsiteX1764" fmla="*/ 8631608 w 12192528"/>
              <a:gd name="connsiteY1764" fmla="*/ 1161445 h 3912503"/>
              <a:gd name="connsiteX1765" fmla="*/ 8649135 w 12192528"/>
              <a:gd name="connsiteY1765" fmla="*/ 1160240 h 3912503"/>
              <a:gd name="connsiteX1766" fmla="*/ 8657240 w 12192528"/>
              <a:gd name="connsiteY1766" fmla="*/ 1157611 h 3912503"/>
              <a:gd name="connsiteX1767" fmla="*/ 8658447 w 12192528"/>
              <a:gd name="connsiteY1767" fmla="*/ 1175135 h 3912503"/>
              <a:gd name="connsiteX1768" fmla="*/ 8642234 w 12192528"/>
              <a:gd name="connsiteY1768" fmla="*/ 1180394 h 3912503"/>
              <a:gd name="connsiteX1769" fmla="*/ 8617916 w 12192528"/>
              <a:gd name="connsiteY1769" fmla="*/ 1188282 h 3912503"/>
              <a:gd name="connsiteX1770" fmla="*/ 8613864 w 12192528"/>
              <a:gd name="connsiteY1770" fmla="*/ 1189596 h 3912503"/>
              <a:gd name="connsiteX1771" fmla="*/ 8609810 w 12192528"/>
              <a:gd name="connsiteY1771" fmla="*/ 1190910 h 3912503"/>
              <a:gd name="connsiteX1772" fmla="*/ 8601704 w 12192528"/>
              <a:gd name="connsiteY1772" fmla="*/ 1193539 h 3912503"/>
              <a:gd name="connsiteX1773" fmla="*/ 8597652 w 12192528"/>
              <a:gd name="connsiteY1773" fmla="*/ 1194854 h 3912503"/>
              <a:gd name="connsiteX1774" fmla="*/ 8598521 w 12192528"/>
              <a:gd name="connsiteY1774" fmla="*/ 1195297 h 3912503"/>
              <a:gd name="connsiteX1775" fmla="*/ 8676247 w 12192528"/>
              <a:gd name="connsiteY1775" fmla="*/ 1172771 h 3912503"/>
              <a:gd name="connsiteX1776" fmla="*/ 8688108 w 12192528"/>
              <a:gd name="connsiteY1776" fmla="*/ 1169975 h 3912503"/>
              <a:gd name="connsiteX1777" fmla="*/ 8682763 w 12192528"/>
              <a:gd name="connsiteY1777" fmla="*/ 1167249 h 3912503"/>
              <a:gd name="connsiteX1778" fmla="*/ 8666552 w 12192528"/>
              <a:gd name="connsiteY1778" fmla="*/ 1172506 h 3912503"/>
              <a:gd name="connsiteX1779" fmla="*/ 8669400 w 12192528"/>
              <a:gd name="connsiteY1779" fmla="*/ 1153666 h 3912503"/>
              <a:gd name="connsiteX1780" fmla="*/ 8677506 w 12192528"/>
              <a:gd name="connsiteY1780" fmla="*/ 1151038 h 3912503"/>
              <a:gd name="connsiteX1781" fmla="*/ 8681560 w 12192528"/>
              <a:gd name="connsiteY1781" fmla="*/ 1149723 h 3912503"/>
              <a:gd name="connsiteX1782" fmla="*/ 8678820 w 12192528"/>
              <a:gd name="connsiteY1782" fmla="*/ 1155090 h 3912503"/>
              <a:gd name="connsiteX1783" fmla="*/ 8684188 w 12192528"/>
              <a:gd name="connsiteY1783" fmla="*/ 1157828 h 3912503"/>
              <a:gd name="connsiteX1784" fmla="*/ 8690978 w 12192528"/>
              <a:gd name="connsiteY1784" fmla="*/ 1151147 h 3912503"/>
              <a:gd name="connsiteX1785" fmla="*/ 8695032 w 12192528"/>
              <a:gd name="connsiteY1785" fmla="*/ 1149831 h 3912503"/>
              <a:gd name="connsiteX1786" fmla="*/ 8712558 w 12192528"/>
              <a:gd name="connsiteY1786" fmla="*/ 1148627 h 3912503"/>
              <a:gd name="connsiteX1787" fmla="*/ 8723292 w 12192528"/>
              <a:gd name="connsiteY1787" fmla="*/ 1154103 h 3912503"/>
              <a:gd name="connsiteX1788" fmla="*/ 8752976 w 12192528"/>
              <a:gd name="connsiteY1788" fmla="*/ 1148955 h 3912503"/>
              <a:gd name="connsiteX1789" fmla="*/ 8754400 w 12192528"/>
              <a:gd name="connsiteY1789" fmla="*/ 1139534 h 3912503"/>
              <a:gd name="connsiteX1790" fmla="*/ 8761082 w 12192528"/>
              <a:gd name="connsiteY1790" fmla="*/ 1146325 h 3912503"/>
              <a:gd name="connsiteX1791" fmla="*/ 8784086 w 12192528"/>
              <a:gd name="connsiteY1791" fmla="*/ 1134385 h 3912503"/>
              <a:gd name="connsiteX1792" fmla="*/ 8813769 w 12192528"/>
              <a:gd name="connsiteY1792" fmla="*/ 1129236 h 3912503"/>
              <a:gd name="connsiteX1793" fmla="*/ 8817822 w 12192528"/>
              <a:gd name="connsiteY1793" fmla="*/ 1127922 h 3912503"/>
              <a:gd name="connsiteX1794" fmla="*/ 8832611 w 12192528"/>
              <a:gd name="connsiteY1794" fmla="*/ 1132084 h 3912503"/>
              <a:gd name="connsiteX1795" fmla="*/ 8863719 w 12192528"/>
              <a:gd name="connsiteY1795" fmla="*/ 1117514 h 3912503"/>
              <a:gd name="connsiteX1796" fmla="*/ 8898772 w 12192528"/>
              <a:gd name="connsiteY1796" fmla="*/ 1115104 h 3912503"/>
              <a:gd name="connsiteX1797" fmla="*/ 8916297 w 12192528"/>
              <a:gd name="connsiteY1797" fmla="*/ 1113899 h 3912503"/>
              <a:gd name="connsiteX1798" fmla="*/ 8940506 w 12192528"/>
              <a:gd name="connsiteY1798" fmla="*/ 1119484 h 3912503"/>
              <a:gd name="connsiteX1799" fmla="*/ 8957422 w 12192528"/>
              <a:gd name="connsiteY1799" fmla="*/ 1112948 h 3912503"/>
              <a:gd name="connsiteX1800" fmla="*/ 8958432 w 12192528"/>
              <a:gd name="connsiteY1800" fmla="*/ 1112866 h 3912503"/>
              <a:gd name="connsiteX1801" fmla="*/ 8958301 w 12192528"/>
              <a:gd name="connsiteY1801" fmla="*/ 1110616 h 3912503"/>
              <a:gd name="connsiteX1802" fmla="*/ 8959105 w 12192528"/>
              <a:gd name="connsiteY1802" fmla="*/ 1107132 h 3912503"/>
              <a:gd name="connsiteX1803" fmla="*/ 8960449 w 12192528"/>
              <a:gd name="connsiteY1803" fmla="*/ 1099894 h 3912503"/>
              <a:gd name="connsiteX1804" fmla="*/ 8960717 w 12192528"/>
              <a:gd name="connsiteY1804" fmla="*/ 1097215 h 3912503"/>
              <a:gd name="connsiteX1805" fmla="*/ 8961522 w 12192528"/>
              <a:gd name="connsiteY1805" fmla="*/ 1090782 h 3912503"/>
              <a:gd name="connsiteX1806" fmla="*/ 9007281 w 12192528"/>
              <a:gd name="connsiteY1806" fmla="*/ 1081399 h 3912503"/>
              <a:gd name="connsiteX1807" fmla="*/ 8998709 w 12192528"/>
              <a:gd name="connsiteY1807" fmla="*/ 1082960 h 3912503"/>
              <a:gd name="connsiteX1808" fmla="*/ 9000433 w 12192528"/>
              <a:gd name="connsiteY1808" fmla="*/ 1083813 h 3912503"/>
              <a:gd name="connsiteX1809" fmla="*/ 9004995 w 12192528"/>
              <a:gd name="connsiteY1809" fmla="*/ 1086226 h 3912503"/>
              <a:gd name="connsiteX1810" fmla="*/ 9010095 w 12192528"/>
              <a:gd name="connsiteY1810" fmla="*/ 1090513 h 3912503"/>
              <a:gd name="connsiteX1811" fmla="*/ 9013316 w 12192528"/>
              <a:gd name="connsiteY1811" fmla="*/ 1094802 h 3912503"/>
              <a:gd name="connsiteX1812" fmla="*/ 9017024 w 12192528"/>
              <a:gd name="connsiteY1812" fmla="*/ 1106446 h 3912503"/>
              <a:gd name="connsiteX1813" fmla="*/ 9025506 w 12192528"/>
              <a:gd name="connsiteY1813" fmla="*/ 1105352 h 3912503"/>
              <a:gd name="connsiteX1814" fmla="*/ 9041718 w 12192528"/>
              <a:gd name="connsiteY1814" fmla="*/ 1100093 h 3912503"/>
              <a:gd name="connsiteX1815" fmla="*/ 9046778 w 12192528"/>
              <a:gd name="connsiteY1815" fmla="*/ 1098452 h 3912503"/>
              <a:gd name="connsiteX1816" fmla="*/ 9034686 w 12192528"/>
              <a:gd name="connsiteY1816" fmla="*/ 1083029 h 3912503"/>
              <a:gd name="connsiteX1817" fmla="*/ 9007281 w 12192528"/>
              <a:gd name="connsiteY1817" fmla="*/ 1081399 h 3912503"/>
              <a:gd name="connsiteX1818" fmla="*/ 11971024 w 12192528"/>
              <a:gd name="connsiteY1818" fmla="*/ 1080295 h 3912503"/>
              <a:gd name="connsiteX1819" fmla="*/ 11970808 w 12192528"/>
              <a:gd name="connsiteY1819" fmla="*/ 1080656 h 3912503"/>
              <a:gd name="connsiteX1820" fmla="*/ 11970556 w 12192528"/>
              <a:gd name="connsiteY1820" fmla="*/ 1080405 h 3912503"/>
              <a:gd name="connsiteX1821" fmla="*/ 4566882 w 12192528"/>
              <a:gd name="connsiteY1821" fmla="*/ 1057328 h 3912503"/>
              <a:gd name="connsiteX1822" fmla="*/ 4560676 w 12192528"/>
              <a:gd name="connsiteY1822" fmla="*/ 1058431 h 3912503"/>
              <a:gd name="connsiteX1823" fmla="*/ 4547437 w 12192528"/>
              <a:gd name="connsiteY1823" fmla="*/ 1062845 h 3912503"/>
              <a:gd name="connsiteX1824" fmla="*/ 4547437 w 12192528"/>
              <a:gd name="connsiteY1824" fmla="*/ 1058431 h 3912503"/>
              <a:gd name="connsiteX1825" fmla="*/ 4512129 w 12192528"/>
              <a:gd name="connsiteY1825" fmla="*/ 1076085 h 3912503"/>
              <a:gd name="connsiteX1826" fmla="*/ 4503304 w 12192528"/>
              <a:gd name="connsiteY1826" fmla="*/ 1076085 h 3912503"/>
              <a:gd name="connsiteX1827" fmla="*/ 4498889 w 12192528"/>
              <a:gd name="connsiteY1827" fmla="*/ 1076085 h 3912503"/>
              <a:gd name="connsiteX1828" fmla="*/ 4494475 w 12192528"/>
              <a:gd name="connsiteY1828" fmla="*/ 1076085 h 3912503"/>
              <a:gd name="connsiteX1829" fmla="*/ 4494477 w 12192528"/>
              <a:gd name="connsiteY1829" fmla="*/ 1080499 h 3912503"/>
              <a:gd name="connsiteX1830" fmla="*/ 4485649 w 12192528"/>
              <a:gd name="connsiteY1830" fmla="*/ 1080498 h 3912503"/>
              <a:gd name="connsiteX1831" fmla="*/ 4490065 w 12192528"/>
              <a:gd name="connsiteY1831" fmla="*/ 1071670 h 3912503"/>
              <a:gd name="connsiteX1832" fmla="*/ 4476823 w 12192528"/>
              <a:gd name="connsiteY1832" fmla="*/ 1076085 h 3912503"/>
              <a:gd name="connsiteX1833" fmla="*/ 4472409 w 12192528"/>
              <a:gd name="connsiteY1833" fmla="*/ 1076085 h 3912503"/>
              <a:gd name="connsiteX1834" fmla="*/ 4467995 w 12192528"/>
              <a:gd name="connsiteY1834" fmla="*/ 1076085 h 3912503"/>
              <a:gd name="connsiteX1835" fmla="*/ 4463584 w 12192528"/>
              <a:gd name="connsiteY1835" fmla="*/ 1076085 h 3912503"/>
              <a:gd name="connsiteX1836" fmla="*/ 4445930 w 12192528"/>
              <a:gd name="connsiteY1836" fmla="*/ 1080499 h 3912503"/>
              <a:gd name="connsiteX1837" fmla="*/ 4441516 w 12192528"/>
              <a:gd name="connsiteY1837" fmla="*/ 1084912 h 3912503"/>
              <a:gd name="connsiteX1838" fmla="*/ 4437102 w 12192528"/>
              <a:gd name="connsiteY1838" fmla="*/ 1084912 h 3912503"/>
              <a:gd name="connsiteX1839" fmla="*/ 4441516 w 12192528"/>
              <a:gd name="connsiteY1839" fmla="*/ 1084912 h 3912503"/>
              <a:gd name="connsiteX1840" fmla="*/ 4397383 w 12192528"/>
              <a:gd name="connsiteY1840" fmla="*/ 1098151 h 3912503"/>
              <a:gd name="connsiteX1841" fmla="*/ 4388557 w 12192528"/>
              <a:gd name="connsiteY1841" fmla="*/ 1098152 h 3912503"/>
              <a:gd name="connsiteX1842" fmla="*/ 4388556 w 12192528"/>
              <a:gd name="connsiteY1842" fmla="*/ 1102564 h 3912503"/>
              <a:gd name="connsiteX1843" fmla="*/ 4348838 w 12192528"/>
              <a:gd name="connsiteY1843" fmla="*/ 1115804 h 3912503"/>
              <a:gd name="connsiteX1844" fmla="*/ 4348838 w 12192528"/>
              <a:gd name="connsiteY1844" fmla="*/ 1120218 h 3912503"/>
              <a:gd name="connsiteX1845" fmla="*/ 4344424 w 12192528"/>
              <a:gd name="connsiteY1845" fmla="*/ 1120218 h 3912503"/>
              <a:gd name="connsiteX1846" fmla="*/ 4344424 w 12192528"/>
              <a:gd name="connsiteY1846" fmla="*/ 1115804 h 3912503"/>
              <a:gd name="connsiteX1847" fmla="*/ 4340009 w 12192528"/>
              <a:gd name="connsiteY1847" fmla="*/ 1115804 h 3912503"/>
              <a:gd name="connsiteX1848" fmla="*/ 4335598 w 12192528"/>
              <a:gd name="connsiteY1848" fmla="*/ 1120218 h 3912503"/>
              <a:gd name="connsiteX1849" fmla="*/ 4212024 w 12192528"/>
              <a:gd name="connsiteY1849" fmla="*/ 1159938 h 3912503"/>
              <a:gd name="connsiteX1850" fmla="*/ 4204720 w 12192528"/>
              <a:gd name="connsiteY1850" fmla="*/ 1160981 h 3912503"/>
              <a:gd name="connsiteX1851" fmla="*/ 4203153 w 12192528"/>
              <a:gd name="connsiteY1851" fmla="*/ 1182170 h 3912503"/>
              <a:gd name="connsiteX1852" fmla="*/ 4247332 w 12192528"/>
              <a:gd name="connsiteY1852" fmla="*/ 1164351 h 3912503"/>
              <a:gd name="connsiteX1853" fmla="*/ 4282636 w 12192528"/>
              <a:gd name="connsiteY1853" fmla="*/ 1146697 h 3912503"/>
              <a:gd name="connsiteX1854" fmla="*/ 4278222 w 12192528"/>
              <a:gd name="connsiteY1854" fmla="*/ 1151110 h 3912503"/>
              <a:gd name="connsiteX1855" fmla="*/ 4326770 w 12192528"/>
              <a:gd name="connsiteY1855" fmla="*/ 1133457 h 3912503"/>
              <a:gd name="connsiteX1856" fmla="*/ 4340009 w 12192528"/>
              <a:gd name="connsiteY1856" fmla="*/ 1133457 h 3912503"/>
              <a:gd name="connsiteX1857" fmla="*/ 4481236 w 12192528"/>
              <a:gd name="connsiteY1857" fmla="*/ 1089325 h 3912503"/>
              <a:gd name="connsiteX1858" fmla="*/ 4481236 w 12192528"/>
              <a:gd name="connsiteY1858" fmla="*/ 1093737 h 3912503"/>
              <a:gd name="connsiteX1859" fmla="*/ 4485649 w 12192528"/>
              <a:gd name="connsiteY1859" fmla="*/ 1093737 h 3912503"/>
              <a:gd name="connsiteX1860" fmla="*/ 4490063 w 12192528"/>
              <a:gd name="connsiteY1860" fmla="*/ 1089326 h 3912503"/>
              <a:gd name="connsiteX1861" fmla="*/ 4538609 w 12192528"/>
              <a:gd name="connsiteY1861" fmla="*/ 1076085 h 3912503"/>
              <a:gd name="connsiteX1862" fmla="*/ 4543022 w 12192528"/>
              <a:gd name="connsiteY1862" fmla="*/ 1076085 h 3912503"/>
              <a:gd name="connsiteX1863" fmla="*/ 4547437 w 12192528"/>
              <a:gd name="connsiteY1863" fmla="*/ 1076085 h 3912503"/>
              <a:gd name="connsiteX1864" fmla="*/ 4547437 w 12192528"/>
              <a:gd name="connsiteY1864" fmla="*/ 1071670 h 3912503"/>
              <a:gd name="connsiteX1865" fmla="*/ 4543022 w 12192528"/>
              <a:gd name="connsiteY1865" fmla="*/ 1071670 h 3912503"/>
              <a:gd name="connsiteX1866" fmla="*/ 4560677 w 12192528"/>
              <a:gd name="connsiteY1866" fmla="*/ 1067258 h 3912503"/>
              <a:gd name="connsiteX1867" fmla="*/ 4566882 w 12192528"/>
              <a:gd name="connsiteY1867" fmla="*/ 1057328 h 3912503"/>
              <a:gd name="connsiteX1868" fmla="*/ 1693947 w 12192528"/>
              <a:gd name="connsiteY1868" fmla="*/ 1052444 h 3912503"/>
              <a:gd name="connsiteX1869" fmla="*/ 1698471 w 12192528"/>
              <a:gd name="connsiteY1869" fmla="*/ 1054704 h 3912503"/>
              <a:gd name="connsiteX1870" fmla="*/ 1711537 w 12192528"/>
              <a:gd name="connsiteY1870" fmla="*/ 1060731 h 3912503"/>
              <a:gd name="connsiteX1871" fmla="*/ 1714049 w 12192528"/>
              <a:gd name="connsiteY1871" fmla="*/ 1062489 h 3912503"/>
              <a:gd name="connsiteX1872" fmla="*/ 1725107 w 12192528"/>
              <a:gd name="connsiteY1872" fmla="*/ 1075800 h 3912503"/>
              <a:gd name="connsiteX1873" fmla="*/ 1731891 w 12192528"/>
              <a:gd name="connsiteY1873" fmla="*/ 1098404 h 3912503"/>
              <a:gd name="connsiteX1874" fmla="*/ 1735158 w 12192528"/>
              <a:gd name="connsiteY1874" fmla="*/ 1106190 h 3912503"/>
              <a:gd name="connsiteX1875" fmla="*/ 1734403 w 12192528"/>
              <a:gd name="connsiteY1875" fmla="*/ 1117242 h 3912503"/>
              <a:gd name="connsiteX1876" fmla="*/ 1733399 w 12192528"/>
              <a:gd name="connsiteY1876" fmla="*/ 1126534 h 3912503"/>
              <a:gd name="connsiteX1877" fmla="*/ 1733650 w 12192528"/>
              <a:gd name="connsiteY1877" fmla="*/ 1130301 h 3912503"/>
              <a:gd name="connsiteX1878" fmla="*/ 1718825 w 12192528"/>
              <a:gd name="connsiteY1878" fmla="*/ 1147379 h 3912503"/>
              <a:gd name="connsiteX1879" fmla="*/ 1704753 w 12192528"/>
              <a:gd name="connsiteY1879" fmla="*/ 1155668 h 3912503"/>
              <a:gd name="connsiteX1880" fmla="*/ 1694198 w 12192528"/>
              <a:gd name="connsiteY1880" fmla="*/ 1169481 h 3912503"/>
              <a:gd name="connsiteX1881" fmla="*/ 1695706 w 12192528"/>
              <a:gd name="connsiteY1881" fmla="*/ 1172244 h 3912503"/>
              <a:gd name="connsiteX1882" fmla="*/ 1710533 w 12192528"/>
              <a:gd name="connsiteY1882" fmla="*/ 1189825 h 3912503"/>
              <a:gd name="connsiteX1883" fmla="*/ 1712541 w 12192528"/>
              <a:gd name="connsiteY1883" fmla="*/ 1193843 h 3912503"/>
              <a:gd name="connsiteX1884" fmla="*/ 1714552 w 12192528"/>
              <a:gd name="connsiteY1884" fmla="*/ 1206401 h 3912503"/>
              <a:gd name="connsiteX1885" fmla="*/ 1718070 w 12192528"/>
              <a:gd name="connsiteY1885" fmla="*/ 1220968 h 3912503"/>
              <a:gd name="connsiteX1886" fmla="*/ 1717819 w 12192528"/>
              <a:gd name="connsiteY1886" fmla="*/ 1226995 h 3912503"/>
              <a:gd name="connsiteX1887" fmla="*/ 1704502 w 12192528"/>
              <a:gd name="connsiteY1887" fmla="*/ 1259394 h 3912503"/>
              <a:gd name="connsiteX1888" fmla="*/ 1701987 w 12192528"/>
              <a:gd name="connsiteY1888" fmla="*/ 1261404 h 3912503"/>
              <a:gd name="connsiteX1889" fmla="*/ 1686660 w 12192528"/>
              <a:gd name="connsiteY1889" fmla="*/ 1268686 h 3912503"/>
              <a:gd name="connsiteX1890" fmla="*/ 1680128 w 12192528"/>
              <a:gd name="connsiteY1890" fmla="*/ 1270696 h 3912503"/>
              <a:gd name="connsiteX1891" fmla="*/ 1669070 w 12192528"/>
              <a:gd name="connsiteY1891" fmla="*/ 1273207 h 3912503"/>
              <a:gd name="connsiteX1892" fmla="*/ 1660778 w 12192528"/>
              <a:gd name="connsiteY1892" fmla="*/ 1280490 h 3912503"/>
              <a:gd name="connsiteX1893" fmla="*/ 1657009 w 12192528"/>
              <a:gd name="connsiteY1893" fmla="*/ 1281842 h 3912503"/>
              <a:gd name="connsiteX1894" fmla="*/ 1654747 w 12192528"/>
              <a:gd name="connsiteY1894" fmla="*/ 1278482 h 3912503"/>
              <a:gd name="connsiteX1895" fmla="*/ 1653994 w 12192528"/>
              <a:gd name="connsiteY1895" fmla="*/ 1275468 h 3912503"/>
              <a:gd name="connsiteX1896" fmla="*/ 1651732 w 12192528"/>
              <a:gd name="connsiteY1896" fmla="*/ 1271952 h 3912503"/>
              <a:gd name="connsiteX1897" fmla="*/ 1648465 w 12192528"/>
              <a:gd name="connsiteY1897" fmla="*/ 1274212 h 3912503"/>
              <a:gd name="connsiteX1898" fmla="*/ 1640927 w 12192528"/>
              <a:gd name="connsiteY1898" fmla="*/ 1272957 h 3912503"/>
              <a:gd name="connsiteX1899" fmla="*/ 1639420 w 12192528"/>
              <a:gd name="connsiteY1899" fmla="*/ 1269692 h 3912503"/>
              <a:gd name="connsiteX1900" fmla="*/ 1634896 w 12192528"/>
              <a:gd name="connsiteY1900" fmla="*/ 1267933 h 3912503"/>
              <a:gd name="connsiteX1901" fmla="*/ 1633137 w 12192528"/>
              <a:gd name="connsiteY1901" fmla="*/ 1272203 h 3912503"/>
              <a:gd name="connsiteX1902" fmla="*/ 1633561 w 12192528"/>
              <a:gd name="connsiteY1902" fmla="*/ 1276001 h 3912503"/>
              <a:gd name="connsiteX1903" fmla="*/ 1613922 w 12192528"/>
              <a:gd name="connsiteY1903" fmla="*/ 1256470 h 3912503"/>
              <a:gd name="connsiteX1904" fmla="*/ 1615045 w 12192528"/>
              <a:gd name="connsiteY1904" fmla="*/ 1254873 h 3912503"/>
              <a:gd name="connsiteX1905" fmla="*/ 1612783 w 12192528"/>
              <a:gd name="connsiteY1905" fmla="*/ 1250101 h 3912503"/>
              <a:gd name="connsiteX1906" fmla="*/ 1608260 w 12192528"/>
              <a:gd name="connsiteY1906" fmla="*/ 1248093 h 3912503"/>
              <a:gd name="connsiteX1907" fmla="*/ 1605245 w 12192528"/>
              <a:gd name="connsiteY1907" fmla="*/ 1242064 h 3912503"/>
              <a:gd name="connsiteX1908" fmla="*/ 1595445 w 12192528"/>
              <a:gd name="connsiteY1908" fmla="*/ 1222725 h 3912503"/>
              <a:gd name="connsiteX1909" fmla="*/ 1591927 w 12192528"/>
              <a:gd name="connsiteY1909" fmla="*/ 1219963 h 3912503"/>
              <a:gd name="connsiteX1910" fmla="*/ 1596702 w 12192528"/>
              <a:gd name="connsiteY1910" fmla="*/ 1216950 h 3912503"/>
              <a:gd name="connsiteX1911" fmla="*/ 1597456 w 12192528"/>
              <a:gd name="connsiteY1911" fmla="*/ 1216950 h 3912503"/>
              <a:gd name="connsiteX1912" fmla="*/ 1602229 w 12192528"/>
              <a:gd name="connsiteY1912" fmla="*/ 1208410 h 3912503"/>
              <a:gd name="connsiteX1913" fmla="*/ 1602733 w 12192528"/>
              <a:gd name="connsiteY1913" fmla="*/ 1196607 h 3912503"/>
              <a:gd name="connsiteX1914" fmla="*/ 1607005 w 12192528"/>
              <a:gd name="connsiteY1914" fmla="*/ 1180029 h 3912503"/>
              <a:gd name="connsiteX1915" fmla="*/ 1610773 w 12192528"/>
              <a:gd name="connsiteY1915" fmla="*/ 1175508 h 3912503"/>
              <a:gd name="connsiteX1916" fmla="*/ 1621076 w 12192528"/>
              <a:gd name="connsiteY1916" fmla="*/ 1162449 h 3912503"/>
              <a:gd name="connsiteX1917" fmla="*/ 1627106 w 12192528"/>
              <a:gd name="connsiteY1917" fmla="*/ 1160189 h 3912503"/>
              <a:gd name="connsiteX1918" fmla="*/ 1651984 w 12192528"/>
              <a:gd name="connsiteY1918" fmla="*/ 1152905 h 3912503"/>
              <a:gd name="connsiteX1919" fmla="*/ 1651984 w 12192528"/>
              <a:gd name="connsiteY1919" fmla="*/ 1147379 h 3912503"/>
              <a:gd name="connsiteX1920" fmla="*/ 1645451 w 12192528"/>
              <a:gd name="connsiteY1920" fmla="*/ 1146626 h 3912503"/>
              <a:gd name="connsiteX1921" fmla="*/ 1640927 w 12192528"/>
              <a:gd name="connsiteY1921" fmla="*/ 1149639 h 3912503"/>
              <a:gd name="connsiteX1922" fmla="*/ 1636655 w 12192528"/>
              <a:gd name="connsiteY1922" fmla="*/ 1150143 h 3912503"/>
              <a:gd name="connsiteX1923" fmla="*/ 1637410 w 12192528"/>
              <a:gd name="connsiteY1923" fmla="*/ 1145622 h 3912503"/>
              <a:gd name="connsiteX1924" fmla="*/ 1640927 w 12192528"/>
              <a:gd name="connsiteY1924" fmla="*/ 1142357 h 3912503"/>
              <a:gd name="connsiteX1925" fmla="*/ 1642184 w 12192528"/>
              <a:gd name="connsiteY1925" fmla="*/ 1134571 h 3912503"/>
              <a:gd name="connsiteX1926" fmla="*/ 1635399 w 12192528"/>
              <a:gd name="connsiteY1926" fmla="*/ 1136078 h 3912503"/>
              <a:gd name="connsiteX1927" fmla="*/ 1630122 w 12192528"/>
              <a:gd name="connsiteY1927" fmla="*/ 1140347 h 3912503"/>
              <a:gd name="connsiteX1928" fmla="*/ 1625095 w 12192528"/>
              <a:gd name="connsiteY1928" fmla="*/ 1137082 h 3912503"/>
              <a:gd name="connsiteX1929" fmla="*/ 1630625 w 12192528"/>
              <a:gd name="connsiteY1929" fmla="*/ 1122767 h 3912503"/>
              <a:gd name="connsiteX1930" fmla="*/ 1630625 w 12192528"/>
              <a:gd name="connsiteY1930" fmla="*/ 1108953 h 3912503"/>
              <a:gd name="connsiteX1931" fmla="*/ 1625599 w 12192528"/>
              <a:gd name="connsiteY1931" fmla="*/ 1103428 h 3912503"/>
              <a:gd name="connsiteX1932" fmla="*/ 1624091 w 12192528"/>
              <a:gd name="connsiteY1932" fmla="*/ 1100664 h 3912503"/>
              <a:gd name="connsiteX1933" fmla="*/ 1626855 w 12192528"/>
              <a:gd name="connsiteY1933" fmla="*/ 1099158 h 3912503"/>
              <a:gd name="connsiteX1934" fmla="*/ 1632133 w 12192528"/>
              <a:gd name="connsiteY1934" fmla="*/ 1094135 h 3912503"/>
              <a:gd name="connsiteX1935" fmla="*/ 1638665 w 12192528"/>
              <a:gd name="connsiteY1935" fmla="*/ 1082833 h 3912503"/>
              <a:gd name="connsiteX1936" fmla="*/ 1638916 w 12192528"/>
              <a:gd name="connsiteY1936" fmla="*/ 1076806 h 3912503"/>
              <a:gd name="connsiteX1937" fmla="*/ 1636906 w 12192528"/>
              <a:gd name="connsiteY1937" fmla="*/ 1072788 h 3912503"/>
              <a:gd name="connsiteX1938" fmla="*/ 1641177 w 12192528"/>
              <a:gd name="connsiteY1938" fmla="*/ 1070025 h 3912503"/>
              <a:gd name="connsiteX1939" fmla="*/ 1644696 w 12192528"/>
              <a:gd name="connsiteY1939" fmla="*/ 1069521 h 3912503"/>
              <a:gd name="connsiteX1940" fmla="*/ 1648968 w 12192528"/>
              <a:gd name="connsiteY1940" fmla="*/ 1059225 h 3912503"/>
              <a:gd name="connsiteX1941" fmla="*/ 1647712 w 12192528"/>
              <a:gd name="connsiteY1941" fmla="*/ 1057216 h 3912503"/>
              <a:gd name="connsiteX1942" fmla="*/ 1647964 w 12192528"/>
              <a:gd name="connsiteY1942" fmla="*/ 1052695 h 3912503"/>
              <a:gd name="connsiteX1943" fmla="*/ 1651984 w 12192528"/>
              <a:gd name="connsiteY1943" fmla="*/ 1053699 h 3912503"/>
              <a:gd name="connsiteX1944" fmla="*/ 1654496 w 12192528"/>
              <a:gd name="connsiteY1944" fmla="*/ 1056965 h 3912503"/>
              <a:gd name="connsiteX1945" fmla="*/ 1659522 w 12192528"/>
              <a:gd name="connsiteY1945" fmla="*/ 1057718 h 3912503"/>
              <a:gd name="connsiteX1946" fmla="*/ 1674850 w 12192528"/>
              <a:gd name="connsiteY1946" fmla="*/ 1053699 h 3912503"/>
              <a:gd name="connsiteX1947" fmla="*/ 1693947 w 12192528"/>
              <a:gd name="connsiteY1947" fmla="*/ 1052444 h 3912503"/>
              <a:gd name="connsiteX1948" fmla="*/ 7349352 w 12192528"/>
              <a:gd name="connsiteY1948" fmla="*/ 1039895 h 3912503"/>
              <a:gd name="connsiteX1949" fmla="*/ 7361073 w 12192528"/>
              <a:gd name="connsiteY1949" fmla="*/ 1050780 h 3912503"/>
              <a:gd name="connsiteX1950" fmla="*/ 7363413 w 12192528"/>
              <a:gd name="connsiteY1950" fmla="*/ 1055055 h 3912503"/>
              <a:gd name="connsiteX1951" fmla="*/ 7370829 w 12192528"/>
              <a:gd name="connsiteY1951" fmla="*/ 1064385 h 3912503"/>
              <a:gd name="connsiteX1952" fmla="*/ 7376689 w 12192528"/>
              <a:gd name="connsiteY1952" fmla="*/ 1067883 h 3912503"/>
              <a:gd name="connsiteX1953" fmla="*/ 7382160 w 12192528"/>
              <a:gd name="connsiteY1953" fmla="*/ 1083432 h 3912503"/>
              <a:gd name="connsiteX1954" fmla="*/ 7378638 w 12192528"/>
              <a:gd name="connsiteY1954" fmla="*/ 1096649 h 3912503"/>
              <a:gd name="connsiteX1955" fmla="*/ 7367704 w 12192528"/>
              <a:gd name="connsiteY1955" fmla="*/ 1105201 h 3912503"/>
              <a:gd name="connsiteX1956" fmla="*/ 7366532 w 12192528"/>
              <a:gd name="connsiteY1956" fmla="*/ 1106756 h 3912503"/>
              <a:gd name="connsiteX1957" fmla="*/ 7358727 w 12192528"/>
              <a:gd name="connsiteY1957" fmla="*/ 1106756 h 3912503"/>
              <a:gd name="connsiteX1958" fmla="*/ 7350130 w 12192528"/>
              <a:gd name="connsiteY1958" fmla="*/ 1102480 h 3912503"/>
              <a:gd name="connsiteX1959" fmla="*/ 7344276 w 12192528"/>
              <a:gd name="connsiteY1959" fmla="*/ 1095483 h 3912503"/>
              <a:gd name="connsiteX1960" fmla="*/ 7339978 w 12192528"/>
              <a:gd name="connsiteY1960" fmla="*/ 1084987 h 3912503"/>
              <a:gd name="connsiteX1961" fmla="*/ 7334513 w 12192528"/>
              <a:gd name="connsiteY1961" fmla="*/ 1074880 h 3912503"/>
              <a:gd name="connsiteX1962" fmla="*/ 7325926 w 12192528"/>
              <a:gd name="connsiteY1962" fmla="*/ 1066329 h 3912503"/>
              <a:gd name="connsiteX1963" fmla="*/ 7325926 w 12192528"/>
              <a:gd name="connsiteY1963" fmla="*/ 1052334 h 3912503"/>
              <a:gd name="connsiteX1964" fmla="*/ 7330610 w 12192528"/>
              <a:gd name="connsiteY1964" fmla="*/ 1046892 h 3912503"/>
              <a:gd name="connsiteX1965" fmla="*/ 7339202 w 12192528"/>
              <a:gd name="connsiteY1965" fmla="*/ 1041450 h 3912503"/>
              <a:gd name="connsiteX1966" fmla="*/ 7349352 w 12192528"/>
              <a:gd name="connsiteY1966" fmla="*/ 1039895 h 3912503"/>
              <a:gd name="connsiteX1967" fmla="*/ 11847267 w 12192528"/>
              <a:gd name="connsiteY1967" fmla="*/ 1037896 h 3912503"/>
              <a:gd name="connsiteX1968" fmla="*/ 11862621 w 12192528"/>
              <a:gd name="connsiteY1968" fmla="*/ 1041696 h 3912503"/>
              <a:gd name="connsiteX1969" fmla="*/ 11916978 w 12192528"/>
              <a:gd name="connsiteY1969" fmla="*/ 1084039 h 3912503"/>
              <a:gd name="connsiteX1970" fmla="*/ 11920240 w 12192528"/>
              <a:gd name="connsiteY1970" fmla="*/ 1110097 h 3912503"/>
              <a:gd name="connsiteX1971" fmla="*/ 11921326 w 12192528"/>
              <a:gd name="connsiteY1971" fmla="*/ 1120954 h 3912503"/>
              <a:gd name="connsiteX1972" fmla="*/ 11926762 w 12192528"/>
              <a:gd name="connsiteY1972" fmla="*/ 1150269 h 3912503"/>
              <a:gd name="connsiteX1973" fmla="*/ 11930023 w 12192528"/>
              <a:gd name="connsiteY1973" fmla="*/ 1164383 h 3912503"/>
              <a:gd name="connsiteX1974" fmla="*/ 11928936 w 12192528"/>
              <a:gd name="connsiteY1974" fmla="*/ 1182841 h 3912503"/>
              <a:gd name="connsiteX1975" fmla="*/ 11921326 w 12192528"/>
              <a:gd name="connsiteY1975" fmla="*/ 1201298 h 3912503"/>
              <a:gd name="connsiteX1976" fmla="*/ 11897409 w 12192528"/>
              <a:gd name="connsiteY1976" fmla="*/ 1245813 h 3912503"/>
              <a:gd name="connsiteX1977" fmla="*/ 11820226 w 12192528"/>
              <a:gd name="connsiteY1977" fmla="*/ 1294670 h 3912503"/>
              <a:gd name="connsiteX1978" fmla="*/ 11812615 w 12192528"/>
              <a:gd name="connsiteY1978" fmla="*/ 1292499 h 3912503"/>
              <a:gd name="connsiteX1979" fmla="*/ 11777828 w 12192528"/>
              <a:gd name="connsiteY1979" fmla="*/ 1288156 h 3912503"/>
              <a:gd name="connsiteX1980" fmla="*/ 11769130 w 12192528"/>
              <a:gd name="connsiteY1980" fmla="*/ 1283814 h 3912503"/>
              <a:gd name="connsiteX1981" fmla="*/ 11744125 w 12192528"/>
              <a:gd name="connsiteY1981" fmla="*/ 1276213 h 3912503"/>
              <a:gd name="connsiteX1982" fmla="*/ 11731080 w 12192528"/>
              <a:gd name="connsiteY1982" fmla="*/ 1270784 h 3912503"/>
              <a:gd name="connsiteX1983" fmla="*/ 11723470 w 12192528"/>
              <a:gd name="connsiteY1983" fmla="*/ 1255584 h 3912503"/>
              <a:gd name="connsiteX1984" fmla="*/ 11694119 w 12192528"/>
              <a:gd name="connsiteY1984" fmla="*/ 1216498 h 3912503"/>
              <a:gd name="connsiteX1985" fmla="*/ 11681074 w 12192528"/>
              <a:gd name="connsiteY1985" fmla="*/ 1190441 h 3912503"/>
              <a:gd name="connsiteX1986" fmla="*/ 11681074 w 12192528"/>
              <a:gd name="connsiteY1986" fmla="*/ 1177412 h 3912503"/>
              <a:gd name="connsiteX1987" fmla="*/ 11691945 w 12192528"/>
              <a:gd name="connsiteY1987" fmla="*/ 1148097 h 3912503"/>
              <a:gd name="connsiteX1988" fmla="*/ 11707164 w 12192528"/>
              <a:gd name="connsiteY1988" fmla="*/ 1100325 h 3912503"/>
              <a:gd name="connsiteX1989" fmla="*/ 11720209 w 12192528"/>
              <a:gd name="connsiteY1989" fmla="*/ 1082954 h 3912503"/>
              <a:gd name="connsiteX1990" fmla="*/ 11740864 w 12192528"/>
              <a:gd name="connsiteY1990" fmla="*/ 1065581 h 3912503"/>
              <a:gd name="connsiteX1991" fmla="*/ 11759346 w 12192528"/>
              <a:gd name="connsiteY1991" fmla="*/ 1055810 h 3912503"/>
              <a:gd name="connsiteX1992" fmla="*/ 11827836 w 12192528"/>
              <a:gd name="connsiteY1992" fmla="*/ 1040609 h 3912503"/>
              <a:gd name="connsiteX1993" fmla="*/ 11847267 w 12192528"/>
              <a:gd name="connsiteY1993" fmla="*/ 1037896 h 3912503"/>
              <a:gd name="connsiteX1994" fmla="*/ 3112015 w 12192528"/>
              <a:gd name="connsiteY1994" fmla="*/ 1034215 h 3912503"/>
              <a:gd name="connsiteX1995" fmla="*/ 3084844 w 12192528"/>
              <a:gd name="connsiteY1995" fmla="*/ 1059412 h 3912503"/>
              <a:gd name="connsiteX1996" fmla="*/ 3027532 w 12192528"/>
              <a:gd name="connsiteY1996" fmla="*/ 1109347 h 3912503"/>
              <a:gd name="connsiteX1997" fmla="*/ 3017812 w 12192528"/>
              <a:gd name="connsiteY1997" fmla="*/ 1121249 h 3912503"/>
              <a:gd name="connsiteX1998" fmla="*/ 3073376 w 12192528"/>
              <a:gd name="connsiteY1998" fmla="*/ 1117080 h 3912503"/>
              <a:gd name="connsiteX1999" fmla="*/ 3103561 w 12192528"/>
              <a:gd name="connsiteY1999" fmla="*/ 1115679 h 3912503"/>
              <a:gd name="connsiteX2000" fmla="*/ 3130140 w 12192528"/>
              <a:gd name="connsiteY2000" fmla="*/ 1120962 h 3912503"/>
              <a:gd name="connsiteX2001" fmla="*/ 3132652 w 12192528"/>
              <a:gd name="connsiteY2001" fmla="*/ 1119370 h 3912503"/>
              <a:gd name="connsiteX2002" fmla="*/ 3121223 w 12192528"/>
              <a:gd name="connsiteY2002" fmla="*/ 1072209 h 3912503"/>
              <a:gd name="connsiteX2003" fmla="*/ 6719746 w 12192528"/>
              <a:gd name="connsiteY2003" fmla="*/ 1025507 h 3912503"/>
              <a:gd name="connsiteX2004" fmla="*/ 6723785 w 12192528"/>
              <a:gd name="connsiteY2004" fmla="*/ 1028671 h 3912503"/>
              <a:gd name="connsiteX2005" fmla="*/ 6720182 w 12192528"/>
              <a:gd name="connsiteY2005" fmla="*/ 1028671 h 3912503"/>
              <a:gd name="connsiteX2006" fmla="*/ 6716582 w 12192528"/>
              <a:gd name="connsiteY2006" fmla="*/ 1028671 h 3912503"/>
              <a:gd name="connsiteX2007" fmla="*/ 12192528 w 12192528"/>
              <a:gd name="connsiteY2007" fmla="*/ 991088 h 3912503"/>
              <a:gd name="connsiteX2008" fmla="*/ 12192528 w 12192528"/>
              <a:gd name="connsiteY2008" fmla="*/ 998161 h 3912503"/>
              <a:gd name="connsiteX2009" fmla="*/ 12191272 w 12192528"/>
              <a:gd name="connsiteY2009" fmla="*/ 994787 h 3912503"/>
              <a:gd name="connsiteX2010" fmla="*/ 10459204 w 12192528"/>
              <a:gd name="connsiteY2010" fmla="*/ 986789 h 3912503"/>
              <a:gd name="connsiteX2011" fmla="*/ 10458834 w 12192528"/>
              <a:gd name="connsiteY2011" fmla="*/ 991796 h 3912503"/>
              <a:gd name="connsiteX2012" fmla="*/ 10464841 w 12192528"/>
              <a:gd name="connsiteY2012" fmla="*/ 989354 h 3912503"/>
              <a:gd name="connsiteX2013" fmla="*/ 12076946 w 12192528"/>
              <a:gd name="connsiteY2013" fmla="*/ 955420 h 3912503"/>
              <a:gd name="connsiteX2014" fmla="*/ 12080627 w 12192528"/>
              <a:gd name="connsiteY2014" fmla="*/ 957259 h 3912503"/>
              <a:gd name="connsiteX2015" fmla="*/ 12091259 w 12192528"/>
              <a:gd name="connsiteY2015" fmla="*/ 962164 h 3912503"/>
              <a:gd name="connsiteX2016" fmla="*/ 12093304 w 12192528"/>
              <a:gd name="connsiteY2016" fmla="*/ 963595 h 3912503"/>
              <a:gd name="connsiteX2017" fmla="*/ 12102301 w 12192528"/>
              <a:gd name="connsiteY2017" fmla="*/ 974427 h 3912503"/>
              <a:gd name="connsiteX2018" fmla="*/ 12107822 w 12192528"/>
              <a:gd name="connsiteY2018" fmla="*/ 992821 h 3912503"/>
              <a:gd name="connsiteX2019" fmla="*/ 12110480 w 12192528"/>
              <a:gd name="connsiteY2019" fmla="*/ 999157 h 3912503"/>
              <a:gd name="connsiteX2020" fmla="*/ 12109867 w 12192528"/>
              <a:gd name="connsiteY2020" fmla="*/ 1008149 h 3912503"/>
              <a:gd name="connsiteX2021" fmla="*/ 12109050 w 12192528"/>
              <a:gd name="connsiteY2021" fmla="*/ 1015711 h 3912503"/>
              <a:gd name="connsiteX2022" fmla="*/ 12109254 w 12192528"/>
              <a:gd name="connsiteY2022" fmla="*/ 1018777 h 3912503"/>
              <a:gd name="connsiteX2023" fmla="*/ 12097189 w 12192528"/>
              <a:gd name="connsiteY2023" fmla="*/ 1032675 h 3912503"/>
              <a:gd name="connsiteX2024" fmla="*/ 12085738 w 12192528"/>
              <a:gd name="connsiteY2024" fmla="*/ 1039419 h 3912503"/>
              <a:gd name="connsiteX2025" fmla="*/ 12077151 w 12192528"/>
              <a:gd name="connsiteY2025" fmla="*/ 1050660 h 3912503"/>
              <a:gd name="connsiteX2026" fmla="*/ 12078377 w 12192528"/>
              <a:gd name="connsiteY2026" fmla="*/ 1052908 h 3912503"/>
              <a:gd name="connsiteX2027" fmla="*/ 12090441 w 12192528"/>
              <a:gd name="connsiteY2027" fmla="*/ 1067214 h 3912503"/>
              <a:gd name="connsiteX2028" fmla="*/ 12092077 w 12192528"/>
              <a:gd name="connsiteY2028" fmla="*/ 1070484 h 3912503"/>
              <a:gd name="connsiteX2029" fmla="*/ 12093712 w 12192528"/>
              <a:gd name="connsiteY2029" fmla="*/ 1080704 h 3912503"/>
              <a:gd name="connsiteX2030" fmla="*/ 12096576 w 12192528"/>
              <a:gd name="connsiteY2030" fmla="*/ 1092558 h 3912503"/>
              <a:gd name="connsiteX2031" fmla="*/ 12096371 w 12192528"/>
              <a:gd name="connsiteY2031" fmla="*/ 1097462 h 3912503"/>
              <a:gd name="connsiteX2032" fmla="*/ 12085534 w 12192528"/>
              <a:gd name="connsiteY2032" fmla="*/ 1123828 h 3912503"/>
              <a:gd name="connsiteX2033" fmla="*/ 12083488 w 12192528"/>
              <a:gd name="connsiteY2033" fmla="*/ 1125462 h 3912503"/>
              <a:gd name="connsiteX2034" fmla="*/ 12071016 w 12192528"/>
              <a:gd name="connsiteY2034" fmla="*/ 1131390 h 3912503"/>
              <a:gd name="connsiteX2035" fmla="*/ 12065699 w 12192528"/>
              <a:gd name="connsiteY2035" fmla="*/ 1133024 h 3912503"/>
              <a:gd name="connsiteX2036" fmla="*/ 12056703 w 12192528"/>
              <a:gd name="connsiteY2036" fmla="*/ 1135069 h 3912503"/>
              <a:gd name="connsiteX2037" fmla="*/ 12049954 w 12192528"/>
              <a:gd name="connsiteY2037" fmla="*/ 1140995 h 3912503"/>
              <a:gd name="connsiteX2038" fmla="*/ 12046887 w 12192528"/>
              <a:gd name="connsiteY2038" fmla="*/ 1142094 h 3912503"/>
              <a:gd name="connsiteX2039" fmla="*/ 12045047 w 12192528"/>
              <a:gd name="connsiteY2039" fmla="*/ 1139361 h 3912503"/>
              <a:gd name="connsiteX2040" fmla="*/ 12044434 w 12192528"/>
              <a:gd name="connsiteY2040" fmla="*/ 1136907 h 3912503"/>
              <a:gd name="connsiteX2041" fmla="*/ 12042592 w 12192528"/>
              <a:gd name="connsiteY2041" fmla="*/ 1134046 h 3912503"/>
              <a:gd name="connsiteX2042" fmla="*/ 12039936 w 12192528"/>
              <a:gd name="connsiteY2042" fmla="*/ 1135885 h 3912503"/>
              <a:gd name="connsiteX2043" fmla="*/ 12033800 w 12192528"/>
              <a:gd name="connsiteY2043" fmla="*/ 1134864 h 3912503"/>
              <a:gd name="connsiteX2044" fmla="*/ 12032574 w 12192528"/>
              <a:gd name="connsiteY2044" fmla="*/ 1132206 h 3912503"/>
              <a:gd name="connsiteX2045" fmla="*/ 12028893 w 12192528"/>
              <a:gd name="connsiteY2045" fmla="*/ 1130776 h 3912503"/>
              <a:gd name="connsiteX2046" fmla="*/ 12027461 w 12192528"/>
              <a:gd name="connsiteY2046" fmla="*/ 1134251 h 3912503"/>
              <a:gd name="connsiteX2047" fmla="*/ 12027805 w 12192528"/>
              <a:gd name="connsiteY2047" fmla="*/ 1137341 h 3912503"/>
              <a:gd name="connsiteX2048" fmla="*/ 12011823 w 12192528"/>
              <a:gd name="connsiteY2048" fmla="*/ 1121447 h 3912503"/>
              <a:gd name="connsiteX2049" fmla="*/ 12012739 w 12192528"/>
              <a:gd name="connsiteY2049" fmla="*/ 1120149 h 3912503"/>
              <a:gd name="connsiteX2050" fmla="*/ 12010898 w 12192528"/>
              <a:gd name="connsiteY2050" fmla="*/ 1116266 h 3912503"/>
              <a:gd name="connsiteX2051" fmla="*/ 12007217 w 12192528"/>
              <a:gd name="connsiteY2051" fmla="*/ 1114630 h 3912503"/>
              <a:gd name="connsiteX2052" fmla="*/ 12004764 w 12192528"/>
              <a:gd name="connsiteY2052" fmla="*/ 1109725 h 3912503"/>
              <a:gd name="connsiteX2053" fmla="*/ 11996789 w 12192528"/>
              <a:gd name="connsiteY2053" fmla="*/ 1093988 h 3912503"/>
              <a:gd name="connsiteX2054" fmla="*/ 11993926 w 12192528"/>
              <a:gd name="connsiteY2054" fmla="*/ 1091740 h 3912503"/>
              <a:gd name="connsiteX2055" fmla="*/ 11997811 w 12192528"/>
              <a:gd name="connsiteY2055" fmla="*/ 1089287 h 3912503"/>
              <a:gd name="connsiteX2056" fmla="*/ 11998424 w 12192528"/>
              <a:gd name="connsiteY2056" fmla="*/ 1089287 h 3912503"/>
              <a:gd name="connsiteX2057" fmla="*/ 12002310 w 12192528"/>
              <a:gd name="connsiteY2057" fmla="*/ 1082338 h 3912503"/>
              <a:gd name="connsiteX2058" fmla="*/ 12002719 w 12192528"/>
              <a:gd name="connsiteY2058" fmla="*/ 1072733 h 3912503"/>
              <a:gd name="connsiteX2059" fmla="*/ 12006195 w 12192528"/>
              <a:gd name="connsiteY2059" fmla="*/ 1059244 h 3912503"/>
              <a:gd name="connsiteX2060" fmla="*/ 12009263 w 12192528"/>
              <a:gd name="connsiteY2060" fmla="*/ 1055565 h 3912503"/>
              <a:gd name="connsiteX2061" fmla="*/ 12017646 w 12192528"/>
              <a:gd name="connsiteY2061" fmla="*/ 1044938 h 3912503"/>
              <a:gd name="connsiteX2062" fmla="*/ 12022553 w 12192528"/>
              <a:gd name="connsiteY2062" fmla="*/ 1043098 h 3912503"/>
              <a:gd name="connsiteX2063" fmla="*/ 12042797 w 12192528"/>
              <a:gd name="connsiteY2063" fmla="*/ 1037171 h 3912503"/>
              <a:gd name="connsiteX2064" fmla="*/ 12042797 w 12192528"/>
              <a:gd name="connsiteY2064" fmla="*/ 1032675 h 3912503"/>
              <a:gd name="connsiteX2065" fmla="*/ 12037480 w 12192528"/>
              <a:gd name="connsiteY2065" fmla="*/ 1032061 h 3912503"/>
              <a:gd name="connsiteX2066" fmla="*/ 12033800 w 12192528"/>
              <a:gd name="connsiteY2066" fmla="*/ 1034515 h 3912503"/>
              <a:gd name="connsiteX2067" fmla="*/ 12030324 w 12192528"/>
              <a:gd name="connsiteY2067" fmla="*/ 1034922 h 3912503"/>
              <a:gd name="connsiteX2068" fmla="*/ 12030936 w 12192528"/>
              <a:gd name="connsiteY2068" fmla="*/ 1031244 h 3912503"/>
              <a:gd name="connsiteX2069" fmla="*/ 12033800 w 12192528"/>
              <a:gd name="connsiteY2069" fmla="*/ 1028587 h 3912503"/>
              <a:gd name="connsiteX2070" fmla="*/ 12034822 w 12192528"/>
              <a:gd name="connsiteY2070" fmla="*/ 1022252 h 3912503"/>
              <a:gd name="connsiteX2071" fmla="*/ 12029302 w 12192528"/>
              <a:gd name="connsiteY2071" fmla="*/ 1023477 h 3912503"/>
              <a:gd name="connsiteX2072" fmla="*/ 12025007 w 12192528"/>
              <a:gd name="connsiteY2072" fmla="*/ 1026952 h 3912503"/>
              <a:gd name="connsiteX2073" fmla="*/ 12020918 w 12192528"/>
              <a:gd name="connsiteY2073" fmla="*/ 1024295 h 3912503"/>
              <a:gd name="connsiteX2074" fmla="*/ 12025417 w 12192528"/>
              <a:gd name="connsiteY2074" fmla="*/ 1012645 h 3912503"/>
              <a:gd name="connsiteX2075" fmla="*/ 12025417 w 12192528"/>
              <a:gd name="connsiteY2075" fmla="*/ 1001405 h 3912503"/>
              <a:gd name="connsiteX2076" fmla="*/ 12021327 w 12192528"/>
              <a:gd name="connsiteY2076" fmla="*/ 996908 h 3912503"/>
              <a:gd name="connsiteX2077" fmla="*/ 12020099 w 12192528"/>
              <a:gd name="connsiteY2077" fmla="*/ 994661 h 3912503"/>
              <a:gd name="connsiteX2078" fmla="*/ 12022349 w 12192528"/>
              <a:gd name="connsiteY2078" fmla="*/ 993434 h 3912503"/>
              <a:gd name="connsiteX2079" fmla="*/ 12026643 w 12192528"/>
              <a:gd name="connsiteY2079" fmla="*/ 989346 h 3912503"/>
              <a:gd name="connsiteX2080" fmla="*/ 12031960 w 12192528"/>
              <a:gd name="connsiteY2080" fmla="*/ 980149 h 3912503"/>
              <a:gd name="connsiteX2081" fmla="*/ 12032165 w 12192528"/>
              <a:gd name="connsiteY2081" fmla="*/ 975245 h 3912503"/>
              <a:gd name="connsiteX2082" fmla="*/ 12030528 w 12192528"/>
              <a:gd name="connsiteY2082" fmla="*/ 971975 h 3912503"/>
              <a:gd name="connsiteX2083" fmla="*/ 12034004 w 12192528"/>
              <a:gd name="connsiteY2083" fmla="*/ 969726 h 3912503"/>
              <a:gd name="connsiteX2084" fmla="*/ 12036868 w 12192528"/>
              <a:gd name="connsiteY2084" fmla="*/ 969317 h 3912503"/>
              <a:gd name="connsiteX2085" fmla="*/ 12040344 w 12192528"/>
              <a:gd name="connsiteY2085" fmla="*/ 960937 h 3912503"/>
              <a:gd name="connsiteX2086" fmla="*/ 12039322 w 12192528"/>
              <a:gd name="connsiteY2086" fmla="*/ 959303 h 3912503"/>
              <a:gd name="connsiteX2087" fmla="*/ 12039525 w 12192528"/>
              <a:gd name="connsiteY2087" fmla="*/ 955624 h 3912503"/>
              <a:gd name="connsiteX2088" fmla="*/ 12042797 w 12192528"/>
              <a:gd name="connsiteY2088" fmla="*/ 956442 h 3912503"/>
              <a:gd name="connsiteX2089" fmla="*/ 12044842 w 12192528"/>
              <a:gd name="connsiteY2089" fmla="*/ 959099 h 3912503"/>
              <a:gd name="connsiteX2090" fmla="*/ 12048931 w 12192528"/>
              <a:gd name="connsiteY2090" fmla="*/ 959712 h 3912503"/>
              <a:gd name="connsiteX2091" fmla="*/ 12061405 w 12192528"/>
              <a:gd name="connsiteY2091" fmla="*/ 956442 h 3912503"/>
              <a:gd name="connsiteX2092" fmla="*/ 12076946 w 12192528"/>
              <a:gd name="connsiteY2092" fmla="*/ 955420 h 3912503"/>
              <a:gd name="connsiteX2093" fmla="*/ 2111583 w 12192528"/>
              <a:gd name="connsiteY2093" fmla="*/ 948085 h 3912503"/>
              <a:gd name="connsiteX2094" fmla="*/ 2124333 w 12192528"/>
              <a:gd name="connsiteY2094" fmla="*/ 948423 h 3912503"/>
              <a:gd name="connsiteX2095" fmla="*/ 2136697 w 12192528"/>
              <a:gd name="connsiteY2095" fmla="*/ 948809 h 3912503"/>
              <a:gd name="connsiteX2096" fmla="*/ 2156016 w 12192528"/>
              <a:gd name="connsiteY2096" fmla="*/ 963857 h 3912503"/>
              <a:gd name="connsiteX2097" fmla="*/ 2157175 w 12192528"/>
              <a:gd name="connsiteY2097" fmla="*/ 973119 h 3912503"/>
              <a:gd name="connsiteX2098" fmla="*/ 2157561 w 12192528"/>
              <a:gd name="connsiteY2098" fmla="*/ 976977 h 3912503"/>
              <a:gd name="connsiteX2099" fmla="*/ 2159492 w 12192528"/>
              <a:gd name="connsiteY2099" fmla="*/ 987396 h 3912503"/>
              <a:gd name="connsiteX2100" fmla="*/ 2160652 w 12192528"/>
              <a:gd name="connsiteY2100" fmla="*/ 992413 h 3912503"/>
              <a:gd name="connsiteX2101" fmla="*/ 2160265 w 12192528"/>
              <a:gd name="connsiteY2101" fmla="*/ 998973 h 3912503"/>
              <a:gd name="connsiteX2102" fmla="*/ 2157561 w 12192528"/>
              <a:gd name="connsiteY2102" fmla="*/ 1005533 h 3912503"/>
              <a:gd name="connsiteX2103" fmla="*/ 2149061 w 12192528"/>
              <a:gd name="connsiteY2103" fmla="*/ 1021354 h 3912503"/>
              <a:gd name="connsiteX2104" fmla="*/ 2121628 w 12192528"/>
              <a:gd name="connsiteY2104" fmla="*/ 1038718 h 3912503"/>
              <a:gd name="connsiteX2105" fmla="*/ 2118924 w 12192528"/>
              <a:gd name="connsiteY2105" fmla="*/ 1037946 h 3912503"/>
              <a:gd name="connsiteX2106" fmla="*/ 2106560 w 12192528"/>
              <a:gd name="connsiteY2106" fmla="*/ 1036402 h 3912503"/>
              <a:gd name="connsiteX2107" fmla="*/ 2103469 w 12192528"/>
              <a:gd name="connsiteY2107" fmla="*/ 1034859 h 3912503"/>
              <a:gd name="connsiteX2108" fmla="*/ 2094582 w 12192528"/>
              <a:gd name="connsiteY2108" fmla="*/ 1032158 h 3912503"/>
              <a:gd name="connsiteX2109" fmla="*/ 2089946 w 12192528"/>
              <a:gd name="connsiteY2109" fmla="*/ 1030229 h 3912503"/>
              <a:gd name="connsiteX2110" fmla="*/ 2087241 w 12192528"/>
              <a:gd name="connsiteY2110" fmla="*/ 1024826 h 3912503"/>
              <a:gd name="connsiteX2111" fmla="*/ 2076810 w 12192528"/>
              <a:gd name="connsiteY2111" fmla="*/ 1010934 h 3912503"/>
              <a:gd name="connsiteX2112" fmla="*/ 2072173 w 12192528"/>
              <a:gd name="connsiteY2112" fmla="*/ 1001673 h 3912503"/>
              <a:gd name="connsiteX2113" fmla="*/ 2072173 w 12192528"/>
              <a:gd name="connsiteY2113" fmla="*/ 997044 h 3912503"/>
              <a:gd name="connsiteX2114" fmla="*/ 2076037 w 12192528"/>
              <a:gd name="connsiteY2114" fmla="*/ 986625 h 3912503"/>
              <a:gd name="connsiteX2115" fmla="*/ 2081446 w 12192528"/>
              <a:gd name="connsiteY2115" fmla="*/ 969646 h 3912503"/>
              <a:gd name="connsiteX2116" fmla="*/ 2086082 w 12192528"/>
              <a:gd name="connsiteY2116" fmla="*/ 963472 h 3912503"/>
              <a:gd name="connsiteX2117" fmla="*/ 2093423 w 12192528"/>
              <a:gd name="connsiteY2117" fmla="*/ 957298 h 3912503"/>
              <a:gd name="connsiteX2118" fmla="*/ 2099992 w 12192528"/>
              <a:gd name="connsiteY2118" fmla="*/ 953825 h 3912503"/>
              <a:gd name="connsiteX2119" fmla="*/ 2111583 w 12192528"/>
              <a:gd name="connsiteY2119" fmla="*/ 948085 h 3912503"/>
              <a:gd name="connsiteX2120" fmla="*/ 393648 w 12192528"/>
              <a:gd name="connsiteY2120" fmla="*/ 941854 h 3912503"/>
              <a:gd name="connsiteX2121" fmla="*/ 399461 w 12192528"/>
              <a:gd name="connsiteY2121" fmla="*/ 943292 h 3912503"/>
              <a:gd name="connsiteX2122" fmla="*/ 420035 w 12192528"/>
              <a:gd name="connsiteY2122" fmla="*/ 959319 h 3912503"/>
              <a:gd name="connsiteX2123" fmla="*/ 421270 w 12192528"/>
              <a:gd name="connsiteY2123" fmla="*/ 969183 h 3912503"/>
              <a:gd name="connsiteX2124" fmla="*/ 421681 w 12192528"/>
              <a:gd name="connsiteY2124" fmla="*/ 973291 h 3912503"/>
              <a:gd name="connsiteX2125" fmla="*/ 423737 w 12192528"/>
              <a:gd name="connsiteY2125" fmla="*/ 984386 h 3912503"/>
              <a:gd name="connsiteX2126" fmla="*/ 424972 w 12192528"/>
              <a:gd name="connsiteY2126" fmla="*/ 989729 h 3912503"/>
              <a:gd name="connsiteX2127" fmla="*/ 424560 w 12192528"/>
              <a:gd name="connsiteY2127" fmla="*/ 996716 h 3912503"/>
              <a:gd name="connsiteX2128" fmla="*/ 421681 w 12192528"/>
              <a:gd name="connsiteY2128" fmla="*/ 1003702 h 3912503"/>
              <a:gd name="connsiteX2129" fmla="*/ 412628 w 12192528"/>
              <a:gd name="connsiteY2129" fmla="*/ 1020552 h 3912503"/>
              <a:gd name="connsiteX2130" fmla="*/ 383413 w 12192528"/>
              <a:gd name="connsiteY2130" fmla="*/ 1039043 h 3912503"/>
              <a:gd name="connsiteX2131" fmla="*/ 380533 w 12192528"/>
              <a:gd name="connsiteY2131" fmla="*/ 1038222 h 3912503"/>
              <a:gd name="connsiteX2132" fmla="*/ 367366 w 12192528"/>
              <a:gd name="connsiteY2132" fmla="*/ 1036577 h 3912503"/>
              <a:gd name="connsiteX2133" fmla="*/ 364074 w 12192528"/>
              <a:gd name="connsiteY2133" fmla="*/ 1034933 h 3912503"/>
              <a:gd name="connsiteX2134" fmla="*/ 354610 w 12192528"/>
              <a:gd name="connsiteY2134" fmla="*/ 1032058 h 3912503"/>
              <a:gd name="connsiteX2135" fmla="*/ 349672 w 12192528"/>
              <a:gd name="connsiteY2135" fmla="*/ 1030002 h 3912503"/>
              <a:gd name="connsiteX2136" fmla="*/ 346792 w 12192528"/>
              <a:gd name="connsiteY2136" fmla="*/ 1024249 h 3912503"/>
              <a:gd name="connsiteX2137" fmla="*/ 335683 w 12192528"/>
              <a:gd name="connsiteY2137" fmla="*/ 1009455 h 3912503"/>
              <a:gd name="connsiteX2138" fmla="*/ 330745 w 12192528"/>
              <a:gd name="connsiteY2138" fmla="*/ 999592 h 3912503"/>
              <a:gd name="connsiteX2139" fmla="*/ 330745 w 12192528"/>
              <a:gd name="connsiteY2139" fmla="*/ 994661 h 3912503"/>
              <a:gd name="connsiteX2140" fmla="*/ 334860 w 12192528"/>
              <a:gd name="connsiteY2140" fmla="*/ 983566 h 3912503"/>
              <a:gd name="connsiteX2141" fmla="*/ 340620 w 12192528"/>
              <a:gd name="connsiteY2141" fmla="*/ 965484 h 3912503"/>
              <a:gd name="connsiteX2142" fmla="*/ 345557 w 12192528"/>
              <a:gd name="connsiteY2142" fmla="*/ 958909 h 3912503"/>
              <a:gd name="connsiteX2143" fmla="*/ 353376 w 12192528"/>
              <a:gd name="connsiteY2143" fmla="*/ 952333 h 3912503"/>
              <a:gd name="connsiteX2144" fmla="*/ 360371 w 12192528"/>
              <a:gd name="connsiteY2144" fmla="*/ 948634 h 3912503"/>
              <a:gd name="connsiteX2145" fmla="*/ 372715 w 12192528"/>
              <a:gd name="connsiteY2145" fmla="*/ 942521 h 3912503"/>
              <a:gd name="connsiteX2146" fmla="*/ 386294 w 12192528"/>
              <a:gd name="connsiteY2146" fmla="*/ 942881 h 3912503"/>
              <a:gd name="connsiteX2147" fmla="*/ 393648 w 12192528"/>
              <a:gd name="connsiteY2147" fmla="*/ 941854 h 3912503"/>
              <a:gd name="connsiteX2148" fmla="*/ 9365385 w 12192528"/>
              <a:gd name="connsiteY2148" fmla="*/ 936777 h 3912503"/>
              <a:gd name="connsiteX2149" fmla="*/ 9381236 w 12192528"/>
              <a:gd name="connsiteY2149" fmla="*/ 939927 h 3912503"/>
              <a:gd name="connsiteX2150" fmla="*/ 9381824 w 12192528"/>
              <a:gd name="connsiteY2150" fmla="*/ 939901 h 3912503"/>
              <a:gd name="connsiteX2151" fmla="*/ 9387862 w 12192528"/>
              <a:gd name="connsiteY2151" fmla="*/ 940236 h 3912503"/>
              <a:gd name="connsiteX2152" fmla="*/ 9387435 w 12192528"/>
              <a:gd name="connsiteY2152" fmla="*/ 938477 h 3912503"/>
              <a:gd name="connsiteX2153" fmla="*/ 9222336 w 12192528"/>
              <a:gd name="connsiteY2153" fmla="*/ 925048 h 3912503"/>
              <a:gd name="connsiteX2154" fmla="*/ 9099659 w 12192528"/>
              <a:gd name="connsiteY2154" fmla="*/ 933486 h 3912503"/>
              <a:gd name="connsiteX2155" fmla="*/ 9016083 w 12192528"/>
              <a:gd name="connsiteY2155" fmla="*/ 938199 h 3912503"/>
              <a:gd name="connsiteX2156" fmla="*/ 8913666 w 12192528"/>
              <a:gd name="connsiteY2156" fmla="*/ 940063 h 3912503"/>
              <a:gd name="connsiteX2157" fmla="*/ 8811247 w 12192528"/>
              <a:gd name="connsiteY2157" fmla="*/ 941928 h 3912503"/>
              <a:gd name="connsiteX2158" fmla="*/ 8772140 w 12192528"/>
              <a:gd name="connsiteY2158" fmla="*/ 945654 h 3912503"/>
              <a:gd name="connsiteX2159" fmla="*/ 8708721 w 12192528"/>
              <a:gd name="connsiteY2159" fmla="*/ 957265 h 3912503"/>
              <a:gd name="connsiteX2160" fmla="*/ 8692508 w 12192528"/>
              <a:gd name="connsiteY2160" fmla="*/ 962525 h 3912503"/>
              <a:gd name="connsiteX2161" fmla="*/ 8623717 w 12192528"/>
              <a:gd name="connsiteY2161" fmla="*/ 971397 h 3912503"/>
              <a:gd name="connsiteX2162" fmla="*/ 8619664 w 12192528"/>
              <a:gd name="connsiteY2162" fmla="*/ 972712 h 3912503"/>
              <a:gd name="connsiteX2163" fmla="*/ 8618350 w 12192528"/>
              <a:gd name="connsiteY2163" fmla="*/ 968660 h 3912503"/>
              <a:gd name="connsiteX2164" fmla="*/ 8610245 w 12192528"/>
              <a:gd name="connsiteY2164" fmla="*/ 971289 h 3912503"/>
              <a:gd name="connsiteX2165" fmla="*/ 8611559 w 12192528"/>
              <a:gd name="connsiteY2165" fmla="*/ 975342 h 3912503"/>
              <a:gd name="connsiteX2166" fmla="*/ 8615612 w 12192528"/>
              <a:gd name="connsiteY2166" fmla="*/ 974027 h 3912503"/>
              <a:gd name="connsiteX2167" fmla="*/ 8596662 w 12192528"/>
              <a:gd name="connsiteY2167" fmla="*/ 984653 h 3912503"/>
              <a:gd name="connsiteX2168" fmla="*/ 8383293 w 12192528"/>
              <a:gd name="connsiteY2168" fmla="*/ 1044904 h 3912503"/>
              <a:gd name="connsiteX2169" fmla="*/ 8303549 w 12192528"/>
              <a:gd name="connsiteY2169" fmla="*/ 1075246 h 3912503"/>
              <a:gd name="connsiteX2170" fmla="*/ 8171009 w 12192528"/>
              <a:gd name="connsiteY2170" fmla="*/ 1136153 h 3912503"/>
              <a:gd name="connsiteX2171" fmla="*/ 8037045 w 12192528"/>
              <a:gd name="connsiteY2171" fmla="*/ 1206479 h 3912503"/>
              <a:gd name="connsiteX2172" fmla="*/ 7957190 w 12192528"/>
              <a:gd name="connsiteY2172" fmla="*/ 1250296 h 3912503"/>
              <a:gd name="connsiteX2173" fmla="*/ 7930136 w 12192528"/>
              <a:gd name="connsiteY2173" fmla="*/ 1263551 h 3912503"/>
              <a:gd name="connsiteX2174" fmla="*/ 7878653 w 12192528"/>
              <a:gd name="connsiteY2174" fmla="*/ 1298165 h 3912503"/>
              <a:gd name="connsiteX2175" fmla="*/ 7877341 w 12192528"/>
              <a:gd name="connsiteY2175" fmla="*/ 1294113 h 3912503"/>
              <a:gd name="connsiteX2176" fmla="*/ 7873288 w 12192528"/>
              <a:gd name="connsiteY2176" fmla="*/ 1295428 h 3912503"/>
              <a:gd name="connsiteX2177" fmla="*/ 7865183 w 12192528"/>
              <a:gd name="connsiteY2177" fmla="*/ 1298057 h 3912503"/>
              <a:gd name="connsiteX2178" fmla="*/ 7862443 w 12192528"/>
              <a:gd name="connsiteY2178" fmla="*/ 1303424 h 3912503"/>
              <a:gd name="connsiteX2179" fmla="*/ 7853024 w 12192528"/>
              <a:gd name="connsiteY2179" fmla="*/ 1302000 h 3912503"/>
              <a:gd name="connsiteX2180" fmla="*/ 7855654 w 12192528"/>
              <a:gd name="connsiteY2180" fmla="*/ 1310106 h 3912503"/>
              <a:gd name="connsiteX2181" fmla="*/ 7851601 w 12192528"/>
              <a:gd name="connsiteY2181" fmla="*/ 1311421 h 3912503"/>
              <a:gd name="connsiteX2182" fmla="*/ 7844810 w 12192528"/>
              <a:gd name="connsiteY2182" fmla="*/ 1318103 h 3912503"/>
              <a:gd name="connsiteX2183" fmla="*/ 7854228 w 12192528"/>
              <a:gd name="connsiteY2183" fmla="*/ 1319525 h 3912503"/>
              <a:gd name="connsiteX2184" fmla="*/ 7852915 w 12192528"/>
              <a:gd name="connsiteY2184" fmla="*/ 1315473 h 3912503"/>
              <a:gd name="connsiteX2185" fmla="*/ 7858281 w 12192528"/>
              <a:gd name="connsiteY2185" fmla="*/ 1318211 h 3912503"/>
              <a:gd name="connsiteX2186" fmla="*/ 7767479 w 12192528"/>
              <a:gd name="connsiteY2186" fmla="*/ 1383498 h 3912503"/>
              <a:gd name="connsiteX2187" fmla="*/ 7631870 w 12192528"/>
              <a:gd name="connsiteY2187" fmla="*/ 1490192 h 3912503"/>
              <a:gd name="connsiteX2188" fmla="*/ 7630557 w 12192528"/>
              <a:gd name="connsiteY2188" fmla="*/ 1486138 h 3912503"/>
              <a:gd name="connsiteX2189" fmla="*/ 7634610 w 12192528"/>
              <a:gd name="connsiteY2189" fmla="*/ 1484824 h 3912503"/>
              <a:gd name="connsiteX2190" fmla="*/ 7636032 w 12192528"/>
              <a:gd name="connsiteY2190" fmla="*/ 1475403 h 3912503"/>
              <a:gd name="connsiteX2191" fmla="*/ 7629243 w 12192528"/>
              <a:gd name="connsiteY2191" fmla="*/ 1482084 h 3912503"/>
              <a:gd name="connsiteX2192" fmla="*/ 7622452 w 12192528"/>
              <a:gd name="connsiteY2192" fmla="*/ 1488767 h 3912503"/>
              <a:gd name="connsiteX2193" fmla="*/ 7608977 w 12192528"/>
              <a:gd name="connsiteY2193" fmla="*/ 1488657 h 3912503"/>
              <a:gd name="connsiteX2194" fmla="*/ 7611633 w 12192528"/>
              <a:gd name="connsiteY2194" fmla="*/ 1493396 h 3912503"/>
              <a:gd name="connsiteX2195" fmla="*/ 7613886 w 12192528"/>
              <a:gd name="connsiteY2195" fmla="*/ 1492291 h 3912503"/>
              <a:gd name="connsiteX2196" fmla="*/ 7608866 w 12192528"/>
              <a:gd name="connsiteY2196" fmla="*/ 1502131 h 3912503"/>
              <a:gd name="connsiteX2197" fmla="*/ 7621024 w 12192528"/>
              <a:gd name="connsiteY2197" fmla="*/ 1498186 h 3912503"/>
              <a:gd name="connsiteX2198" fmla="*/ 7589697 w 12192528"/>
              <a:gd name="connsiteY2198" fmla="*/ 1539702 h 3912503"/>
              <a:gd name="connsiteX2199" fmla="*/ 7584329 w 12192528"/>
              <a:gd name="connsiteY2199" fmla="*/ 1536965 h 3912503"/>
              <a:gd name="connsiteX2200" fmla="*/ 7542158 w 12192528"/>
              <a:gd name="connsiteY2200" fmla="*/ 1586476 h 3912503"/>
              <a:gd name="connsiteX2201" fmla="*/ 7544896 w 12192528"/>
              <a:gd name="connsiteY2201" fmla="*/ 1581109 h 3912503"/>
              <a:gd name="connsiteX2202" fmla="*/ 7493304 w 12192528"/>
              <a:gd name="connsiteY2202" fmla="*/ 1629197 h 3912503"/>
              <a:gd name="connsiteX2203" fmla="*/ 7490567 w 12192528"/>
              <a:gd name="connsiteY2203" fmla="*/ 1634564 h 3912503"/>
              <a:gd name="connsiteX2204" fmla="*/ 7506779 w 12192528"/>
              <a:gd name="connsiteY2204" fmla="*/ 1629306 h 3912503"/>
              <a:gd name="connsiteX2205" fmla="*/ 7474140 w 12192528"/>
              <a:gd name="connsiteY2205" fmla="*/ 1666768 h 3912503"/>
              <a:gd name="connsiteX2206" fmla="*/ 7464718 w 12192528"/>
              <a:gd name="connsiteY2206" fmla="*/ 1665345 h 3912503"/>
              <a:gd name="connsiteX2207" fmla="*/ 7460559 w 12192528"/>
              <a:gd name="connsiteY2207" fmla="*/ 1680132 h 3912503"/>
              <a:gd name="connsiteX2208" fmla="*/ 7457818 w 12192528"/>
              <a:gd name="connsiteY2208" fmla="*/ 1685500 h 3912503"/>
              <a:gd name="connsiteX2209" fmla="*/ 7452343 w 12192528"/>
              <a:gd name="connsiteY2209" fmla="*/ 1696235 h 3912503"/>
              <a:gd name="connsiteX2210" fmla="*/ 7460448 w 12192528"/>
              <a:gd name="connsiteY2210" fmla="*/ 1693606 h 3912503"/>
              <a:gd name="connsiteX2211" fmla="*/ 7464501 w 12192528"/>
              <a:gd name="connsiteY2211" fmla="*/ 1692291 h 3912503"/>
              <a:gd name="connsiteX2212" fmla="*/ 7395059 w 12192528"/>
              <a:gd name="connsiteY2212" fmla="*/ 1782003 h 3912503"/>
              <a:gd name="connsiteX2213" fmla="*/ 7365262 w 12192528"/>
              <a:gd name="connsiteY2213" fmla="*/ 1800626 h 3912503"/>
              <a:gd name="connsiteX2214" fmla="*/ 7363946 w 12192528"/>
              <a:gd name="connsiteY2214" fmla="*/ 1796573 h 3912503"/>
              <a:gd name="connsiteX2215" fmla="*/ 7359893 w 12192528"/>
              <a:gd name="connsiteY2215" fmla="*/ 1797888 h 3912503"/>
              <a:gd name="connsiteX2216" fmla="*/ 7354417 w 12192528"/>
              <a:gd name="connsiteY2216" fmla="*/ 1808623 h 3912503"/>
              <a:gd name="connsiteX2217" fmla="*/ 7351676 w 12192528"/>
              <a:gd name="connsiteY2217" fmla="*/ 1813990 h 3912503"/>
              <a:gd name="connsiteX2218" fmla="*/ 7351569 w 12192528"/>
              <a:gd name="connsiteY2218" fmla="*/ 1827464 h 3912503"/>
              <a:gd name="connsiteX2219" fmla="*/ 7339300 w 12192528"/>
              <a:gd name="connsiteY2219" fmla="*/ 1844880 h 3912503"/>
              <a:gd name="connsiteX2220" fmla="*/ 7359677 w 12192528"/>
              <a:gd name="connsiteY2220" fmla="*/ 1824834 h 3912503"/>
              <a:gd name="connsiteX2221" fmla="*/ 7357043 w 12192528"/>
              <a:gd name="connsiteY2221" fmla="*/ 1816728 h 3912503"/>
              <a:gd name="connsiteX2222" fmla="*/ 7359784 w 12192528"/>
              <a:gd name="connsiteY2222" fmla="*/ 1811361 h 3912503"/>
              <a:gd name="connsiteX2223" fmla="*/ 7363836 w 12192528"/>
              <a:gd name="connsiteY2223" fmla="*/ 1810046 h 3912503"/>
              <a:gd name="connsiteX2224" fmla="*/ 7365262 w 12192528"/>
              <a:gd name="connsiteY2224" fmla="*/ 1800626 h 3912503"/>
              <a:gd name="connsiteX2225" fmla="*/ 7430329 w 12192528"/>
              <a:gd name="connsiteY2225" fmla="*/ 1752647 h 3912503"/>
              <a:gd name="connsiteX2226" fmla="*/ 7438434 w 12192528"/>
              <a:gd name="connsiteY2226" fmla="*/ 1750017 h 3912503"/>
              <a:gd name="connsiteX2227" fmla="*/ 7439749 w 12192528"/>
              <a:gd name="connsiteY2227" fmla="*/ 1754071 h 3912503"/>
              <a:gd name="connsiteX2228" fmla="*/ 7442487 w 12192528"/>
              <a:gd name="connsiteY2228" fmla="*/ 1748703 h 3912503"/>
              <a:gd name="connsiteX2229" fmla="*/ 7446539 w 12192528"/>
              <a:gd name="connsiteY2229" fmla="*/ 1747388 h 3912503"/>
              <a:gd name="connsiteX2230" fmla="*/ 7423480 w 12192528"/>
              <a:gd name="connsiteY2230" fmla="*/ 1786783 h 3912503"/>
              <a:gd name="connsiteX2231" fmla="*/ 7388777 w 12192528"/>
              <a:gd name="connsiteY2231" fmla="*/ 1817888 h 3912503"/>
              <a:gd name="connsiteX2232" fmla="*/ 7388045 w 12192528"/>
              <a:gd name="connsiteY2232" fmla="*/ 1815632 h 3912503"/>
              <a:gd name="connsiteX2233" fmla="*/ 7385312 w 12192528"/>
              <a:gd name="connsiteY2233" fmla="*/ 1821000 h 3912503"/>
              <a:gd name="connsiteX2234" fmla="*/ 7371723 w 12192528"/>
              <a:gd name="connsiteY2234" fmla="*/ 1834363 h 3912503"/>
              <a:gd name="connsiteX2235" fmla="*/ 7374461 w 12192528"/>
              <a:gd name="connsiteY2235" fmla="*/ 1828995 h 3912503"/>
              <a:gd name="connsiteX2236" fmla="*/ 7370409 w 12192528"/>
              <a:gd name="connsiteY2236" fmla="*/ 1830310 h 3912503"/>
              <a:gd name="connsiteX2237" fmla="*/ 7367670 w 12192528"/>
              <a:gd name="connsiteY2237" fmla="*/ 1835678 h 3912503"/>
              <a:gd name="connsiteX2238" fmla="*/ 7337999 w 12192528"/>
              <a:gd name="connsiteY2238" fmla="*/ 1859858 h 3912503"/>
              <a:gd name="connsiteX2239" fmla="*/ 7316293 w 12192528"/>
              <a:gd name="connsiteY2239" fmla="*/ 1885631 h 3912503"/>
              <a:gd name="connsiteX2240" fmla="*/ 7359341 w 12192528"/>
              <a:gd name="connsiteY2240" fmla="*/ 1957756 h 3912503"/>
              <a:gd name="connsiteX2241" fmla="*/ 7389584 w 12192528"/>
              <a:gd name="connsiteY2241" fmla="*/ 1917036 h 3912503"/>
              <a:gd name="connsiteX2242" fmla="*/ 7440297 w 12192528"/>
              <a:gd name="connsiteY2242" fmla="*/ 1852435 h 3912503"/>
              <a:gd name="connsiteX2243" fmla="*/ 7462093 w 12192528"/>
              <a:gd name="connsiteY2243" fmla="*/ 1822969 h 3912503"/>
              <a:gd name="connsiteX2244" fmla="*/ 7497472 w 12192528"/>
              <a:gd name="connsiteY2244" fmla="*/ 1780139 h 3912503"/>
              <a:gd name="connsiteX2245" fmla="*/ 7631981 w 12192528"/>
              <a:gd name="connsiteY2245" fmla="*/ 1642447 h 3912503"/>
              <a:gd name="connsiteX2246" fmla="*/ 7671417 w 12192528"/>
              <a:gd name="connsiteY2246" fmla="*/ 1598303 h 3912503"/>
              <a:gd name="connsiteX2247" fmla="*/ 7679522 w 12192528"/>
              <a:gd name="connsiteY2247" fmla="*/ 1595674 h 3912503"/>
              <a:gd name="connsiteX2248" fmla="*/ 7712055 w 12192528"/>
              <a:gd name="connsiteY2248" fmla="*/ 1571684 h 3912503"/>
              <a:gd name="connsiteX2249" fmla="*/ 7735169 w 12192528"/>
              <a:gd name="connsiteY2249" fmla="*/ 1546272 h 3912503"/>
              <a:gd name="connsiteX2250" fmla="*/ 7816553 w 12192528"/>
              <a:gd name="connsiteY2250" fmla="*/ 1479561 h 3912503"/>
              <a:gd name="connsiteX2251" fmla="*/ 7862667 w 12192528"/>
              <a:gd name="connsiteY2251" fmla="*/ 1442208 h 3912503"/>
              <a:gd name="connsiteX2252" fmla="*/ 7933097 w 12192528"/>
              <a:gd name="connsiteY2252" fmla="*/ 1396968 h 3912503"/>
              <a:gd name="connsiteX2253" fmla="*/ 7942629 w 12192528"/>
              <a:gd name="connsiteY2253" fmla="*/ 1384918 h 3912503"/>
              <a:gd name="connsiteX2254" fmla="*/ 7972422 w 12192528"/>
              <a:gd name="connsiteY2254" fmla="*/ 1366296 h 3912503"/>
              <a:gd name="connsiteX2255" fmla="*/ 8015686 w 12192528"/>
              <a:gd name="connsiteY2255" fmla="*/ 1347783 h 3912503"/>
              <a:gd name="connsiteX2256" fmla="*/ 8018537 w 12192528"/>
              <a:gd name="connsiteY2256" fmla="*/ 1328942 h 3912503"/>
              <a:gd name="connsiteX2257" fmla="*/ 8036172 w 12192528"/>
              <a:gd name="connsiteY2257" fmla="*/ 1314265 h 3912503"/>
              <a:gd name="connsiteX2258" fmla="*/ 8128179 w 12192528"/>
              <a:gd name="connsiteY2258" fmla="*/ 1266503 h 3912503"/>
              <a:gd name="connsiteX2259" fmla="*/ 8145707 w 12192528"/>
              <a:gd name="connsiteY2259" fmla="*/ 1265298 h 3912503"/>
              <a:gd name="connsiteX2260" fmla="*/ 8155237 w 12192528"/>
              <a:gd name="connsiteY2260" fmla="*/ 1253248 h 3912503"/>
              <a:gd name="connsiteX2261" fmla="*/ 8159290 w 12192528"/>
              <a:gd name="connsiteY2261" fmla="*/ 1251933 h 3912503"/>
              <a:gd name="connsiteX2262" fmla="*/ 8256670 w 12192528"/>
              <a:gd name="connsiteY2262" fmla="*/ 1206912 h 3912503"/>
              <a:gd name="connsiteX2263" fmla="*/ 8257984 w 12192528"/>
              <a:gd name="connsiteY2263" fmla="*/ 1210965 h 3912503"/>
              <a:gd name="connsiteX2264" fmla="*/ 8278249 w 12192528"/>
              <a:gd name="connsiteY2264" fmla="*/ 1204393 h 3912503"/>
              <a:gd name="connsiteX2265" fmla="*/ 8299937 w 12192528"/>
              <a:gd name="connsiteY2265" fmla="*/ 1188400 h 3912503"/>
              <a:gd name="connsiteX2266" fmla="*/ 8314723 w 12192528"/>
              <a:gd name="connsiteY2266" fmla="*/ 1192562 h 3912503"/>
              <a:gd name="connsiteX2267" fmla="*/ 8366098 w 12192528"/>
              <a:gd name="connsiteY2267" fmla="*/ 1171418 h 3912503"/>
              <a:gd name="connsiteX2268" fmla="*/ 8403996 w 12192528"/>
              <a:gd name="connsiteY2268" fmla="*/ 1150168 h 3912503"/>
              <a:gd name="connsiteX2269" fmla="*/ 8409362 w 12192528"/>
              <a:gd name="connsiteY2269" fmla="*/ 1152907 h 3912503"/>
              <a:gd name="connsiteX2270" fmla="*/ 8472895 w 12192528"/>
              <a:gd name="connsiteY2270" fmla="*/ 1127821 h 3912503"/>
              <a:gd name="connsiteX2271" fmla="*/ 8480896 w 12192528"/>
              <a:gd name="connsiteY2271" fmla="*/ 1125227 h 3912503"/>
              <a:gd name="connsiteX2272" fmla="*/ 8523648 w 12192528"/>
              <a:gd name="connsiteY2272" fmla="*/ 1109160 h 3912503"/>
              <a:gd name="connsiteX2273" fmla="*/ 8532365 w 12192528"/>
              <a:gd name="connsiteY2273" fmla="*/ 1104050 h 3912503"/>
              <a:gd name="connsiteX2274" fmla="*/ 8530202 w 12192528"/>
              <a:gd name="connsiteY2274" fmla="*/ 1106697 h 3912503"/>
              <a:gd name="connsiteX2275" fmla="*/ 8585206 w 12192528"/>
              <a:gd name="connsiteY2275" fmla="*/ 1086029 h 3912503"/>
              <a:gd name="connsiteX2276" fmla="*/ 8726041 w 12192528"/>
              <a:gd name="connsiteY2276" fmla="*/ 1043572 h 3912503"/>
              <a:gd name="connsiteX2277" fmla="*/ 8725860 w 12192528"/>
              <a:gd name="connsiteY2277" fmla="*/ 1043138 h 3912503"/>
              <a:gd name="connsiteX2278" fmla="*/ 8725594 w 12192528"/>
              <a:gd name="connsiteY2278" fmla="*/ 1038581 h 3912503"/>
              <a:gd name="connsiteX2279" fmla="*/ 8726398 w 12192528"/>
              <a:gd name="connsiteY2279" fmla="*/ 1035097 h 3912503"/>
              <a:gd name="connsiteX2280" fmla="*/ 8727741 w 12192528"/>
              <a:gd name="connsiteY2280" fmla="*/ 1027860 h 3912503"/>
              <a:gd name="connsiteX2281" fmla="*/ 8728010 w 12192528"/>
              <a:gd name="connsiteY2281" fmla="*/ 1025180 h 3912503"/>
              <a:gd name="connsiteX2282" fmla="*/ 8728814 w 12192528"/>
              <a:gd name="connsiteY2282" fmla="*/ 1018748 h 3912503"/>
              <a:gd name="connsiteX2283" fmla="*/ 8742234 w 12192528"/>
              <a:gd name="connsiteY2283" fmla="*/ 1008294 h 3912503"/>
              <a:gd name="connsiteX2284" fmla="*/ 8750820 w 12192528"/>
              <a:gd name="connsiteY2284" fmla="*/ 1008026 h 3912503"/>
              <a:gd name="connsiteX2285" fmla="*/ 8767728 w 12192528"/>
              <a:gd name="connsiteY2285" fmla="*/ 1011778 h 3912503"/>
              <a:gd name="connsiteX2286" fmla="*/ 8772290 w 12192528"/>
              <a:gd name="connsiteY2286" fmla="*/ 1014191 h 3912503"/>
              <a:gd name="connsiteX2287" fmla="*/ 8777390 w 12192528"/>
              <a:gd name="connsiteY2287" fmla="*/ 1018479 h 3912503"/>
              <a:gd name="connsiteX2288" fmla="*/ 8780610 w 12192528"/>
              <a:gd name="connsiteY2288" fmla="*/ 1022767 h 3912503"/>
              <a:gd name="connsiteX2289" fmla="*/ 8781875 w 12192528"/>
              <a:gd name="connsiteY2289" fmla="*/ 1026738 h 3912503"/>
              <a:gd name="connsiteX2290" fmla="*/ 8800367 w 12192528"/>
              <a:gd name="connsiteY2290" fmla="*/ 1021164 h 3912503"/>
              <a:gd name="connsiteX2291" fmla="*/ 9022051 w 12192528"/>
              <a:gd name="connsiteY2291" fmla="*/ 972694 h 3912503"/>
              <a:gd name="connsiteX2292" fmla="*/ 9201839 w 12192528"/>
              <a:gd name="connsiteY2292" fmla="*/ 947956 h 3912503"/>
              <a:gd name="connsiteX2293" fmla="*/ 9249722 w 12192528"/>
              <a:gd name="connsiteY2293" fmla="*/ 945813 h 3912503"/>
              <a:gd name="connsiteX2294" fmla="*/ 9256912 w 12192528"/>
              <a:gd name="connsiteY2294" fmla="*/ 940922 h 3912503"/>
              <a:gd name="connsiteX2295" fmla="*/ 9268501 w 12192528"/>
              <a:gd name="connsiteY2295" fmla="*/ 941296 h 3912503"/>
              <a:gd name="connsiteX2296" fmla="*/ 9328310 w 12192528"/>
              <a:gd name="connsiteY2296" fmla="*/ 936808 h 3912503"/>
              <a:gd name="connsiteX2297" fmla="*/ 9351707 w 12192528"/>
              <a:gd name="connsiteY2297" fmla="*/ 935722 h 3912503"/>
              <a:gd name="connsiteX2298" fmla="*/ 9300098 w 12192528"/>
              <a:gd name="connsiteY2298" fmla="*/ 931742 h 3912503"/>
              <a:gd name="connsiteX2299" fmla="*/ 9222336 w 12192528"/>
              <a:gd name="connsiteY2299" fmla="*/ 925048 h 3912503"/>
              <a:gd name="connsiteX2300" fmla="*/ 11833298 w 12192528"/>
              <a:gd name="connsiteY2300" fmla="*/ 911134 h 3912503"/>
              <a:gd name="connsiteX2301" fmla="*/ 11845014 w 12192528"/>
              <a:gd name="connsiteY2301" fmla="*/ 922018 h 3912503"/>
              <a:gd name="connsiteX2302" fmla="*/ 11847356 w 12192528"/>
              <a:gd name="connsiteY2302" fmla="*/ 926294 h 3912503"/>
              <a:gd name="connsiteX2303" fmla="*/ 11854775 w 12192528"/>
              <a:gd name="connsiteY2303" fmla="*/ 935623 h 3912503"/>
              <a:gd name="connsiteX2304" fmla="*/ 11860632 w 12192528"/>
              <a:gd name="connsiteY2304" fmla="*/ 939122 h 3912503"/>
              <a:gd name="connsiteX2305" fmla="*/ 11866099 w 12192528"/>
              <a:gd name="connsiteY2305" fmla="*/ 954671 h 3912503"/>
              <a:gd name="connsiteX2306" fmla="*/ 11862585 w 12192528"/>
              <a:gd name="connsiteY2306" fmla="*/ 967887 h 3912503"/>
              <a:gd name="connsiteX2307" fmla="*/ 11851651 w 12192528"/>
              <a:gd name="connsiteY2307" fmla="*/ 976440 h 3912503"/>
              <a:gd name="connsiteX2308" fmla="*/ 11850481 w 12192528"/>
              <a:gd name="connsiteY2308" fmla="*/ 977994 h 3912503"/>
              <a:gd name="connsiteX2309" fmla="*/ 11842671 w 12192528"/>
              <a:gd name="connsiteY2309" fmla="*/ 977994 h 3912503"/>
              <a:gd name="connsiteX2310" fmla="*/ 11834081 w 12192528"/>
              <a:gd name="connsiteY2310" fmla="*/ 973718 h 3912503"/>
              <a:gd name="connsiteX2311" fmla="*/ 11828225 w 12192528"/>
              <a:gd name="connsiteY2311" fmla="*/ 966722 h 3912503"/>
              <a:gd name="connsiteX2312" fmla="*/ 11823927 w 12192528"/>
              <a:gd name="connsiteY2312" fmla="*/ 956226 h 3912503"/>
              <a:gd name="connsiteX2313" fmla="*/ 11818462 w 12192528"/>
              <a:gd name="connsiteY2313" fmla="*/ 946119 h 3912503"/>
              <a:gd name="connsiteX2314" fmla="*/ 11809871 w 12192528"/>
              <a:gd name="connsiteY2314" fmla="*/ 937567 h 3912503"/>
              <a:gd name="connsiteX2315" fmla="*/ 11809871 w 12192528"/>
              <a:gd name="connsiteY2315" fmla="*/ 923573 h 3912503"/>
              <a:gd name="connsiteX2316" fmla="*/ 11814557 w 12192528"/>
              <a:gd name="connsiteY2316" fmla="*/ 918131 h 3912503"/>
              <a:gd name="connsiteX2317" fmla="*/ 11823147 w 12192528"/>
              <a:gd name="connsiteY2317" fmla="*/ 912688 h 3912503"/>
              <a:gd name="connsiteX2318" fmla="*/ 11833298 w 12192528"/>
              <a:gd name="connsiteY2318" fmla="*/ 911134 h 3912503"/>
              <a:gd name="connsiteX2319" fmla="*/ 5160887 w 12192528"/>
              <a:gd name="connsiteY2319" fmla="*/ 886310 h 3912503"/>
              <a:gd name="connsiteX2320" fmla="*/ 5156475 w 12192528"/>
              <a:gd name="connsiteY2320" fmla="*/ 890724 h 3912503"/>
              <a:gd name="connsiteX2321" fmla="*/ 5032900 w 12192528"/>
              <a:gd name="connsiteY2321" fmla="*/ 890724 h 3912503"/>
              <a:gd name="connsiteX2322" fmla="*/ 4746036 w 12192528"/>
              <a:gd name="connsiteY2322" fmla="*/ 917204 h 3912503"/>
              <a:gd name="connsiteX2323" fmla="*/ 4290911 w 12192528"/>
              <a:gd name="connsiteY2323" fmla="*/ 1022573 h 3912503"/>
              <a:gd name="connsiteX2324" fmla="*/ 4168852 w 12192528"/>
              <a:gd name="connsiteY2324" fmla="*/ 1068909 h 3912503"/>
              <a:gd name="connsiteX2325" fmla="*/ 4169889 w 12192528"/>
              <a:gd name="connsiteY2325" fmla="*/ 1071705 h 3912503"/>
              <a:gd name="connsiteX2326" fmla="*/ 4169889 w 12192528"/>
              <a:gd name="connsiteY2326" fmla="*/ 1075807 h 3912503"/>
              <a:gd name="connsiteX2327" fmla="*/ 4416692 w 12192528"/>
              <a:gd name="connsiteY2327" fmla="*/ 997748 h 3912503"/>
              <a:gd name="connsiteX2328" fmla="*/ 5010835 w 12192528"/>
              <a:gd name="connsiteY2328" fmla="*/ 917204 h 3912503"/>
              <a:gd name="connsiteX2329" fmla="*/ 5010835 w 12192528"/>
              <a:gd name="connsiteY2329" fmla="*/ 926031 h 3912503"/>
              <a:gd name="connsiteX2330" fmla="*/ 4882850 w 12192528"/>
              <a:gd name="connsiteY2330" fmla="*/ 974578 h 3912503"/>
              <a:gd name="connsiteX2331" fmla="*/ 4900502 w 12192528"/>
              <a:gd name="connsiteY2331" fmla="*/ 978991 h 3912503"/>
              <a:gd name="connsiteX2332" fmla="*/ 4821063 w 12192528"/>
              <a:gd name="connsiteY2332" fmla="*/ 987818 h 3912503"/>
              <a:gd name="connsiteX2333" fmla="*/ 4763690 w 12192528"/>
              <a:gd name="connsiteY2333" fmla="*/ 1009885 h 3912503"/>
              <a:gd name="connsiteX2334" fmla="*/ 4807823 w 12192528"/>
              <a:gd name="connsiteY2334" fmla="*/ 1018712 h 3912503"/>
              <a:gd name="connsiteX2335" fmla="*/ 4803408 w 12192528"/>
              <a:gd name="connsiteY2335" fmla="*/ 1023125 h 3912503"/>
              <a:gd name="connsiteX2336" fmla="*/ 4798997 w 12192528"/>
              <a:gd name="connsiteY2336" fmla="*/ 1023125 h 3912503"/>
              <a:gd name="connsiteX2337" fmla="*/ 4794581 w 12192528"/>
              <a:gd name="connsiteY2337" fmla="*/ 1023125 h 3912503"/>
              <a:gd name="connsiteX2338" fmla="*/ 4785755 w 12192528"/>
              <a:gd name="connsiteY2338" fmla="*/ 1023125 h 3912503"/>
              <a:gd name="connsiteX2339" fmla="*/ 4790168 w 12192528"/>
              <a:gd name="connsiteY2339" fmla="*/ 1027537 h 3912503"/>
              <a:gd name="connsiteX2340" fmla="*/ 4794584 w 12192528"/>
              <a:gd name="connsiteY2340" fmla="*/ 1027537 h 3912503"/>
              <a:gd name="connsiteX2341" fmla="*/ 4798997 w 12192528"/>
              <a:gd name="connsiteY2341" fmla="*/ 1027537 h 3912503"/>
              <a:gd name="connsiteX2342" fmla="*/ 4812237 w 12192528"/>
              <a:gd name="connsiteY2342" fmla="*/ 1031951 h 3912503"/>
              <a:gd name="connsiteX2343" fmla="*/ 4816648 w 12192528"/>
              <a:gd name="connsiteY2343" fmla="*/ 1027537 h 3912503"/>
              <a:gd name="connsiteX2344" fmla="*/ 4812237 w 12192528"/>
              <a:gd name="connsiteY2344" fmla="*/ 1027537 h 3912503"/>
              <a:gd name="connsiteX2345" fmla="*/ 4807823 w 12192528"/>
              <a:gd name="connsiteY2345" fmla="*/ 1023125 h 3912503"/>
              <a:gd name="connsiteX2346" fmla="*/ 4821062 w 12192528"/>
              <a:gd name="connsiteY2346" fmla="*/ 1023125 h 3912503"/>
              <a:gd name="connsiteX2347" fmla="*/ 4825476 w 12192528"/>
              <a:gd name="connsiteY2347" fmla="*/ 1023125 h 3912503"/>
              <a:gd name="connsiteX2348" fmla="*/ 4860781 w 12192528"/>
              <a:gd name="connsiteY2348" fmla="*/ 1045192 h 3912503"/>
              <a:gd name="connsiteX2349" fmla="*/ 4807823 w 12192528"/>
              <a:gd name="connsiteY2349" fmla="*/ 1049604 h 3912503"/>
              <a:gd name="connsiteX2350" fmla="*/ 4825476 w 12192528"/>
              <a:gd name="connsiteY2350" fmla="*/ 1067257 h 3912503"/>
              <a:gd name="connsiteX2351" fmla="*/ 4719556 w 12192528"/>
              <a:gd name="connsiteY2351" fmla="*/ 1111391 h 3912503"/>
              <a:gd name="connsiteX2352" fmla="*/ 4715141 w 12192528"/>
              <a:gd name="connsiteY2352" fmla="*/ 1111391 h 3912503"/>
              <a:gd name="connsiteX2353" fmla="*/ 4706316 w 12192528"/>
              <a:gd name="connsiteY2353" fmla="*/ 1111391 h 3912503"/>
              <a:gd name="connsiteX2354" fmla="*/ 4701900 w 12192528"/>
              <a:gd name="connsiteY2354" fmla="*/ 1115804 h 3912503"/>
              <a:gd name="connsiteX2355" fmla="*/ 4653355 w 12192528"/>
              <a:gd name="connsiteY2355" fmla="*/ 1129045 h 3912503"/>
              <a:gd name="connsiteX2356" fmla="*/ 4635703 w 12192528"/>
              <a:gd name="connsiteY2356" fmla="*/ 1133457 h 3912503"/>
              <a:gd name="connsiteX2357" fmla="*/ 4631288 w 12192528"/>
              <a:gd name="connsiteY2357" fmla="*/ 1137871 h 3912503"/>
              <a:gd name="connsiteX2358" fmla="*/ 4626876 w 12192528"/>
              <a:gd name="connsiteY2358" fmla="*/ 1137871 h 3912503"/>
              <a:gd name="connsiteX2359" fmla="*/ 4626876 w 12192528"/>
              <a:gd name="connsiteY2359" fmla="*/ 1142285 h 3912503"/>
              <a:gd name="connsiteX2360" fmla="*/ 4622463 w 12192528"/>
              <a:gd name="connsiteY2360" fmla="*/ 1142285 h 3912503"/>
              <a:gd name="connsiteX2361" fmla="*/ 4604810 w 12192528"/>
              <a:gd name="connsiteY2361" fmla="*/ 1151112 h 3912503"/>
              <a:gd name="connsiteX2362" fmla="*/ 4618049 w 12192528"/>
              <a:gd name="connsiteY2362" fmla="*/ 1155525 h 3912503"/>
              <a:gd name="connsiteX2363" fmla="*/ 4609223 w 12192528"/>
              <a:gd name="connsiteY2363" fmla="*/ 1164351 h 3912503"/>
              <a:gd name="connsiteX2364" fmla="*/ 4569503 w 12192528"/>
              <a:gd name="connsiteY2364" fmla="*/ 1168764 h 3912503"/>
              <a:gd name="connsiteX2365" fmla="*/ 4463584 w 12192528"/>
              <a:gd name="connsiteY2365" fmla="*/ 1204071 h 3912503"/>
              <a:gd name="connsiteX2366" fmla="*/ 4437102 w 12192528"/>
              <a:gd name="connsiteY2366" fmla="*/ 1212897 h 3912503"/>
              <a:gd name="connsiteX2367" fmla="*/ 4348838 w 12192528"/>
              <a:gd name="connsiteY2367" fmla="*/ 1243791 h 3912503"/>
              <a:gd name="connsiteX2368" fmla="*/ 4335598 w 12192528"/>
              <a:gd name="connsiteY2368" fmla="*/ 1243791 h 3912503"/>
              <a:gd name="connsiteX2369" fmla="*/ 4326771 w 12192528"/>
              <a:gd name="connsiteY2369" fmla="*/ 1252618 h 3912503"/>
              <a:gd name="connsiteX2370" fmla="*/ 4322356 w 12192528"/>
              <a:gd name="connsiteY2370" fmla="*/ 1248203 h 3912503"/>
              <a:gd name="connsiteX2371" fmla="*/ 4260571 w 12192528"/>
              <a:gd name="connsiteY2371" fmla="*/ 1274684 h 3912503"/>
              <a:gd name="connsiteX2372" fmla="*/ 4260571 w 12192528"/>
              <a:gd name="connsiteY2372" fmla="*/ 1265858 h 3912503"/>
              <a:gd name="connsiteX2373" fmla="*/ 4247332 w 12192528"/>
              <a:gd name="connsiteY2373" fmla="*/ 1279098 h 3912503"/>
              <a:gd name="connsiteX2374" fmla="*/ 4238193 w 12192528"/>
              <a:gd name="connsiteY2374" fmla="*/ 1282035 h 3912503"/>
              <a:gd name="connsiteX2375" fmla="*/ 4249592 w 12192528"/>
              <a:gd name="connsiteY2375" fmla="*/ 1287860 h 3912503"/>
              <a:gd name="connsiteX2376" fmla="*/ 4297332 w 12192528"/>
              <a:gd name="connsiteY2376" fmla="*/ 1271163 h 3912503"/>
              <a:gd name="connsiteX2377" fmla="*/ 4584250 w 12192528"/>
              <a:gd name="connsiteY2377" fmla="*/ 1207034 h 3912503"/>
              <a:gd name="connsiteX2378" fmla="*/ 4804569 w 12192528"/>
              <a:gd name="connsiteY2378" fmla="*/ 1175960 h 3912503"/>
              <a:gd name="connsiteX2379" fmla="*/ 4824643 w 12192528"/>
              <a:gd name="connsiteY2379" fmla="*/ 1181029 h 3912503"/>
              <a:gd name="connsiteX2380" fmla="*/ 4816353 w 12192528"/>
              <a:gd name="connsiteY2380" fmla="*/ 1190133 h 3912503"/>
              <a:gd name="connsiteX2381" fmla="*/ 4465087 w 12192528"/>
              <a:gd name="connsiteY2381" fmla="*/ 1256427 h 3912503"/>
              <a:gd name="connsiteX2382" fmla="*/ 4296734 w 12192528"/>
              <a:gd name="connsiteY2382" fmla="*/ 1305865 h 3912503"/>
              <a:gd name="connsiteX2383" fmla="*/ 4312540 w 12192528"/>
              <a:gd name="connsiteY2383" fmla="*/ 1310402 h 3912503"/>
              <a:gd name="connsiteX2384" fmla="*/ 4335142 w 12192528"/>
              <a:gd name="connsiteY2384" fmla="*/ 1318492 h 3912503"/>
              <a:gd name="connsiteX2385" fmla="*/ 4414434 w 12192528"/>
              <a:gd name="connsiteY2385" fmla="*/ 1295504 h 3912503"/>
              <a:gd name="connsiteX2386" fmla="*/ 4444757 w 12192528"/>
              <a:gd name="connsiteY2386" fmla="*/ 1289120 h 3912503"/>
              <a:gd name="connsiteX2387" fmla="*/ 4459170 w 12192528"/>
              <a:gd name="connsiteY2387" fmla="*/ 1279098 h 3912503"/>
              <a:gd name="connsiteX2388" fmla="*/ 4481236 w 12192528"/>
              <a:gd name="connsiteY2388" fmla="*/ 1270271 h 3912503"/>
              <a:gd name="connsiteX2389" fmla="*/ 4507717 w 12192528"/>
              <a:gd name="connsiteY2389" fmla="*/ 1265858 h 3912503"/>
              <a:gd name="connsiteX2390" fmla="*/ 4538608 w 12192528"/>
              <a:gd name="connsiteY2390" fmla="*/ 1257032 h 3912503"/>
              <a:gd name="connsiteX2391" fmla="*/ 4582743 w 12192528"/>
              <a:gd name="connsiteY2391" fmla="*/ 1248204 h 3912503"/>
              <a:gd name="connsiteX2392" fmla="*/ 4609223 w 12192528"/>
              <a:gd name="connsiteY2392" fmla="*/ 1239379 h 3912503"/>
              <a:gd name="connsiteX2393" fmla="*/ 4613636 w 12192528"/>
              <a:gd name="connsiteY2393" fmla="*/ 1239379 h 3912503"/>
              <a:gd name="connsiteX2394" fmla="*/ 4648942 w 12192528"/>
              <a:gd name="connsiteY2394" fmla="*/ 1230551 h 3912503"/>
              <a:gd name="connsiteX2395" fmla="*/ 4679836 w 12192528"/>
              <a:gd name="connsiteY2395" fmla="*/ 1221725 h 3912503"/>
              <a:gd name="connsiteX2396" fmla="*/ 4693076 w 12192528"/>
              <a:gd name="connsiteY2396" fmla="*/ 1217313 h 3912503"/>
              <a:gd name="connsiteX2397" fmla="*/ 4697488 w 12192528"/>
              <a:gd name="connsiteY2397" fmla="*/ 1217312 h 3912503"/>
              <a:gd name="connsiteX2398" fmla="*/ 4710729 w 12192528"/>
              <a:gd name="connsiteY2398" fmla="*/ 1221725 h 3912503"/>
              <a:gd name="connsiteX2399" fmla="*/ 4715141 w 12192528"/>
              <a:gd name="connsiteY2399" fmla="*/ 1221725 h 3912503"/>
              <a:gd name="connsiteX2400" fmla="*/ 4723970 w 12192528"/>
              <a:gd name="connsiteY2400" fmla="*/ 1217312 h 3912503"/>
              <a:gd name="connsiteX2401" fmla="*/ 4723970 w 12192528"/>
              <a:gd name="connsiteY2401" fmla="*/ 1212897 h 3912503"/>
              <a:gd name="connsiteX2402" fmla="*/ 4746036 w 12192528"/>
              <a:gd name="connsiteY2402" fmla="*/ 1212897 h 3912503"/>
              <a:gd name="connsiteX2403" fmla="*/ 4750449 w 12192528"/>
              <a:gd name="connsiteY2403" fmla="*/ 1208485 h 3912503"/>
              <a:gd name="connsiteX2404" fmla="*/ 4746036 w 12192528"/>
              <a:gd name="connsiteY2404" fmla="*/ 1208485 h 3912503"/>
              <a:gd name="connsiteX2405" fmla="*/ 4723970 w 12192528"/>
              <a:gd name="connsiteY2405" fmla="*/ 1212897 h 3912503"/>
              <a:gd name="connsiteX2406" fmla="*/ 4723970 w 12192528"/>
              <a:gd name="connsiteY2406" fmla="*/ 1208485 h 3912503"/>
              <a:gd name="connsiteX2407" fmla="*/ 4732795 w 12192528"/>
              <a:gd name="connsiteY2407" fmla="*/ 1208485 h 3912503"/>
              <a:gd name="connsiteX2408" fmla="*/ 4737209 w 12192528"/>
              <a:gd name="connsiteY2408" fmla="*/ 1208485 h 3912503"/>
              <a:gd name="connsiteX2409" fmla="*/ 4750449 w 12192528"/>
              <a:gd name="connsiteY2409" fmla="*/ 1204071 h 3912503"/>
              <a:gd name="connsiteX2410" fmla="*/ 4768102 w 12192528"/>
              <a:gd name="connsiteY2410" fmla="*/ 1204071 h 3912503"/>
              <a:gd name="connsiteX2411" fmla="*/ 4763689 w 12192528"/>
              <a:gd name="connsiteY2411" fmla="*/ 1208486 h 3912503"/>
              <a:gd name="connsiteX2412" fmla="*/ 4772515 w 12192528"/>
              <a:gd name="connsiteY2412" fmla="*/ 1208485 h 3912503"/>
              <a:gd name="connsiteX2413" fmla="*/ 4781344 w 12192528"/>
              <a:gd name="connsiteY2413" fmla="*/ 1208485 h 3912503"/>
              <a:gd name="connsiteX2414" fmla="*/ 4794584 w 12192528"/>
              <a:gd name="connsiteY2414" fmla="*/ 1204071 h 3912503"/>
              <a:gd name="connsiteX2415" fmla="*/ 4803408 w 12192528"/>
              <a:gd name="connsiteY2415" fmla="*/ 1204071 h 3912503"/>
              <a:gd name="connsiteX2416" fmla="*/ 4807823 w 12192528"/>
              <a:gd name="connsiteY2416" fmla="*/ 1199658 h 3912503"/>
              <a:gd name="connsiteX2417" fmla="*/ 4821063 w 12192528"/>
              <a:gd name="connsiteY2417" fmla="*/ 1195245 h 3912503"/>
              <a:gd name="connsiteX2418" fmla="*/ 4829889 w 12192528"/>
              <a:gd name="connsiteY2418" fmla="*/ 1195245 h 3912503"/>
              <a:gd name="connsiteX2419" fmla="*/ 4834302 w 12192528"/>
              <a:gd name="connsiteY2419" fmla="*/ 1199658 h 3912503"/>
              <a:gd name="connsiteX2420" fmla="*/ 4838716 w 12192528"/>
              <a:gd name="connsiteY2420" fmla="*/ 1195245 h 3912503"/>
              <a:gd name="connsiteX2421" fmla="*/ 4847542 w 12192528"/>
              <a:gd name="connsiteY2421" fmla="*/ 1199658 h 3912503"/>
              <a:gd name="connsiteX2422" fmla="*/ 4856368 w 12192528"/>
              <a:gd name="connsiteY2422" fmla="*/ 1195245 h 3912503"/>
              <a:gd name="connsiteX2423" fmla="*/ 4851957 w 12192528"/>
              <a:gd name="connsiteY2423" fmla="*/ 1190831 h 3912503"/>
              <a:gd name="connsiteX2424" fmla="*/ 4865196 w 12192528"/>
              <a:gd name="connsiteY2424" fmla="*/ 1190831 h 3912503"/>
              <a:gd name="connsiteX2425" fmla="*/ 4869610 w 12192528"/>
              <a:gd name="connsiteY2425" fmla="*/ 1190832 h 3912503"/>
              <a:gd name="connsiteX2426" fmla="*/ 4887261 w 12192528"/>
              <a:gd name="connsiteY2426" fmla="*/ 1186418 h 3912503"/>
              <a:gd name="connsiteX2427" fmla="*/ 4904916 w 12192528"/>
              <a:gd name="connsiteY2427" fmla="*/ 1186418 h 3912503"/>
              <a:gd name="connsiteX2428" fmla="*/ 4918155 w 12192528"/>
              <a:gd name="connsiteY2428" fmla="*/ 1186418 h 3912503"/>
              <a:gd name="connsiteX2429" fmla="*/ 4944634 w 12192528"/>
              <a:gd name="connsiteY2429" fmla="*/ 1186418 h 3912503"/>
              <a:gd name="connsiteX2430" fmla="*/ 4957877 w 12192528"/>
              <a:gd name="connsiteY2430" fmla="*/ 1190831 h 3912503"/>
              <a:gd name="connsiteX2431" fmla="*/ 4953461 w 12192528"/>
              <a:gd name="connsiteY2431" fmla="*/ 1195245 h 3912503"/>
              <a:gd name="connsiteX2432" fmla="*/ 4949048 w 12192528"/>
              <a:gd name="connsiteY2432" fmla="*/ 1199659 h 3912503"/>
              <a:gd name="connsiteX2433" fmla="*/ 4953461 w 12192528"/>
              <a:gd name="connsiteY2433" fmla="*/ 1199658 h 3912503"/>
              <a:gd name="connsiteX2434" fmla="*/ 4957874 w 12192528"/>
              <a:gd name="connsiteY2434" fmla="*/ 1199658 h 3912503"/>
              <a:gd name="connsiteX2435" fmla="*/ 4962288 w 12192528"/>
              <a:gd name="connsiteY2435" fmla="*/ 1195245 h 3912503"/>
              <a:gd name="connsiteX2436" fmla="*/ 4966702 w 12192528"/>
              <a:gd name="connsiteY2436" fmla="*/ 1190831 h 3912503"/>
              <a:gd name="connsiteX2437" fmla="*/ 4966702 w 12192528"/>
              <a:gd name="connsiteY2437" fmla="*/ 1186418 h 3912503"/>
              <a:gd name="connsiteX2438" fmla="*/ 4944634 w 12192528"/>
              <a:gd name="connsiteY2438" fmla="*/ 1182004 h 3912503"/>
              <a:gd name="connsiteX2439" fmla="*/ 4940224 w 12192528"/>
              <a:gd name="connsiteY2439" fmla="*/ 1182005 h 3912503"/>
              <a:gd name="connsiteX2440" fmla="*/ 4922569 w 12192528"/>
              <a:gd name="connsiteY2440" fmla="*/ 1182004 h 3912503"/>
              <a:gd name="connsiteX2441" fmla="*/ 4913741 w 12192528"/>
              <a:gd name="connsiteY2441" fmla="*/ 1182004 h 3912503"/>
              <a:gd name="connsiteX2442" fmla="*/ 4935808 w 12192528"/>
              <a:gd name="connsiteY2442" fmla="*/ 1177592 h 3912503"/>
              <a:gd name="connsiteX2443" fmla="*/ 4962288 w 12192528"/>
              <a:gd name="connsiteY2443" fmla="*/ 1173177 h 3912503"/>
              <a:gd name="connsiteX2444" fmla="*/ 4971116 w 12192528"/>
              <a:gd name="connsiteY2444" fmla="*/ 1177592 h 3912503"/>
              <a:gd name="connsiteX2445" fmla="*/ 4979942 w 12192528"/>
              <a:gd name="connsiteY2445" fmla="*/ 1177592 h 3912503"/>
              <a:gd name="connsiteX2446" fmla="*/ 5002008 w 12192528"/>
              <a:gd name="connsiteY2446" fmla="*/ 1177592 h 3912503"/>
              <a:gd name="connsiteX2447" fmla="*/ 4997595 w 12192528"/>
              <a:gd name="connsiteY2447" fmla="*/ 1182004 h 3912503"/>
              <a:gd name="connsiteX2448" fmla="*/ 4997596 w 12192528"/>
              <a:gd name="connsiteY2448" fmla="*/ 1186418 h 3912503"/>
              <a:gd name="connsiteX2449" fmla="*/ 5002008 w 12192528"/>
              <a:gd name="connsiteY2449" fmla="*/ 1186418 h 3912503"/>
              <a:gd name="connsiteX2450" fmla="*/ 5006420 w 12192528"/>
              <a:gd name="connsiteY2450" fmla="*/ 1186418 h 3912503"/>
              <a:gd name="connsiteX2451" fmla="*/ 5010834 w 12192528"/>
              <a:gd name="connsiteY2451" fmla="*/ 1182004 h 3912503"/>
              <a:gd name="connsiteX2452" fmla="*/ 5015251 w 12192528"/>
              <a:gd name="connsiteY2452" fmla="*/ 1182004 h 3912503"/>
              <a:gd name="connsiteX2453" fmla="*/ 5019661 w 12192528"/>
              <a:gd name="connsiteY2453" fmla="*/ 1182004 h 3912503"/>
              <a:gd name="connsiteX2454" fmla="*/ 5037315 w 12192528"/>
              <a:gd name="connsiteY2454" fmla="*/ 1177592 h 3912503"/>
              <a:gd name="connsiteX2455" fmla="*/ 5059383 w 12192528"/>
              <a:gd name="connsiteY2455" fmla="*/ 1177592 h 3912503"/>
              <a:gd name="connsiteX2456" fmla="*/ 5063793 w 12192528"/>
              <a:gd name="connsiteY2456" fmla="*/ 1182004 h 3912503"/>
              <a:gd name="connsiteX2457" fmla="*/ 5059383 w 12192528"/>
              <a:gd name="connsiteY2457" fmla="*/ 1186419 h 3912503"/>
              <a:gd name="connsiteX2458" fmla="*/ 5006420 w 12192528"/>
              <a:gd name="connsiteY2458" fmla="*/ 1190831 h 3912503"/>
              <a:gd name="connsiteX2459" fmla="*/ 5002006 w 12192528"/>
              <a:gd name="connsiteY2459" fmla="*/ 1190831 h 3912503"/>
              <a:gd name="connsiteX2460" fmla="*/ 5006420 w 12192528"/>
              <a:gd name="connsiteY2460" fmla="*/ 1195245 h 3912503"/>
              <a:gd name="connsiteX2461" fmla="*/ 5059383 w 12192528"/>
              <a:gd name="connsiteY2461" fmla="*/ 1190831 h 3912503"/>
              <a:gd name="connsiteX2462" fmla="*/ 5068208 w 12192528"/>
              <a:gd name="connsiteY2462" fmla="*/ 1204071 h 3912503"/>
              <a:gd name="connsiteX2463" fmla="*/ 5116754 w 12192528"/>
              <a:gd name="connsiteY2463" fmla="*/ 1212897 h 3912503"/>
              <a:gd name="connsiteX2464" fmla="*/ 5293286 w 12192528"/>
              <a:gd name="connsiteY2464" fmla="*/ 1248204 h 3912503"/>
              <a:gd name="connsiteX2465" fmla="*/ 5297701 w 12192528"/>
              <a:gd name="connsiteY2465" fmla="*/ 1248204 h 3912503"/>
              <a:gd name="connsiteX2466" fmla="*/ 5302115 w 12192528"/>
              <a:gd name="connsiteY2466" fmla="*/ 1248204 h 3912503"/>
              <a:gd name="connsiteX2467" fmla="*/ 5297699 w 12192528"/>
              <a:gd name="connsiteY2467" fmla="*/ 1243791 h 3912503"/>
              <a:gd name="connsiteX2468" fmla="*/ 5125580 w 12192528"/>
              <a:gd name="connsiteY2468" fmla="*/ 1208485 h 3912503"/>
              <a:gd name="connsiteX2469" fmla="*/ 5129996 w 12192528"/>
              <a:gd name="connsiteY2469" fmla="*/ 1208485 h 3912503"/>
              <a:gd name="connsiteX2470" fmla="*/ 5121166 w 12192528"/>
              <a:gd name="connsiteY2470" fmla="*/ 1199658 h 3912503"/>
              <a:gd name="connsiteX2471" fmla="*/ 5134406 w 12192528"/>
              <a:gd name="connsiteY2471" fmla="*/ 1199658 h 3912503"/>
              <a:gd name="connsiteX2472" fmla="*/ 5134407 w 12192528"/>
              <a:gd name="connsiteY2472" fmla="*/ 1204071 h 3912503"/>
              <a:gd name="connsiteX2473" fmla="*/ 5138821 w 12192528"/>
              <a:gd name="connsiteY2473" fmla="*/ 1204071 h 3912503"/>
              <a:gd name="connsiteX2474" fmla="*/ 5143235 w 12192528"/>
              <a:gd name="connsiteY2474" fmla="*/ 1204071 h 3912503"/>
              <a:gd name="connsiteX2475" fmla="*/ 5143235 w 12192528"/>
              <a:gd name="connsiteY2475" fmla="*/ 1199658 h 3912503"/>
              <a:gd name="connsiteX2476" fmla="*/ 5165300 w 12192528"/>
              <a:gd name="connsiteY2476" fmla="*/ 1204071 h 3912503"/>
              <a:gd name="connsiteX2477" fmla="*/ 5174127 w 12192528"/>
              <a:gd name="connsiteY2477" fmla="*/ 1204071 h 3912503"/>
              <a:gd name="connsiteX2478" fmla="*/ 5187368 w 12192528"/>
              <a:gd name="connsiteY2478" fmla="*/ 1204071 h 3912503"/>
              <a:gd name="connsiteX2479" fmla="*/ 5191780 w 12192528"/>
              <a:gd name="connsiteY2479" fmla="*/ 1204071 h 3912503"/>
              <a:gd name="connsiteX2480" fmla="*/ 5196195 w 12192528"/>
              <a:gd name="connsiteY2480" fmla="*/ 1208485 h 3912503"/>
              <a:gd name="connsiteX2481" fmla="*/ 5205019 w 12192528"/>
              <a:gd name="connsiteY2481" fmla="*/ 1208485 h 3912503"/>
              <a:gd name="connsiteX2482" fmla="*/ 5209434 w 12192528"/>
              <a:gd name="connsiteY2482" fmla="*/ 1204071 h 3912503"/>
              <a:gd name="connsiteX2483" fmla="*/ 5315354 w 12192528"/>
              <a:gd name="connsiteY2483" fmla="*/ 1204071 h 3912503"/>
              <a:gd name="connsiteX2484" fmla="*/ 5363899 w 12192528"/>
              <a:gd name="connsiteY2484" fmla="*/ 1212897 h 3912503"/>
              <a:gd name="connsiteX2485" fmla="*/ 5359489 w 12192528"/>
              <a:gd name="connsiteY2485" fmla="*/ 1208485 h 3912503"/>
              <a:gd name="connsiteX2486" fmla="*/ 5447752 w 12192528"/>
              <a:gd name="connsiteY2486" fmla="*/ 1217312 h 3912503"/>
              <a:gd name="connsiteX2487" fmla="*/ 5452166 w 12192528"/>
              <a:gd name="connsiteY2487" fmla="*/ 1212897 h 3912503"/>
              <a:gd name="connsiteX2488" fmla="*/ 5474234 w 12192528"/>
              <a:gd name="connsiteY2488" fmla="*/ 1217312 h 3912503"/>
              <a:gd name="connsiteX2489" fmla="*/ 5478645 w 12192528"/>
              <a:gd name="connsiteY2489" fmla="*/ 1221725 h 3912503"/>
              <a:gd name="connsiteX2490" fmla="*/ 5487473 w 12192528"/>
              <a:gd name="connsiteY2490" fmla="*/ 1217312 h 3912503"/>
              <a:gd name="connsiteX2491" fmla="*/ 5513952 w 12192528"/>
              <a:gd name="connsiteY2491" fmla="*/ 1221725 h 3912503"/>
              <a:gd name="connsiteX2492" fmla="*/ 5518366 w 12192528"/>
              <a:gd name="connsiteY2492" fmla="*/ 1221726 h 3912503"/>
              <a:gd name="connsiteX2493" fmla="*/ 5531607 w 12192528"/>
              <a:gd name="connsiteY2493" fmla="*/ 1226137 h 3912503"/>
              <a:gd name="connsiteX2494" fmla="*/ 5536018 w 12192528"/>
              <a:gd name="connsiteY2494" fmla="*/ 1226137 h 3912503"/>
              <a:gd name="connsiteX2495" fmla="*/ 5540432 w 12192528"/>
              <a:gd name="connsiteY2495" fmla="*/ 1226137 h 3912503"/>
              <a:gd name="connsiteX2496" fmla="*/ 5615460 w 12192528"/>
              <a:gd name="connsiteY2496" fmla="*/ 1243791 h 3912503"/>
              <a:gd name="connsiteX2497" fmla="*/ 5628699 w 12192528"/>
              <a:gd name="connsiteY2497" fmla="*/ 1243791 h 3912503"/>
              <a:gd name="connsiteX2498" fmla="*/ 5633113 w 12192528"/>
              <a:gd name="connsiteY2498" fmla="*/ 1243790 h 3912503"/>
              <a:gd name="connsiteX2499" fmla="*/ 5650765 w 12192528"/>
              <a:gd name="connsiteY2499" fmla="*/ 1243790 h 3912503"/>
              <a:gd name="connsiteX2500" fmla="*/ 5699311 w 12192528"/>
              <a:gd name="connsiteY2500" fmla="*/ 1261445 h 3912503"/>
              <a:gd name="connsiteX2501" fmla="*/ 5884670 w 12192528"/>
              <a:gd name="connsiteY2501" fmla="*/ 1318819 h 3912503"/>
              <a:gd name="connsiteX2502" fmla="*/ 5889085 w 12192528"/>
              <a:gd name="connsiteY2502" fmla="*/ 1318819 h 3912503"/>
              <a:gd name="connsiteX2503" fmla="*/ 5893498 w 12192528"/>
              <a:gd name="connsiteY2503" fmla="*/ 1323231 h 3912503"/>
              <a:gd name="connsiteX2504" fmla="*/ 5951973 w 12192528"/>
              <a:gd name="connsiteY2504" fmla="*/ 1356331 h 3912503"/>
              <a:gd name="connsiteX2505" fmla="*/ 6010071 w 12192528"/>
              <a:gd name="connsiteY2505" fmla="*/ 1385873 h 3912503"/>
              <a:gd name="connsiteX2506" fmla="*/ 6008796 w 12192528"/>
              <a:gd name="connsiteY2506" fmla="*/ 1385363 h 3912503"/>
              <a:gd name="connsiteX2507" fmla="*/ 5995002 w 12192528"/>
              <a:gd name="connsiteY2507" fmla="*/ 1380605 h 3912503"/>
              <a:gd name="connsiteX2508" fmla="*/ 5986176 w 12192528"/>
              <a:gd name="connsiteY2508" fmla="*/ 1376192 h 3912503"/>
              <a:gd name="connsiteX2509" fmla="*/ 5955283 w 12192528"/>
              <a:gd name="connsiteY2509" fmla="*/ 1362951 h 3912503"/>
              <a:gd name="connsiteX2510" fmla="*/ 5902324 w 12192528"/>
              <a:gd name="connsiteY2510" fmla="*/ 1340885 h 3912503"/>
              <a:gd name="connsiteX2511" fmla="*/ 5893498 w 12192528"/>
              <a:gd name="connsiteY2511" fmla="*/ 1336472 h 3912503"/>
              <a:gd name="connsiteX2512" fmla="*/ 5884670 w 12192528"/>
              <a:gd name="connsiteY2512" fmla="*/ 1332058 h 3912503"/>
              <a:gd name="connsiteX2513" fmla="*/ 5880257 w 12192528"/>
              <a:gd name="connsiteY2513" fmla="*/ 1336472 h 3912503"/>
              <a:gd name="connsiteX2514" fmla="*/ 5897909 w 12192528"/>
              <a:gd name="connsiteY2514" fmla="*/ 1349712 h 3912503"/>
              <a:gd name="connsiteX2515" fmla="*/ 5902324 w 12192528"/>
              <a:gd name="connsiteY2515" fmla="*/ 1349712 h 3912503"/>
              <a:gd name="connsiteX2516" fmla="*/ 5981762 w 12192528"/>
              <a:gd name="connsiteY2516" fmla="*/ 1385019 h 3912503"/>
              <a:gd name="connsiteX2517" fmla="*/ 5986176 w 12192528"/>
              <a:gd name="connsiteY2517" fmla="*/ 1385019 h 3912503"/>
              <a:gd name="connsiteX2518" fmla="*/ 6008241 w 12192528"/>
              <a:gd name="connsiteY2518" fmla="*/ 1402671 h 3912503"/>
              <a:gd name="connsiteX2519" fmla="*/ 6034725 w 12192528"/>
              <a:gd name="connsiteY2519" fmla="*/ 1415913 h 3912503"/>
              <a:gd name="connsiteX2520" fmla="*/ 6087683 w 12192528"/>
              <a:gd name="connsiteY2520" fmla="*/ 1439633 h 3912503"/>
              <a:gd name="connsiteX2521" fmla="*/ 6132066 w 12192528"/>
              <a:gd name="connsiteY2521" fmla="*/ 1467836 h 3912503"/>
              <a:gd name="connsiteX2522" fmla="*/ 6127403 w 12192528"/>
              <a:gd name="connsiteY2522" fmla="*/ 1468871 h 3912503"/>
              <a:gd name="connsiteX2523" fmla="*/ 6330415 w 12192528"/>
              <a:gd name="connsiteY2523" fmla="*/ 1592446 h 3912503"/>
              <a:gd name="connsiteX2524" fmla="*/ 6330415 w 12192528"/>
              <a:gd name="connsiteY2524" fmla="*/ 1596858 h 3912503"/>
              <a:gd name="connsiteX2525" fmla="*/ 6334829 w 12192528"/>
              <a:gd name="connsiteY2525" fmla="*/ 1596859 h 3912503"/>
              <a:gd name="connsiteX2526" fmla="*/ 6339242 w 12192528"/>
              <a:gd name="connsiteY2526" fmla="*/ 1596859 h 3912503"/>
              <a:gd name="connsiteX2527" fmla="*/ 6352483 w 12192528"/>
              <a:gd name="connsiteY2527" fmla="*/ 1614513 h 3912503"/>
              <a:gd name="connsiteX2528" fmla="*/ 6414267 w 12192528"/>
              <a:gd name="connsiteY2528" fmla="*/ 1649819 h 3912503"/>
              <a:gd name="connsiteX2529" fmla="*/ 6401029 w 12192528"/>
              <a:gd name="connsiteY2529" fmla="*/ 1649818 h 3912503"/>
              <a:gd name="connsiteX2530" fmla="*/ 6431922 w 12192528"/>
              <a:gd name="connsiteY2530" fmla="*/ 1663059 h 3912503"/>
              <a:gd name="connsiteX2531" fmla="*/ 6427507 w 12192528"/>
              <a:gd name="connsiteY2531" fmla="*/ 1667472 h 3912503"/>
              <a:gd name="connsiteX2532" fmla="*/ 6502532 w 12192528"/>
              <a:gd name="connsiteY2532" fmla="*/ 1720433 h 3912503"/>
              <a:gd name="connsiteX2533" fmla="*/ 6502532 w 12192528"/>
              <a:gd name="connsiteY2533" fmla="*/ 1724846 h 3912503"/>
              <a:gd name="connsiteX2534" fmla="*/ 6555490 w 12192528"/>
              <a:gd name="connsiteY2534" fmla="*/ 1773392 h 3912503"/>
              <a:gd name="connsiteX2535" fmla="*/ 6621689 w 12192528"/>
              <a:gd name="connsiteY2535" fmla="*/ 1830765 h 3912503"/>
              <a:gd name="connsiteX2536" fmla="*/ 6649828 w 12192528"/>
              <a:gd name="connsiteY2536" fmla="*/ 1864417 h 3912503"/>
              <a:gd name="connsiteX2537" fmla="*/ 6683345 w 12192528"/>
              <a:gd name="connsiteY2537" fmla="*/ 1896966 h 3912503"/>
              <a:gd name="connsiteX2538" fmla="*/ 6679066 w 12192528"/>
              <a:gd name="connsiteY2538" fmla="*/ 1896966 h 3912503"/>
              <a:gd name="connsiteX2539" fmla="*/ 6683479 w 12192528"/>
              <a:gd name="connsiteY2539" fmla="*/ 1901380 h 3912503"/>
              <a:gd name="connsiteX2540" fmla="*/ 6692305 w 12192528"/>
              <a:gd name="connsiteY2540" fmla="*/ 1905793 h 3912503"/>
              <a:gd name="connsiteX2541" fmla="*/ 6687890 w 12192528"/>
              <a:gd name="connsiteY2541" fmla="*/ 1905793 h 3912503"/>
              <a:gd name="connsiteX2542" fmla="*/ 6714370 w 12192528"/>
              <a:gd name="connsiteY2542" fmla="*/ 1932272 h 3912503"/>
              <a:gd name="connsiteX2543" fmla="*/ 6718784 w 12192528"/>
              <a:gd name="connsiteY2543" fmla="*/ 1932272 h 3912503"/>
              <a:gd name="connsiteX2544" fmla="*/ 6727610 w 12192528"/>
              <a:gd name="connsiteY2544" fmla="*/ 1936686 h 3912503"/>
              <a:gd name="connsiteX2545" fmla="*/ 6718784 w 12192528"/>
              <a:gd name="connsiteY2545" fmla="*/ 1936686 h 3912503"/>
              <a:gd name="connsiteX2546" fmla="*/ 6732024 w 12192528"/>
              <a:gd name="connsiteY2546" fmla="*/ 1949926 h 3912503"/>
              <a:gd name="connsiteX2547" fmla="*/ 6727608 w 12192528"/>
              <a:gd name="connsiteY2547" fmla="*/ 1949926 h 3912503"/>
              <a:gd name="connsiteX2548" fmla="*/ 6723198 w 12192528"/>
              <a:gd name="connsiteY2548" fmla="*/ 1949926 h 3912503"/>
              <a:gd name="connsiteX2549" fmla="*/ 6723198 w 12192528"/>
              <a:gd name="connsiteY2549" fmla="*/ 1954339 h 3912503"/>
              <a:gd name="connsiteX2550" fmla="*/ 6732024 w 12192528"/>
              <a:gd name="connsiteY2550" fmla="*/ 1954339 h 3912503"/>
              <a:gd name="connsiteX2551" fmla="*/ 6736436 w 12192528"/>
              <a:gd name="connsiteY2551" fmla="*/ 1954338 h 3912503"/>
              <a:gd name="connsiteX2552" fmla="*/ 6740851 w 12192528"/>
              <a:gd name="connsiteY2552" fmla="*/ 1958753 h 3912503"/>
              <a:gd name="connsiteX2553" fmla="*/ 6740851 w 12192528"/>
              <a:gd name="connsiteY2553" fmla="*/ 1963166 h 3912503"/>
              <a:gd name="connsiteX2554" fmla="*/ 6740851 w 12192528"/>
              <a:gd name="connsiteY2554" fmla="*/ 1967580 h 3912503"/>
              <a:gd name="connsiteX2555" fmla="*/ 6745263 w 12192528"/>
              <a:gd name="connsiteY2555" fmla="*/ 1967580 h 3912503"/>
              <a:gd name="connsiteX2556" fmla="*/ 6749678 w 12192528"/>
              <a:gd name="connsiteY2556" fmla="*/ 1967580 h 3912503"/>
              <a:gd name="connsiteX2557" fmla="*/ 6758503 w 12192528"/>
              <a:gd name="connsiteY2557" fmla="*/ 1980820 h 3912503"/>
              <a:gd name="connsiteX2558" fmla="*/ 6754092 w 12192528"/>
              <a:gd name="connsiteY2558" fmla="*/ 1980819 h 3912503"/>
              <a:gd name="connsiteX2559" fmla="*/ 6758503 w 12192528"/>
              <a:gd name="connsiteY2559" fmla="*/ 1985233 h 3912503"/>
              <a:gd name="connsiteX2560" fmla="*/ 6762917 w 12192528"/>
              <a:gd name="connsiteY2560" fmla="*/ 1989647 h 3912503"/>
              <a:gd name="connsiteX2561" fmla="*/ 6771744 w 12192528"/>
              <a:gd name="connsiteY2561" fmla="*/ 1994059 h 3912503"/>
              <a:gd name="connsiteX2562" fmla="*/ 6767331 w 12192528"/>
              <a:gd name="connsiteY2562" fmla="*/ 1994059 h 3912503"/>
              <a:gd name="connsiteX2563" fmla="*/ 6776157 w 12192528"/>
              <a:gd name="connsiteY2563" fmla="*/ 2011713 h 3912503"/>
              <a:gd name="connsiteX2564" fmla="*/ 6767331 w 12192528"/>
              <a:gd name="connsiteY2564" fmla="*/ 2011713 h 3912503"/>
              <a:gd name="connsiteX2565" fmla="*/ 6780571 w 12192528"/>
              <a:gd name="connsiteY2565" fmla="*/ 2029366 h 3912503"/>
              <a:gd name="connsiteX2566" fmla="*/ 6776157 w 12192528"/>
              <a:gd name="connsiteY2566" fmla="*/ 2029366 h 3912503"/>
              <a:gd name="connsiteX2567" fmla="*/ 6771744 w 12192528"/>
              <a:gd name="connsiteY2567" fmla="*/ 2024953 h 3912503"/>
              <a:gd name="connsiteX2568" fmla="*/ 6767331 w 12192528"/>
              <a:gd name="connsiteY2568" fmla="*/ 2024953 h 3912503"/>
              <a:gd name="connsiteX2569" fmla="*/ 6771744 w 12192528"/>
              <a:gd name="connsiteY2569" fmla="*/ 2029366 h 3912503"/>
              <a:gd name="connsiteX2570" fmla="*/ 6776157 w 12192528"/>
              <a:gd name="connsiteY2570" fmla="*/ 2033780 h 3912503"/>
              <a:gd name="connsiteX2571" fmla="*/ 6784983 w 12192528"/>
              <a:gd name="connsiteY2571" fmla="*/ 2038193 h 3912503"/>
              <a:gd name="connsiteX2572" fmla="*/ 6784983 w 12192528"/>
              <a:gd name="connsiteY2572" fmla="*/ 2029366 h 3912503"/>
              <a:gd name="connsiteX2573" fmla="*/ 6789396 w 12192528"/>
              <a:gd name="connsiteY2573" fmla="*/ 2033780 h 3912503"/>
              <a:gd name="connsiteX2574" fmla="*/ 6815876 w 12192528"/>
              <a:gd name="connsiteY2574" fmla="*/ 2055847 h 3912503"/>
              <a:gd name="connsiteX2575" fmla="*/ 6811465 w 12192528"/>
              <a:gd name="connsiteY2575" fmla="*/ 2038193 h 3912503"/>
              <a:gd name="connsiteX2576" fmla="*/ 6824703 w 12192528"/>
              <a:gd name="connsiteY2576" fmla="*/ 2055847 h 3912503"/>
              <a:gd name="connsiteX2577" fmla="*/ 6830026 w 12192528"/>
              <a:gd name="connsiteY2577" fmla="*/ 2061170 h 3912503"/>
              <a:gd name="connsiteX2578" fmla="*/ 6832873 w 12192528"/>
              <a:gd name="connsiteY2578" fmla="*/ 2056131 h 3912503"/>
              <a:gd name="connsiteX2579" fmla="*/ 6829114 w 12192528"/>
              <a:gd name="connsiteY2579" fmla="*/ 2051433 h 3912503"/>
              <a:gd name="connsiteX2580" fmla="*/ 6811465 w 12192528"/>
              <a:gd name="connsiteY2580" fmla="*/ 2029366 h 3912503"/>
              <a:gd name="connsiteX2581" fmla="*/ 6776157 w 12192528"/>
              <a:gd name="connsiteY2581" fmla="*/ 1989647 h 3912503"/>
              <a:gd name="connsiteX2582" fmla="*/ 6767331 w 12192528"/>
              <a:gd name="connsiteY2582" fmla="*/ 1976406 h 3912503"/>
              <a:gd name="connsiteX2583" fmla="*/ 6758503 w 12192528"/>
              <a:gd name="connsiteY2583" fmla="*/ 1967580 h 3912503"/>
              <a:gd name="connsiteX2584" fmla="*/ 6754092 w 12192528"/>
              <a:gd name="connsiteY2584" fmla="*/ 1958754 h 3912503"/>
              <a:gd name="connsiteX2585" fmla="*/ 6740851 w 12192528"/>
              <a:gd name="connsiteY2585" fmla="*/ 1945513 h 3912503"/>
              <a:gd name="connsiteX2586" fmla="*/ 6732024 w 12192528"/>
              <a:gd name="connsiteY2586" fmla="*/ 1932272 h 3912503"/>
              <a:gd name="connsiteX2587" fmla="*/ 6718784 w 12192528"/>
              <a:gd name="connsiteY2587" fmla="*/ 1923447 h 3912503"/>
              <a:gd name="connsiteX2588" fmla="*/ 6718784 w 12192528"/>
              <a:gd name="connsiteY2588" fmla="*/ 1919033 h 3912503"/>
              <a:gd name="connsiteX2589" fmla="*/ 6604038 w 12192528"/>
              <a:gd name="connsiteY2589" fmla="*/ 1786632 h 3912503"/>
              <a:gd name="connsiteX2590" fmla="*/ 6604038 w 12192528"/>
              <a:gd name="connsiteY2590" fmla="*/ 1782220 h 3912503"/>
              <a:gd name="connsiteX2591" fmla="*/ 6604038 w 12192528"/>
              <a:gd name="connsiteY2591" fmla="*/ 1777806 h 3912503"/>
              <a:gd name="connsiteX2592" fmla="*/ 6612866 w 12192528"/>
              <a:gd name="connsiteY2592" fmla="*/ 1786632 h 3912503"/>
              <a:gd name="connsiteX2593" fmla="*/ 6621689 w 12192528"/>
              <a:gd name="connsiteY2593" fmla="*/ 1795460 h 3912503"/>
              <a:gd name="connsiteX2594" fmla="*/ 6630516 w 12192528"/>
              <a:gd name="connsiteY2594" fmla="*/ 1804286 h 3912503"/>
              <a:gd name="connsiteX2595" fmla="*/ 6634931 w 12192528"/>
              <a:gd name="connsiteY2595" fmla="*/ 1804286 h 3912503"/>
              <a:gd name="connsiteX2596" fmla="*/ 6656998 w 12192528"/>
              <a:gd name="connsiteY2596" fmla="*/ 1826353 h 3912503"/>
              <a:gd name="connsiteX2597" fmla="*/ 6661411 w 12192528"/>
              <a:gd name="connsiteY2597" fmla="*/ 1826353 h 3912503"/>
              <a:gd name="connsiteX2598" fmla="*/ 6661412 w 12192528"/>
              <a:gd name="connsiteY2598" fmla="*/ 1821938 h 3912503"/>
              <a:gd name="connsiteX2599" fmla="*/ 6656998 w 12192528"/>
              <a:gd name="connsiteY2599" fmla="*/ 1817525 h 3912503"/>
              <a:gd name="connsiteX2600" fmla="*/ 6652584 w 12192528"/>
              <a:gd name="connsiteY2600" fmla="*/ 1813113 h 3912503"/>
              <a:gd name="connsiteX2601" fmla="*/ 6648172 w 12192528"/>
              <a:gd name="connsiteY2601" fmla="*/ 1808699 h 3912503"/>
              <a:gd name="connsiteX2602" fmla="*/ 6639347 w 12192528"/>
              <a:gd name="connsiteY2602" fmla="*/ 1799873 h 3912503"/>
              <a:gd name="connsiteX2603" fmla="*/ 6653964 w 12192528"/>
              <a:gd name="connsiteY2603" fmla="*/ 1814078 h 3912503"/>
              <a:gd name="connsiteX2604" fmla="*/ 6665783 w 12192528"/>
              <a:gd name="connsiteY2604" fmla="*/ 1826272 h 3912503"/>
              <a:gd name="connsiteX2605" fmla="*/ 6665824 w 12192528"/>
              <a:gd name="connsiteY2605" fmla="*/ 1826353 h 3912503"/>
              <a:gd name="connsiteX2606" fmla="*/ 6665872 w 12192528"/>
              <a:gd name="connsiteY2606" fmla="*/ 1826366 h 3912503"/>
              <a:gd name="connsiteX2607" fmla="*/ 6666928 w 12192528"/>
              <a:gd name="connsiteY2607" fmla="*/ 1827456 h 3912503"/>
              <a:gd name="connsiteX2608" fmla="*/ 6661412 w 12192528"/>
              <a:gd name="connsiteY2608" fmla="*/ 1835179 h 3912503"/>
              <a:gd name="connsiteX2609" fmla="*/ 6709958 w 12192528"/>
              <a:gd name="connsiteY2609" fmla="*/ 1879314 h 3912503"/>
              <a:gd name="connsiteX2610" fmla="*/ 6709956 w 12192528"/>
              <a:gd name="connsiteY2610" fmla="*/ 1874899 h 3912503"/>
              <a:gd name="connsiteX2611" fmla="*/ 6723198 w 12192528"/>
              <a:gd name="connsiteY2611" fmla="*/ 1888139 h 3912503"/>
              <a:gd name="connsiteX2612" fmla="*/ 6723198 w 12192528"/>
              <a:gd name="connsiteY2612" fmla="*/ 1892553 h 3912503"/>
              <a:gd name="connsiteX2613" fmla="*/ 6727610 w 12192528"/>
              <a:gd name="connsiteY2613" fmla="*/ 1892553 h 3912503"/>
              <a:gd name="connsiteX2614" fmla="*/ 6727610 w 12192528"/>
              <a:gd name="connsiteY2614" fmla="*/ 1896965 h 3912503"/>
              <a:gd name="connsiteX2615" fmla="*/ 6736436 w 12192528"/>
              <a:gd name="connsiteY2615" fmla="*/ 1905792 h 3912503"/>
              <a:gd name="connsiteX2616" fmla="*/ 6745263 w 12192528"/>
              <a:gd name="connsiteY2616" fmla="*/ 1910205 h 3912503"/>
              <a:gd name="connsiteX2617" fmla="*/ 6749678 w 12192528"/>
              <a:gd name="connsiteY2617" fmla="*/ 1914619 h 3912503"/>
              <a:gd name="connsiteX2618" fmla="*/ 6762917 w 12192528"/>
              <a:gd name="connsiteY2618" fmla="*/ 1927860 h 3912503"/>
              <a:gd name="connsiteX2619" fmla="*/ 6767331 w 12192528"/>
              <a:gd name="connsiteY2619" fmla="*/ 1927859 h 3912503"/>
              <a:gd name="connsiteX2620" fmla="*/ 6771744 w 12192528"/>
              <a:gd name="connsiteY2620" fmla="*/ 1932272 h 3912503"/>
              <a:gd name="connsiteX2621" fmla="*/ 6807051 w 12192528"/>
              <a:gd name="connsiteY2621" fmla="*/ 1971993 h 3912503"/>
              <a:gd name="connsiteX2622" fmla="*/ 6802634 w 12192528"/>
              <a:gd name="connsiteY2622" fmla="*/ 1976406 h 3912503"/>
              <a:gd name="connsiteX2623" fmla="*/ 6798220 w 12192528"/>
              <a:gd name="connsiteY2623" fmla="*/ 1971993 h 3912503"/>
              <a:gd name="connsiteX2624" fmla="*/ 6793810 w 12192528"/>
              <a:gd name="connsiteY2624" fmla="*/ 1967580 h 3912503"/>
              <a:gd name="connsiteX2625" fmla="*/ 6793810 w 12192528"/>
              <a:gd name="connsiteY2625" fmla="*/ 1971993 h 3912503"/>
              <a:gd name="connsiteX2626" fmla="*/ 6798224 w 12192528"/>
              <a:gd name="connsiteY2626" fmla="*/ 1976406 h 3912503"/>
              <a:gd name="connsiteX2627" fmla="*/ 6802634 w 12192528"/>
              <a:gd name="connsiteY2627" fmla="*/ 1980820 h 3912503"/>
              <a:gd name="connsiteX2628" fmla="*/ 6807051 w 12192528"/>
              <a:gd name="connsiteY2628" fmla="*/ 1980820 h 3912503"/>
              <a:gd name="connsiteX2629" fmla="*/ 6811465 w 12192528"/>
              <a:gd name="connsiteY2629" fmla="*/ 1980820 h 3912503"/>
              <a:gd name="connsiteX2630" fmla="*/ 6842356 w 12192528"/>
              <a:gd name="connsiteY2630" fmla="*/ 2020539 h 3912503"/>
              <a:gd name="connsiteX2631" fmla="*/ 6846767 w 12192528"/>
              <a:gd name="connsiteY2631" fmla="*/ 2020540 h 3912503"/>
              <a:gd name="connsiteX2632" fmla="*/ 6850210 w 12192528"/>
              <a:gd name="connsiteY2632" fmla="*/ 2025459 h 3912503"/>
              <a:gd name="connsiteX2633" fmla="*/ 6856480 w 12192528"/>
              <a:gd name="connsiteY2633" fmla="*/ 2014366 h 3912503"/>
              <a:gd name="connsiteX2634" fmla="*/ 6851182 w 12192528"/>
              <a:gd name="connsiteY2634" fmla="*/ 2007300 h 3912503"/>
              <a:gd name="connsiteX2635" fmla="*/ 6833529 w 12192528"/>
              <a:gd name="connsiteY2635" fmla="*/ 1985233 h 3912503"/>
              <a:gd name="connsiteX2636" fmla="*/ 6833529 w 12192528"/>
              <a:gd name="connsiteY2636" fmla="*/ 1980820 h 3912503"/>
              <a:gd name="connsiteX2637" fmla="*/ 6829114 w 12192528"/>
              <a:gd name="connsiteY2637" fmla="*/ 1976406 h 3912503"/>
              <a:gd name="connsiteX2638" fmla="*/ 6824703 w 12192528"/>
              <a:gd name="connsiteY2638" fmla="*/ 1976406 h 3912503"/>
              <a:gd name="connsiteX2639" fmla="*/ 6824703 w 12192528"/>
              <a:gd name="connsiteY2639" fmla="*/ 1971993 h 3912503"/>
              <a:gd name="connsiteX2640" fmla="*/ 6749678 w 12192528"/>
              <a:gd name="connsiteY2640" fmla="*/ 1888139 h 3912503"/>
              <a:gd name="connsiteX2641" fmla="*/ 6745263 w 12192528"/>
              <a:gd name="connsiteY2641" fmla="*/ 1879314 h 3912503"/>
              <a:gd name="connsiteX2642" fmla="*/ 6745263 w 12192528"/>
              <a:gd name="connsiteY2642" fmla="*/ 1874899 h 3912503"/>
              <a:gd name="connsiteX2643" fmla="*/ 6740851 w 12192528"/>
              <a:gd name="connsiteY2643" fmla="*/ 1870485 h 3912503"/>
              <a:gd name="connsiteX2644" fmla="*/ 6736436 w 12192528"/>
              <a:gd name="connsiteY2644" fmla="*/ 1870486 h 3912503"/>
              <a:gd name="connsiteX2645" fmla="*/ 6701129 w 12192528"/>
              <a:gd name="connsiteY2645" fmla="*/ 1839592 h 3912503"/>
              <a:gd name="connsiteX2646" fmla="*/ 6696717 w 12192528"/>
              <a:gd name="connsiteY2646" fmla="*/ 1835180 h 3912503"/>
              <a:gd name="connsiteX2647" fmla="*/ 6687890 w 12192528"/>
              <a:gd name="connsiteY2647" fmla="*/ 1830765 h 3912503"/>
              <a:gd name="connsiteX2648" fmla="*/ 6687890 w 12192528"/>
              <a:gd name="connsiteY2648" fmla="*/ 1839408 h 3912503"/>
              <a:gd name="connsiteX2649" fmla="*/ 6679066 w 12192528"/>
              <a:gd name="connsiteY2649" fmla="*/ 1830214 h 3912503"/>
              <a:gd name="connsiteX2650" fmla="*/ 6665872 w 12192528"/>
              <a:gd name="connsiteY2650" fmla="*/ 1826366 h 3912503"/>
              <a:gd name="connsiteX2651" fmla="*/ 6665783 w 12192528"/>
              <a:gd name="connsiteY2651" fmla="*/ 1826272 h 3912503"/>
              <a:gd name="connsiteX2652" fmla="*/ 6657551 w 12192528"/>
              <a:gd name="connsiteY2652" fmla="*/ 1810905 h 3912503"/>
              <a:gd name="connsiteX2653" fmla="*/ 6639347 w 12192528"/>
              <a:gd name="connsiteY2653" fmla="*/ 1795459 h 3912503"/>
              <a:gd name="connsiteX2654" fmla="*/ 6639347 w 12192528"/>
              <a:gd name="connsiteY2654" fmla="*/ 1791046 h 3912503"/>
              <a:gd name="connsiteX2655" fmla="*/ 6634931 w 12192528"/>
              <a:gd name="connsiteY2655" fmla="*/ 1791044 h 3912503"/>
              <a:gd name="connsiteX2656" fmla="*/ 6630516 w 12192528"/>
              <a:gd name="connsiteY2656" fmla="*/ 1791046 h 3912503"/>
              <a:gd name="connsiteX2657" fmla="*/ 6626106 w 12192528"/>
              <a:gd name="connsiteY2657" fmla="*/ 1777806 h 3912503"/>
              <a:gd name="connsiteX2658" fmla="*/ 6630516 w 12192528"/>
              <a:gd name="connsiteY2658" fmla="*/ 1782220 h 3912503"/>
              <a:gd name="connsiteX2659" fmla="*/ 6639347 w 12192528"/>
              <a:gd name="connsiteY2659" fmla="*/ 1786632 h 3912503"/>
              <a:gd name="connsiteX2660" fmla="*/ 6634931 w 12192528"/>
              <a:gd name="connsiteY2660" fmla="*/ 1777805 h 3912503"/>
              <a:gd name="connsiteX2661" fmla="*/ 6634931 w 12192528"/>
              <a:gd name="connsiteY2661" fmla="*/ 1773392 h 3912503"/>
              <a:gd name="connsiteX2662" fmla="*/ 6656998 w 12192528"/>
              <a:gd name="connsiteY2662" fmla="*/ 1791046 h 3912503"/>
              <a:gd name="connsiteX2663" fmla="*/ 6515773 w 12192528"/>
              <a:gd name="connsiteY2663" fmla="*/ 1654232 h 3912503"/>
              <a:gd name="connsiteX2664" fmla="*/ 6498119 w 12192528"/>
              <a:gd name="connsiteY2664" fmla="*/ 1640992 h 3912503"/>
              <a:gd name="connsiteX2665" fmla="*/ 6493708 w 12192528"/>
              <a:gd name="connsiteY2665" fmla="*/ 1636580 h 3912503"/>
              <a:gd name="connsiteX2666" fmla="*/ 6343655 w 12192528"/>
              <a:gd name="connsiteY2666" fmla="*/ 1526246 h 3912503"/>
              <a:gd name="connsiteX2667" fmla="*/ 6334829 w 12192528"/>
              <a:gd name="connsiteY2667" fmla="*/ 1517419 h 3912503"/>
              <a:gd name="connsiteX2668" fmla="*/ 6348068 w 12192528"/>
              <a:gd name="connsiteY2668" fmla="*/ 1526246 h 3912503"/>
              <a:gd name="connsiteX2669" fmla="*/ 6356895 w 12192528"/>
              <a:gd name="connsiteY2669" fmla="*/ 1526246 h 3912503"/>
              <a:gd name="connsiteX2670" fmla="*/ 6374548 w 12192528"/>
              <a:gd name="connsiteY2670" fmla="*/ 1535072 h 3912503"/>
              <a:gd name="connsiteX2671" fmla="*/ 6378962 w 12192528"/>
              <a:gd name="connsiteY2671" fmla="*/ 1539486 h 3912503"/>
              <a:gd name="connsiteX2672" fmla="*/ 6383376 w 12192528"/>
              <a:gd name="connsiteY2672" fmla="*/ 1539486 h 3912503"/>
              <a:gd name="connsiteX2673" fmla="*/ 6423095 w 12192528"/>
              <a:gd name="connsiteY2673" fmla="*/ 1557139 h 3912503"/>
              <a:gd name="connsiteX2674" fmla="*/ 6414267 w 12192528"/>
              <a:gd name="connsiteY2674" fmla="*/ 1552725 h 3912503"/>
              <a:gd name="connsiteX2675" fmla="*/ 6423096 w 12192528"/>
              <a:gd name="connsiteY2675" fmla="*/ 1552725 h 3912503"/>
              <a:gd name="connsiteX2676" fmla="*/ 6418682 w 12192528"/>
              <a:gd name="connsiteY2676" fmla="*/ 1543899 h 3912503"/>
              <a:gd name="connsiteX2677" fmla="*/ 6423096 w 12192528"/>
              <a:gd name="connsiteY2677" fmla="*/ 1543898 h 3912503"/>
              <a:gd name="connsiteX2678" fmla="*/ 6427507 w 12192528"/>
              <a:gd name="connsiteY2678" fmla="*/ 1548312 h 3912503"/>
              <a:gd name="connsiteX2679" fmla="*/ 6431921 w 12192528"/>
              <a:gd name="connsiteY2679" fmla="*/ 1548310 h 3912503"/>
              <a:gd name="connsiteX2680" fmla="*/ 6458401 w 12192528"/>
              <a:gd name="connsiteY2680" fmla="*/ 1561552 h 3912503"/>
              <a:gd name="connsiteX2681" fmla="*/ 6462814 w 12192528"/>
              <a:gd name="connsiteY2681" fmla="*/ 1561552 h 3912503"/>
              <a:gd name="connsiteX2682" fmla="*/ 6458402 w 12192528"/>
              <a:gd name="connsiteY2682" fmla="*/ 1557138 h 3912503"/>
              <a:gd name="connsiteX2683" fmla="*/ 6458402 w 12192528"/>
              <a:gd name="connsiteY2683" fmla="*/ 1552725 h 3912503"/>
              <a:gd name="connsiteX2684" fmla="*/ 6537839 w 12192528"/>
              <a:gd name="connsiteY2684" fmla="*/ 1596859 h 3912503"/>
              <a:gd name="connsiteX2685" fmla="*/ 6612866 w 12192528"/>
              <a:gd name="connsiteY2685" fmla="*/ 1645405 h 3912503"/>
              <a:gd name="connsiteX2686" fmla="*/ 6617277 w 12192528"/>
              <a:gd name="connsiteY2686" fmla="*/ 1645405 h 3912503"/>
              <a:gd name="connsiteX2687" fmla="*/ 6617277 w 12192528"/>
              <a:gd name="connsiteY2687" fmla="*/ 1649819 h 3912503"/>
              <a:gd name="connsiteX2688" fmla="*/ 6621689 w 12192528"/>
              <a:gd name="connsiteY2688" fmla="*/ 1649819 h 3912503"/>
              <a:gd name="connsiteX2689" fmla="*/ 6626106 w 12192528"/>
              <a:gd name="connsiteY2689" fmla="*/ 1654232 h 3912503"/>
              <a:gd name="connsiteX2690" fmla="*/ 6639346 w 12192528"/>
              <a:gd name="connsiteY2690" fmla="*/ 1663059 h 3912503"/>
              <a:gd name="connsiteX2691" fmla="*/ 6648172 w 12192528"/>
              <a:gd name="connsiteY2691" fmla="*/ 1663058 h 3912503"/>
              <a:gd name="connsiteX2692" fmla="*/ 6630516 w 12192528"/>
              <a:gd name="connsiteY2692" fmla="*/ 1654232 h 3912503"/>
              <a:gd name="connsiteX2693" fmla="*/ 6630516 w 12192528"/>
              <a:gd name="connsiteY2693" fmla="*/ 1649818 h 3912503"/>
              <a:gd name="connsiteX2694" fmla="*/ 6634931 w 12192528"/>
              <a:gd name="connsiteY2694" fmla="*/ 1649819 h 3912503"/>
              <a:gd name="connsiteX2695" fmla="*/ 6630516 w 12192528"/>
              <a:gd name="connsiteY2695" fmla="*/ 1645405 h 3912503"/>
              <a:gd name="connsiteX2696" fmla="*/ 6626106 w 12192528"/>
              <a:gd name="connsiteY2696" fmla="*/ 1645405 h 3912503"/>
              <a:gd name="connsiteX2697" fmla="*/ 6621689 w 12192528"/>
              <a:gd name="connsiteY2697" fmla="*/ 1640992 h 3912503"/>
              <a:gd name="connsiteX2698" fmla="*/ 6608454 w 12192528"/>
              <a:gd name="connsiteY2698" fmla="*/ 1632165 h 3912503"/>
              <a:gd name="connsiteX2699" fmla="*/ 6599624 w 12192528"/>
              <a:gd name="connsiteY2699" fmla="*/ 1632165 h 3912503"/>
              <a:gd name="connsiteX2700" fmla="*/ 6599624 w 12192528"/>
              <a:gd name="connsiteY2700" fmla="*/ 1623339 h 3912503"/>
              <a:gd name="connsiteX2701" fmla="*/ 6568731 w 12192528"/>
              <a:gd name="connsiteY2701" fmla="*/ 1610098 h 3912503"/>
              <a:gd name="connsiteX2702" fmla="*/ 6515773 w 12192528"/>
              <a:gd name="connsiteY2702" fmla="*/ 1574792 h 3912503"/>
              <a:gd name="connsiteX2703" fmla="*/ 6515773 w 12192528"/>
              <a:gd name="connsiteY2703" fmla="*/ 1579205 h 3912503"/>
              <a:gd name="connsiteX2704" fmla="*/ 6506947 w 12192528"/>
              <a:gd name="connsiteY2704" fmla="*/ 1570379 h 3912503"/>
              <a:gd name="connsiteX2705" fmla="*/ 6498119 w 12192528"/>
              <a:gd name="connsiteY2705" fmla="*/ 1570379 h 3912503"/>
              <a:gd name="connsiteX2706" fmla="*/ 6498119 w 12192528"/>
              <a:gd name="connsiteY2706" fmla="*/ 1565965 h 3912503"/>
              <a:gd name="connsiteX2707" fmla="*/ 6489293 w 12192528"/>
              <a:gd name="connsiteY2707" fmla="*/ 1557139 h 3912503"/>
              <a:gd name="connsiteX2708" fmla="*/ 6427507 w 12192528"/>
              <a:gd name="connsiteY2708" fmla="*/ 1526246 h 3912503"/>
              <a:gd name="connsiteX2709" fmla="*/ 6427507 w 12192528"/>
              <a:gd name="connsiteY2709" fmla="*/ 1535072 h 3912503"/>
              <a:gd name="connsiteX2710" fmla="*/ 6330415 w 12192528"/>
              <a:gd name="connsiteY2710" fmla="*/ 1482112 h 3912503"/>
              <a:gd name="connsiteX2711" fmla="*/ 6250975 w 12192528"/>
              <a:gd name="connsiteY2711" fmla="*/ 1442392 h 3912503"/>
              <a:gd name="connsiteX2712" fmla="*/ 6250977 w 12192528"/>
              <a:gd name="connsiteY2712" fmla="*/ 1437977 h 3912503"/>
              <a:gd name="connsiteX2713" fmla="*/ 6198016 w 12192528"/>
              <a:gd name="connsiteY2713" fmla="*/ 1411498 h 3912503"/>
              <a:gd name="connsiteX2714" fmla="*/ 6211253 w 12192528"/>
              <a:gd name="connsiteY2714" fmla="*/ 1411498 h 3912503"/>
              <a:gd name="connsiteX2715" fmla="*/ 6193603 w 12192528"/>
              <a:gd name="connsiteY2715" fmla="*/ 1415913 h 3912503"/>
              <a:gd name="connsiteX2716" fmla="*/ 6136229 w 12192528"/>
              <a:gd name="connsiteY2716" fmla="*/ 1380605 h 3912503"/>
              <a:gd name="connsiteX2717" fmla="*/ 6131816 w 12192528"/>
              <a:gd name="connsiteY2717" fmla="*/ 1376192 h 3912503"/>
              <a:gd name="connsiteX2718" fmla="*/ 6127403 w 12192528"/>
              <a:gd name="connsiteY2718" fmla="*/ 1376192 h 3912503"/>
              <a:gd name="connsiteX2719" fmla="*/ 6127403 w 12192528"/>
              <a:gd name="connsiteY2719" fmla="*/ 1380604 h 3912503"/>
              <a:gd name="connsiteX2720" fmla="*/ 6118577 w 12192528"/>
              <a:gd name="connsiteY2720" fmla="*/ 1376192 h 3912503"/>
              <a:gd name="connsiteX2721" fmla="*/ 6122990 w 12192528"/>
              <a:gd name="connsiteY2721" fmla="*/ 1376191 h 3912503"/>
              <a:gd name="connsiteX2722" fmla="*/ 6122990 w 12192528"/>
              <a:gd name="connsiteY2722" fmla="*/ 1371777 h 3912503"/>
              <a:gd name="connsiteX2723" fmla="*/ 6114162 w 12192528"/>
              <a:gd name="connsiteY2723" fmla="*/ 1371777 h 3912503"/>
              <a:gd name="connsiteX2724" fmla="*/ 6109748 w 12192528"/>
              <a:gd name="connsiteY2724" fmla="*/ 1367364 h 3912503"/>
              <a:gd name="connsiteX2725" fmla="*/ 6096509 w 12192528"/>
              <a:gd name="connsiteY2725" fmla="*/ 1367364 h 3912503"/>
              <a:gd name="connsiteX2726" fmla="*/ 6087683 w 12192528"/>
              <a:gd name="connsiteY2726" fmla="*/ 1362951 h 3912503"/>
              <a:gd name="connsiteX2727" fmla="*/ 6092098 w 12192528"/>
              <a:gd name="connsiteY2727" fmla="*/ 1367364 h 3912503"/>
              <a:gd name="connsiteX2728" fmla="*/ 6096508 w 12192528"/>
              <a:gd name="connsiteY2728" fmla="*/ 1371777 h 3912503"/>
              <a:gd name="connsiteX2729" fmla="*/ 6087683 w 12192528"/>
              <a:gd name="connsiteY2729" fmla="*/ 1371777 h 3912503"/>
              <a:gd name="connsiteX2730" fmla="*/ 6061203 w 12192528"/>
              <a:gd name="connsiteY2730" fmla="*/ 1358538 h 3912503"/>
              <a:gd name="connsiteX2731" fmla="*/ 6012656 w 12192528"/>
              <a:gd name="connsiteY2731" fmla="*/ 1336472 h 3912503"/>
              <a:gd name="connsiteX2732" fmla="*/ 6008244 w 12192528"/>
              <a:gd name="connsiteY2732" fmla="*/ 1332058 h 3912503"/>
              <a:gd name="connsiteX2733" fmla="*/ 6003831 w 12192528"/>
              <a:gd name="connsiteY2733" fmla="*/ 1332058 h 3912503"/>
              <a:gd name="connsiteX2734" fmla="*/ 5981763 w 12192528"/>
              <a:gd name="connsiteY2734" fmla="*/ 1323231 h 3912503"/>
              <a:gd name="connsiteX2735" fmla="*/ 5964112 w 12192528"/>
              <a:gd name="connsiteY2735" fmla="*/ 1318819 h 3912503"/>
              <a:gd name="connsiteX2736" fmla="*/ 5933218 w 12192528"/>
              <a:gd name="connsiteY2736" fmla="*/ 1301165 h 3912503"/>
              <a:gd name="connsiteX2737" fmla="*/ 5933218 w 12192528"/>
              <a:gd name="connsiteY2737" fmla="*/ 1296751 h 3912503"/>
              <a:gd name="connsiteX2738" fmla="*/ 5924391 w 12192528"/>
              <a:gd name="connsiteY2738" fmla="*/ 1296752 h 3912503"/>
              <a:gd name="connsiteX2739" fmla="*/ 5919979 w 12192528"/>
              <a:gd name="connsiteY2739" fmla="*/ 1296752 h 3912503"/>
              <a:gd name="connsiteX2740" fmla="*/ 5924391 w 12192528"/>
              <a:gd name="connsiteY2740" fmla="*/ 1301164 h 3912503"/>
              <a:gd name="connsiteX2741" fmla="*/ 5893498 w 12192528"/>
              <a:gd name="connsiteY2741" fmla="*/ 1287925 h 3912503"/>
              <a:gd name="connsiteX2742" fmla="*/ 5889084 w 12192528"/>
              <a:gd name="connsiteY2742" fmla="*/ 1283512 h 3912503"/>
              <a:gd name="connsiteX2743" fmla="*/ 5884670 w 12192528"/>
              <a:gd name="connsiteY2743" fmla="*/ 1283510 h 3912503"/>
              <a:gd name="connsiteX2744" fmla="*/ 5853777 w 12192528"/>
              <a:gd name="connsiteY2744" fmla="*/ 1274685 h 3912503"/>
              <a:gd name="connsiteX2745" fmla="*/ 5858191 w 12192528"/>
              <a:gd name="connsiteY2745" fmla="*/ 1274685 h 3912503"/>
              <a:gd name="connsiteX2746" fmla="*/ 5871431 w 12192528"/>
              <a:gd name="connsiteY2746" fmla="*/ 1274684 h 3912503"/>
              <a:gd name="connsiteX2747" fmla="*/ 5862604 w 12192528"/>
              <a:gd name="connsiteY2747" fmla="*/ 1270271 h 3912503"/>
              <a:gd name="connsiteX2748" fmla="*/ 5858191 w 12192528"/>
              <a:gd name="connsiteY2748" fmla="*/ 1265858 h 3912503"/>
              <a:gd name="connsiteX2749" fmla="*/ 5875845 w 12192528"/>
              <a:gd name="connsiteY2749" fmla="*/ 1270271 h 3912503"/>
              <a:gd name="connsiteX2750" fmla="*/ 5880257 w 12192528"/>
              <a:gd name="connsiteY2750" fmla="*/ 1261445 h 3912503"/>
              <a:gd name="connsiteX2751" fmla="*/ 5849364 w 12192528"/>
              <a:gd name="connsiteY2751" fmla="*/ 1248204 h 3912503"/>
              <a:gd name="connsiteX2752" fmla="*/ 5844951 w 12192528"/>
              <a:gd name="connsiteY2752" fmla="*/ 1243791 h 3912503"/>
              <a:gd name="connsiteX2753" fmla="*/ 5840538 w 12192528"/>
              <a:gd name="connsiteY2753" fmla="*/ 1243791 h 3912503"/>
              <a:gd name="connsiteX2754" fmla="*/ 5836125 w 12192528"/>
              <a:gd name="connsiteY2754" fmla="*/ 1243791 h 3912503"/>
              <a:gd name="connsiteX2755" fmla="*/ 5840538 w 12192528"/>
              <a:gd name="connsiteY2755" fmla="*/ 1248204 h 3912503"/>
              <a:gd name="connsiteX2756" fmla="*/ 5827298 w 12192528"/>
              <a:gd name="connsiteY2756" fmla="*/ 1248204 h 3912503"/>
              <a:gd name="connsiteX2757" fmla="*/ 5822882 w 12192528"/>
              <a:gd name="connsiteY2757" fmla="*/ 1252618 h 3912503"/>
              <a:gd name="connsiteX2758" fmla="*/ 5844951 w 12192528"/>
              <a:gd name="connsiteY2758" fmla="*/ 1261445 h 3912503"/>
              <a:gd name="connsiteX2759" fmla="*/ 5840538 w 12192528"/>
              <a:gd name="connsiteY2759" fmla="*/ 1261445 h 3912503"/>
              <a:gd name="connsiteX2760" fmla="*/ 5831713 w 12192528"/>
              <a:gd name="connsiteY2760" fmla="*/ 1265858 h 3912503"/>
              <a:gd name="connsiteX2761" fmla="*/ 5839320 w 12192528"/>
              <a:gd name="connsiteY2761" fmla="*/ 1269662 h 3912503"/>
              <a:gd name="connsiteX2762" fmla="*/ 5831160 w 12192528"/>
              <a:gd name="connsiteY2762" fmla="*/ 1269168 h 3912503"/>
              <a:gd name="connsiteX2763" fmla="*/ 5809645 w 12192528"/>
              <a:gd name="connsiteY2763" fmla="*/ 1261445 h 3912503"/>
              <a:gd name="connsiteX2764" fmla="*/ 5796403 w 12192528"/>
              <a:gd name="connsiteY2764" fmla="*/ 1274685 h 3912503"/>
              <a:gd name="connsiteX2765" fmla="*/ 5800818 w 12192528"/>
              <a:gd name="connsiteY2765" fmla="*/ 1270270 h 3912503"/>
              <a:gd name="connsiteX2766" fmla="*/ 5800818 w 12192528"/>
              <a:gd name="connsiteY2766" fmla="*/ 1265858 h 3912503"/>
              <a:gd name="connsiteX2767" fmla="*/ 5800818 w 12192528"/>
              <a:gd name="connsiteY2767" fmla="*/ 1261445 h 3912503"/>
              <a:gd name="connsiteX2768" fmla="*/ 5791991 w 12192528"/>
              <a:gd name="connsiteY2768" fmla="*/ 1261443 h 3912503"/>
              <a:gd name="connsiteX2769" fmla="*/ 5787579 w 12192528"/>
              <a:gd name="connsiteY2769" fmla="*/ 1261443 h 3912503"/>
              <a:gd name="connsiteX2770" fmla="*/ 5778750 w 12192528"/>
              <a:gd name="connsiteY2770" fmla="*/ 1252618 h 3912503"/>
              <a:gd name="connsiteX2771" fmla="*/ 5787579 w 12192528"/>
              <a:gd name="connsiteY2771" fmla="*/ 1252618 h 3912503"/>
              <a:gd name="connsiteX2772" fmla="*/ 5787579 w 12192528"/>
              <a:gd name="connsiteY2772" fmla="*/ 1248203 h 3912503"/>
              <a:gd name="connsiteX2773" fmla="*/ 5778750 w 12192528"/>
              <a:gd name="connsiteY2773" fmla="*/ 1243791 h 3912503"/>
              <a:gd name="connsiteX2774" fmla="*/ 5769923 w 12192528"/>
              <a:gd name="connsiteY2774" fmla="*/ 1243791 h 3912503"/>
              <a:gd name="connsiteX2775" fmla="*/ 5761100 w 12192528"/>
              <a:gd name="connsiteY2775" fmla="*/ 1252617 h 3912503"/>
              <a:gd name="connsiteX2776" fmla="*/ 5756685 w 12192528"/>
              <a:gd name="connsiteY2776" fmla="*/ 1257032 h 3912503"/>
              <a:gd name="connsiteX2777" fmla="*/ 5761100 w 12192528"/>
              <a:gd name="connsiteY2777" fmla="*/ 1261445 h 3912503"/>
              <a:gd name="connsiteX2778" fmla="*/ 5739030 w 12192528"/>
              <a:gd name="connsiteY2778" fmla="*/ 1257032 h 3912503"/>
              <a:gd name="connsiteX2779" fmla="*/ 5752271 w 12192528"/>
              <a:gd name="connsiteY2779" fmla="*/ 1257032 h 3912503"/>
              <a:gd name="connsiteX2780" fmla="*/ 5734619 w 12192528"/>
              <a:gd name="connsiteY2780" fmla="*/ 1248204 h 3912503"/>
              <a:gd name="connsiteX2781" fmla="*/ 5734616 w 12192528"/>
              <a:gd name="connsiteY2781" fmla="*/ 1243790 h 3912503"/>
              <a:gd name="connsiteX2782" fmla="*/ 5730206 w 12192528"/>
              <a:gd name="connsiteY2782" fmla="*/ 1243791 h 3912503"/>
              <a:gd name="connsiteX2783" fmla="*/ 5725793 w 12192528"/>
              <a:gd name="connsiteY2783" fmla="*/ 1243791 h 3912503"/>
              <a:gd name="connsiteX2784" fmla="*/ 5725793 w 12192528"/>
              <a:gd name="connsiteY2784" fmla="*/ 1248204 h 3912503"/>
              <a:gd name="connsiteX2785" fmla="*/ 5716966 w 12192528"/>
              <a:gd name="connsiteY2785" fmla="*/ 1239379 h 3912503"/>
              <a:gd name="connsiteX2786" fmla="*/ 5690487 w 12192528"/>
              <a:gd name="connsiteY2786" fmla="*/ 1239379 h 3912503"/>
              <a:gd name="connsiteX2787" fmla="*/ 5699311 w 12192528"/>
              <a:gd name="connsiteY2787" fmla="*/ 1239379 h 3912503"/>
              <a:gd name="connsiteX2788" fmla="*/ 5672833 w 12192528"/>
              <a:gd name="connsiteY2788" fmla="*/ 1230551 h 3912503"/>
              <a:gd name="connsiteX2789" fmla="*/ 5677245 w 12192528"/>
              <a:gd name="connsiteY2789" fmla="*/ 1226137 h 3912503"/>
              <a:gd name="connsiteX2790" fmla="*/ 5672832 w 12192528"/>
              <a:gd name="connsiteY2790" fmla="*/ 1226137 h 3912503"/>
              <a:gd name="connsiteX2791" fmla="*/ 5672833 w 12192528"/>
              <a:gd name="connsiteY2791" fmla="*/ 1221725 h 3912503"/>
              <a:gd name="connsiteX2792" fmla="*/ 5677245 w 12192528"/>
              <a:gd name="connsiteY2792" fmla="*/ 1217312 h 3912503"/>
              <a:gd name="connsiteX2793" fmla="*/ 5716966 w 12192528"/>
              <a:gd name="connsiteY2793" fmla="*/ 1226137 h 3912503"/>
              <a:gd name="connsiteX2794" fmla="*/ 5716966 w 12192528"/>
              <a:gd name="connsiteY2794" fmla="*/ 1230551 h 3912503"/>
              <a:gd name="connsiteX2795" fmla="*/ 5734619 w 12192528"/>
              <a:gd name="connsiteY2795" fmla="*/ 1234965 h 3912503"/>
              <a:gd name="connsiteX2796" fmla="*/ 5721376 w 12192528"/>
              <a:gd name="connsiteY2796" fmla="*/ 1226137 h 3912503"/>
              <a:gd name="connsiteX2797" fmla="*/ 5743445 w 12192528"/>
              <a:gd name="connsiteY2797" fmla="*/ 1230551 h 3912503"/>
              <a:gd name="connsiteX2798" fmla="*/ 5747859 w 12192528"/>
              <a:gd name="connsiteY2798" fmla="*/ 1234965 h 3912503"/>
              <a:gd name="connsiteX2799" fmla="*/ 5752269 w 12192528"/>
              <a:gd name="connsiteY2799" fmla="*/ 1234965 h 3912503"/>
              <a:gd name="connsiteX2800" fmla="*/ 5756684 w 12192528"/>
              <a:gd name="connsiteY2800" fmla="*/ 1230551 h 3912503"/>
              <a:gd name="connsiteX2801" fmla="*/ 5752271 w 12192528"/>
              <a:gd name="connsiteY2801" fmla="*/ 1226137 h 3912503"/>
              <a:gd name="connsiteX2802" fmla="*/ 5743445 w 12192528"/>
              <a:gd name="connsiteY2802" fmla="*/ 1221725 h 3912503"/>
              <a:gd name="connsiteX2803" fmla="*/ 5739030 w 12192528"/>
              <a:gd name="connsiteY2803" fmla="*/ 1221725 h 3912503"/>
              <a:gd name="connsiteX2804" fmla="*/ 5739030 w 12192528"/>
              <a:gd name="connsiteY2804" fmla="*/ 1226137 h 3912503"/>
              <a:gd name="connsiteX2805" fmla="*/ 5677245 w 12192528"/>
              <a:gd name="connsiteY2805" fmla="*/ 1212897 h 3912503"/>
              <a:gd name="connsiteX2806" fmla="*/ 5672832 w 12192528"/>
              <a:gd name="connsiteY2806" fmla="*/ 1208485 h 3912503"/>
              <a:gd name="connsiteX2807" fmla="*/ 5668419 w 12192528"/>
              <a:gd name="connsiteY2807" fmla="*/ 1208486 h 3912503"/>
              <a:gd name="connsiteX2808" fmla="*/ 5664006 w 12192528"/>
              <a:gd name="connsiteY2808" fmla="*/ 1208485 h 3912503"/>
              <a:gd name="connsiteX2809" fmla="*/ 5637526 w 12192528"/>
              <a:gd name="connsiteY2809" fmla="*/ 1199658 h 3912503"/>
              <a:gd name="connsiteX2810" fmla="*/ 5637524 w 12192528"/>
              <a:gd name="connsiteY2810" fmla="*/ 1204071 h 3912503"/>
              <a:gd name="connsiteX2811" fmla="*/ 5633113 w 12192528"/>
              <a:gd name="connsiteY2811" fmla="*/ 1199658 h 3912503"/>
              <a:gd name="connsiteX2812" fmla="*/ 5624284 w 12192528"/>
              <a:gd name="connsiteY2812" fmla="*/ 1195245 h 3912503"/>
              <a:gd name="connsiteX2813" fmla="*/ 5619871 w 12192528"/>
              <a:gd name="connsiteY2813" fmla="*/ 1199658 h 3912503"/>
              <a:gd name="connsiteX2814" fmla="*/ 5522778 w 12192528"/>
              <a:gd name="connsiteY2814" fmla="*/ 1186418 h 3912503"/>
              <a:gd name="connsiteX2815" fmla="*/ 5513954 w 12192528"/>
              <a:gd name="connsiteY2815" fmla="*/ 1182004 h 3912503"/>
              <a:gd name="connsiteX2816" fmla="*/ 5509539 w 12192528"/>
              <a:gd name="connsiteY2816" fmla="*/ 1182004 h 3912503"/>
              <a:gd name="connsiteX2817" fmla="*/ 5509539 w 12192528"/>
              <a:gd name="connsiteY2817" fmla="*/ 1186418 h 3912503"/>
              <a:gd name="connsiteX2818" fmla="*/ 5483059 w 12192528"/>
              <a:gd name="connsiteY2818" fmla="*/ 1177592 h 3912503"/>
              <a:gd name="connsiteX2819" fmla="*/ 5478645 w 12192528"/>
              <a:gd name="connsiteY2819" fmla="*/ 1177592 h 3912503"/>
              <a:gd name="connsiteX2820" fmla="*/ 5469821 w 12192528"/>
              <a:gd name="connsiteY2820" fmla="*/ 1177592 h 3912503"/>
              <a:gd name="connsiteX2821" fmla="*/ 5465407 w 12192528"/>
              <a:gd name="connsiteY2821" fmla="*/ 1177592 h 3912503"/>
              <a:gd name="connsiteX2822" fmla="*/ 5460994 w 12192528"/>
              <a:gd name="connsiteY2822" fmla="*/ 1173177 h 3912503"/>
              <a:gd name="connsiteX2823" fmla="*/ 5456580 w 12192528"/>
              <a:gd name="connsiteY2823" fmla="*/ 1173179 h 3912503"/>
              <a:gd name="connsiteX2824" fmla="*/ 5430102 w 12192528"/>
              <a:gd name="connsiteY2824" fmla="*/ 1173177 h 3912503"/>
              <a:gd name="connsiteX2825" fmla="*/ 5425686 w 12192528"/>
              <a:gd name="connsiteY2825" fmla="*/ 1173177 h 3912503"/>
              <a:gd name="connsiteX2826" fmla="*/ 5416862 w 12192528"/>
              <a:gd name="connsiteY2826" fmla="*/ 1173177 h 3912503"/>
              <a:gd name="connsiteX2827" fmla="*/ 5412447 w 12192528"/>
              <a:gd name="connsiteY2827" fmla="*/ 1173177 h 3912503"/>
              <a:gd name="connsiteX2828" fmla="*/ 5381553 w 12192528"/>
              <a:gd name="connsiteY2828" fmla="*/ 1173177 h 3912503"/>
              <a:gd name="connsiteX2829" fmla="*/ 5363899 w 12192528"/>
              <a:gd name="connsiteY2829" fmla="*/ 1164352 h 3912503"/>
              <a:gd name="connsiteX2830" fmla="*/ 5359489 w 12192528"/>
              <a:gd name="connsiteY2830" fmla="*/ 1159938 h 3912503"/>
              <a:gd name="connsiteX2831" fmla="*/ 5355074 w 12192528"/>
              <a:gd name="connsiteY2831" fmla="*/ 1159938 h 3912503"/>
              <a:gd name="connsiteX2832" fmla="*/ 5355074 w 12192528"/>
              <a:gd name="connsiteY2832" fmla="*/ 1164351 h 3912503"/>
              <a:gd name="connsiteX2833" fmla="*/ 5359487 w 12192528"/>
              <a:gd name="connsiteY2833" fmla="*/ 1164351 h 3912503"/>
              <a:gd name="connsiteX2834" fmla="*/ 5341835 w 12192528"/>
              <a:gd name="connsiteY2834" fmla="*/ 1168764 h 3912503"/>
              <a:gd name="connsiteX2835" fmla="*/ 5341835 w 12192528"/>
              <a:gd name="connsiteY2835" fmla="*/ 1159938 h 3912503"/>
              <a:gd name="connsiteX2836" fmla="*/ 5345978 w 12192528"/>
              <a:gd name="connsiteY2836" fmla="*/ 1155793 h 3912503"/>
              <a:gd name="connsiteX2837" fmla="*/ 5370589 w 12192528"/>
              <a:gd name="connsiteY2837" fmla="*/ 1157387 h 3912503"/>
              <a:gd name="connsiteX2838" fmla="*/ 5434512 w 12192528"/>
              <a:gd name="connsiteY2838" fmla="*/ 1155525 h 3912503"/>
              <a:gd name="connsiteX2839" fmla="*/ 5438926 w 12192528"/>
              <a:gd name="connsiteY2839" fmla="*/ 1159939 h 3912503"/>
              <a:gd name="connsiteX2840" fmla="*/ 5443341 w 12192528"/>
              <a:gd name="connsiteY2840" fmla="*/ 1159938 h 3912503"/>
              <a:gd name="connsiteX2841" fmla="*/ 5465405 w 12192528"/>
              <a:gd name="connsiteY2841" fmla="*/ 1155525 h 3912503"/>
              <a:gd name="connsiteX2842" fmla="*/ 5447752 w 12192528"/>
              <a:gd name="connsiteY2842" fmla="*/ 1155525 h 3912503"/>
              <a:gd name="connsiteX2843" fmla="*/ 5452166 w 12192528"/>
              <a:gd name="connsiteY2843" fmla="*/ 1151110 h 3912503"/>
              <a:gd name="connsiteX2844" fmla="*/ 5447752 w 12192528"/>
              <a:gd name="connsiteY2844" fmla="*/ 1151110 h 3912503"/>
              <a:gd name="connsiteX2845" fmla="*/ 5443339 w 12192528"/>
              <a:gd name="connsiteY2845" fmla="*/ 1151110 h 3912503"/>
              <a:gd name="connsiteX2846" fmla="*/ 5438926 w 12192528"/>
              <a:gd name="connsiteY2846" fmla="*/ 1151110 h 3912503"/>
              <a:gd name="connsiteX2847" fmla="*/ 5394794 w 12192528"/>
              <a:gd name="connsiteY2847" fmla="*/ 1129045 h 3912503"/>
              <a:gd name="connsiteX2848" fmla="*/ 5297701 w 12192528"/>
              <a:gd name="connsiteY2848" fmla="*/ 1089325 h 3912503"/>
              <a:gd name="connsiteX2849" fmla="*/ 5293288 w 12192528"/>
              <a:gd name="connsiteY2849" fmla="*/ 1084912 h 3912503"/>
              <a:gd name="connsiteX2850" fmla="*/ 5288875 w 12192528"/>
              <a:gd name="connsiteY2850" fmla="*/ 1080498 h 3912503"/>
              <a:gd name="connsiteX2851" fmla="*/ 5293288 w 12192528"/>
              <a:gd name="connsiteY2851" fmla="*/ 1076085 h 3912503"/>
              <a:gd name="connsiteX2852" fmla="*/ 5280046 w 12192528"/>
              <a:gd name="connsiteY2852" fmla="*/ 1076085 h 3912503"/>
              <a:gd name="connsiteX2853" fmla="*/ 5196195 w 12192528"/>
              <a:gd name="connsiteY2853" fmla="*/ 1058431 h 3912503"/>
              <a:gd name="connsiteX2854" fmla="*/ 5205019 w 12192528"/>
              <a:gd name="connsiteY2854" fmla="*/ 1054018 h 3912503"/>
              <a:gd name="connsiteX2855" fmla="*/ 5152061 w 12192528"/>
              <a:gd name="connsiteY2855" fmla="*/ 1027537 h 3912503"/>
              <a:gd name="connsiteX2856" fmla="*/ 5160887 w 12192528"/>
              <a:gd name="connsiteY2856" fmla="*/ 1027537 h 3912503"/>
              <a:gd name="connsiteX2857" fmla="*/ 5165300 w 12192528"/>
              <a:gd name="connsiteY2857" fmla="*/ 1027537 h 3912503"/>
              <a:gd name="connsiteX2858" fmla="*/ 5160887 w 12192528"/>
              <a:gd name="connsiteY2858" fmla="*/ 1023126 h 3912503"/>
              <a:gd name="connsiteX2859" fmla="*/ 5152061 w 12192528"/>
              <a:gd name="connsiteY2859" fmla="*/ 1023125 h 3912503"/>
              <a:gd name="connsiteX2860" fmla="*/ 5222673 w 12192528"/>
              <a:gd name="connsiteY2860" fmla="*/ 1023125 h 3912503"/>
              <a:gd name="connsiteX2861" fmla="*/ 5107927 w 12192528"/>
              <a:gd name="connsiteY2861" fmla="*/ 978991 h 3912503"/>
              <a:gd name="connsiteX2862" fmla="*/ 5094688 w 12192528"/>
              <a:gd name="connsiteY2862" fmla="*/ 961339 h 3912503"/>
              <a:gd name="connsiteX2863" fmla="*/ 5107927 w 12192528"/>
              <a:gd name="connsiteY2863" fmla="*/ 956925 h 3912503"/>
              <a:gd name="connsiteX2864" fmla="*/ 5213849 w 12192528"/>
              <a:gd name="connsiteY2864" fmla="*/ 961338 h 3912503"/>
              <a:gd name="connsiteX2865" fmla="*/ 5231500 w 12192528"/>
              <a:gd name="connsiteY2865" fmla="*/ 943684 h 3912503"/>
              <a:gd name="connsiteX2866" fmla="*/ 5288875 w 12192528"/>
              <a:gd name="connsiteY2866" fmla="*/ 948097 h 3912503"/>
              <a:gd name="connsiteX2867" fmla="*/ 5262391 w 12192528"/>
              <a:gd name="connsiteY2867" fmla="*/ 939270 h 3912503"/>
              <a:gd name="connsiteX2868" fmla="*/ 5297699 w 12192528"/>
              <a:gd name="connsiteY2868" fmla="*/ 939270 h 3912503"/>
              <a:gd name="connsiteX2869" fmla="*/ 5280046 w 12192528"/>
              <a:gd name="connsiteY2869" fmla="*/ 926031 h 3912503"/>
              <a:gd name="connsiteX2870" fmla="*/ 5505125 w 12192528"/>
              <a:gd name="connsiteY2870" fmla="*/ 956925 h 3912503"/>
              <a:gd name="connsiteX2871" fmla="*/ 5527193 w 12192528"/>
              <a:gd name="connsiteY2871" fmla="*/ 961338 h 3912503"/>
              <a:gd name="connsiteX2872" fmla="*/ 6950266 w 12192528"/>
              <a:gd name="connsiteY2872" fmla="*/ 1731604 h 3912503"/>
              <a:gd name="connsiteX2873" fmla="*/ 7005077 w 12192528"/>
              <a:gd name="connsiteY2873" fmla="*/ 1797325 h 3912503"/>
              <a:gd name="connsiteX2874" fmla="*/ 7035558 w 12192528"/>
              <a:gd name="connsiteY2874" fmla="*/ 1754456 h 3912503"/>
              <a:gd name="connsiteX2875" fmla="*/ 7040425 w 12192528"/>
              <a:gd name="connsiteY2875" fmla="*/ 1748894 h 3912503"/>
              <a:gd name="connsiteX2876" fmla="*/ 6944966 w 12192528"/>
              <a:gd name="connsiteY2876" fmla="*/ 1643060 h 3912503"/>
              <a:gd name="connsiteX2877" fmla="*/ 5346247 w 12192528"/>
              <a:gd name="connsiteY2877" fmla="*/ 899551 h 3912503"/>
              <a:gd name="connsiteX2878" fmla="*/ 5178541 w 12192528"/>
              <a:gd name="connsiteY2878" fmla="*/ 890724 h 3912503"/>
              <a:gd name="connsiteX2879" fmla="*/ 5174127 w 12192528"/>
              <a:gd name="connsiteY2879" fmla="*/ 886310 h 3912503"/>
              <a:gd name="connsiteX2880" fmla="*/ 5160887 w 12192528"/>
              <a:gd name="connsiteY2880" fmla="*/ 886310 h 3912503"/>
              <a:gd name="connsiteX2881" fmla="*/ 3392143 w 12192528"/>
              <a:gd name="connsiteY2881" fmla="*/ 884238 h 3912503"/>
              <a:gd name="connsiteX2882" fmla="*/ 3400193 w 12192528"/>
              <a:gd name="connsiteY2882" fmla="*/ 888225 h 3912503"/>
              <a:gd name="connsiteX2883" fmla="*/ 3404755 w 12192528"/>
              <a:gd name="connsiteY2883" fmla="*/ 890638 h 3912503"/>
              <a:gd name="connsiteX2884" fmla="*/ 3409854 w 12192528"/>
              <a:gd name="connsiteY2884" fmla="*/ 894925 h 3912503"/>
              <a:gd name="connsiteX2885" fmla="*/ 3413074 w 12192528"/>
              <a:gd name="connsiteY2885" fmla="*/ 899214 h 3912503"/>
              <a:gd name="connsiteX2886" fmla="*/ 3416832 w 12192528"/>
              <a:gd name="connsiteY2886" fmla="*/ 911007 h 3912503"/>
              <a:gd name="connsiteX2887" fmla="*/ 3419516 w 12192528"/>
              <a:gd name="connsiteY2887" fmla="*/ 918244 h 3912503"/>
              <a:gd name="connsiteX2888" fmla="*/ 3419516 w 12192528"/>
              <a:gd name="connsiteY2888" fmla="*/ 921460 h 3912503"/>
              <a:gd name="connsiteX2889" fmla="*/ 3416295 w 12192528"/>
              <a:gd name="connsiteY2889" fmla="*/ 927893 h 3912503"/>
              <a:gd name="connsiteX2890" fmla="*/ 3409049 w 12192528"/>
              <a:gd name="connsiteY2890" fmla="*/ 937542 h 3912503"/>
              <a:gd name="connsiteX2891" fmla="*/ 3407171 w 12192528"/>
              <a:gd name="connsiteY2891" fmla="*/ 941294 h 3912503"/>
              <a:gd name="connsiteX2892" fmla="*/ 3403950 w 12192528"/>
              <a:gd name="connsiteY2892" fmla="*/ 942634 h 3912503"/>
              <a:gd name="connsiteX2893" fmla="*/ 3397778 w 12192528"/>
              <a:gd name="connsiteY2893" fmla="*/ 944510 h 3912503"/>
              <a:gd name="connsiteX2894" fmla="*/ 3395631 w 12192528"/>
              <a:gd name="connsiteY2894" fmla="*/ 945583 h 3912503"/>
              <a:gd name="connsiteX2895" fmla="*/ 3387043 w 12192528"/>
              <a:gd name="connsiteY2895" fmla="*/ 946655 h 3912503"/>
              <a:gd name="connsiteX2896" fmla="*/ 3385164 w 12192528"/>
              <a:gd name="connsiteY2896" fmla="*/ 947191 h 3912503"/>
              <a:gd name="connsiteX2897" fmla="*/ 3366110 w 12192528"/>
              <a:gd name="connsiteY2897" fmla="*/ 935130 h 3912503"/>
              <a:gd name="connsiteX2898" fmla="*/ 3360205 w 12192528"/>
              <a:gd name="connsiteY2898" fmla="*/ 924141 h 3912503"/>
              <a:gd name="connsiteX2899" fmla="*/ 3358327 w 12192528"/>
              <a:gd name="connsiteY2899" fmla="*/ 919584 h 3912503"/>
              <a:gd name="connsiteX2900" fmla="*/ 3358059 w 12192528"/>
              <a:gd name="connsiteY2900" fmla="*/ 915028 h 3912503"/>
              <a:gd name="connsiteX2901" fmla="*/ 3358864 w 12192528"/>
              <a:gd name="connsiteY2901" fmla="*/ 911544 h 3912503"/>
              <a:gd name="connsiteX2902" fmla="*/ 3360205 w 12192528"/>
              <a:gd name="connsiteY2902" fmla="*/ 904306 h 3912503"/>
              <a:gd name="connsiteX2903" fmla="*/ 3360474 w 12192528"/>
              <a:gd name="connsiteY2903" fmla="*/ 901627 h 3912503"/>
              <a:gd name="connsiteX2904" fmla="*/ 3361279 w 12192528"/>
              <a:gd name="connsiteY2904" fmla="*/ 895194 h 3912503"/>
              <a:gd name="connsiteX2905" fmla="*/ 3374697 w 12192528"/>
              <a:gd name="connsiteY2905" fmla="*/ 884741 h 3912503"/>
              <a:gd name="connsiteX2906" fmla="*/ 3383286 w 12192528"/>
              <a:gd name="connsiteY2906" fmla="*/ 884473 h 3912503"/>
              <a:gd name="connsiteX2907" fmla="*/ 3392143 w 12192528"/>
              <a:gd name="connsiteY2907" fmla="*/ 884238 h 3912503"/>
              <a:gd name="connsiteX2908" fmla="*/ 1910634 w 12192528"/>
              <a:gd name="connsiteY2908" fmla="*/ 866913 h 3912503"/>
              <a:gd name="connsiteX2909" fmla="*/ 1911132 w 12192528"/>
              <a:gd name="connsiteY2909" fmla="*/ 867030 h 3912503"/>
              <a:gd name="connsiteX2910" fmla="*/ 1910865 w 12192528"/>
              <a:gd name="connsiteY2910" fmla="*/ 867297 h 3912503"/>
              <a:gd name="connsiteX2911" fmla="*/ 9115444 w 12192528"/>
              <a:gd name="connsiteY2911" fmla="*/ 772706 h 3912503"/>
              <a:gd name="connsiteX2912" fmla="*/ 8077569 w 12192528"/>
              <a:gd name="connsiteY2912" fmla="*/ 1027604 h 3912503"/>
              <a:gd name="connsiteX2913" fmla="*/ 7251775 w 12192528"/>
              <a:gd name="connsiteY2913" fmla="*/ 1671704 h 3912503"/>
              <a:gd name="connsiteX2914" fmla="*/ 7205815 w 12192528"/>
              <a:gd name="connsiteY2914" fmla="*/ 1733750 h 3912503"/>
              <a:gd name="connsiteX2915" fmla="*/ 7242727 w 12192528"/>
              <a:gd name="connsiteY2915" fmla="*/ 1783425 h 3912503"/>
              <a:gd name="connsiteX2916" fmla="*/ 7382865 w 12192528"/>
              <a:gd name="connsiteY2916" fmla="*/ 1612347 h 3912503"/>
              <a:gd name="connsiteX2917" fmla="*/ 7613795 w 12192528"/>
              <a:gd name="connsiteY2917" fmla="*/ 1393033 h 3912503"/>
              <a:gd name="connsiteX2918" fmla="*/ 7617848 w 12192528"/>
              <a:gd name="connsiteY2918" fmla="*/ 1391717 h 3912503"/>
              <a:gd name="connsiteX2919" fmla="*/ 7621901 w 12192528"/>
              <a:gd name="connsiteY2919" fmla="*/ 1390403 h 3912503"/>
              <a:gd name="connsiteX2920" fmla="*/ 7627267 w 12192528"/>
              <a:gd name="connsiteY2920" fmla="*/ 1393140 h 3912503"/>
              <a:gd name="connsiteX2921" fmla="*/ 7620475 w 12192528"/>
              <a:gd name="connsiteY2921" fmla="*/ 1399822 h 3912503"/>
              <a:gd name="connsiteX2922" fmla="*/ 7623104 w 12192528"/>
              <a:gd name="connsiteY2922" fmla="*/ 1407929 h 3912503"/>
              <a:gd name="connsiteX2923" fmla="*/ 7629895 w 12192528"/>
              <a:gd name="connsiteY2923" fmla="*/ 1401247 h 3912503"/>
              <a:gd name="connsiteX2924" fmla="*/ 7632633 w 12192528"/>
              <a:gd name="connsiteY2924" fmla="*/ 1395880 h 3912503"/>
              <a:gd name="connsiteX2925" fmla="*/ 7636688 w 12192528"/>
              <a:gd name="connsiteY2925" fmla="*/ 1394565 h 3912503"/>
              <a:gd name="connsiteX2926" fmla="*/ 7650160 w 12192528"/>
              <a:gd name="connsiteY2926" fmla="*/ 1394674 h 3912503"/>
              <a:gd name="connsiteX2927" fmla="*/ 7650272 w 12192528"/>
              <a:gd name="connsiteY2927" fmla="*/ 1381201 h 3912503"/>
              <a:gd name="connsiteX2928" fmla="*/ 7643478 w 12192528"/>
              <a:gd name="connsiteY2928" fmla="*/ 1387882 h 3912503"/>
              <a:gd name="connsiteX2929" fmla="*/ 7644902 w 12192528"/>
              <a:gd name="connsiteY2929" fmla="*/ 1378463 h 3912503"/>
              <a:gd name="connsiteX2930" fmla="*/ 7634061 w 12192528"/>
              <a:gd name="connsiteY2930" fmla="*/ 1386459 h 3912503"/>
              <a:gd name="connsiteX2931" fmla="*/ 7631320 w 12192528"/>
              <a:gd name="connsiteY2931" fmla="*/ 1391825 h 3912503"/>
              <a:gd name="connsiteX2932" fmla="*/ 7632745 w 12192528"/>
              <a:gd name="connsiteY2932" fmla="*/ 1382406 h 3912503"/>
              <a:gd name="connsiteX2933" fmla="*/ 7636797 w 12192528"/>
              <a:gd name="connsiteY2933" fmla="*/ 1381092 h 3912503"/>
              <a:gd name="connsiteX2934" fmla="*/ 7639534 w 12192528"/>
              <a:gd name="connsiteY2934" fmla="*/ 1375724 h 3912503"/>
              <a:gd name="connsiteX2935" fmla="*/ 7638222 w 12192528"/>
              <a:gd name="connsiteY2935" fmla="*/ 1371671 h 3912503"/>
              <a:gd name="connsiteX2936" fmla="*/ 7807676 w 12192528"/>
              <a:gd name="connsiteY2936" fmla="*/ 1245043 h 3912503"/>
              <a:gd name="connsiteX2937" fmla="*/ 7821147 w 12192528"/>
              <a:gd name="connsiteY2937" fmla="*/ 1245151 h 3912503"/>
              <a:gd name="connsiteX2938" fmla="*/ 7819835 w 12192528"/>
              <a:gd name="connsiteY2938" fmla="*/ 1241098 h 3912503"/>
              <a:gd name="connsiteX2939" fmla="*/ 8446164 w 12192528"/>
              <a:gd name="connsiteY2939" fmla="*/ 934926 h 3912503"/>
              <a:gd name="connsiteX2940" fmla="*/ 9051144 w 12192528"/>
              <a:gd name="connsiteY2940" fmla="*/ 817119 h 3912503"/>
              <a:gd name="connsiteX2941" fmla="*/ 9238369 w 12192528"/>
              <a:gd name="connsiteY2941" fmla="*/ 811665 h 3912503"/>
              <a:gd name="connsiteX2942" fmla="*/ 9243782 w 12192528"/>
              <a:gd name="connsiteY2942" fmla="*/ 808270 h 3912503"/>
              <a:gd name="connsiteX2943" fmla="*/ 9253012 w 12192528"/>
              <a:gd name="connsiteY2943" fmla="*/ 807982 h 3912503"/>
              <a:gd name="connsiteX2944" fmla="*/ 9271179 w 12192528"/>
              <a:gd name="connsiteY2944" fmla="*/ 812014 h 3912503"/>
              <a:gd name="connsiteX2945" fmla="*/ 9271671 w 12192528"/>
              <a:gd name="connsiteY2945" fmla="*/ 812274 h 3912503"/>
              <a:gd name="connsiteX2946" fmla="*/ 9451272 w 12192528"/>
              <a:gd name="connsiteY2946" fmla="*/ 821504 h 3912503"/>
              <a:gd name="connsiteX2947" fmla="*/ 9590974 w 12192528"/>
              <a:gd name="connsiteY2947" fmla="*/ 838534 h 3912503"/>
              <a:gd name="connsiteX2948" fmla="*/ 9591470 w 12192528"/>
              <a:gd name="connsiteY2948" fmla="*/ 836596 h 3912503"/>
              <a:gd name="connsiteX2949" fmla="*/ 9596753 w 12192528"/>
              <a:gd name="connsiteY2949" fmla="*/ 810527 h 3912503"/>
              <a:gd name="connsiteX2950" fmla="*/ 9463346 w 12192528"/>
              <a:gd name="connsiteY2950" fmla="*/ 787951 h 3912503"/>
              <a:gd name="connsiteX2951" fmla="*/ 9115444 w 12192528"/>
              <a:gd name="connsiteY2951" fmla="*/ 772706 h 3912503"/>
              <a:gd name="connsiteX2952" fmla="*/ 6242071 w 12192528"/>
              <a:gd name="connsiteY2952" fmla="*/ 762265 h 3912503"/>
              <a:gd name="connsiteX2953" fmla="*/ 6241886 w 12192528"/>
              <a:gd name="connsiteY2953" fmla="*/ 762573 h 3912503"/>
              <a:gd name="connsiteX2954" fmla="*/ 6241671 w 12192528"/>
              <a:gd name="connsiteY2954" fmla="*/ 762360 h 3912503"/>
              <a:gd name="connsiteX2955" fmla="*/ 10401737 w 12192528"/>
              <a:gd name="connsiteY2955" fmla="*/ 760139 h 3912503"/>
              <a:gd name="connsiteX2956" fmla="*/ 10401520 w 12192528"/>
              <a:gd name="connsiteY2956" fmla="*/ 760500 h 3912503"/>
              <a:gd name="connsiteX2957" fmla="*/ 10401269 w 12192528"/>
              <a:gd name="connsiteY2957" fmla="*/ 760249 h 3912503"/>
              <a:gd name="connsiteX2958" fmla="*/ 7328010 w 12192528"/>
              <a:gd name="connsiteY2958" fmla="*/ 760139 h 3912503"/>
              <a:gd name="connsiteX2959" fmla="*/ 7327792 w 12192528"/>
              <a:gd name="connsiteY2959" fmla="*/ 760499 h 3912503"/>
              <a:gd name="connsiteX2960" fmla="*/ 7327541 w 12192528"/>
              <a:gd name="connsiteY2960" fmla="*/ 760249 h 3912503"/>
              <a:gd name="connsiteX2961" fmla="*/ 2045919 w 12192528"/>
              <a:gd name="connsiteY2961" fmla="*/ 751404 h 3912503"/>
              <a:gd name="connsiteX2962" fmla="*/ 2051732 w 12192528"/>
              <a:gd name="connsiteY2962" fmla="*/ 752842 h 3912503"/>
              <a:gd name="connsiteX2963" fmla="*/ 2072306 w 12192528"/>
              <a:gd name="connsiteY2963" fmla="*/ 768869 h 3912503"/>
              <a:gd name="connsiteX2964" fmla="*/ 2073541 w 12192528"/>
              <a:gd name="connsiteY2964" fmla="*/ 778732 h 3912503"/>
              <a:gd name="connsiteX2965" fmla="*/ 2073951 w 12192528"/>
              <a:gd name="connsiteY2965" fmla="*/ 782841 h 3912503"/>
              <a:gd name="connsiteX2966" fmla="*/ 2076008 w 12192528"/>
              <a:gd name="connsiteY2966" fmla="*/ 793936 h 3912503"/>
              <a:gd name="connsiteX2967" fmla="*/ 2077244 w 12192528"/>
              <a:gd name="connsiteY2967" fmla="*/ 799279 h 3912503"/>
              <a:gd name="connsiteX2968" fmla="*/ 2076831 w 12192528"/>
              <a:gd name="connsiteY2968" fmla="*/ 806266 h 3912503"/>
              <a:gd name="connsiteX2969" fmla="*/ 2073951 w 12192528"/>
              <a:gd name="connsiteY2969" fmla="*/ 813251 h 3912503"/>
              <a:gd name="connsiteX2970" fmla="*/ 2064899 w 12192528"/>
              <a:gd name="connsiteY2970" fmla="*/ 830101 h 3912503"/>
              <a:gd name="connsiteX2971" fmla="*/ 2035684 w 12192528"/>
              <a:gd name="connsiteY2971" fmla="*/ 848594 h 3912503"/>
              <a:gd name="connsiteX2972" fmla="*/ 2032804 w 12192528"/>
              <a:gd name="connsiteY2972" fmla="*/ 847771 h 3912503"/>
              <a:gd name="connsiteX2973" fmla="*/ 2019637 w 12192528"/>
              <a:gd name="connsiteY2973" fmla="*/ 846127 h 3912503"/>
              <a:gd name="connsiteX2974" fmla="*/ 2016345 w 12192528"/>
              <a:gd name="connsiteY2974" fmla="*/ 844483 h 3912503"/>
              <a:gd name="connsiteX2975" fmla="*/ 2006881 w 12192528"/>
              <a:gd name="connsiteY2975" fmla="*/ 841607 h 3912503"/>
              <a:gd name="connsiteX2976" fmla="*/ 2001944 w 12192528"/>
              <a:gd name="connsiteY2976" fmla="*/ 839553 h 3912503"/>
              <a:gd name="connsiteX2977" fmla="*/ 1999063 w 12192528"/>
              <a:gd name="connsiteY2977" fmla="*/ 833799 h 3912503"/>
              <a:gd name="connsiteX2978" fmla="*/ 1987953 w 12192528"/>
              <a:gd name="connsiteY2978" fmla="*/ 819004 h 3912503"/>
              <a:gd name="connsiteX2979" fmla="*/ 1983016 w 12192528"/>
              <a:gd name="connsiteY2979" fmla="*/ 809142 h 3912503"/>
              <a:gd name="connsiteX2980" fmla="*/ 1983016 w 12192528"/>
              <a:gd name="connsiteY2980" fmla="*/ 804211 h 3912503"/>
              <a:gd name="connsiteX2981" fmla="*/ 1987130 w 12192528"/>
              <a:gd name="connsiteY2981" fmla="*/ 793116 h 3912503"/>
              <a:gd name="connsiteX2982" fmla="*/ 1992891 w 12192528"/>
              <a:gd name="connsiteY2982" fmla="*/ 775034 h 3912503"/>
              <a:gd name="connsiteX2983" fmla="*/ 1997829 w 12192528"/>
              <a:gd name="connsiteY2983" fmla="*/ 768459 h 3912503"/>
              <a:gd name="connsiteX2984" fmla="*/ 2005647 w 12192528"/>
              <a:gd name="connsiteY2984" fmla="*/ 761882 h 3912503"/>
              <a:gd name="connsiteX2985" fmla="*/ 2012642 w 12192528"/>
              <a:gd name="connsiteY2985" fmla="*/ 758184 h 3912503"/>
              <a:gd name="connsiteX2986" fmla="*/ 2024986 w 12192528"/>
              <a:gd name="connsiteY2986" fmla="*/ 752072 h 3912503"/>
              <a:gd name="connsiteX2987" fmla="*/ 2038565 w 12192528"/>
              <a:gd name="connsiteY2987" fmla="*/ 752432 h 3912503"/>
              <a:gd name="connsiteX2988" fmla="*/ 2045919 w 12192528"/>
              <a:gd name="connsiteY2988" fmla="*/ 751404 h 3912503"/>
              <a:gd name="connsiteX2989" fmla="*/ 1797831 w 12192528"/>
              <a:gd name="connsiteY2989" fmla="*/ 733924 h 3912503"/>
              <a:gd name="connsiteX2990" fmla="*/ 1814380 w 12192528"/>
              <a:gd name="connsiteY2990" fmla="*/ 735013 h 3912503"/>
              <a:gd name="connsiteX2991" fmla="*/ 1827665 w 12192528"/>
              <a:gd name="connsiteY2991" fmla="*/ 738495 h 3912503"/>
              <a:gd name="connsiteX2992" fmla="*/ 1832021 w 12192528"/>
              <a:gd name="connsiteY2992" fmla="*/ 737842 h 3912503"/>
              <a:gd name="connsiteX2993" fmla="*/ 1834198 w 12192528"/>
              <a:gd name="connsiteY2993" fmla="*/ 735013 h 3912503"/>
              <a:gd name="connsiteX2994" fmla="*/ 1837682 w 12192528"/>
              <a:gd name="connsiteY2994" fmla="*/ 734142 h 3912503"/>
              <a:gd name="connsiteX2995" fmla="*/ 1837900 w 12192528"/>
              <a:gd name="connsiteY2995" fmla="*/ 738060 h 3912503"/>
              <a:gd name="connsiteX2996" fmla="*/ 1836811 w 12192528"/>
              <a:gd name="connsiteY2996" fmla="*/ 739800 h 3912503"/>
              <a:gd name="connsiteX2997" fmla="*/ 1840513 w 12192528"/>
              <a:gd name="connsiteY2997" fmla="*/ 748725 h 3912503"/>
              <a:gd name="connsiteX2998" fmla="*/ 1843562 w 12192528"/>
              <a:gd name="connsiteY2998" fmla="*/ 749160 h 3912503"/>
              <a:gd name="connsiteX2999" fmla="*/ 1847265 w 12192528"/>
              <a:gd name="connsiteY2999" fmla="*/ 751554 h 3912503"/>
              <a:gd name="connsiteX3000" fmla="*/ 1845521 w 12192528"/>
              <a:gd name="connsiteY3000" fmla="*/ 755037 h 3912503"/>
              <a:gd name="connsiteX3001" fmla="*/ 1845739 w 12192528"/>
              <a:gd name="connsiteY3001" fmla="*/ 760259 h 3912503"/>
              <a:gd name="connsiteX3002" fmla="*/ 1851402 w 12192528"/>
              <a:gd name="connsiteY3002" fmla="*/ 770055 h 3912503"/>
              <a:gd name="connsiteX3003" fmla="*/ 1855974 w 12192528"/>
              <a:gd name="connsiteY3003" fmla="*/ 774409 h 3912503"/>
              <a:gd name="connsiteX3004" fmla="*/ 1858370 w 12192528"/>
              <a:gd name="connsiteY3004" fmla="*/ 775714 h 3912503"/>
              <a:gd name="connsiteX3005" fmla="*/ 1857064 w 12192528"/>
              <a:gd name="connsiteY3005" fmla="*/ 778108 h 3912503"/>
              <a:gd name="connsiteX3006" fmla="*/ 1852708 w 12192528"/>
              <a:gd name="connsiteY3006" fmla="*/ 782896 h 3912503"/>
              <a:gd name="connsiteX3007" fmla="*/ 1852708 w 12192528"/>
              <a:gd name="connsiteY3007" fmla="*/ 794868 h 3912503"/>
              <a:gd name="connsiteX3008" fmla="*/ 1857499 w 12192528"/>
              <a:gd name="connsiteY3008" fmla="*/ 807275 h 3912503"/>
              <a:gd name="connsiteX3009" fmla="*/ 1853143 w 12192528"/>
              <a:gd name="connsiteY3009" fmla="*/ 810103 h 3912503"/>
              <a:gd name="connsiteX3010" fmla="*/ 1848570 w 12192528"/>
              <a:gd name="connsiteY3010" fmla="*/ 806404 h 3912503"/>
              <a:gd name="connsiteX3011" fmla="*/ 1842691 w 12192528"/>
              <a:gd name="connsiteY3011" fmla="*/ 805098 h 3912503"/>
              <a:gd name="connsiteX3012" fmla="*/ 1843779 w 12192528"/>
              <a:gd name="connsiteY3012" fmla="*/ 811846 h 3912503"/>
              <a:gd name="connsiteX3013" fmla="*/ 1846829 w 12192528"/>
              <a:gd name="connsiteY3013" fmla="*/ 814674 h 3912503"/>
              <a:gd name="connsiteX3014" fmla="*/ 1847482 w 12192528"/>
              <a:gd name="connsiteY3014" fmla="*/ 818592 h 3912503"/>
              <a:gd name="connsiteX3015" fmla="*/ 1843779 w 12192528"/>
              <a:gd name="connsiteY3015" fmla="*/ 818158 h 3912503"/>
              <a:gd name="connsiteX3016" fmla="*/ 1839860 w 12192528"/>
              <a:gd name="connsiteY3016" fmla="*/ 815545 h 3912503"/>
              <a:gd name="connsiteX3017" fmla="*/ 1834198 w 12192528"/>
              <a:gd name="connsiteY3017" fmla="*/ 816198 h 3912503"/>
              <a:gd name="connsiteX3018" fmla="*/ 1834198 w 12192528"/>
              <a:gd name="connsiteY3018" fmla="*/ 820987 h 3912503"/>
              <a:gd name="connsiteX3019" fmla="*/ 1855757 w 12192528"/>
              <a:gd name="connsiteY3019" fmla="*/ 827298 h 3912503"/>
              <a:gd name="connsiteX3020" fmla="*/ 1860983 w 12192528"/>
              <a:gd name="connsiteY3020" fmla="*/ 829258 h 3912503"/>
              <a:gd name="connsiteX3021" fmla="*/ 1869911 w 12192528"/>
              <a:gd name="connsiteY3021" fmla="*/ 840575 h 3912503"/>
              <a:gd name="connsiteX3022" fmla="*/ 1873179 w 12192528"/>
              <a:gd name="connsiteY3022" fmla="*/ 844493 h 3912503"/>
              <a:gd name="connsiteX3023" fmla="*/ 1876880 w 12192528"/>
              <a:gd name="connsiteY3023" fmla="*/ 858860 h 3912503"/>
              <a:gd name="connsiteX3024" fmla="*/ 1877316 w 12192528"/>
              <a:gd name="connsiteY3024" fmla="*/ 869089 h 3912503"/>
              <a:gd name="connsiteX3025" fmla="*/ 1881452 w 12192528"/>
              <a:gd name="connsiteY3025" fmla="*/ 876490 h 3912503"/>
              <a:gd name="connsiteX3026" fmla="*/ 1882107 w 12192528"/>
              <a:gd name="connsiteY3026" fmla="*/ 876490 h 3912503"/>
              <a:gd name="connsiteX3027" fmla="*/ 1886244 w 12192528"/>
              <a:gd name="connsiteY3027" fmla="*/ 879102 h 3912503"/>
              <a:gd name="connsiteX3028" fmla="*/ 1883196 w 12192528"/>
              <a:gd name="connsiteY3028" fmla="*/ 881495 h 3912503"/>
              <a:gd name="connsiteX3029" fmla="*/ 1874703 w 12192528"/>
              <a:gd name="connsiteY3029" fmla="*/ 898255 h 3912503"/>
              <a:gd name="connsiteX3030" fmla="*/ 1872090 w 12192528"/>
              <a:gd name="connsiteY3030" fmla="*/ 903479 h 3912503"/>
              <a:gd name="connsiteX3031" fmla="*/ 1868170 w 12192528"/>
              <a:gd name="connsiteY3031" fmla="*/ 905220 h 3912503"/>
              <a:gd name="connsiteX3032" fmla="*/ 1866209 w 12192528"/>
              <a:gd name="connsiteY3032" fmla="*/ 909357 h 3912503"/>
              <a:gd name="connsiteX3033" fmla="*/ 1867184 w 12192528"/>
              <a:gd name="connsiteY3033" fmla="*/ 910738 h 3912503"/>
              <a:gd name="connsiteX3034" fmla="*/ 1850164 w 12192528"/>
              <a:gd name="connsiteY3034" fmla="*/ 927666 h 3912503"/>
              <a:gd name="connsiteX3035" fmla="*/ 1850530 w 12192528"/>
              <a:gd name="connsiteY3035" fmla="*/ 924374 h 3912503"/>
              <a:gd name="connsiteX3036" fmla="*/ 1849006 w 12192528"/>
              <a:gd name="connsiteY3036" fmla="*/ 920674 h 3912503"/>
              <a:gd name="connsiteX3037" fmla="*/ 1845086 w 12192528"/>
              <a:gd name="connsiteY3037" fmla="*/ 922197 h 3912503"/>
              <a:gd name="connsiteX3038" fmla="*/ 1843779 w 12192528"/>
              <a:gd name="connsiteY3038" fmla="*/ 925028 h 3912503"/>
              <a:gd name="connsiteX3039" fmla="*/ 1837247 w 12192528"/>
              <a:gd name="connsiteY3039" fmla="*/ 926115 h 3912503"/>
              <a:gd name="connsiteX3040" fmla="*/ 1834416 w 12192528"/>
              <a:gd name="connsiteY3040" fmla="*/ 924157 h 3912503"/>
              <a:gd name="connsiteX3041" fmla="*/ 1832456 w 12192528"/>
              <a:gd name="connsiteY3041" fmla="*/ 927204 h 3912503"/>
              <a:gd name="connsiteX3042" fmla="*/ 1831802 w 12192528"/>
              <a:gd name="connsiteY3042" fmla="*/ 929816 h 3912503"/>
              <a:gd name="connsiteX3043" fmla="*/ 1829842 w 12192528"/>
              <a:gd name="connsiteY3043" fmla="*/ 932727 h 3912503"/>
              <a:gd name="connsiteX3044" fmla="*/ 1826576 w 12192528"/>
              <a:gd name="connsiteY3044" fmla="*/ 931557 h 3912503"/>
              <a:gd name="connsiteX3045" fmla="*/ 1819389 w 12192528"/>
              <a:gd name="connsiteY3045" fmla="*/ 925245 h 3912503"/>
              <a:gd name="connsiteX3046" fmla="*/ 1809808 w 12192528"/>
              <a:gd name="connsiteY3046" fmla="*/ 923068 h 3912503"/>
              <a:gd name="connsiteX3047" fmla="*/ 1804145 w 12192528"/>
              <a:gd name="connsiteY3047" fmla="*/ 921327 h 3912503"/>
              <a:gd name="connsiteX3048" fmla="*/ 1790863 w 12192528"/>
              <a:gd name="connsiteY3048" fmla="*/ 915015 h 3912503"/>
              <a:gd name="connsiteX3049" fmla="*/ 1788684 w 12192528"/>
              <a:gd name="connsiteY3049" fmla="*/ 913274 h 3912503"/>
              <a:gd name="connsiteX3050" fmla="*/ 1777143 w 12192528"/>
              <a:gd name="connsiteY3050" fmla="*/ 885196 h 3912503"/>
              <a:gd name="connsiteX3051" fmla="*/ 1776924 w 12192528"/>
              <a:gd name="connsiteY3051" fmla="*/ 879972 h 3912503"/>
              <a:gd name="connsiteX3052" fmla="*/ 1779974 w 12192528"/>
              <a:gd name="connsiteY3052" fmla="*/ 867349 h 3912503"/>
              <a:gd name="connsiteX3053" fmla="*/ 1781716 w 12192528"/>
              <a:gd name="connsiteY3053" fmla="*/ 856465 h 3912503"/>
              <a:gd name="connsiteX3054" fmla="*/ 1783458 w 12192528"/>
              <a:gd name="connsiteY3054" fmla="*/ 852982 h 3912503"/>
              <a:gd name="connsiteX3055" fmla="*/ 1796307 w 12192528"/>
              <a:gd name="connsiteY3055" fmla="*/ 837747 h 3912503"/>
              <a:gd name="connsiteX3056" fmla="*/ 1797612 w 12192528"/>
              <a:gd name="connsiteY3056" fmla="*/ 835352 h 3912503"/>
              <a:gd name="connsiteX3057" fmla="*/ 1788466 w 12192528"/>
              <a:gd name="connsiteY3057" fmla="*/ 823380 h 3912503"/>
              <a:gd name="connsiteX3058" fmla="*/ 1776272 w 12192528"/>
              <a:gd name="connsiteY3058" fmla="*/ 816198 h 3912503"/>
              <a:gd name="connsiteX3059" fmla="*/ 1763422 w 12192528"/>
              <a:gd name="connsiteY3059" fmla="*/ 801398 h 3912503"/>
              <a:gd name="connsiteX3060" fmla="*/ 1763641 w 12192528"/>
              <a:gd name="connsiteY3060" fmla="*/ 798132 h 3912503"/>
              <a:gd name="connsiteX3061" fmla="*/ 1762770 w 12192528"/>
              <a:gd name="connsiteY3061" fmla="*/ 790080 h 3912503"/>
              <a:gd name="connsiteX3062" fmla="*/ 1762117 w 12192528"/>
              <a:gd name="connsiteY3062" fmla="*/ 780503 h 3912503"/>
              <a:gd name="connsiteX3063" fmla="*/ 1764948 w 12192528"/>
              <a:gd name="connsiteY3063" fmla="*/ 773755 h 3912503"/>
              <a:gd name="connsiteX3064" fmla="*/ 1770827 w 12192528"/>
              <a:gd name="connsiteY3064" fmla="*/ 754166 h 3912503"/>
              <a:gd name="connsiteX3065" fmla="*/ 1780410 w 12192528"/>
              <a:gd name="connsiteY3065" fmla="*/ 742631 h 3912503"/>
              <a:gd name="connsiteX3066" fmla="*/ 1782587 w 12192528"/>
              <a:gd name="connsiteY3066" fmla="*/ 741107 h 3912503"/>
              <a:gd name="connsiteX3067" fmla="*/ 1793911 w 12192528"/>
              <a:gd name="connsiteY3067" fmla="*/ 735882 h 3912503"/>
              <a:gd name="connsiteX3068" fmla="*/ 1797831 w 12192528"/>
              <a:gd name="connsiteY3068" fmla="*/ 733924 h 3912503"/>
              <a:gd name="connsiteX3069" fmla="*/ 3697078 w 12192528"/>
              <a:gd name="connsiteY3069" fmla="*/ 730896 h 3912503"/>
              <a:gd name="connsiteX3070" fmla="*/ 3707231 w 12192528"/>
              <a:gd name="connsiteY3070" fmla="*/ 732450 h 3912503"/>
              <a:gd name="connsiteX3071" fmla="*/ 3715822 w 12192528"/>
              <a:gd name="connsiteY3071" fmla="*/ 737892 h 3912503"/>
              <a:gd name="connsiteX3072" fmla="*/ 3720507 w 12192528"/>
              <a:gd name="connsiteY3072" fmla="*/ 743335 h 3912503"/>
              <a:gd name="connsiteX3073" fmla="*/ 3720507 w 12192528"/>
              <a:gd name="connsiteY3073" fmla="*/ 757329 h 3912503"/>
              <a:gd name="connsiteX3074" fmla="*/ 3711917 w 12192528"/>
              <a:gd name="connsiteY3074" fmla="*/ 765880 h 3912503"/>
              <a:gd name="connsiteX3075" fmla="*/ 3706451 w 12192528"/>
              <a:gd name="connsiteY3075" fmla="*/ 775987 h 3912503"/>
              <a:gd name="connsiteX3076" fmla="*/ 3702155 w 12192528"/>
              <a:gd name="connsiteY3076" fmla="*/ 786484 h 3912503"/>
              <a:gd name="connsiteX3077" fmla="*/ 3696298 w 12192528"/>
              <a:gd name="connsiteY3077" fmla="*/ 793480 h 3912503"/>
              <a:gd name="connsiteX3078" fmla="*/ 3687707 w 12192528"/>
              <a:gd name="connsiteY3078" fmla="*/ 797756 h 3912503"/>
              <a:gd name="connsiteX3079" fmla="*/ 3679898 w 12192528"/>
              <a:gd name="connsiteY3079" fmla="*/ 797756 h 3912503"/>
              <a:gd name="connsiteX3080" fmla="*/ 3678726 w 12192528"/>
              <a:gd name="connsiteY3080" fmla="*/ 796201 h 3912503"/>
              <a:gd name="connsiteX3081" fmla="*/ 3667794 w 12192528"/>
              <a:gd name="connsiteY3081" fmla="*/ 787649 h 3912503"/>
              <a:gd name="connsiteX3082" fmla="*/ 3664279 w 12192528"/>
              <a:gd name="connsiteY3082" fmla="*/ 774433 h 3912503"/>
              <a:gd name="connsiteX3083" fmla="*/ 3669745 w 12192528"/>
              <a:gd name="connsiteY3083" fmla="*/ 758884 h 3912503"/>
              <a:gd name="connsiteX3084" fmla="*/ 3675603 w 12192528"/>
              <a:gd name="connsiteY3084" fmla="*/ 755385 h 3912503"/>
              <a:gd name="connsiteX3085" fmla="*/ 3683021 w 12192528"/>
              <a:gd name="connsiteY3085" fmla="*/ 746056 h 3912503"/>
              <a:gd name="connsiteX3086" fmla="*/ 3685364 w 12192528"/>
              <a:gd name="connsiteY3086" fmla="*/ 741780 h 3912503"/>
              <a:gd name="connsiteX3087" fmla="*/ 3697078 w 12192528"/>
              <a:gd name="connsiteY3087" fmla="*/ 730896 h 3912503"/>
              <a:gd name="connsiteX3088" fmla="*/ 2342912 w 12192528"/>
              <a:gd name="connsiteY3088" fmla="*/ 728298 h 3912503"/>
              <a:gd name="connsiteX3089" fmla="*/ 2351485 w 12192528"/>
              <a:gd name="connsiteY3089" fmla="*/ 732545 h 3912503"/>
              <a:gd name="connsiteX3090" fmla="*/ 2356345 w 12192528"/>
              <a:gd name="connsiteY3090" fmla="*/ 735114 h 3912503"/>
              <a:gd name="connsiteX3091" fmla="*/ 2361775 w 12192528"/>
              <a:gd name="connsiteY3091" fmla="*/ 739680 h 3912503"/>
              <a:gd name="connsiteX3092" fmla="*/ 2365204 w 12192528"/>
              <a:gd name="connsiteY3092" fmla="*/ 744248 h 3912503"/>
              <a:gd name="connsiteX3093" fmla="*/ 2369205 w 12192528"/>
              <a:gd name="connsiteY3093" fmla="*/ 756807 h 3912503"/>
              <a:gd name="connsiteX3094" fmla="*/ 2372063 w 12192528"/>
              <a:gd name="connsiteY3094" fmla="*/ 764514 h 3912503"/>
              <a:gd name="connsiteX3095" fmla="*/ 2372063 w 12192528"/>
              <a:gd name="connsiteY3095" fmla="*/ 767939 h 3912503"/>
              <a:gd name="connsiteX3096" fmla="*/ 2368634 w 12192528"/>
              <a:gd name="connsiteY3096" fmla="*/ 774790 h 3912503"/>
              <a:gd name="connsiteX3097" fmla="*/ 2360917 w 12192528"/>
              <a:gd name="connsiteY3097" fmla="*/ 785066 h 3912503"/>
              <a:gd name="connsiteX3098" fmla="*/ 2358916 w 12192528"/>
              <a:gd name="connsiteY3098" fmla="*/ 789062 h 3912503"/>
              <a:gd name="connsiteX3099" fmla="*/ 2355487 w 12192528"/>
              <a:gd name="connsiteY3099" fmla="*/ 790489 h 3912503"/>
              <a:gd name="connsiteX3100" fmla="*/ 2348913 w 12192528"/>
              <a:gd name="connsiteY3100" fmla="*/ 792487 h 3912503"/>
              <a:gd name="connsiteX3101" fmla="*/ 2346627 w 12192528"/>
              <a:gd name="connsiteY3101" fmla="*/ 793629 h 3912503"/>
              <a:gd name="connsiteX3102" fmla="*/ 2337482 w 12192528"/>
              <a:gd name="connsiteY3102" fmla="*/ 794771 h 3912503"/>
              <a:gd name="connsiteX3103" fmla="*/ 2335481 w 12192528"/>
              <a:gd name="connsiteY3103" fmla="*/ 795342 h 3912503"/>
              <a:gd name="connsiteX3104" fmla="*/ 2315189 w 12192528"/>
              <a:gd name="connsiteY3104" fmla="*/ 782497 h 3912503"/>
              <a:gd name="connsiteX3105" fmla="*/ 2308901 w 12192528"/>
              <a:gd name="connsiteY3105" fmla="*/ 770794 h 3912503"/>
              <a:gd name="connsiteX3106" fmla="*/ 2306900 w 12192528"/>
              <a:gd name="connsiteY3106" fmla="*/ 765941 h 3912503"/>
              <a:gd name="connsiteX3107" fmla="*/ 2306614 w 12192528"/>
              <a:gd name="connsiteY3107" fmla="*/ 761089 h 3912503"/>
              <a:gd name="connsiteX3108" fmla="*/ 2307472 w 12192528"/>
              <a:gd name="connsiteY3108" fmla="*/ 757379 h 3912503"/>
              <a:gd name="connsiteX3109" fmla="*/ 2308901 w 12192528"/>
              <a:gd name="connsiteY3109" fmla="*/ 749670 h 3912503"/>
              <a:gd name="connsiteX3110" fmla="*/ 2309186 w 12192528"/>
              <a:gd name="connsiteY3110" fmla="*/ 746817 h 3912503"/>
              <a:gd name="connsiteX3111" fmla="*/ 2310045 w 12192528"/>
              <a:gd name="connsiteY3111" fmla="*/ 739966 h 3912503"/>
              <a:gd name="connsiteX3112" fmla="*/ 2324335 w 12192528"/>
              <a:gd name="connsiteY3112" fmla="*/ 728834 h 3912503"/>
              <a:gd name="connsiteX3113" fmla="*/ 2333479 w 12192528"/>
              <a:gd name="connsiteY3113" fmla="*/ 728549 h 3912503"/>
              <a:gd name="connsiteX3114" fmla="*/ 2342912 w 12192528"/>
              <a:gd name="connsiteY3114" fmla="*/ 728298 h 3912503"/>
              <a:gd name="connsiteX3115" fmla="*/ 6822928 w 12192528"/>
              <a:gd name="connsiteY3115" fmla="*/ 696735 h 3912503"/>
              <a:gd name="connsiteX3116" fmla="*/ 6835677 w 12192528"/>
              <a:gd name="connsiteY3116" fmla="*/ 697073 h 3912503"/>
              <a:gd name="connsiteX3117" fmla="*/ 6848042 w 12192528"/>
              <a:gd name="connsiteY3117" fmla="*/ 697459 h 3912503"/>
              <a:gd name="connsiteX3118" fmla="*/ 6867357 w 12192528"/>
              <a:gd name="connsiteY3118" fmla="*/ 712507 h 3912503"/>
              <a:gd name="connsiteX3119" fmla="*/ 6868516 w 12192528"/>
              <a:gd name="connsiteY3119" fmla="*/ 721769 h 3912503"/>
              <a:gd name="connsiteX3120" fmla="*/ 6868714 w 12192528"/>
              <a:gd name="connsiteY3120" fmla="*/ 723723 h 3912503"/>
              <a:gd name="connsiteX3121" fmla="*/ 6880103 w 12192528"/>
              <a:gd name="connsiteY3121" fmla="*/ 729759 h 3912503"/>
              <a:gd name="connsiteX3122" fmla="*/ 6889972 w 12192528"/>
              <a:gd name="connsiteY3122" fmla="*/ 745688 h 3912503"/>
              <a:gd name="connsiteX3123" fmla="*/ 6893233 w 12192528"/>
              <a:gd name="connsiteY3123" fmla="*/ 771746 h 3912503"/>
              <a:gd name="connsiteX3124" fmla="*/ 6894319 w 12192528"/>
              <a:gd name="connsiteY3124" fmla="*/ 782603 h 3912503"/>
              <a:gd name="connsiteX3125" fmla="*/ 6899754 w 12192528"/>
              <a:gd name="connsiteY3125" fmla="*/ 811918 h 3912503"/>
              <a:gd name="connsiteX3126" fmla="*/ 6903015 w 12192528"/>
              <a:gd name="connsiteY3126" fmla="*/ 826031 h 3912503"/>
              <a:gd name="connsiteX3127" fmla="*/ 6901932 w 12192528"/>
              <a:gd name="connsiteY3127" fmla="*/ 844490 h 3912503"/>
              <a:gd name="connsiteX3128" fmla="*/ 6894319 w 12192528"/>
              <a:gd name="connsiteY3128" fmla="*/ 862947 h 3912503"/>
              <a:gd name="connsiteX3129" fmla="*/ 6870401 w 12192528"/>
              <a:gd name="connsiteY3129" fmla="*/ 907461 h 3912503"/>
              <a:gd name="connsiteX3130" fmla="*/ 6793218 w 12192528"/>
              <a:gd name="connsiteY3130" fmla="*/ 956319 h 3912503"/>
              <a:gd name="connsiteX3131" fmla="*/ 6785610 w 12192528"/>
              <a:gd name="connsiteY3131" fmla="*/ 954148 h 3912503"/>
              <a:gd name="connsiteX3132" fmla="*/ 6750821 w 12192528"/>
              <a:gd name="connsiteY3132" fmla="*/ 949805 h 3912503"/>
              <a:gd name="connsiteX3133" fmla="*/ 6742123 w 12192528"/>
              <a:gd name="connsiteY3133" fmla="*/ 945462 h 3912503"/>
              <a:gd name="connsiteX3134" fmla="*/ 6717122 w 12192528"/>
              <a:gd name="connsiteY3134" fmla="*/ 937862 h 3912503"/>
              <a:gd name="connsiteX3135" fmla="*/ 6704075 w 12192528"/>
              <a:gd name="connsiteY3135" fmla="*/ 932433 h 3912503"/>
              <a:gd name="connsiteX3136" fmla="*/ 6696466 w 12192528"/>
              <a:gd name="connsiteY3136" fmla="*/ 917233 h 3912503"/>
              <a:gd name="connsiteX3137" fmla="*/ 6667115 w 12192528"/>
              <a:gd name="connsiteY3137" fmla="*/ 878147 h 3912503"/>
              <a:gd name="connsiteX3138" fmla="*/ 6654068 w 12192528"/>
              <a:gd name="connsiteY3138" fmla="*/ 852090 h 3912503"/>
              <a:gd name="connsiteX3139" fmla="*/ 6654068 w 12192528"/>
              <a:gd name="connsiteY3139" fmla="*/ 839061 h 3912503"/>
              <a:gd name="connsiteX3140" fmla="*/ 6664939 w 12192528"/>
              <a:gd name="connsiteY3140" fmla="*/ 809745 h 3912503"/>
              <a:gd name="connsiteX3141" fmla="*/ 6680161 w 12192528"/>
              <a:gd name="connsiteY3141" fmla="*/ 761974 h 3912503"/>
              <a:gd name="connsiteX3142" fmla="*/ 6693202 w 12192528"/>
              <a:gd name="connsiteY3142" fmla="*/ 744603 h 3912503"/>
              <a:gd name="connsiteX3143" fmla="*/ 6713856 w 12192528"/>
              <a:gd name="connsiteY3143" fmla="*/ 727230 h 3912503"/>
              <a:gd name="connsiteX3144" fmla="*/ 6732341 w 12192528"/>
              <a:gd name="connsiteY3144" fmla="*/ 717459 h 3912503"/>
              <a:gd name="connsiteX3145" fmla="*/ 6800829 w 12192528"/>
              <a:gd name="connsiteY3145" fmla="*/ 702258 h 3912503"/>
              <a:gd name="connsiteX3146" fmla="*/ 6816077 w 12192528"/>
              <a:gd name="connsiteY3146" fmla="*/ 700129 h 3912503"/>
              <a:gd name="connsiteX3147" fmla="*/ 3895000 w 12192528"/>
              <a:gd name="connsiteY3147" fmla="*/ 684176 h 3912503"/>
              <a:gd name="connsiteX3148" fmla="*/ 3903652 w 12192528"/>
              <a:gd name="connsiteY3148" fmla="*/ 688460 h 3912503"/>
              <a:gd name="connsiteX3149" fmla="*/ 3908554 w 12192528"/>
              <a:gd name="connsiteY3149" fmla="*/ 691053 h 3912503"/>
              <a:gd name="connsiteX3150" fmla="*/ 3914034 w 12192528"/>
              <a:gd name="connsiteY3150" fmla="*/ 695662 h 3912503"/>
              <a:gd name="connsiteX3151" fmla="*/ 3917495 w 12192528"/>
              <a:gd name="connsiteY3151" fmla="*/ 700270 h 3912503"/>
              <a:gd name="connsiteX3152" fmla="*/ 3921532 w 12192528"/>
              <a:gd name="connsiteY3152" fmla="*/ 712942 h 3912503"/>
              <a:gd name="connsiteX3153" fmla="*/ 3924416 w 12192528"/>
              <a:gd name="connsiteY3153" fmla="*/ 720720 h 3912503"/>
              <a:gd name="connsiteX3154" fmla="*/ 3924416 w 12192528"/>
              <a:gd name="connsiteY3154" fmla="*/ 724175 h 3912503"/>
              <a:gd name="connsiteX3155" fmla="*/ 3920955 w 12192528"/>
              <a:gd name="connsiteY3155" fmla="*/ 731088 h 3912503"/>
              <a:gd name="connsiteX3156" fmla="*/ 3913169 w 12192528"/>
              <a:gd name="connsiteY3156" fmla="*/ 741457 h 3912503"/>
              <a:gd name="connsiteX3157" fmla="*/ 3911150 w 12192528"/>
              <a:gd name="connsiteY3157" fmla="*/ 745489 h 3912503"/>
              <a:gd name="connsiteX3158" fmla="*/ 3907690 w 12192528"/>
              <a:gd name="connsiteY3158" fmla="*/ 746929 h 3912503"/>
              <a:gd name="connsiteX3159" fmla="*/ 3901056 w 12192528"/>
              <a:gd name="connsiteY3159" fmla="*/ 748946 h 3912503"/>
              <a:gd name="connsiteX3160" fmla="*/ 3898749 w 12192528"/>
              <a:gd name="connsiteY3160" fmla="*/ 750097 h 3912503"/>
              <a:gd name="connsiteX3161" fmla="*/ 3889521 w 12192528"/>
              <a:gd name="connsiteY3161" fmla="*/ 751250 h 3912503"/>
              <a:gd name="connsiteX3162" fmla="*/ 3887502 w 12192528"/>
              <a:gd name="connsiteY3162" fmla="*/ 751826 h 3912503"/>
              <a:gd name="connsiteX3163" fmla="*/ 3867027 w 12192528"/>
              <a:gd name="connsiteY3163" fmla="*/ 738864 h 3912503"/>
              <a:gd name="connsiteX3164" fmla="*/ 3860681 w 12192528"/>
              <a:gd name="connsiteY3164" fmla="*/ 727056 h 3912503"/>
              <a:gd name="connsiteX3165" fmla="*/ 3858663 w 12192528"/>
              <a:gd name="connsiteY3165" fmla="*/ 722160 h 3912503"/>
              <a:gd name="connsiteX3166" fmla="*/ 3858375 w 12192528"/>
              <a:gd name="connsiteY3166" fmla="*/ 717263 h 3912503"/>
              <a:gd name="connsiteX3167" fmla="*/ 3859239 w 12192528"/>
              <a:gd name="connsiteY3167" fmla="*/ 713519 h 3912503"/>
              <a:gd name="connsiteX3168" fmla="*/ 3860681 w 12192528"/>
              <a:gd name="connsiteY3168" fmla="*/ 705742 h 3912503"/>
              <a:gd name="connsiteX3169" fmla="*/ 3860970 w 12192528"/>
              <a:gd name="connsiteY3169" fmla="*/ 702862 h 3912503"/>
              <a:gd name="connsiteX3170" fmla="*/ 3861836 w 12192528"/>
              <a:gd name="connsiteY3170" fmla="*/ 695949 h 3912503"/>
              <a:gd name="connsiteX3171" fmla="*/ 3876255 w 12192528"/>
              <a:gd name="connsiteY3171" fmla="*/ 684716 h 3912503"/>
              <a:gd name="connsiteX3172" fmla="*/ 3885484 w 12192528"/>
              <a:gd name="connsiteY3172" fmla="*/ 684429 h 3912503"/>
              <a:gd name="connsiteX3173" fmla="*/ 3895000 w 12192528"/>
              <a:gd name="connsiteY3173" fmla="*/ 684176 h 3912503"/>
              <a:gd name="connsiteX3174" fmla="*/ 3616613 w 12192528"/>
              <a:gd name="connsiteY3174" fmla="*/ 678508 h 3912503"/>
              <a:gd name="connsiteX3175" fmla="*/ 3620595 w 12192528"/>
              <a:gd name="connsiteY3175" fmla="*/ 680330 h 3912503"/>
              <a:gd name="connsiteX3176" fmla="*/ 3611238 w 12192528"/>
              <a:gd name="connsiteY3176" fmla="*/ 683189 h 3912503"/>
              <a:gd name="connsiteX3177" fmla="*/ 3608649 w 12192528"/>
              <a:gd name="connsiteY3177" fmla="*/ 681665 h 3912503"/>
              <a:gd name="connsiteX3178" fmla="*/ 3616613 w 12192528"/>
              <a:gd name="connsiteY3178" fmla="*/ 678508 h 3912503"/>
              <a:gd name="connsiteX3179" fmla="*/ 3586537 w 12192528"/>
              <a:gd name="connsiteY3179" fmla="*/ 674876 h 3912503"/>
              <a:gd name="connsiteX3180" fmla="*/ 3569890 w 12192528"/>
              <a:gd name="connsiteY3180" fmla="*/ 681157 h 3912503"/>
              <a:gd name="connsiteX3181" fmla="*/ 3551050 w 12192528"/>
              <a:gd name="connsiteY3181" fmla="*/ 696561 h 3912503"/>
              <a:gd name="connsiteX3182" fmla="*/ 3378830 w 12192528"/>
              <a:gd name="connsiteY3182" fmla="*/ 811329 h 3912503"/>
              <a:gd name="connsiteX3183" fmla="*/ 3350969 w 12192528"/>
              <a:gd name="connsiteY3183" fmla="*/ 832579 h 3912503"/>
              <a:gd name="connsiteX3184" fmla="*/ 3309574 w 12192528"/>
              <a:gd name="connsiteY3184" fmla="*/ 862596 h 3912503"/>
              <a:gd name="connsiteX3185" fmla="*/ 3307987 w 12192528"/>
              <a:gd name="connsiteY3185" fmla="*/ 870029 h 3912503"/>
              <a:gd name="connsiteX3186" fmla="*/ 3241652 w 12192528"/>
              <a:gd name="connsiteY3186" fmla="*/ 925809 h 3912503"/>
              <a:gd name="connsiteX3187" fmla="*/ 3181419 w 12192528"/>
              <a:gd name="connsiteY3187" fmla="*/ 971233 h 3912503"/>
              <a:gd name="connsiteX3188" fmla="*/ 3195494 w 12192528"/>
              <a:gd name="connsiteY3188" fmla="*/ 978125 h 3912503"/>
              <a:gd name="connsiteX3189" fmla="*/ 3189394 w 12192528"/>
              <a:gd name="connsiteY3189" fmla="*/ 988481 h 3912503"/>
              <a:gd name="connsiteX3190" fmla="*/ 3141901 w 12192528"/>
              <a:gd name="connsiteY3190" fmla="*/ 1028854 h 3912503"/>
              <a:gd name="connsiteX3191" fmla="*/ 3134466 w 12192528"/>
              <a:gd name="connsiteY3191" fmla="*/ 1027266 h 3912503"/>
              <a:gd name="connsiteX3192" fmla="*/ 3146664 w 12192528"/>
              <a:gd name="connsiteY3192" fmla="*/ 1006555 h 3912503"/>
              <a:gd name="connsiteX3193" fmla="*/ 3117592 w 12192528"/>
              <a:gd name="connsiteY3193" fmla="*/ 1029227 h 3912503"/>
              <a:gd name="connsiteX3194" fmla="*/ 3145894 w 12192528"/>
              <a:gd name="connsiteY3194" fmla="*/ 1050894 h 3912503"/>
              <a:gd name="connsiteX3195" fmla="*/ 3178041 w 12192528"/>
              <a:gd name="connsiteY3195" fmla="*/ 1076696 h 3912503"/>
              <a:gd name="connsiteX3196" fmla="*/ 3255840 w 12192528"/>
              <a:gd name="connsiteY3196" fmla="*/ 1110770 h 3912503"/>
              <a:gd name="connsiteX3197" fmla="*/ 3285698 w 12192528"/>
              <a:gd name="connsiteY3197" fmla="*/ 1103619 h 3912503"/>
              <a:gd name="connsiteX3198" fmla="*/ 3289132 w 12192528"/>
              <a:gd name="connsiteY3198" fmla="*/ 1100387 h 3912503"/>
              <a:gd name="connsiteX3199" fmla="*/ 3288029 w 12192528"/>
              <a:gd name="connsiteY3199" fmla="*/ 1099174 h 3912503"/>
              <a:gd name="connsiteX3200" fmla="*/ 3286613 w 12192528"/>
              <a:gd name="connsiteY3200" fmla="*/ 1096580 h 3912503"/>
              <a:gd name="connsiteX3201" fmla="*/ 3289208 w 12192528"/>
              <a:gd name="connsiteY3201" fmla="*/ 1095165 h 3912503"/>
              <a:gd name="connsiteX3202" fmla="*/ 3294163 w 12192528"/>
              <a:gd name="connsiteY3202" fmla="*/ 1090449 h 3912503"/>
              <a:gd name="connsiteX3203" fmla="*/ 3300298 w 12192528"/>
              <a:gd name="connsiteY3203" fmla="*/ 1079837 h 3912503"/>
              <a:gd name="connsiteX3204" fmla="*/ 3300534 w 12192528"/>
              <a:gd name="connsiteY3204" fmla="*/ 1074176 h 3912503"/>
              <a:gd name="connsiteX3205" fmla="*/ 3298646 w 12192528"/>
              <a:gd name="connsiteY3205" fmla="*/ 1070403 h 3912503"/>
              <a:gd name="connsiteX3206" fmla="*/ 3302657 w 12192528"/>
              <a:gd name="connsiteY3206" fmla="*/ 1067809 h 3912503"/>
              <a:gd name="connsiteX3207" fmla="*/ 3305961 w 12192528"/>
              <a:gd name="connsiteY3207" fmla="*/ 1067337 h 3912503"/>
              <a:gd name="connsiteX3208" fmla="*/ 3309972 w 12192528"/>
              <a:gd name="connsiteY3208" fmla="*/ 1057668 h 3912503"/>
              <a:gd name="connsiteX3209" fmla="*/ 3308793 w 12192528"/>
              <a:gd name="connsiteY3209" fmla="*/ 1055781 h 3912503"/>
              <a:gd name="connsiteX3210" fmla="*/ 3309029 w 12192528"/>
              <a:gd name="connsiteY3210" fmla="*/ 1051536 h 3912503"/>
              <a:gd name="connsiteX3211" fmla="*/ 3312804 w 12192528"/>
              <a:gd name="connsiteY3211" fmla="*/ 1052480 h 3912503"/>
              <a:gd name="connsiteX3212" fmla="*/ 3315163 w 12192528"/>
              <a:gd name="connsiteY3212" fmla="*/ 1055546 h 3912503"/>
              <a:gd name="connsiteX3213" fmla="*/ 3319882 w 12192528"/>
              <a:gd name="connsiteY3213" fmla="*/ 1056253 h 3912503"/>
              <a:gd name="connsiteX3214" fmla="*/ 3326949 w 12192528"/>
              <a:gd name="connsiteY3214" fmla="*/ 1054400 h 3912503"/>
              <a:gd name="connsiteX3215" fmla="*/ 3336535 w 12192528"/>
              <a:gd name="connsiteY3215" fmla="*/ 1016867 h 3912503"/>
              <a:gd name="connsiteX3216" fmla="*/ 3411296 w 12192528"/>
              <a:gd name="connsiteY3216" fmla="*/ 971995 h 3912503"/>
              <a:gd name="connsiteX3217" fmla="*/ 3462134 w 12192528"/>
              <a:gd name="connsiteY3217" fmla="*/ 954046 h 3912503"/>
              <a:gd name="connsiteX3218" fmla="*/ 3545866 w 12192528"/>
              <a:gd name="connsiteY3218" fmla="*/ 903192 h 3912503"/>
              <a:gd name="connsiteX3219" fmla="*/ 3572780 w 12192528"/>
              <a:gd name="connsiteY3219" fmla="*/ 879260 h 3912503"/>
              <a:gd name="connsiteX3220" fmla="*/ 3560818 w 12192528"/>
              <a:gd name="connsiteY3220" fmla="*/ 804474 h 3912503"/>
              <a:gd name="connsiteX3221" fmla="*/ 3563808 w 12192528"/>
              <a:gd name="connsiteY3221" fmla="*/ 702765 h 3912503"/>
              <a:gd name="connsiteX3222" fmla="*/ 3569555 w 12192528"/>
              <a:gd name="connsiteY3222" fmla="*/ 702765 h 3912503"/>
              <a:gd name="connsiteX3223" fmla="*/ 3574974 w 12192528"/>
              <a:gd name="connsiteY3223" fmla="*/ 691471 h 3912503"/>
              <a:gd name="connsiteX3224" fmla="*/ 3590064 w 12192528"/>
              <a:gd name="connsiteY3224" fmla="*/ 677694 h 3912503"/>
              <a:gd name="connsiteX3225" fmla="*/ 3586537 w 12192528"/>
              <a:gd name="connsiteY3225" fmla="*/ 674876 h 3912503"/>
              <a:gd name="connsiteX3226" fmla="*/ 11047096 w 12192528"/>
              <a:gd name="connsiteY3226" fmla="*/ 644639 h 3912503"/>
              <a:gd name="connsiteX3227" fmla="*/ 11046879 w 12192528"/>
              <a:gd name="connsiteY3227" fmla="*/ 645000 h 3912503"/>
              <a:gd name="connsiteX3228" fmla="*/ 11046628 w 12192528"/>
              <a:gd name="connsiteY3228" fmla="*/ 644750 h 3912503"/>
              <a:gd name="connsiteX3229" fmla="*/ 7433933 w 12192528"/>
              <a:gd name="connsiteY3229" fmla="*/ 635263 h 3912503"/>
              <a:gd name="connsiteX3230" fmla="*/ 7437611 w 12192528"/>
              <a:gd name="connsiteY3230" fmla="*/ 637102 h 3912503"/>
              <a:gd name="connsiteX3231" fmla="*/ 7448248 w 12192528"/>
              <a:gd name="connsiteY3231" fmla="*/ 642008 h 3912503"/>
              <a:gd name="connsiteX3232" fmla="*/ 7450290 w 12192528"/>
              <a:gd name="connsiteY3232" fmla="*/ 643439 h 3912503"/>
              <a:gd name="connsiteX3233" fmla="*/ 7459293 w 12192528"/>
              <a:gd name="connsiteY3233" fmla="*/ 654271 h 3912503"/>
              <a:gd name="connsiteX3234" fmla="*/ 7464809 w 12192528"/>
              <a:gd name="connsiteY3234" fmla="*/ 672664 h 3912503"/>
              <a:gd name="connsiteX3235" fmla="*/ 7467469 w 12192528"/>
              <a:gd name="connsiteY3235" fmla="*/ 679001 h 3912503"/>
              <a:gd name="connsiteX3236" fmla="*/ 7466852 w 12192528"/>
              <a:gd name="connsiteY3236" fmla="*/ 687993 h 3912503"/>
              <a:gd name="connsiteX3237" fmla="*/ 7466035 w 12192528"/>
              <a:gd name="connsiteY3237" fmla="*/ 695554 h 3912503"/>
              <a:gd name="connsiteX3238" fmla="*/ 7466247 w 12192528"/>
              <a:gd name="connsiteY3238" fmla="*/ 698621 h 3912503"/>
              <a:gd name="connsiteX3239" fmla="*/ 7454175 w 12192528"/>
              <a:gd name="connsiteY3239" fmla="*/ 712518 h 3912503"/>
              <a:gd name="connsiteX3240" fmla="*/ 7442728 w 12192528"/>
              <a:gd name="connsiteY3240" fmla="*/ 719262 h 3912503"/>
              <a:gd name="connsiteX3241" fmla="*/ 7434137 w 12192528"/>
              <a:gd name="connsiteY3241" fmla="*/ 730503 h 3912503"/>
              <a:gd name="connsiteX3242" fmla="*/ 7435364 w 12192528"/>
              <a:gd name="connsiteY3242" fmla="*/ 732752 h 3912503"/>
              <a:gd name="connsiteX3243" fmla="*/ 7447431 w 12192528"/>
              <a:gd name="connsiteY3243" fmla="*/ 747058 h 3912503"/>
              <a:gd name="connsiteX3244" fmla="*/ 7449066 w 12192528"/>
              <a:gd name="connsiteY3244" fmla="*/ 750328 h 3912503"/>
              <a:gd name="connsiteX3245" fmla="*/ 7450700 w 12192528"/>
              <a:gd name="connsiteY3245" fmla="*/ 760548 h 3912503"/>
              <a:gd name="connsiteX3246" fmla="*/ 7453567 w 12192528"/>
              <a:gd name="connsiteY3246" fmla="*/ 772402 h 3912503"/>
              <a:gd name="connsiteX3247" fmla="*/ 7453356 w 12192528"/>
              <a:gd name="connsiteY3247" fmla="*/ 777306 h 3912503"/>
              <a:gd name="connsiteX3248" fmla="*/ 7442522 w 12192528"/>
              <a:gd name="connsiteY3248" fmla="*/ 803671 h 3912503"/>
              <a:gd name="connsiteX3249" fmla="*/ 7440478 w 12192528"/>
              <a:gd name="connsiteY3249" fmla="*/ 805306 h 3912503"/>
              <a:gd name="connsiteX3250" fmla="*/ 7428002 w 12192528"/>
              <a:gd name="connsiteY3250" fmla="*/ 811233 h 3912503"/>
              <a:gd name="connsiteX3251" fmla="*/ 7422685 w 12192528"/>
              <a:gd name="connsiteY3251" fmla="*/ 812868 h 3912503"/>
              <a:gd name="connsiteX3252" fmla="*/ 7413689 w 12192528"/>
              <a:gd name="connsiteY3252" fmla="*/ 814912 h 3912503"/>
              <a:gd name="connsiteX3253" fmla="*/ 7406938 w 12192528"/>
              <a:gd name="connsiteY3253" fmla="*/ 820839 h 3912503"/>
              <a:gd name="connsiteX3254" fmla="*/ 7403871 w 12192528"/>
              <a:gd name="connsiteY3254" fmla="*/ 821937 h 3912503"/>
              <a:gd name="connsiteX3255" fmla="*/ 7402033 w 12192528"/>
              <a:gd name="connsiteY3255" fmla="*/ 819204 h 3912503"/>
              <a:gd name="connsiteX3256" fmla="*/ 7401417 w 12192528"/>
              <a:gd name="connsiteY3256" fmla="*/ 816751 h 3912503"/>
              <a:gd name="connsiteX3257" fmla="*/ 7399578 w 12192528"/>
              <a:gd name="connsiteY3257" fmla="*/ 813890 h 3912503"/>
              <a:gd name="connsiteX3258" fmla="*/ 7396924 w 12192528"/>
              <a:gd name="connsiteY3258" fmla="*/ 815729 h 3912503"/>
              <a:gd name="connsiteX3259" fmla="*/ 7390786 w 12192528"/>
              <a:gd name="connsiteY3259" fmla="*/ 814708 h 3912503"/>
              <a:gd name="connsiteX3260" fmla="*/ 7389560 w 12192528"/>
              <a:gd name="connsiteY3260" fmla="*/ 812050 h 3912503"/>
              <a:gd name="connsiteX3261" fmla="*/ 7385881 w 12192528"/>
              <a:gd name="connsiteY3261" fmla="*/ 810620 h 3912503"/>
              <a:gd name="connsiteX3262" fmla="*/ 7384448 w 12192528"/>
              <a:gd name="connsiteY3262" fmla="*/ 814094 h 3912503"/>
              <a:gd name="connsiteX3263" fmla="*/ 7384794 w 12192528"/>
              <a:gd name="connsiteY3263" fmla="*/ 817185 h 3912503"/>
              <a:gd name="connsiteX3264" fmla="*/ 7368810 w 12192528"/>
              <a:gd name="connsiteY3264" fmla="*/ 801290 h 3912503"/>
              <a:gd name="connsiteX3265" fmla="*/ 7369727 w 12192528"/>
              <a:gd name="connsiteY3265" fmla="*/ 799993 h 3912503"/>
              <a:gd name="connsiteX3266" fmla="*/ 7367884 w 12192528"/>
              <a:gd name="connsiteY3266" fmla="*/ 796110 h 3912503"/>
              <a:gd name="connsiteX3267" fmla="*/ 7364200 w 12192528"/>
              <a:gd name="connsiteY3267" fmla="*/ 794474 h 3912503"/>
              <a:gd name="connsiteX3268" fmla="*/ 7361755 w 12192528"/>
              <a:gd name="connsiteY3268" fmla="*/ 789569 h 3912503"/>
              <a:gd name="connsiteX3269" fmla="*/ 7353775 w 12192528"/>
              <a:gd name="connsiteY3269" fmla="*/ 773831 h 3912503"/>
              <a:gd name="connsiteX3270" fmla="*/ 7350907 w 12192528"/>
              <a:gd name="connsiteY3270" fmla="*/ 771584 h 3912503"/>
              <a:gd name="connsiteX3271" fmla="*/ 7354796 w 12192528"/>
              <a:gd name="connsiteY3271" fmla="*/ 769131 h 3912503"/>
              <a:gd name="connsiteX3272" fmla="*/ 7355410 w 12192528"/>
              <a:gd name="connsiteY3272" fmla="*/ 769131 h 3912503"/>
              <a:gd name="connsiteX3273" fmla="*/ 7359298 w 12192528"/>
              <a:gd name="connsiteY3273" fmla="*/ 762182 h 3912503"/>
              <a:gd name="connsiteX3274" fmla="*/ 7359708 w 12192528"/>
              <a:gd name="connsiteY3274" fmla="*/ 752577 h 3912503"/>
              <a:gd name="connsiteX3275" fmla="*/ 7363182 w 12192528"/>
              <a:gd name="connsiteY3275" fmla="*/ 739087 h 3912503"/>
              <a:gd name="connsiteX3276" fmla="*/ 7366247 w 12192528"/>
              <a:gd name="connsiteY3276" fmla="*/ 735409 h 3912503"/>
              <a:gd name="connsiteX3277" fmla="*/ 7374630 w 12192528"/>
              <a:gd name="connsiteY3277" fmla="*/ 724781 h 3912503"/>
              <a:gd name="connsiteX3278" fmla="*/ 7379541 w 12192528"/>
              <a:gd name="connsiteY3278" fmla="*/ 722941 h 3912503"/>
              <a:gd name="connsiteX3279" fmla="*/ 7399785 w 12192528"/>
              <a:gd name="connsiteY3279" fmla="*/ 717015 h 3912503"/>
              <a:gd name="connsiteX3280" fmla="*/ 7399785 w 12192528"/>
              <a:gd name="connsiteY3280" fmla="*/ 712518 h 3912503"/>
              <a:gd name="connsiteX3281" fmla="*/ 7394466 w 12192528"/>
              <a:gd name="connsiteY3281" fmla="*/ 711905 h 3912503"/>
              <a:gd name="connsiteX3282" fmla="*/ 7390786 w 12192528"/>
              <a:gd name="connsiteY3282" fmla="*/ 714358 h 3912503"/>
              <a:gd name="connsiteX3283" fmla="*/ 7387313 w 12192528"/>
              <a:gd name="connsiteY3283" fmla="*/ 714766 h 3912503"/>
              <a:gd name="connsiteX3284" fmla="*/ 7387921 w 12192528"/>
              <a:gd name="connsiteY3284" fmla="*/ 711087 h 3912503"/>
              <a:gd name="connsiteX3285" fmla="*/ 7390786 w 12192528"/>
              <a:gd name="connsiteY3285" fmla="*/ 708431 h 3912503"/>
              <a:gd name="connsiteX3286" fmla="*/ 7391808 w 12192528"/>
              <a:gd name="connsiteY3286" fmla="*/ 702095 h 3912503"/>
              <a:gd name="connsiteX3287" fmla="*/ 7386290 w 12192528"/>
              <a:gd name="connsiteY3287" fmla="*/ 703321 h 3912503"/>
              <a:gd name="connsiteX3288" fmla="*/ 7381992 w 12192528"/>
              <a:gd name="connsiteY3288" fmla="*/ 706795 h 3912503"/>
              <a:gd name="connsiteX3289" fmla="*/ 7377902 w 12192528"/>
              <a:gd name="connsiteY3289" fmla="*/ 704139 h 3912503"/>
              <a:gd name="connsiteX3290" fmla="*/ 7382409 w 12192528"/>
              <a:gd name="connsiteY3290" fmla="*/ 692489 h 3912503"/>
              <a:gd name="connsiteX3291" fmla="*/ 7382409 w 12192528"/>
              <a:gd name="connsiteY3291" fmla="*/ 681248 h 3912503"/>
              <a:gd name="connsiteX3292" fmla="*/ 7378314 w 12192528"/>
              <a:gd name="connsiteY3292" fmla="*/ 676752 h 3912503"/>
              <a:gd name="connsiteX3293" fmla="*/ 7377086 w 12192528"/>
              <a:gd name="connsiteY3293" fmla="*/ 674504 h 3912503"/>
              <a:gd name="connsiteX3294" fmla="*/ 7379335 w 12192528"/>
              <a:gd name="connsiteY3294" fmla="*/ 673278 h 3912503"/>
              <a:gd name="connsiteX3295" fmla="*/ 7383635 w 12192528"/>
              <a:gd name="connsiteY3295" fmla="*/ 669190 h 3912503"/>
              <a:gd name="connsiteX3296" fmla="*/ 7388950 w 12192528"/>
              <a:gd name="connsiteY3296" fmla="*/ 659993 h 3912503"/>
              <a:gd name="connsiteX3297" fmla="*/ 7389153 w 12192528"/>
              <a:gd name="connsiteY3297" fmla="*/ 655088 h 3912503"/>
              <a:gd name="connsiteX3298" fmla="*/ 7387520 w 12192528"/>
              <a:gd name="connsiteY3298" fmla="*/ 651818 h 3912503"/>
              <a:gd name="connsiteX3299" fmla="*/ 7390990 w 12192528"/>
              <a:gd name="connsiteY3299" fmla="*/ 649570 h 3912503"/>
              <a:gd name="connsiteX3300" fmla="*/ 7393854 w 12192528"/>
              <a:gd name="connsiteY3300" fmla="*/ 649161 h 3912503"/>
              <a:gd name="connsiteX3301" fmla="*/ 7397332 w 12192528"/>
              <a:gd name="connsiteY3301" fmla="*/ 640781 h 3912503"/>
              <a:gd name="connsiteX3302" fmla="*/ 7396311 w 12192528"/>
              <a:gd name="connsiteY3302" fmla="*/ 639147 h 3912503"/>
              <a:gd name="connsiteX3303" fmla="*/ 7396509 w 12192528"/>
              <a:gd name="connsiteY3303" fmla="*/ 635468 h 3912503"/>
              <a:gd name="connsiteX3304" fmla="*/ 7399785 w 12192528"/>
              <a:gd name="connsiteY3304" fmla="*/ 636286 h 3912503"/>
              <a:gd name="connsiteX3305" fmla="*/ 7401824 w 12192528"/>
              <a:gd name="connsiteY3305" fmla="*/ 638942 h 3912503"/>
              <a:gd name="connsiteX3306" fmla="*/ 7405913 w 12192528"/>
              <a:gd name="connsiteY3306" fmla="*/ 639556 h 3912503"/>
              <a:gd name="connsiteX3307" fmla="*/ 7418389 w 12192528"/>
              <a:gd name="connsiteY3307" fmla="*/ 636286 h 3912503"/>
              <a:gd name="connsiteX3308" fmla="*/ 7433933 w 12192528"/>
              <a:gd name="connsiteY3308" fmla="*/ 635263 h 3912503"/>
              <a:gd name="connsiteX3309" fmla="*/ 3394788 w 12192528"/>
              <a:gd name="connsiteY3309" fmla="*/ 627624 h 3912503"/>
              <a:gd name="connsiteX3310" fmla="*/ 3395256 w 12192528"/>
              <a:gd name="connsiteY3310" fmla="*/ 627734 h 3912503"/>
              <a:gd name="connsiteX3311" fmla="*/ 3395003 w 12192528"/>
              <a:gd name="connsiteY3311" fmla="*/ 627985 h 3912503"/>
              <a:gd name="connsiteX3312" fmla="*/ 8029108 w 12192528"/>
              <a:gd name="connsiteY3312" fmla="*/ 625311 h 3912503"/>
              <a:gd name="connsiteX3313" fmla="*/ 8044465 w 12192528"/>
              <a:gd name="connsiteY3313" fmla="*/ 629112 h 3912503"/>
              <a:gd name="connsiteX3314" fmla="*/ 8098818 w 12192528"/>
              <a:gd name="connsiteY3314" fmla="*/ 671455 h 3912503"/>
              <a:gd name="connsiteX3315" fmla="*/ 8102081 w 12192528"/>
              <a:gd name="connsiteY3315" fmla="*/ 697512 h 3912503"/>
              <a:gd name="connsiteX3316" fmla="*/ 8103167 w 12192528"/>
              <a:gd name="connsiteY3316" fmla="*/ 708369 h 3912503"/>
              <a:gd name="connsiteX3317" fmla="*/ 8108604 w 12192528"/>
              <a:gd name="connsiteY3317" fmla="*/ 737685 h 3912503"/>
              <a:gd name="connsiteX3318" fmla="*/ 8111866 w 12192528"/>
              <a:gd name="connsiteY3318" fmla="*/ 751798 h 3912503"/>
              <a:gd name="connsiteX3319" fmla="*/ 8110778 w 12192528"/>
              <a:gd name="connsiteY3319" fmla="*/ 770257 h 3912503"/>
              <a:gd name="connsiteX3320" fmla="*/ 8103167 w 12192528"/>
              <a:gd name="connsiteY3320" fmla="*/ 788714 h 3912503"/>
              <a:gd name="connsiteX3321" fmla="*/ 8079252 w 12192528"/>
              <a:gd name="connsiteY3321" fmla="*/ 833228 h 3912503"/>
              <a:gd name="connsiteX3322" fmla="*/ 8002067 w 12192528"/>
              <a:gd name="connsiteY3322" fmla="*/ 882086 h 3912503"/>
              <a:gd name="connsiteX3323" fmla="*/ 7994453 w 12192528"/>
              <a:gd name="connsiteY3323" fmla="*/ 879915 h 3912503"/>
              <a:gd name="connsiteX3324" fmla="*/ 7959670 w 12192528"/>
              <a:gd name="connsiteY3324" fmla="*/ 875572 h 3912503"/>
              <a:gd name="connsiteX3325" fmla="*/ 7950973 w 12192528"/>
              <a:gd name="connsiteY3325" fmla="*/ 871229 h 3912503"/>
              <a:gd name="connsiteX3326" fmla="*/ 7925967 w 12192528"/>
              <a:gd name="connsiteY3326" fmla="*/ 863629 h 3912503"/>
              <a:gd name="connsiteX3327" fmla="*/ 7912920 w 12192528"/>
              <a:gd name="connsiteY3327" fmla="*/ 858200 h 3912503"/>
              <a:gd name="connsiteX3328" fmla="*/ 7905311 w 12192528"/>
              <a:gd name="connsiteY3328" fmla="*/ 843000 h 3912503"/>
              <a:gd name="connsiteX3329" fmla="*/ 7875957 w 12192528"/>
              <a:gd name="connsiteY3329" fmla="*/ 803914 h 3912503"/>
              <a:gd name="connsiteX3330" fmla="*/ 7862914 w 12192528"/>
              <a:gd name="connsiteY3330" fmla="*/ 777857 h 3912503"/>
              <a:gd name="connsiteX3331" fmla="*/ 7862914 w 12192528"/>
              <a:gd name="connsiteY3331" fmla="*/ 764828 h 3912503"/>
              <a:gd name="connsiteX3332" fmla="*/ 7873787 w 12192528"/>
              <a:gd name="connsiteY3332" fmla="*/ 735512 h 3912503"/>
              <a:gd name="connsiteX3333" fmla="*/ 7889004 w 12192528"/>
              <a:gd name="connsiteY3333" fmla="*/ 687741 h 3912503"/>
              <a:gd name="connsiteX3334" fmla="*/ 7902049 w 12192528"/>
              <a:gd name="connsiteY3334" fmla="*/ 670370 h 3912503"/>
              <a:gd name="connsiteX3335" fmla="*/ 7922706 w 12192528"/>
              <a:gd name="connsiteY3335" fmla="*/ 652997 h 3912503"/>
              <a:gd name="connsiteX3336" fmla="*/ 7941186 w 12192528"/>
              <a:gd name="connsiteY3336" fmla="*/ 643226 h 3912503"/>
              <a:gd name="connsiteX3337" fmla="*/ 8009675 w 12192528"/>
              <a:gd name="connsiteY3337" fmla="*/ 628025 h 3912503"/>
              <a:gd name="connsiteX3338" fmla="*/ 8029108 w 12192528"/>
              <a:gd name="connsiteY3338" fmla="*/ 625311 h 3912503"/>
              <a:gd name="connsiteX3339" fmla="*/ 6059638 w 12192528"/>
              <a:gd name="connsiteY3339" fmla="*/ 614178 h 3912503"/>
              <a:gd name="connsiteX3340" fmla="*/ 6068290 w 12192528"/>
              <a:gd name="connsiteY3340" fmla="*/ 618463 h 3912503"/>
              <a:gd name="connsiteX3341" fmla="*/ 6073191 w 12192528"/>
              <a:gd name="connsiteY3341" fmla="*/ 621055 h 3912503"/>
              <a:gd name="connsiteX3342" fmla="*/ 6078671 w 12192528"/>
              <a:gd name="connsiteY3342" fmla="*/ 625664 h 3912503"/>
              <a:gd name="connsiteX3343" fmla="*/ 6082131 w 12192528"/>
              <a:gd name="connsiteY3343" fmla="*/ 630272 h 3912503"/>
              <a:gd name="connsiteX3344" fmla="*/ 6086168 w 12192528"/>
              <a:gd name="connsiteY3344" fmla="*/ 642945 h 3912503"/>
              <a:gd name="connsiteX3345" fmla="*/ 6089054 w 12192528"/>
              <a:gd name="connsiteY3345" fmla="*/ 650722 h 3912503"/>
              <a:gd name="connsiteX3346" fmla="*/ 6089054 w 12192528"/>
              <a:gd name="connsiteY3346" fmla="*/ 654178 h 3912503"/>
              <a:gd name="connsiteX3347" fmla="*/ 6085593 w 12192528"/>
              <a:gd name="connsiteY3347" fmla="*/ 661090 h 3912503"/>
              <a:gd name="connsiteX3348" fmla="*/ 6077806 w 12192528"/>
              <a:gd name="connsiteY3348" fmla="*/ 671460 h 3912503"/>
              <a:gd name="connsiteX3349" fmla="*/ 6075788 w 12192528"/>
              <a:gd name="connsiteY3349" fmla="*/ 675491 h 3912503"/>
              <a:gd name="connsiteX3350" fmla="*/ 6072329 w 12192528"/>
              <a:gd name="connsiteY3350" fmla="*/ 676931 h 3912503"/>
              <a:gd name="connsiteX3351" fmla="*/ 6065693 w 12192528"/>
              <a:gd name="connsiteY3351" fmla="*/ 678948 h 3912503"/>
              <a:gd name="connsiteX3352" fmla="*/ 6063388 w 12192528"/>
              <a:gd name="connsiteY3352" fmla="*/ 680099 h 3912503"/>
              <a:gd name="connsiteX3353" fmla="*/ 6054160 w 12192528"/>
              <a:gd name="connsiteY3353" fmla="*/ 681252 h 3912503"/>
              <a:gd name="connsiteX3354" fmla="*/ 6052141 w 12192528"/>
              <a:gd name="connsiteY3354" fmla="*/ 681828 h 3912503"/>
              <a:gd name="connsiteX3355" fmla="*/ 6031663 w 12192528"/>
              <a:gd name="connsiteY3355" fmla="*/ 668866 h 3912503"/>
              <a:gd name="connsiteX3356" fmla="*/ 6025319 w 12192528"/>
              <a:gd name="connsiteY3356" fmla="*/ 657058 h 3912503"/>
              <a:gd name="connsiteX3357" fmla="*/ 6023301 w 12192528"/>
              <a:gd name="connsiteY3357" fmla="*/ 652162 h 3912503"/>
              <a:gd name="connsiteX3358" fmla="*/ 6023013 w 12192528"/>
              <a:gd name="connsiteY3358" fmla="*/ 647265 h 3912503"/>
              <a:gd name="connsiteX3359" fmla="*/ 6023879 w 12192528"/>
              <a:gd name="connsiteY3359" fmla="*/ 643521 h 3912503"/>
              <a:gd name="connsiteX3360" fmla="*/ 6025319 w 12192528"/>
              <a:gd name="connsiteY3360" fmla="*/ 635744 h 3912503"/>
              <a:gd name="connsiteX3361" fmla="*/ 6025608 w 12192528"/>
              <a:gd name="connsiteY3361" fmla="*/ 632864 h 3912503"/>
              <a:gd name="connsiteX3362" fmla="*/ 6026474 w 12192528"/>
              <a:gd name="connsiteY3362" fmla="*/ 625951 h 3912503"/>
              <a:gd name="connsiteX3363" fmla="*/ 6040894 w 12192528"/>
              <a:gd name="connsiteY3363" fmla="*/ 614718 h 3912503"/>
              <a:gd name="connsiteX3364" fmla="*/ 6050121 w 12192528"/>
              <a:gd name="connsiteY3364" fmla="*/ 614431 h 3912503"/>
              <a:gd name="connsiteX3365" fmla="*/ 6059638 w 12192528"/>
              <a:gd name="connsiteY3365" fmla="*/ 614178 h 3912503"/>
              <a:gd name="connsiteX3366" fmla="*/ 4648105 w 12192528"/>
              <a:gd name="connsiteY3366" fmla="*/ 595669 h 3912503"/>
              <a:gd name="connsiteX3367" fmla="*/ 4647445 w 12192528"/>
              <a:gd name="connsiteY3367" fmla="*/ 596769 h 3912503"/>
              <a:gd name="connsiteX3368" fmla="*/ 4646681 w 12192528"/>
              <a:gd name="connsiteY3368" fmla="*/ 596006 h 3912503"/>
              <a:gd name="connsiteX3369" fmla="*/ 10264008 w 12192528"/>
              <a:gd name="connsiteY3369" fmla="*/ 590978 h 3912503"/>
              <a:gd name="connsiteX3370" fmla="*/ 10275725 w 12192528"/>
              <a:gd name="connsiteY3370" fmla="*/ 601862 h 3912503"/>
              <a:gd name="connsiteX3371" fmla="*/ 10278066 w 12192528"/>
              <a:gd name="connsiteY3371" fmla="*/ 606138 h 3912503"/>
              <a:gd name="connsiteX3372" fmla="*/ 10285487 w 12192528"/>
              <a:gd name="connsiteY3372" fmla="*/ 615467 h 3912503"/>
              <a:gd name="connsiteX3373" fmla="*/ 10291344 w 12192528"/>
              <a:gd name="connsiteY3373" fmla="*/ 618966 h 3912503"/>
              <a:gd name="connsiteX3374" fmla="*/ 10296809 w 12192528"/>
              <a:gd name="connsiteY3374" fmla="*/ 634515 h 3912503"/>
              <a:gd name="connsiteX3375" fmla="*/ 10293296 w 12192528"/>
              <a:gd name="connsiteY3375" fmla="*/ 647731 h 3912503"/>
              <a:gd name="connsiteX3376" fmla="*/ 10282363 w 12192528"/>
              <a:gd name="connsiteY3376" fmla="*/ 656283 h 3912503"/>
              <a:gd name="connsiteX3377" fmla="*/ 10281190 w 12192528"/>
              <a:gd name="connsiteY3377" fmla="*/ 657838 h 3912503"/>
              <a:gd name="connsiteX3378" fmla="*/ 10273382 w 12192528"/>
              <a:gd name="connsiteY3378" fmla="*/ 657838 h 3912503"/>
              <a:gd name="connsiteX3379" fmla="*/ 10264788 w 12192528"/>
              <a:gd name="connsiteY3379" fmla="*/ 653562 h 3912503"/>
              <a:gd name="connsiteX3380" fmla="*/ 10258932 w 12192528"/>
              <a:gd name="connsiteY3380" fmla="*/ 646566 h 3912503"/>
              <a:gd name="connsiteX3381" fmla="*/ 10254637 w 12192528"/>
              <a:gd name="connsiteY3381" fmla="*/ 636069 h 3912503"/>
              <a:gd name="connsiteX3382" fmla="*/ 10249171 w 12192528"/>
              <a:gd name="connsiteY3382" fmla="*/ 625962 h 3912503"/>
              <a:gd name="connsiteX3383" fmla="*/ 10240582 w 12192528"/>
              <a:gd name="connsiteY3383" fmla="*/ 617411 h 3912503"/>
              <a:gd name="connsiteX3384" fmla="*/ 10240582 w 12192528"/>
              <a:gd name="connsiteY3384" fmla="*/ 603417 h 3912503"/>
              <a:gd name="connsiteX3385" fmla="*/ 10245266 w 12192528"/>
              <a:gd name="connsiteY3385" fmla="*/ 597974 h 3912503"/>
              <a:gd name="connsiteX3386" fmla="*/ 10253859 w 12192528"/>
              <a:gd name="connsiteY3386" fmla="*/ 592532 h 3912503"/>
              <a:gd name="connsiteX3387" fmla="*/ 10264008 w 12192528"/>
              <a:gd name="connsiteY3387" fmla="*/ 590978 h 3912503"/>
              <a:gd name="connsiteX3388" fmla="*/ 7190286 w 12192528"/>
              <a:gd name="connsiteY3388" fmla="*/ 590977 h 3912503"/>
              <a:gd name="connsiteX3389" fmla="*/ 7201999 w 12192528"/>
              <a:gd name="connsiteY3389" fmla="*/ 601862 h 3912503"/>
              <a:gd name="connsiteX3390" fmla="*/ 7204343 w 12192528"/>
              <a:gd name="connsiteY3390" fmla="*/ 606137 h 3912503"/>
              <a:gd name="connsiteX3391" fmla="*/ 7211760 w 12192528"/>
              <a:gd name="connsiteY3391" fmla="*/ 615467 h 3912503"/>
              <a:gd name="connsiteX3392" fmla="*/ 7217621 w 12192528"/>
              <a:gd name="connsiteY3392" fmla="*/ 618965 h 3912503"/>
              <a:gd name="connsiteX3393" fmla="*/ 7223084 w 12192528"/>
              <a:gd name="connsiteY3393" fmla="*/ 634515 h 3912503"/>
              <a:gd name="connsiteX3394" fmla="*/ 7219572 w 12192528"/>
              <a:gd name="connsiteY3394" fmla="*/ 647731 h 3912503"/>
              <a:gd name="connsiteX3395" fmla="*/ 7208637 w 12192528"/>
              <a:gd name="connsiteY3395" fmla="*/ 656283 h 3912503"/>
              <a:gd name="connsiteX3396" fmla="*/ 7207467 w 12192528"/>
              <a:gd name="connsiteY3396" fmla="*/ 657838 h 3912503"/>
              <a:gd name="connsiteX3397" fmla="*/ 7199654 w 12192528"/>
              <a:gd name="connsiteY3397" fmla="*/ 657838 h 3912503"/>
              <a:gd name="connsiteX3398" fmla="*/ 7191067 w 12192528"/>
              <a:gd name="connsiteY3398" fmla="*/ 653562 h 3912503"/>
              <a:gd name="connsiteX3399" fmla="*/ 7185209 w 12192528"/>
              <a:gd name="connsiteY3399" fmla="*/ 646565 h 3912503"/>
              <a:gd name="connsiteX3400" fmla="*/ 7180915 w 12192528"/>
              <a:gd name="connsiteY3400" fmla="*/ 636069 h 3912503"/>
              <a:gd name="connsiteX3401" fmla="*/ 7175448 w 12192528"/>
              <a:gd name="connsiteY3401" fmla="*/ 625962 h 3912503"/>
              <a:gd name="connsiteX3402" fmla="*/ 7166858 w 12192528"/>
              <a:gd name="connsiteY3402" fmla="*/ 617411 h 3912503"/>
              <a:gd name="connsiteX3403" fmla="*/ 7166858 w 12192528"/>
              <a:gd name="connsiteY3403" fmla="*/ 603416 h 3912503"/>
              <a:gd name="connsiteX3404" fmla="*/ 7171546 w 12192528"/>
              <a:gd name="connsiteY3404" fmla="*/ 597974 h 3912503"/>
              <a:gd name="connsiteX3405" fmla="*/ 7180131 w 12192528"/>
              <a:gd name="connsiteY3405" fmla="*/ 592532 h 3912503"/>
              <a:gd name="connsiteX3406" fmla="*/ 7190286 w 12192528"/>
              <a:gd name="connsiteY3406" fmla="*/ 590977 h 3912503"/>
              <a:gd name="connsiteX3407" fmla="*/ 5629011 w 12192528"/>
              <a:gd name="connsiteY3407" fmla="*/ 588863 h 3912503"/>
              <a:gd name="connsiteX3408" fmla="*/ 5639165 w 12192528"/>
              <a:gd name="connsiteY3408" fmla="*/ 590418 h 3912503"/>
              <a:gd name="connsiteX3409" fmla="*/ 5647755 w 12192528"/>
              <a:gd name="connsiteY3409" fmla="*/ 595860 h 3912503"/>
              <a:gd name="connsiteX3410" fmla="*/ 5652441 w 12192528"/>
              <a:gd name="connsiteY3410" fmla="*/ 601302 h 3912503"/>
              <a:gd name="connsiteX3411" fmla="*/ 5652441 w 12192528"/>
              <a:gd name="connsiteY3411" fmla="*/ 615297 h 3912503"/>
              <a:gd name="connsiteX3412" fmla="*/ 5643849 w 12192528"/>
              <a:gd name="connsiteY3412" fmla="*/ 623848 h 3912503"/>
              <a:gd name="connsiteX3413" fmla="*/ 5638384 w 12192528"/>
              <a:gd name="connsiteY3413" fmla="*/ 633955 h 3912503"/>
              <a:gd name="connsiteX3414" fmla="*/ 5634090 w 12192528"/>
              <a:gd name="connsiteY3414" fmla="*/ 644451 h 3912503"/>
              <a:gd name="connsiteX3415" fmla="*/ 5628233 w 12192528"/>
              <a:gd name="connsiteY3415" fmla="*/ 651448 h 3912503"/>
              <a:gd name="connsiteX3416" fmla="*/ 5619641 w 12192528"/>
              <a:gd name="connsiteY3416" fmla="*/ 655723 h 3912503"/>
              <a:gd name="connsiteX3417" fmla="*/ 5611833 w 12192528"/>
              <a:gd name="connsiteY3417" fmla="*/ 655723 h 3912503"/>
              <a:gd name="connsiteX3418" fmla="*/ 5610661 w 12192528"/>
              <a:gd name="connsiteY3418" fmla="*/ 654169 h 3912503"/>
              <a:gd name="connsiteX3419" fmla="*/ 5599727 w 12192528"/>
              <a:gd name="connsiteY3419" fmla="*/ 645616 h 3912503"/>
              <a:gd name="connsiteX3420" fmla="*/ 5596214 w 12192528"/>
              <a:gd name="connsiteY3420" fmla="*/ 632400 h 3912503"/>
              <a:gd name="connsiteX3421" fmla="*/ 5601680 w 12192528"/>
              <a:gd name="connsiteY3421" fmla="*/ 616851 h 3912503"/>
              <a:gd name="connsiteX3422" fmla="*/ 5607536 w 12192528"/>
              <a:gd name="connsiteY3422" fmla="*/ 613353 h 3912503"/>
              <a:gd name="connsiteX3423" fmla="*/ 5614955 w 12192528"/>
              <a:gd name="connsiteY3423" fmla="*/ 604023 h 3912503"/>
              <a:gd name="connsiteX3424" fmla="*/ 5617299 w 12192528"/>
              <a:gd name="connsiteY3424" fmla="*/ 599747 h 3912503"/>
              <a:gd name="connsiteX3425" fmla="*/ 5629011 w 12192528"/>
              <a:gd name="connsiteY3425" fmla="*/ 588863 h 3912503"/>
              <a:gd name="connsiteX3426" fmla="*/ 1938863 w 12192528"/>
              <a:gd name="connsiteY3426" fmla="*/ 586191 h 3912503"/>
              <a:gd name="connsiteX3427" fmla="*/ 1949675 w 12192528"/>
              <a:gd name="connsiteY3427" fmla="*/ 587847 h 3912503"/>
              <a:gd name="connsiteX3428" fmla="*/ 1958824 w 12192528"/>
              <a:gd name="connsiteY3428" fmla="*/ 593642 h 3912503"/>
              <a:gd name="connsiteX3429" fmla="*/ 1963813 w 12192528"/>
              <a:gd name="connsiteY3429" fmla="*/ 599438 h 3912503"/>
              <a:gd name="connsiteX3430" fmla="*/ 1963813 w 12192528"/>
              <a:gd name="connsiteY3430" fmla="*/ 614342 h 3912503"/>
              <a:gd name="connsiteX3431" fmla="*/ 1954665 w 12192528"/>
              <a:gd name="connsiteY3431" fmla="*/ 623449 h 3912503"/>
              <a:gd name="connsiteX3432" fmla="*/ 1948843 w 12192528"/>
              <a:gd name="connsiteY3432" fmla="*/ 634212 h 3912503"/>
              <a:gd name="connsiteX3433" fmla="*/ 1944269 w 12192528"/>
              <a:gd name="connsiteY3433" fmla="*/ 645390 h 3912503"/>
              <a:gd name="connsiteX3434" fmla="*/ 1938030 w 12192528"/>
              <a:gd name="connsiteY3434" fmla="*/ 652842 h 3912503"/>
              <a:gd name="connsiteX3435" fmla="*/ 1928883 w 12192528"/>
              <a:gd name="connsiteY3435" fmla="*/ 657396 h 3912503"/>
              <a:gd name="connsiteX3436" fmla="*/ 1920566 w 12192528"/>
              <a:gd name="connsiteY3436" fmla="*/ 657396 h 3912503"/>
              <a:gd name="connsiteX3437" fmla="*/ 1919319 w 12192528"/>
              <a:gd name="connsiteY3437" fmla="*/ 655740 h 3912503"/>
              <a:gd name="connsiteX3438" fmla="*/ 1907674 w 12192528"/>
              <a:gd name="connsiteY3438" fmla="*/ 646632 h 3912503"/>
              <a:gd name="connsiteX3439" fmla="*/ 1903932 w 12192528"/>
              <a:gd name="connsiteY3439" fmla="*/ 632557 h 3912503"/>
              <a:gd name="connsiteX3440" fmla="*/ 1909754 w 12192528"/>
              <a:gd name="connsiteY3440" fmla="*/ 615997 h 3912503"/>
              <a:gd name="connsiteX3441" fmla="*/ 1915991 w 12192528"/>
              <a:gd name="connsiteY3441" fmla="*/ 612272 h 3912503"/>
              <a:gd name="connsiteX3442" fmla="*/ 1923893 w 12192528"/>
              <a:gd name="connsiteY3442" fmla="*/ 602336 h 3912503"/>
              <a:gd name="connsiteX3443" fmla="*/ 1926388 w 12192528"/>
              <a:gd name="connsiteY3443" fmla="*/ 597783 h 3912503"/>
              <a:gd name="connsiteX3444" fmla="*/ 1938863 w 12192528"/>
              <a:gd name="connsiteY3444" fmla="*/ 586191 h 3912503"/>
              <a:gd name="connsiteX3445" fmla="*/ 10542006 w 12192528"/>
              <a:gd name="connsiteY3445" fmla="*/ 581236 h 3912503"/>
              <a:gd name="connsiteX3446" fmla="*/ 10554756 w 12192528"/>
              <a:gd name="connsiteY3446" fmla="*/ 581574 h 3912503"/>
              <a:gd name="connsiteX3447" fmla="*/ 10567119 w 12192528"/>
              <a:gd name="connsiteY3447" fmla="*/ 581960 h 3912503"/>
              <a:gd name="connsiteX3448" fmla="*/ 10586438 w 12192528"/>
              <a:gd name="connsiteY3448" fmla="*/ 597008 h 3912503"/>
              <a:gd name="connsiteX3449" fmla="*/ 10587598 w 12192528"/>
              <a:gd name="connsiteY3449" fmla="*/ 606270 h 3912503"/>
              <a:gd name="connsiteX3450" fmla="*/ 10587983 w 12192528"/>
              <a:gd name="connsiteY3450" fmla="*/ 610128 h 3912503"/>
              <a:gd name="connsiteX3451" fmla="*/ 10589915 w 12192528"/>
              <a:gd name="connsiteY3451" fmla="*/ 620547 h 3912503"/>
              <a:gd name="connsiteX3452" fmla="*/ 10591074 w 12192528"/>
              <a:gd name="connsiteY3452" fmla="*/ 625563 h 3912503"/>
              <a:gd name="connsiteX3453" fmla="*/ 10590688 w 12192528"/>
              <a:gd name="connsiteY3453" fmla="*/ 632124 h 3912503"/>
              <a:gd name="connsiteX3454" fmla="*/ 10587983 w 12192528"/>
              <a:gd name="connsiteY3454" fmla="*/ 638683 h 3912503"/>
              <a:gd name="connsiteX3455" fmla="*/ 10579484 w 12192528"/>
              <a:gd name="connsiteY3455" fmla="*/ 654505 h 3912503"/>
              <a:gd name="connsiteX3456" fmla="*/ 10552052 w 12192528"/>
              <a:gd name="connsiteY3456" fmla="*/ 671869 h 3912503"/>
              <a:gd name="connsiteX3457" fmla="*/ 10549347 w 12192528"/>
              <a:gd name="connsiteY3457" fmla="*/ 671097 h 3912503"/>
              <a:gd name="connsiteX3458" fmla="*/ 10543599 w 12192528"/>
              <a:gd name="connsiteY3458" fmla="*/ 667141 h 3912503"/>
              <a:gd name="connsiteX3459" fmla="*/ 10537539 w 12192528"/>
              <a:gd name="connsiteY3459" fmla="*/ 669351 h 3912503"/>
              <a:gd name="connsiteX3460" fmla="*/ 10538535 w 12192528"/>
              <a:gd name="connsiteY3460" fmla="*/ 672665 h 3912503"/>
              <a:gd name="connsiteX3461" fmla="*/ 10541192 w 12192528"/>
              <a:gd name="connsiteY3461" fmla="*/ 679001 h 3912503"/>
              <a:gd name="connsiteX3462" fmla="*/ 10540578 w 12192528"/>
              <a:gd name="connsiteY3462" fmla="*/ 687993 h 3912503"/>
              <a:gd name="connsiteX3463" fmla="*/ 10539760 w 12192528"/>
              <a:gd name="connsiteY3463" fmla="*/ 695555 h 3912503"/>
              <a:gd name="connsiteX3464" fmla="*/ 10539965 w 12192528"/>
              <a:gd name="connsiteY3464" fmla="*/ 698621 h 3912503"/>
              <a:gd name="connsiteX3465" fmla="*/ 10527901 w 12192528"/>
              <a:gd name="connsiteY3465" fmla="*/ 712519 h 3912503"/>
              <a:gd name="connsiteX3466" fmla="*/ 10516450 w 12192528"/>
              <a:gd name="connsiteY3466" fmla="*/ 719263 h 3912503"/>
              <a:gd name="connsiteX3467" fmla="*/ 10507861 w 12192528"/>
              <a:gd name="connsiteY3467" fmla="*/ 730503 h 3912503"/>
              <a:gd name="connsiteX3468" fmla="*/ 10509090 w 12192528"/>
              <a:gd name="connsiteY3468" fmla="*/ 732752 h 3912503"/>
              <a:gd name="connsiteX3469" fmla="*/ 10521155 w 12192528"/>
              <a:gd name="connsiteY3469" fmla="*/ 747058 h 3912503"/>
              <a:gd name="connsiteX3470" fmla="*/ 10522790 w 12192528"/>
              <a:gd name="connsiteY3470" fmla="*/ 750328 h 3912503"/>
              <a:gd name="connsiteX3471" fmla="*/ 10524424 w 12192528"/>
              <a:gd name="connsiteY3471" fmla="*/ 760548 h 3912503"/>
              <a:gd name="connsiteX3472" fmla="*/ 10527288 w 12192528"/>
              <a:gd name="connsiteY3472" fmla="*/ 772402 h 3912503"/>
              <a:gd name="connsiteX3473" fmla="*/ 10527082 w 12192528"/>
              <a:gd name="connsiteY3473" fmla="*/ 777306 h 3912503"/>
              <a:gd name="connsiteX3474" fmla="*/ 10516246 w 12192528"/>
              <a:gd name="connsiteY3474" fmla="*/ 803672 h 3912503"/>
              <a:gd name="connsiteX3475" fmla="*/ 10514202 w 12192528"/>
              <a:gd name="connsiteY3475" fmla="*/ 805306 h 3912503"/>
              <a:gd name="connsiteX3476" fmla="*/ 10501728 w 12192528"/>
              <a:gd name="connsiteY3476" fmla="*/ 811234 h 3912503"/>
              <a:gd name="connsiteX3477" fmla="*/ 10496410 w 12192528"/>
              <a:gd name="connsiteY3477" fmla="*/ 812868 h 3912503"/>
              <a:gd name="connsiteX3478" fmla="*/ 10487414 w 12192528"/>
              <a:gd name="connsiteY3478" fmla="*/ 814912 h 3912503"/>
              <a:gd name="connsiteX3479" fmla="*/ 10480666 w 12192528"/>
              <a:gd name="connsiteY3479" fmla="*/ 820839 h 3912503"/>
              <a:gd name="connsiteX3480" fmla="*/ 10477599 w 12192528"/>
              <a:gd name="connsiteY3480" fmla="*/ 821938 h 3912503"/>
              <a:gd name="connsiteX3481" fmla="*/ 10475759 w 12192528"/>
              <a:gd name="connsiteY3481" fmla="*/ 819204 h 3912503"/>
              <a:gd name="connsiteX3482" fmla="*/ 10475146 w 12192528"/>
              <a:gd name="connsiteY3482" fmla="*/ 816751 h 3912503"/>
              <a:gd name="connsiteX3483" fmla="*/ 10473306 w 12192528"/>
              <a:gd name="connsiteY3483" fmla="*/ 813890 h 3912503"/>
              <a:gd name="connsiteX3484" fmla="*/ 10470647 w 12192528"/>
              <a:gd name="connsiteY3484" fmla="*/ 815729 h 3912503"/>
              <a:gd name="connsiteX3485" fmla="*/ 10464512 w 12192528"/>
              <a:gd name="connsiteY3485" fmla="*/ 814708 h 3912503"/>
              <a:gd name="connsiteX3486" fmla="*/ 10463286 w 12192528"/>
              <a:gd name="connsiteY3486" fmla="*/ 812050 h 3912503"/>
              <a:gd name="connsiteX3487" fmla="*/ 10459604 w 12192528"/>
              <a:gd name="connsiteY3487" fmla="*/ 810620 h 3912503"/>
              <a:gd name="connsiteX3488" fmla="*/ 10458173 w 12192528"/>
              <a:gd name="connsiteY3488" fmla="*/ 814095 h 3912503"/>
              <a:gd name="connsiteX3489" fmla="*/ 10458518 w 12192528"/>
              <a:gd name="connsiteY3489" fmla="*/ 817185 h 3912503"/>
              <a:gd name="connsiteX3490" fmla="*/ 10442536 w 12192528"/>
              <a:gd name="connsiteY3490" fmla="*/ 801291 h 3912503"/>
              <a:gd name="connsiteX3491" fmla="*/ 10443450 w 12192528"/>
              <a:gd name="connsiteY3491" fmla="*/ 799993 h 3912503"/>
              <a:gd name="connsiteX3492" fmla="*/ 10441611 w 12192528"/>
              <a:gd name="connsiteY3492" fmla="*/ 796110 h 3912503"/>
              <a:gd name="connsiteX3493" fmla="*/ 10437930 w 12192528"/>
              <a:gd name="connsiteY3493" fmla="*/ 794474 h 3912503"/>
              <a:gd name="connsiteX3494" fmla="*/ 10435476 w 12192528"/>
              <a:gd name="connsiteY3494" fmla="*/ 789569 h 3912503"/>
              <a:gd name="connsiteX3495" fmla="*/ 10427501 w 12192528"/>
              <a:gd name="connsiteY3495" fmla="*/ 773832 h 3912503"/>
              <a:gd name="connsiteX3496" fmla="*/ 10424638 w 12192528"/>
              <a:gd name="connsiteY3496" fmla="*/ 771584 h 3912503"/>
              <a:gd name="connsiteX3497" fmla="*/ 10428522 w 12192528"/>
              <a:gd name="connsiteY3497" fmla="*/ 769131 h 3912503"/>
              <a:gd name="connsiteX3498" fmla="*/ 10429137 w 12192528"/>
              <a:gd name="connsiteY3498" fmla="*/ 769131 h 3912503"/>
              <a:gd name="connsiteX3499" fmla="*/ 10433022 w 12192528"/>
              <a:gd name="connsiteY3499" fmla="*/ 762182 h 3912503"/>
              <a:gd name="connsiteX3500" fmla="*/ 10433431 w 12192528"/>
              <a:gd name="connsiteY3500" fmla="*/ 752577 h 3912503"/>
              <a:gd name="connsiteX3501" fmla="*/ 10436908 w 12192528"/>
              <a:gd name="connsiteY3501" fmla="*/ 739088 h 3912503"/>
              <a:gd name="connsiteX3502" fmla="*/ 10439975 w 12192528"/>
              <a:gd name="connsiteY3502" fmla="*/ 735409 h 3912503"/>
              <a:gd name="connsiteX3503" fmla="*/ 10448358 w 12192528"/>
              <a:gd name="connsiteY3503" fmla="*/ 724781 h 3912503"/>
              <a:gd name="connsiteX3504" fmla="*/ 10453266 w 12192528"/>
              <a:gd name="connsiteY3504" fmla="*/ 722941 h 3912503"/>
              <a:gd name="connsiteX3505" fmla="*/ 10473509 w 12192528"/>
              <a:gd name="connsiteY3505" fmla="*/ 717015 h 3912503"/>
              <a:gd name="connsiteX3506" fmla="*/ 10473509 w 12192528"/>
              <a:gd name="connsiteY3506" fmla="*/ 712519 h 3912503"/>
              <a:gd name="connsiteX3507" fmla="*/ 10468193 w 12192528"/>
              <a:gd name="connsiteY3507" fmla="*/ 711905 h 3912503"/>
              <a:gd name="connsiteX3508" fmla="*/ 10464512 w 12192528"/>
              <a:gd name="connsiteY3508" fmla="*/ 714358 h 3912503"/>
              <a:gd name="connsiteX3509" fmla="*/ 10461036 w 12192528"/>
              <a:gd name="connsiteY3509" fmla="*/ 714766 h 3912503"/>
              <a:gd name="connsiteX3510" fmla="*/ 10461650 w 12192528"/>
              <a:gd name="connsiteY3510" fmla="*/ 711087 h 3912503"/>
              <a:gd name="connsiteX3511" fmla="*/ 10464512 w 12192528"/>
              <a:gd name="connsiteY3511" fmla="*/ 708431 h 3912503"/>
              <a:gd name="connsiteX3512" fmla="*/ 10465534 w 12192528"/>
              <a:gd name="connsiteY3512" fmla="*/ 702096 h 3912503"/>
              <a:gd name="connsiteX3513" fmla="*/ 10460014 w 12192528"/>
              <a:gd name="connsiteY3513" fmla="*/ 703321 h 3912503"/>
              <a:gd name="connsiteX3514" fmla="*/ 10455719 w 12192528"/>
              <a:gd name="connsiteY3514" fmla="*/ 706795 h 3912503"/>
              <a:gd name="connsiteX3515" fmla="*/ 10451630 w 12192528"/>
              <a:gd name="connsiteY3515" fmla="*/ 704139 h 3912503"/>
              <a:gd name="connsiteX3516" fmla="*/ 10456130 w 12192528"/>
              <a:gd name="connsiteY3516" fmla="*/ 692489 h 3912503"/>
              <a:gd name="connsiteX3517" fmla="*/ 10456130 w 12192528"/>
              <a:gd name="connsiteY3517" fmla="*/ 681249 h 3912503"/>
              <a:gd name="connsiteX3518" fmla="*/ 10452039 w 12192528"/>
              <a:gd name="connsiteY3518" fmla="*/ 676752 h 3912503"/>
              <a:gd name="connsiteX3519" fmla="*/ 10450812 w 12192528"/>
              <a:gd name="connsiteY3519" fmla="*/ 674504 h 3912503"/>
              <a:gd name="connsiteX3520" fmla="*/ 10453061 w 12192528"/>
              <a:gd name="connsiteY3520" fmla="*/ 673278 h 3912503"/>
              <a:gd name="connsiteX3521" fmla="*/ 10457356 w 12192528"/>
              <a:gd name="connsiteY3521" fmla="*/ 669190 h 3912503"/>
              <a:gd name="connsiteX3522" fmla="*/ 10462672 w 12192528"/>
              <a:gd name="connsiteY3522" fmla="*/ 659993 h 3912503"/>
              <a:gd name="connsiteX3523" fmla="*/ 10462876 w 12192528"/>
              <a:gd name="connsiteY3523" fmla="*/ 655089 h 3912503"/>
              <a:gd name="connsiteX3524" fmla="*/ 10461241 w 12192528"/>
              <a:gd name="connsiteY3524" fmla="*/ 651819 h 3912503"/>
              <a:gd name="connsiteX3525" fmla="*/ 10464717 w 12192528"/>
              <a:gd name="connsiteY3525" fmla="*/ 649570 h 3912503"/>
              <a:gd name="connsiteX3526" fmla="*/ 10467580 w 12192528"/>
              <a:gd name="connsiteY3526" fmla="*/ 649161 h 3912503"/>
              <a:gd name="connsiteX3527" fmla="*/ 10471056 w 12192528"/>
              <a:gd name="connsiteY3527" fmla="*/ 640781 h 3912503"/>
              <a:gd name="connsiteX3528" fmla="*/ 10470033 w 12192528"/>
              <a:gd name="connsiteY3528" fmla="*/ 639147 h 3912503"/>
              <a:gd name="connsiteX3529" fmla="*/ 10470238 w 12192528"/>
              <a:gd name="connsiteY3529" fmla="*/ 635468 h 3912503"/>
              <a:gd name="connsiteX3530" fmla="*/ 10473509 w 12192528"/>
              <a:gd name="connsiteY3530" fmla="*/ 636286 h 3912503"/>
              <a:gd name="connsiteX3531" fmla="*/ 10475554 w 12192528"/>
              <a:gd name="connsiteY3531" fmla="*/ 638942 h 3912503"/>
              <a:gd name="connsiteX3532" fmla="*/ 10479643 w 12192528"/>
              <a:gd name="connsiteY3532" fmla="*/ 639556 h 3912503"/>
              <a:gd name="connsiteX3533" fmla="*/ 10492117 w 12192528"/>
              <a:gd name="connsiteY3533" fmla="*/ 636286 h 3912503"/>
              <a:gd name="connsiteX3534" fmla="*/ 10502970 w 12192528"/>
              <a:gd name="connsiteY3534" fmla="*/ 635572 h 3912503"/>
              <a:gd name="connsiteX3535" fmla="*/ 10502596 w 12192528"/>
              <a:gd name="connsiteY3535" fmla="*/ 634824 h 3912503"/>
              <a:gd name="connsiteX3536" fmla="*/ 10502596 w 12192528"/>
              <a:gd name="connsiteY3536" fmla="*/ 630194 h 3912503"/>
              <a:gd name="connsiteX3537" fmla="*/ 10506460 w 12192528"/>
              <a:gd name="connsiteY3537" fmla="*/ 619776 h 3912503"/>
              <a:gd name="connsiteX3538" fmla="*/ 10511869 w 12192528"/>
              <a:gd name="connsiteY3538" fmla="*/ 602797 h 3912503"/>
              <a:gd name="connsiteX3539" fmla="*/ 10516505 w 12192528"/>
              <a:gd name="connsiteY3539" fmla="*/ 596623 h 3912503"/>
              <a:gd name="connsiteX3540" fmla="*/ 10523846 w 12192528"/>
              <a:gd name="connsiteY3540" fmla="*/ 590449 h 3912503"/>
              <a:gd name="connsiteX3541" fmla="*/ 10530414 w 12192528"/>
              <a:gd name="connsiteY3541" fmla="*/ 586975 h 3912503"/>
              <a:gd name="connsiteX3542" fmla="*/ 10542006 w 12192528"/>
              <a:gd name="connsiteY3542" fmla="*/ 581236 h 3912503"/>
              <a:gd name="connsiteX3543" fmla="*/ 5826933 w 12192528"/>
              <a:gd name="connsiteY3543" fmla="*/ 542144 h 3912503"/>
              <a:gd name="connsiteX3544" fmla="*/ 5835583 w 12192528"/>
              <a:gd name="connsiteY3544" fmla="*/ 546428 h 3912503"/>
              <a:gd name="connsiteX3545" fmla="*/ 5840487 w 12192528"/>
              <a:gd name="connsiteY3545" fmla="*/ 549020 h 3912503"/>
              <a:gd name="connsiteX3546" fmla="*/ 5845967 w 12192528"/>
              <a:gd name="connsiteY3546" fmla="*/ 553628 h 3912503"/>
              <a:gd name="connsiteX3547" fmla="*/ 5849428 w 12192528"/>
              <a:gd name="connsiteY3547" fmla="*/ 558237 h 3912503"/>
              <a:gd name="connsiteX3548" fmla="*/ 5853463 w 12192528"/>
              <a:gd name="connsiteY3548" fmla="*/ 570910 h 3912503"/>
              <a:gd name="connsiteX3549" fmla="*/ 5856350 w 12192528"/>
              <a:gd name="connsiteY3549" fmla="*/ 578687 h 3912503"/>
              <a:gd name="connsiteX3550" fmla="*/ 5856350 w 12192528"/>
              <a:gd name="connsiteY3550" fmla="*/ 582143 h 3912503"/>
              <a:gd name="connsiteX3551" fmla="*/ 5852888 w 12192528"/>
              <a:gd name="connsiteY3551" fmla="*/ 589056 h 3912503"/>
              <a:gd name="connsiteX3552" fmla="*/ 5845102 w 12192528"/>
              <a:gd name="connsiteY3552" fmla="*/ 599425 h 3912503"/>
              <a:gd name="connsiteX3553" fmla="*/ 5843083 w 12192528"/>
              <a:gd name="connsiteY3553" fmla="*/ 603457 h 3912503"/>
              <a:gd name="connsiteX3554" fmla="*/ 5839620 w 12192528"/>
              <a:gd name="connsiteY3554" fmla="*/ 604897 h 3912503"/>
              <a:gd name="connsiteX3555" fmla="*/ 5832990 w 12192528"/>
              <a:gd name="connsiteY3555" fmla="*/ 606914 h 3912503"/>
              <a:gd name="connsiteX3556" fmla="*/ 5830682 w 12192528"/>
              <a:gd name="connsiteY3556" fmla="*/ 608065 h 3912503"/>
              <a:gd name="connsiteX3557" fmla="*/ 5821454 w 12192528"/>
              <a:gd name="connsiteY3557" fmla="*/ 609217 h 3912503"/>
              <a:gd name="connsiteX3558" fmla="*/ 5819436 w 12192528"/>
              <a:gd name="connsiteY3558" fmla="*/ 609793 h 3912503"/>
              <a:gd name="connsiteX3559" fmla="*/ 5798959 w 12192528"/>
              <a:gd name="connsiteY3559" fmla="*/ 596832 h 3912503"/>
              <a:gd name="connsiteX3560" fmla="*/ 5792616 w 12192528"/>
              <a:gd name="connsiteY3560" fmla="*/ 585024 h 3912503"/>
              <a:gd name="connsiteX3561" fmla="*/ 5790598 w 12192528"/>
              <a:gd name="connsiteY3561" fmla="*/ 580127 h 3912503"/>
              <a:gd name="connsiteX3562" fmla="*/ 5790309 w 12192528"/>
              <a:gd name="connsiteY3562" fmla="*/ 575230 h 3912503"/>
              <a:gd name="connsiteX3563" fmla="*/ 5791173 w 12192528"/>
              <a:gd name="connsiteY3563" fmla="*/ 571486 h 3912503"/>
              <a:gd name="connsiteX3564" fmla="*/ 5792616 w 12192528"/>
              <a:gd name="connsiteY3564" fmla="*/ 563710 h 3912503"/>
              <a:gd name="connsiteX3565" fmla="*/ 5792904 w 12192528"/>
              <a:gd name="connsiteY3565" fmla="*/ 560829 h 3912503"/>
              <a:gd name="connsiteX3566" fmla="*/ 5793768 w 12192528"/>
              <a:gd name="connsiteY3566" fmla="*/ 553917 h 3912503"/>
              <a:gd name="connsiteX3567" fmla="*/ 5808187 w 12192528"/>
              <a:gd name="connsiteY3567" fmla="*/ 542683 h 3912503"/>
              <a:gd name="connsiteX3568" fmla="*/ 5817414 w 12192528"/>
              <a:gd name="connsiteY3568" fmla="*/ 542395 h 3912503"/>
              <a:gd name="connsiteX3569" fmla="*/ 5826933 w 12192528"/>
              <a:gd name="connsiteY3569" fmla="*/ 542144 h 3912503"/>
              <a:gd name="connsiteX3570" fmla="*/ 8173635 w 12192528"/>
              <a:gd name="connsiteY3570" fmla="*/ 529140 h 3912503"/>
              <a:gd name="connsiteX3571" fmla="*/ 8173419 w 12192528"/>
              <a:gd name="connsiteY3571" fmla="*/ 529501 h 3912503"/>
              <a:gd name="connsiteX3572" fmla="*/ 8173165 w 12192528"/>
              <a:gd name="connsiteY3572" fmla="*/ 529251 h 3912503"/>
              <a:gd name="connsiteX3573" fmla="*/ 6676874 w 12192528"/>
              <a:gd name="connsiteY3573" fmla="*/ 520917 h 3912503"/>
              <a:gd name="connsiteX3574" fmla="*/ 6689630 w 12192528"/>
              <a:gd name="connsiteY3574" fmla="*/ 521255 h 3912503"/>
              <a:gd name="connsiteX3575" fmla="*/ 6701990 w 12192528"/>
              <a:gd name="connsiteY3575" fmla="*/ 521641 h 3912503"/>
              <a:gd name="connsiteX3576" fmla="*/ 6721310 w 12192528"/>
              <a:gd name="connsiteY3576" fmla="*/ 536689 h 3912503"/>
              <a:gd name="connsiteX3577" fmla="*/ 6722468 w 12192528"/>
              <a:gd name="connsiteY3577" fmla="*/ 545950 h 3912503"/>
              <a:gd name="connsiteX3578" fmla="*/ 6722853 w 12192528"/>
              <a:gd name="connsiteY3578" fmla="*/ 549809 h 3912503"/>
              <a:gd name="connsiteX3579" fmla="*/ 6724785 w 12192528"/>
              <a:gd name="connsiteY3579" fmla="*/ 560228 h 3912503"/>
              <a:gd name="connsiteX3580" fmla="*/ 6725945 w 12192528"/>
              <a:gd name="connsiteY3580" fmla="*/ 565245 h 3912503"/>
              <a:gd name="connsiteX3581" fmla="*/ 6725557 w 12192528"/>
              <a:gd name="connsiteY3581" fmla="*/ 571805 h 3912503"/>
              <a:gd name="connsiteX3582" fmla="*/ 6722853 w 12192528"/>
              <a:gd name="connsiteY3582" fmla="*/ 578365 h 3912503"/>
              <a:gd name="connsiteX3583" fmla="*/ 6714354 w 12192528"/>
              <a:gd name="connsiteY3583" fmla="*/ 594186 h 3912503"/>
              <a:gd name="connsiteX3584" fmla="*/ 6686925 w 12192528"/>
              <a:gd name="connsiteY3584" fmla="*/ 611550 h 3912503"/>
              <a:gd name="connsiteX3585" fmla="*/ 6684222 w 12192528"/>
              <a:gd name="connsiteY3585" fmla="*/ 610778 h 3912503"/>
              <a:gd name="connsiteX3586" fmla="*/ 6671855 w 12192528"/>
              <a:gd name="connsiteY3586" fmla="*/ 609235 h 3912503"/>
              <a:gd name="connsiteX3587" fmla="*/ 6668759 w 12192528"/>
              <a:gd name="connsiteY3587" fmla="*/ 607691 h 3912503"/>
              <a:gd name="connsiteX3588" fmla="*/ 6659873 w 12192528"/>
              <a:gd name="connsiteY3588" fmla="*/ 604991 h 3912503"/>
              <a:gd name="connsiteX3589" fmla="*/ 6655234 w 12192528"/>
              <a:gd name="connsiteY3589" fmla="*/ 603061 h 3912503"/>
              <a:gd name="connsiteX3590" fmla="*/ 6652530 w 12192528"/>
              <a:gd name="connsiteY3590" fmla="*/ 597658 h 3912503"/>
              <a:gd name="connsiteX3591" fmla="*/ 6642102 w 12192528"/>
              <a:gd name="connsiteY3591" fmla="*/ 583766 h 3912503"/>
              <a:gd name="connsiteX3592" fmla="*/ 6637462 w 12192528"/>
              <a:gd name="connsiteY3592" fmla="*/ 574505 h 3912503"/>
              <a:gd name="connsiteX3593" fmla="*/ 6637462 w 12192528"/>
              <a:gd name="connsiteY3593" fmla="*/ 569876 h 3912503"/>
              <a:gd name="connsiteX3594" fmla="*/ 6641328 w 12192528"/>
              <a:gd name="connsiteY3594" fmla="*/ 559456 h 3912503"/>
              <a:gd name="connsiteX3595" fmla="*/ 6646738 w 12192528"/>
              <a:gd name="connsiteY3595" fmla="*/ 542478 h 3912503"/>
              <a:gd name="connsiteX3596" fmla="*/ 6651370 w 12192528"/>
              <a:gd name="connsiteY3596" fmla="*/ 536303 h 3912503"/>
              <a:gd name="connsiteX3597" fmla="*/ 6658713 w 12192528"/>
              <a:gd name="connsiteY3597" fmla="*/ 530130 h 3912503"/>
              <a:gd name="connsiteX3598" fmla="*/ 6665280 w 12192528"/>
              <a:gd name="connsiteY3598" fmla="*/ 526657 h 3912503"/>
              <a:gd name="connsiteX3599" fmla="*/ 6676874 w 12192528"/>
              <a:gd name="connsiteY3599" fmla="*/ 520917 h 3912503"/>
              <a:gd name="connsiteX3600" fmla="*/ 3502163 w 12192528"/>
              <a:gd name="connsiteY3600" fmla="*/ 519789 h 3912503"/>
              <a:gd name="connsiteX3601" fmla="*/ 3514913 w 12192528"/>
              <a:gd name="connsiteY3601" fmla="*/ 520127 h 3912503"/>
              <a:gd name="connsiteX3602" fmla="*/ 3527277 w 12192528"/>
              <a:gd name="connsiteY3602" fmla="*/ 520513 h 3912503"/>
              <a:gd name="connsiteX3603" fmla="*/ 3546595 w 12192528"/>
              <a:gd name="connsiteY3603" fmla="*/ 535561 h 3912503"/>
              <a:gd name="connsiteX3604" fmla="*/ 3547755 w 12192528"/>
              <a:gd name="connsiteY3604" fmla="*/ 544822 h 3912503"/>
              <a:gd name="connsiteX3605" fmla="*/ 3548141 w 12192528"/>
              <a:gd name="connsiteY3605" fmla="*/ 548681 h 3912503"/>
              <a:gd name="connsiteX3606" fmla="*/ 3550073 w 12192528"/>
              <a:gd name="connsiteY3606" fmla="*/ 559100 h 3912503"/>
              <a:gd name="connsiteX3607" fmla="*/ 3551231 w 12192528"/>
              <a:gd name="connsiteY3607" fmla="*/ 564116 h 3912503"/>
              <a:gd name="connsiteX3608" fmla="*/ 3550846 w 12192528"/>
              <a:gd name="connsiteY3608" fmla="*/ 570677 h 3912503"/>
              <a:gd name="connsiteX3609" fmla="*/ 3548141 w 12192528"/>
              <a:gd name="connsiteY3609" fmla="*/ 577236 h 3912503"/>
              <a:gd name="connsiteX3610" fmla="*/ 3539641 w 12192528"/>
              <a:gd name="connsiteY3610" fmla="*/ 593058 h 3912503"/>
              <a:gd name="connsiteX3611" fmla="*/ 3512208 w 12192528"/>
              <a:gd name="connsiteY3611" fmla="*/ 610422 h 3912503"/>
              <a:gd name="connsiteX3612" fmla="*/ 3509504 w 12192528"/>
              <a:gd name="connsiteY3612" fmla="*/ 609650 h 3912503"/>
              <a:gd name="connsiteX3613" fmla="*/ 3497140 w 12192528"/>
              <a:gd name="connsiteY3613" fmla="*/ 608106 h 3912503"/>
              <a:gd name="connsiteX3614" fmla="*/ 3494050 w 12192528"/>
              <a:gd name="connsiteY3614" fmla="*/ 606563 h 3912503"/>
              <a:gd name="connsiteX3615" fmla="*/ 3485163 w 12192528"/>
              <a:gd name="connsiteY3615" fmla="*/ 603862 h 3912503"/>
              <a:gd name="connsiteX3616" fmla="*/ 3480526 w 12192528"/>
              <a:gd name="connsiteY3616" fmla="*/ 601933 h 3912503"/>
              <a:gd name="connsiteX3617" fmla="*/ 3477822 w 12192528"/>
              <a:gd name="connsiteY3617" fmla="*/ 596530 h 3912503"/>
              <a:gd name="connsiteX3618" fmla="*/ 3467390 w 12192528"/>
              <a:gd name="connsiteY3618" fmla="*/ 582638 h 3912503"/>
              <a:gd name="connsiteX3619" fmla="*/ 3462753 w 12192528"/>
              <a:gd name="connsiteY3619" fmla="*/ 573377 h 3912503"/>
              <a:gd name="connsiteX3620" fmla="*/ 3462753 w 12192528"/>
              <a:gd name="connsiteY3620" fmla="*/ 568747 h 3912503"/>
              <a:gd name="connsiteX3621" fmla="*/ 3466617 w 12192528"/>
              <a:gd name="connsiteY3621" fmla="*/ 558328 h 3912503"/>
              <a:gd name="connsiteX3622" fmla="*/ 3472026 w 12192528"/>
              <a:gd name="connsiteY3622" fmla="*/ 541350 h 3912503"/>
              <a:gd name="connsiteX3623" fmla="*/ 3476663 w 12192528"/>
              <a:gd name="connsiteY3623" fmla="*/ 535175 h 3912503"/>
              <a:gd name="connsiteX3624" fmla="*/ 3484004 w 12192528"/>
              <a:gd name="connsiteY3624" fmla="*/ 529002 h 3912503"/>
              <a:gd name="connsiteX3625" fmla="*/ 3490572 w 12192528"/>
              <a:gd name="connsiteY3625" fmla="*/ 525528 h 3912503"/>
              <a:gd name="connsiteX3626" fmla="*/ 3502163 w 12192528"/>
              <a:gd name="connsiteY3626" fmla="*/ 519789 h 3912503"/>
              <a:gd name="connsiteX3627" fmla="*/ 11153016 w 12192528"/>
              <a:gd name="connsiteY3627" fmla="*/ 519764 h 3912503"/>
              <a:gd name="connsiteX3628" fmla="*/ 11156697 w 12192528"/>
              <a:gd name="connsiteY3628" fmla="*/ 521603 h 3912503"/>
              <a:gd name="connsiteX3629" fmla="*/ 11167330 w 12192528"/>
              <a:gd name="connsiteY3629" fmla="*/ 526508 h 3912503"/>
              <a:gd name="connsiteX3630" fmla="*/ 11169376 w 12192528"/>
              <a:gd name="connsiteY3630" fmla="*/ 527939 h 3912503"/>
              <a:gd name="connsiteX3631" fmla="*/ 11178374 w 12192528"/>
              <a:gd name="connsiteY3631" fmla="*/ 538771 h 3912503"/>
              <a:gd name="connsiteX3632" fmla="*/ 11183894 w 12192528"/>
              <a:gd name="connsiteY3632" fmla="*/ 557165 h 3912503"/>
              <a:gd name="connsiteX3633" fmla="*/ 11186551 w 12192528"/>
              <a:gd name="connsiteY3633" fmla="*/ 563501 h 3912503"/>
              <a:gd name="connsiteX3634" fmla="*/ 11185938 w 12192528"/>
              <a:gd name="connsiteY3634" fmla="*/ 572493 h 3912503"/>
              <a:gd name="connsiteX3635" fmla="*/ 11185120 w 12192528"/>
              <a:gd name="connsiteY3635" fmla="*/ 580055 h 3912503"/>
              <a:gd name="connsiteX3636" fmla="*/ 11185325 w 12192528"/>
              <a:gd name="connsiteY3636" fmla="*/ 583122 h 3912503"/>
              <a:gd name="connsiteX3637" fmla="*/ 11173260 w 12192528"/>
              <a:gd name="connsiteY3637" fmla="*/ 597019 h 3912503"/>
              <a:gd name="connsiteX3638" fmla="*/ 11161809 w 12192528"/>
              <a:gd name="connsiteY3638" fmla="*/ 603763 h 3912503"/>
              <a:gd name="connsiteX3639" fmla="*/ 11153221 w 12192528"/>
              <a:gd name="connsiteY3639" fmla="*/ 615004 h 3912503"/>
              <a:gd name="connsiteX3640" fmla="*/ 11154447 w 12192528"/>
              <a:gd name="connsiteY3640" fmla="*/ 617253 h 3912503"/>
              <a:gd name="connsiteX3641" fmla="*/ 11166512 w 12192528"/>
              <a:gd name="connsiteY3641" fmla="*/ 631559 h 3912503"/>
              <a:gd name="connsiteX3642" fmla="*/ 11168149 w 12192528"/>
              <a:gd name="connsiteY3642" fmla="*/ 634829 h 3912503"/>
              <a:gd name="connsiteX3643" fmla="*/ 11169784 w 12192528"/>
              <a:gd name="connsiteY3643" fmla="*/ 645048 h 3912503"/>
              <a:gd name="connsiteX3644" fmla="*/ 11172646 w 12192528"/>
              <a:gd name="connsiteY3644" fmla="*/ 656902 h 3912503"/>
              <a:gd name="connsiteX3645" fmla="*/ 11172442 w 12192528"/>
              <a:gd name="connsiteY3645" fmla="*/ 661806 h 3912503"/>
              <a:gd name="connsiteX3646" fmla="*/ 11161605 w 12192528"/>
              <a:gd name="connsiteY3646" fmla="*/ 688172 h 3912503"/>
              <a:gd name="connsiteX3647" fmla="*/ 11159560 w 12192528"/>
              <a:gd name="connsiteY3647" fmla="*/ 689806 h 3912503"/>
              <a:gd name="connsiteX3648" fmla="*/ 11147088 w 12192528"/>
              <a:gd name="connsiteY3648" fmla="*/ 695734 h 3912503"/>
              <a:gd name="connsiteX3649" fmla="*/ 11141770 w 12192528"/>
              <a:gd name="connsiteY3649" fmla="*/ 697368 h 3912503"/>
              <a:gd name="connsiteX3650" fmla="*/ 11132773 w 12192528"/>
              <a:gd name="connsiteY3650" fmla="*/ 699413 h 3912503"/>
              <a:gd name="connsiteX3651" fmla="*/ 11126025 w 12192528"/>
              <a:gd name="connsiteY3651" fmla="*/ 705339 h 3912503"/>
              <a:gd name="connsiteX3652" fmla="*/ 11122959 w 12192528"/>
              <a:gd name="connsiteY3652" fmla="*/ 706438 h 3912503"/>
              <a:gd name="connsiteX3653" fmla="*/ 11121118 w 12192528"/>
              <a:gd name="connsiteY3653" fmla="*/ 703705 h 3912503"/>
              <a:gd name="connsiteX3654" fmla="*/ 11120504 w 12192528"/>
              <a:gd name="connsiteY3654" fmla="*/ 701252 h 3912503"/>
              <a:gd name="connsiteX3655" fmla="*/ 11118663 w 12192528"/>
              <a:gd name="connsiteY3655" fmla="*/ 698391 h 3912503"/>
              <a:gd name="connsiteX3656" fmla="*/ 11116006 w 12192528"/>
              <a:gd name="connsiteY3656" fmla="*/ 700229 h 3912503"/>
              <a:gd name="connsiteX3657" fmla="*/ 11109873 w 12192528"/>
              <a:gd name="connsiteY3657" fmla="*/ 699208 h 3912503"/>
              <a:gd name="connsiteX3658" fmla="*/ 11108644 w 12192528"/>
              <a:gd name="connsiteY3658" fmla="*/ 696551 h 3912503"/>
              <a:gd name="connsiteX3659" fmla="*/ 11104963 w 12192528"/>
              <a:gd name="connsiteY3659" fmla="*/ 695121 h 3912503"/>
              <a:gd name="connsiteX3660" fmla="*/ 11103532 w 12192528"/>
              <a:gd name="connsiteY3660" fmla="*/ 698595 h 3912503"/>
              <a:gd name="connsiteX3661" fmla="*/ 11103876 w 12192528"/>
              <a:gd name="connsiteY3661" fmla="*/ 701686 h 3912503"/>
              <a:gd name="connsiteX3662" fmla="*/ 11087894 w 12192528"/>
              <a:gd name="connsiteY3662" fmla="*/ 685791 h 3912503"/>
              <a:gd name="connsiteX3663" fmla="*/ 11088809 w 12192528"/>
              <a:gd name="connsiteY3663" fmla="*/ 684493 h 3912503"/>
              <a:gd name="connsiteX3664" fmla="*/ 11086969 w 12192528"/>
              <a:gd name="connsiteY3664" fmla="*/ 680610 h 3912503"/>
              <a:gd name="connsiteX3665" fmla="*/ 11083288 w 12192528"/>
              <a:gd name="connsiteY3665" fmla="*/ 678975 h 3912503"/>
              <a:gd name="connsiteX3666" fmla="*/ 11080835 w 12192528"/>
              <a:gd name="connsiteY3666" fmla="*/ 674069 h 3912503"/>
              <a:gd name="connsiteX3667" fmla="*/ 11072860 w 12192528"/>
              <a:gd name="connsiteY3667" fmla="*/ 658332 h 3912503"/>
              <a:gd name="connsiteX3668" fmla="*/ 11069997 w 12192528"/>
              <a:gd name="connsiteY3668" fmla="*/ 656084 h 3912503"/>
              <a:gd name="connsiteX3669" fmla="*/ 11073882 w 12192528"/>
              <a:gd name="connsiteY3669" fmla="*/ 653631 h 3912503"/>
              <a:gd name="connsiteX3670" fmla="*/ 11074495 w 12192528"/>
              <a:gd name="connsiteY3670" fmla="*/ 653631 h 3912503"/>
              <a:gd name="connsiteX3671" fmla="*/ 11078382 w 12192528"/>
              <a:gd name="connsiteY3671" fmla="*/ 646683 h 3912503"/>
              <a:gd name="connsiteX3672" fmla="*/ 11078791 w 12192528"/>
              <a:gd name="connsiteY3672" fmla="*/ 637077 h 3912503"/>
              <a:gd name="connsiteX3673" fmla="*/ 11082267 w 12192528"/>
              <a:gd name="connsiteY3673" fmla="*/ 623588 h 3912503"/>
              <a:gd name="connsiteX3674" fmla="*/ 11085333 w 12192528"/>
              <a:gd name="connsiteY3674" fmla="*/ 619909 h 3912503"/>
              <a:gd name="connsiteX3675" fmla="*/ 11093717 w 12192528"/>
              <a:gd name="connsiteY3675" fmla="*/ 609282 h 3912503"/>
              <a:gd name="connsiteX3676" fmla="*/ 11098624 w 12192528"/>
              <a:gd name="connsiteY3676" fmla="*/ 607442 h 3912503"/>
              <a:gd name="connsiteX3677" fmla="*/ 11118868 w 12192528"/>
              <a:gd name="connsiteY3677" fmla="*/ 601515 h 3912503"/>
              <a:gd name="connsiteX3678" fmla="*/ 11118868 w 12192528"/>
              <a:gd name="connsiteY3678" fmla="*/ 597019 h 3912503"/>
              <a:gd name="connsiteX3679" fmla="*/ 11113551 w 12192528"/>
              <a:gd name="connsiteY3679" fmla="*/ 596406 h 3912503"/>
              <a:gd name="connsiteX3680" fmla="*/ 11109873 w 12192528"/>
              <a:gd name="connsiteY3680" fmla="*/ 598859 h 3912503"/>
              <a:gd name="connsiteX3681" fmla="*/ 11106394 w 12192528"/>
              <a:gd name="connsiteY3681" fmla="*/ 599267 h 3912503"/>
              <a:gd name="connsiteX3682" fmla="*/ 11107008 w 12192528"/>
              <a:gd name="connsiteY3682" fmla="*/ 595588 h 3912503"/>
              <a:gd name="connsiteX3683" fmla="*/ 11109873 w 12192528"/>
              <a:gd name="connsiteY3683" fmla="*/ 592931 h 3912503"/>
              <a:gd name="connsiteX3684" fmla="*/ 11110894 w 12192528"/>
              <a:gd name="connsiteY3684" fmla="*/ 586596 h 3912503"/>
              <a:gd name="connsiteX3685" fmla="*/ 11105372 w 12192528"/>
              <a:gd name="connsiteY3685" fmla="*/ 587822 h 3912503"/>
              <a:gd name="connsiteX3686" fmla="*/ 11101079 w 12192528"/>
              <a:gd name="connsiteY3686" fmla="*/ 591296 h 3912503"/>
              <a:gd name="connsiteX3687" fmla="*/ 11096989 w 12192528"/>
              <a:gd name="connsiteY3687" fmla="*/ 588639 h 3912503"/>
              <a:gd name="connsiteX3688" fmla="*/ 11101486 w 12192528"/>
              <a:gd name="connsiteY3688" fmla="*/ 576989 h 3912503"/>
              <a:gd name="connsiteX3689" fmla="*/ 11101486 w 12192528"/>
              <a:gd name="connsiteY3689" fmla="*/ 565749 h 3912503"/>
              <a:gd name="connsiteX3690" fmla="*/ 11097398 w 12192528"/>
              <a:gd name="connsiteY3690" fmla="*/ 561252 h 3912503"/>
              <a:gd name="connsiteX3691" fmla="*/ 11096171 w 12192528"/>
              <a:gd name="connsiteY3691" fmla="*/ 559004 h 3912503"/>
              <a:gd name="connsiteX3692" fmla="*/ 11098420 w 12192528"/>
              <a:gd name="connsiteY3692" fmla="*/ 557778 h 3912503"/>
              <a:gd name="connsiteX3693" fmla="*/ 11102715 w 12192528"/>
              <a:gd name="connsiteY3693" fmla="*/ 553690 h 3912503"/>
              <a:gd name="connsiteX3694" fmla="*/ 11108030 w 12192528"/>
              <a:gd name="connsiteY3694" fmla="*/ 544493 h 3912503"/>
              <a:gd name="connsiteX3695" fmla="*/ 11108235 w 12192528"/>
              <a:gd name="connsiteY3695" fmla="*/ 539587 h 3912503"/>
              <a:gd name="connsiteX3696" fmla="*/ 11106600 w 12192528"/>
              <a:gd name="connsiteY3696" fmla="*/ 536318 h 3912503"/>
              <a:gd name="connsiteX3697" fmla="*/ 11110075 w 12192528"/>
              <a:gd name="connsiteY3697" fmla="*/ 534070 h 3912503"/>
              <a:gd name="connsiteX3698" fmla="*/ 11112938 w 12192528"/>
              <a:gd name="connsiteY3698" fmla="*/ 533661 h 3912503"/>
              <a:gd name="connsiteX3699" fmla="*/ 11116415 w 12192528"/>
              <a:gd name="connsiteY3699" fmla="*/ 525281 h 3912503"/>
              <a:gd name="connsiteX3700" fmla="*/ 11115392 w 12192528"/>
              <a:gd name="connsiteY3700" fmla="*/ 523647 h 3912503"/>
              <a:gd name="connsiteX3701" fmla="*/ 11115597 w 12192528"/>
              <a:gd name="connsiteY3701" fmla="*/ 519968 h 3912503"/>
              <a:gd name="connsiteX3702" fmla="*/ 11118868 w 12192528"/>
              <a:gd name="connsiteY3702" fmla="*/ 520785 h 3912503"/>
              <a:gd name="connsiteX3703" fmla="*/ 11120913 w 12192528"/>
              <a:gd name="connsiteY3703" fmla="*/ 523442 h 3912503"/>
              <a:gd name="connsiteX3704" fmla="*/ 11125003 w 12192528"/>
              <a:gd name="connsiteY3704" fmla="*/ 524056 h 3912503"/>
              <a:gd name="connsiteX3705" fmla="*/ 11137476 w 12192528"/>
              <a:gd name="connsiteY3705" fmla="*/ 520785 h 3912503"/>
              <a:gd name="connsiteX3706" fmla="*/ 11153016 w 12192528"/>
              <a:gd name="connsiteY3706" fmla="*/ 519764 h 3912503"/>
              <a:gd name="connsiteX3707" fmla="*/ 4280330 w 12192528"/>
              <a:gd name="connsiteY3707" fmla="*/ 518896 h 3912503"/>
              <a:gd name="connsiteX3708" fmla="*/ 4288982 w 12192528"/>
              <a:gd name="connsiteY3708" fmla="*/ 523180 h 3912503"/>
              <a:gd name="connsiteX3709" fmla="*/ 4293883 w 12192528"/>
              <a:gd name="connsiteY3709" fmla="*/ 525772 h 3912503"/>
              <a:gd name="connsiteX3710" fmla="*/ 4299362 w 12192528"/>
              <a:gd name="connsiteY3710" fmla="*/ 530380 h 3912503"/>
              <a:gd name="connsiteX3711" fmla="*/ 4302822 w 12192528"/>
              <a:gd name="connsiteY3711" fmla="*/ 534989 h 3912503"/>
              <a:gd name="connsiteX3712" fmla="*/ 4306861 w 12192528"/>
              <a:gd name="connsiteY3712" fmla="*/ 547662 h 3912503"/>
              <a:gd name="connsiteX3713" fmla="*/ 4309745 w 12192528"/>
              <a:gd name="connsiteY3713" fmla="*/ 555438 h 3912503"/>
              <a:gd name="connsiteX3714" fmla="*/ 4309745 w 12192528"/>
              <a:gd name="connsiteY3714" fmla="*/ 558895 h 3912503"/>
              <a:gd name="connsiteX3715" fmla="*/ 4306283 w 12192528"/>
              <a:gd name="connsiteY3715" fmla="*/ 565808 h 3912503"/>
              <a:gd name="connsiteX3716" fmla="*/ 4298499 w 12192528"/>
              <a:gd name="connsiteY3716" fmla="*/ 576177 h 3912503"/>
              <a:gd name="connsiteX3717" fmla="*/ 4296479 w 12192528"/>
              <a:gd name="connsiteY3717" fmla="*/ 580209 h 3912503"/>
              <a:gd name="connsiteX3718" fmla="*/ 4293018 w 12192528"/>
              <a:gd name="connsiteY3718" fmla="*/ 581649 h 3912503"/>
              <a:gd name="connsiteX3719" fmla="*/ 4286384 w 12192528"/>
              <a:gd name="connsiteY3719" fmla="*/ 583666 h 3912503"/>
              <a:gd name="connsiteX3720" fmla="*/ 4284078 w 12192528"/>
              <a:gd name="connsiteY3720" fmla="*/ 584817 h 3912503"/>
              <a:gd name="connsiteX3721" fmla="*/ 4274851 w 12192528"/>
              <a:gd name="connsiteY3721" fmla="*/ 585969 h 3912503"/>
              <a:gd name="connsiteX3722" fmla="*/ 4272831 w 12192528"/>
              <a:gd name="connsiteY3722" fmla="*/ 586545 h 3912503"/>
              <a:gd name="connsiteX3723" fmla="*/ 4252354 w 12192528"/>
              <a:gd name="connsiteY3723" fmla="*/ 573584 h 3912503"/>
              <a:gd name="connsiteX3724" fmla="*/ 4246010 w 12192528"/>
              <a:gd name="connsiteY3724" fmla="*/ 561775 h 3912503"/>
              <a:gd name="connsiteX3725" fmla="*/ 4243992 w 12192528"/>
              <a:gd name="connsiteY3725" fmla="*/ 556879 h 3912503"/>
              <a:gd name="connsiteX3726" fmla="*/ 4243704 w 12192528"/>
              <a:gd name="connsiteY3726" fmla="*/ 551983 h 3912503"/>
              <a:gd name="connsiteX3727" fmla="*/ 4244568 w 12192528"/>
              <a:gd name="connsiteY3727" fmla="*/ 548238 h 3912503"/>
              <a:gd name="connsiteX3728" fmla="*/ 4246010 w 12192528"/>
              <a:gd name="connsiteY3728" fmla="*/ 540461 h 3912503"/>
              <a:gd name="connsiteX3729" fmla="*/ 4246297 w 12192528"/>
              <a:gd name="connsiteY3729" fmla="*/ 537581 h 3912503"/>
              <a:gd name="connsiteX3730" fmla="*/ 4247164 w 12192528"/>
              <a:gd name="connsiteY3730" fmla="*/ 530669 h 3912503"/>
              <a:gd name="connsiteX3731" fmla="*/ 4261585 w 12192528"/>
              <a:gd name="connsiteY3731" fmla="*/ 519436 h 3912503"/>
              <a:gd name="connsiteX3732" fmla="*/ 4270813 w 12192528"/>
              <a:gd name="connsiteY3732" fmla="*/ 519147 h 3912503"/>
              <a:gd name="connsiteX3733" fmla="*/ 4280330 w 12192528"/>
              <a:gd name="connsiteY3733" fmla="*/ 518896 h 3912503"/>
              <a:gd name="connsiteX3734" fmla="*/ 10198237 w 12192528"/>
              <a:gd name="connsiteY3734" fmla="*/ 513586 h 3912503"/>
              <a:gd name="connsiteX3735" fmla="*/ 10197988 w 12192528"/>
              <a:gd name="connsiteY3735" fmla="*/ 514002 h 3912503"/>
              <a:gd name="connsiteX3736" fmla="*/ 10197698 w 12192528"/>
              <a:gd name="connsiteY3736" fmla="*/ 513714 h 3912503"/>
              <a:gd name="connsiteX3737" fmla="*/ 3288866 w 12192528"/>
              <a:gd name="connsiteY3737" fmla="*/ 502749 h 3912503"/>
              <a:gd name="connsiteX3738" fmla="*/ 3304406 w 12192528"/>
              <a:gd name="connsiteY3738" fmla="*/ 503770 h 3912503"/>
              <a:gd name="connsiteX3739" fmla="*/ 3316880 w 12192528"/>
              <a:gd name="connsiteY3739" fmla="*/ 507041 h 3912503"/>
              <a:gd name="connsiteX3740" fmla="*/ 3320970 w 12192528"/>
              <a:gd name="connsiteY3740" fmla="*/ 506427 h 3912503"/>
              <a:gd name="connsiteX3741" fmla="*/ 3323015 w 12192528"/>
              <a:gd name="connsiteY3741" fmla="*/ 503770 h 3912503"/>
              <a:gd name="connsiteX3742" fmla="*/ 3326287 w 12192528"/>
              <a:gd name="connsiteY3742" fmla="*/ 502953 h 3912503"/>
              <a:gd name="connsiteX3743" fmla="*/ 3326491 w 12192528"/>
              <a:gd name="connsiteY3743" fmla="*/ 506632 h 3912503"/>
              <a:gd name="connsiteX3744" fmla="*/ 3325468 w 12192528"/>
              <a:gd name="connsiteY3744" fmla="*/ 508266 h 3912503"/>
              <a:gd name="connsiteX3745" fmla="*/ 3328944 w 12192528"/>
              <a:gd name="connsiteY3745" fmla="*/ 516646 h 3912503"/>
              <a:gd name="connsiteX3746" fmla="*/ 3331807 w 12192528"/>
              <a:gd name="connsiteY3746" fmla="*/ 517055 h 3912503"/>
              <a:gd name="connsiteX3747" fmla="*/ 3335284 w 12192528"/>
              <a:gd name="connsiteY3747" fmla="*/ 519302 h 3912503"/>
              <a:gd name="connsiteX3748" fmla="*/ 3333647 w 12192528"/>
              <a:gd name="connsiteY3748" fmla="*/ 522572 h 3912503"/>
              <a:gd name="connsiteX3749" fmla="*/ 3333852 w 12192528"/>
              <a:gd name="connsiteY3749" fmla="*/ 527478 h 3912503"/>
              <a:gd name="connsiteX3750" fmla="*/ 3339168 w 12192528"/>
              <a:gd name="connsiteY3750" fmla="*/ 536675 h 3912503"/>
              <a:gd name="connsiteX3751" fmla="*/ 3343462 w 12192528"/>
              <a:gd name="connsiteY3751" fmla="*/ 540763 h 3912503"/>
              <a:gd name="connsiteX3752" fmla="*/ 3345712 w 12192528"/>
              <a:gd name="connsiteY3752" fmla="*/ 541989 h 3912503"/>
              <a:gd name="connsiteX3753" fmla="*/ 3344485 w 12192528"/>
              <a:gd name="connsiteY3753" fmla="*/ 544237 h 3912503"/>
              <a:gd name="connsiteX3754" fmla="*/ 3340396 w 12192528"/>
              <a:gd name="connsiteY3754" fmla="*/ 548733 h 3912503"/>
              <a:gd name="connsiteX3755" fmla="*/ 3340396 w 12192528"/>
              <a:gd name="connsiteY3755" fmla="*/ 559974 h 3912503"/>
              <a:gd name="connsiteX3756" fmla="*/ 3344895 w 12192528"/>
              <a:gd name="connsiteY3756" fmla="*/ 571624 h 3912503"/>
              <a:gd name="connsiteX3757" fmla="*/ 3340805 w 12192528"/>
              <a:gd name="connsiteY3757" fmla="*/ 574280 h 3912503"/>
              <a:gd name="connsiteX3758" fmla="*/ 3336511 w 12192528"/>
              <a:gd name="connsiteY3758" fmla="*/ 570806 h 3912503"/>
              <a:gd name="connsiteX3759" fmla="*/ 3330990 w 12192528"/>
              <a:gd name="connsiteY3759" fmla="*/ 569580 h 3912503"/>
              <a:gd name="connsiteX3760" fmla="*/ 3332012 w 12192528"/>
              <a:gd name="connsiteY3760" fmla="*/ 575916 h 3912503"/>
              <a:gd name="connsiteX3761" fmla="*/ 3334874 w 12192528"/>
              <a:gd name="connsiteY3761" fmla="*/ 578572 h 3912503"/>
              <a:gd name="connsiteX3762" fmla="*/ 3335488 w 12192528"/>
              <a:gd name="connsiteY3762" fmla="*/ 582251 h 3912503"/>
              <a:gd name="connsiteX3763" fmla="*/ 3332012 w 12192528"/>
              <a:gd name="connsiteY3763" fmla="*/ 581843 h 3912503"/>
              <a:gd name="connsiteX3764" fmla="*/ 3328331 w 12192528"/>
              <a:gd name="connsiteY3764" fmla="*/ 579390 h 3912503"/>
              <a:gd name="connsiteX3765" fmla="*/ 3323015 w 12192528"/>
              <a:gd name="connsiteY3765" fmla="*/ 580004 h 3912503"/>
              <a:gd name="connsiteX3766" fmla="*/ 3323015 w 12192528"/>
              <a:gd name="connsiteY3766" fmla="*/ 584500 h 3912503"/>
              <a:gd name="connsiteX3767" fmla="*/ 3343258 w 12192528"/>
              <a:gd name="connsiteY3767" fmla="*/ 590426 h 3912503"/>
              <a:gd name="connsiteX3768" fmla="*/ 3348166 w 12192528"/>
              <a:gd name="connsiteY3768" fmla="*/ 592266 h 3912503"/>
              <a:gd name="connsiteX3769" fmla="*/ 3356550 w 12192528"/>
              <a:gd name="connsiteY3769" fmla="*/ 602894 h 3912503"/>
              <a:gd name="connsiteX3770" fmla="*/ 3359617 w 12192528"/>
              <a:gd name="connsiteY3770" fmla="*/ 606572 h 3912503"/>
              <a:gd name="connsiteX3771" fmla="*/ 3363093 w 12192528"/>
              <a:gd name="connsiteY3771" fmla="*/ 620062 h 3912503"/>
              <a:gd name="connsiteX3772" fmla="*/ 3363502 w 12192528"/>
              <a:gd name="connsiteY3772" fmla="*/ 629667 h 3912503"/>
              <a:gd name="connsiteX3773" fmla="*/ 3367387 w 12192528"/>
              <a:gd name="connsiteY3773" fmla="*/ 636616 h 3912503"/>
              <a:gd name="connsiteX3774" fmla="*/ 3368000 w 12192528"/>
              <a:gd name="connsiteY3774" fmla="*/ 636616 h 3912503"/>
              <a:gd name="connsiteX3775" fmla="*/ 3371886 w 12192528"/>
              <a:gd name="connsiteY3775" fmla="*/ 639069 h 3912503"/>
              <a:gd name="connsiteX3776" fmla="*/ 3369022 w 12192528"/>
              <a:gd name="connsiteY3776" fmla="*/ 641317 h 3912503"/>
              <a:gd name="connsiteX3777" fmla="*/ 3361048 w 12192528"/>
              <a:gd name="connsiteY3777" fmla="*/ 657054 h 3912503"/>
              <a:gd name="connsiteX3778" fmla="*/ 3358594 w 12192528"/>
              <a:gd name="connsiteY3778" fmla="*/ 661959 h 3912503"/>
              <a:gd name="connsiteX3779" fmla="*/ 3354914 w 12192528"/>
              <a:gd name="connsiteY3779" fmla="*/ 663595 h 3912503"/>
              <a:gd name="connsiteX3780" fmla="*/ 3353073 w 12192528"/>
              <a:gd name="connsiteY3780" fmla="*/ 667478 h 3912503"/>
              <a:gd name="connsiteX3781" fmla="*/ 3353988 w 12192528"/>
              <a:gd name="connsiteY3781" fmla="*/ 668776 h 3912503"/>
              <a:gd name="connsiteX3782" fmla="*/ 3338006 w 12192528"/>
              <a:gd name="connsiteY3782" fmla="*/ 684670 h 3912503"/>
              <a:gd name="connsiteX3783" fmla="*/ 3338350 w 12192528"/>
              <a:gd name="connsiteY3783" fmla="*/ 681580 h 3912503"/>
              <a:gd name="connsiteX3784" fmla="*/ 3336919 w 12192528"/>
              <a:gd name="connsiteY3784" fmla="*/ 678105 h 3912503"/>
              <a:gd name="connsiteX3785" fmla="*/ 3333238 w 12192528"/>
              <a:gd name="connsiteY3785" fmla="*/ 679535 h 3912503"/>
              <a:gd name="connsiteX3786" fmla="*/ 3332012 w 12192528"/>
              <a:gd name="connsiteY3786" fmla="*/ 682193 h 3912503"/>
              <a:gd name="connsiteX3787" fmla="*/ 3325878 w 12192528"/>
              <a:gd name="connsiteY3787" fmla="*/ 683214 h 3912503"/>
              <a:gd name="connsiteX3788" fmla="*/ 3323219 w 12192528"/>
              <a:gd name="connsiteY3788" fmla="*/ 681375 h 3912503"/>
              <a:gd name="connsiteX3789" fmla="*/ 3321379 w 12192528"/>
              <a:gd name="connsiteY3789" fmla="*/ 684236 h 3912503"/>
              <a:gd name="connsiteX3790" fmla="*/ 3320765 w 12192528"/>
              <a:gd name="connsiteY3790" fmla="*/ 686689 h 3912503"/>
              <a:gd name="connsiteX3791" fmla="*/ 3318925 w 12192528"/>
              <a:gd name="connsiteY3791" fmla="*/ 689423 h 3912503"/>
              <a:gd name="connsiteX3792" fmla="*/ 3315857 w 12192528"/>
              <a:gd name="connsiteY3792" fmla="*/ 688324 h 3912503"/>
              <a:gd name="connsiteX3793" fmla="*/ 3309110 w 12192528"/>
              <a:gd name="connsiteY3793" fmla="*/ 682397 h 3912503"/>
              <a:gd name="connsiteX3794" fmla="*/ 3300112 w 12192528"/>
              <a:gd name="connsiteY3794" fmla="*/ 680353 h 3912503"/>
              <a:gd name="connsiteX3795" fmla="*/ 3294796 w 12192528"/>
              <a:gd name="connsiteY3795" fmla="*/ 678719 h 3912503"/>
              <a:gd name="connsiteX3796" fmla="*/ 3282323 w 12192528"/>
              <a:gd name="connsiteY3796" fmla="*/ 672791 h 3912503"/>
              <a:gd name="connsiteX3797" fmla="*/ 3280278 w 12192528"/>
              <a:gd name="connsiteY3797" fmla="*/ 671157 h 3912503"/>
              <a:gd name="connsiteX3798" fmla="*/ 3269440 w 12192528"/>
              <a:gd name="connsiteY3798" fmla="*/ 644791 h 3912503"/>
              <a:gd name="connsiteX3799" fmla="*/ 3269236 w 12192528"/>
              <a:gd name="connsiteY3799" fmla="*/ 639887 h 3912503"/>
              <a:gd name="connsiteX3800" fmla="*/ 3272098 w 12192528"/>
              <a:gd name="connsiteY3800" fmla="*/ 628033 h 3912503"/>
              <a:gd name="connsiteX3801" fmla="*/ 3273735 w 12192528"/>
              <a:gd name="connsiteY3801" fmla="*/ 617813 h 3912503"/>
              <a:gd name="connsiteX3802" fmla="*/ 3275370 w 12192528"/>
              <a:gd name="connsiteY3802" fmla="*/ 614543 h 3912503"/>
              <a:gd name="connsiteX3803" fmla="*/ 3287435 w 12192528"/>
              <a:gd name="connsiteY3803" fmla="*/ 600237 h 3912503"/>
              <a:gd name="connsiteX3804" fmla="*/ 3288662 w 12192528"/>
              <a:gd name="connsiteY3804" fmla="*/ 597988 h 3912503"/>
              <a:gd name="connsiteX3805" fmla="*/ 3280073 w 12192528"/>
              <a:gd name="connsiteY3805" fmla="*/ 586748 h 3912503"/>
              <a:gd name="connsiteX3806" fmla="*/ 3268623 w 12192528"/>
              <a:gd name="connsiteY3806" fmla="*/ 580004 h 3912503"/>
              <a:gd name="connsiteX3807" fmla="*/ 3256558 w 12192528"/>
              <a:gd name="connsiteY3807" fmla="*/ 566106 h 3912503"/>
              <a:gd name="connsiteX3808" fmla="*/ 3256762 w 12192528"/>
              <a:gd name="connsiteY3808" fmla="*/ 563040 h 3912503"/>
              <a:gd name="connsiteX3809" fmla="*/ 3255944 w 12192528"/>
              <a:gd name="connsiteY3809" fmla="*/ 555478 h 3912503"/>
              <a:gd name="connsiteX3810" fmla="*/ 3255331 w 12192528"/>
              <a:gd name="connsiteY3810" fmla="*/ 546485 h 3912503"/>
              <a:gd name="connsiteX3811" fmla="*/ 3257989 w 12192528"/>
              <a:gd name="connsiteY3811" fmla="*/ 540149 h 3912503"/>
              <a:gd name="connsiteX3812" fmla="*/ 3263511 w 12192528"/>
              <a:gd name="connsiteY3812" fmla="*/ 521756 h 3912503"/>
              <a:gd name="connsiteX3813" fmla="*/ 3272507 w 12192528"/>
              <a:gd name="connsiteY3813" fmla="*/ 510924 h 3912503"/>
              <a:gd name="connsiteX3814" fmla="*/ 3274552 w 12192528"/>
              <a:gd name="connsiteY3814" fmla="*/ 509493 h 3912503"/>
              <a:gd name="connsiteX3815" fmla="*/ 3285185 w 12192528"/>
              <a:gd name="connsiteY3815" fmla="*/ 504587 h 3912503"/>
              <a:gd name="connsiteX3816" fmla="*/ 3288866 w 12192528"/>
              <a:gd name="connsiteY3816" fmla="*/ 502749 h 3912503"/>
              <a:gd name="connsiteX3817" fmla="*/ 6433558 w 12192528"/>
              <a:gd name="connsiteY3817" fmla="*/ 499121 h 3912503"/>
              <a:gd name="connsiteX3818" fmla="*/ 6441612 w 12192528"/>
              <a:gd name="connsiteY3818" fmla="*/ 503107 h 3912503"/>
              <a:gd name="connsiteX3819" fmla="*/ 6446170 w 12192528"/>
              <a:gd name="connsiteY3819" fmla="*/ 505519 h 3912503"/>
              <a:gd name="connsiteX3820" fmla="*/ 6451270 w 12192528"/>
              <a:gd name="connsiteY3820" fmla="*/ 509808 h 3912503"/>
              <a:gd name="connsiteX3821" fmla="*/ 6454491 w 12192528"/>
              <a:gd name="connsiteY3821" fmla="*/ 514096 h 3912503"/>
              <a:gd name="connsiteX3822" fmla="*/ 6458246 w 12192528"/>
              <a:gd name="connsiteY3822" fmla="*/ 525889 h 3912503"/>
              <a:gd name="connsiteX3823" fmla="*/ 6460931 w 12192528"/>
              <a:gd name="connsiteY3823" fmla="*/ 533126 h 3912503"/>
              <a:gd name="connsiteX3824" fmla="*/ 6460931 w 12192528"/>
              <a:gd name="connsiteY3824" fmla="*/ 536343 h 3912503"/>
              <a:gd name="connsiteX3825" fmla="*/ 6457713 w 12192528"/>
              <a:gd name="connsiteY3825" fmla="*/ 542775 h 3912503"/>
              <a:gd name="connsiteX3826" fmla="*/ 6450468 w 12192528"/>
              <a:gd name="connsiteY3826" fmla="*/ 552424 h 3912503"/>
              <a:gd name="connsiteX3827" fmla="*/ 6448586 w 12192528"/>
              <a:gd name="connsiteY3827" fmla="*/ 556176 h 3912503"/>
              <a:gd name="connsiteX3828" fmla="*/ 6445369 w 12192528"/>
              <a:gd name="connsiteY3828" fmla="*/ 557517 h 3912503"/>
              <a:gd name="connsiteX3829" fmla="*/ 6439194 w 12192528"/>
              <a:gd name="connsiteY3829" fmla="*/ 559393 h 3912503"/>
              <a:gd name="connsiteX3830" fmla="*/ 6437048 w 12192528"/>
              <a:gd name="connsiteY3830" fmla="*/ 560465 h 3912503"/>
              <a:gd name="connsiteX3831" fmla="*/ 6428461 w 12192528"/>
              <a:gd name="connsiteY3831" fmla="*/ 561537 h 3912503"/>
              <a:gd name="connsiteX3832" fmla="*/ 6426583 w 12192528"/>
              <a:gd name="connsiteY3832" fmla="*/ 562073 h 3912503"/>
              <a:gd name="connsiteX3833" fmla="*/ 6407529 w 12192528"/>
              <a:gd name="connsiteY3833" fmla="*/ 550011 h 3912503"/>
              <a:gd name="connsiteX3834" fmla="*/ 6401624 w 12192528"/>
              <a:gd name="connsiteY3834" fmla="*/ 539022 h 3912503"/>
              <a:gd name="connsiteX3835" fmla="*/ 6399744 w 12192528"/>
              <a:gd name="connsiteY3835" fmla="*/ 534467 h 3912503"/>
              <a:gd name="connsiteX3836" fmla="*/ 6399477 w 12192528"/>
              <a:gd name="connsiteY3836" fmla="*/ 529910 h 3912503"/>
              <a:gd name="connsiteX3837" fmla="*/ 6400283 w 12192528"/>
              <a:gd name="connsiteY3837" fmla="*/ 526426 h 3912503"/>
              <a:gd name="connsiteX3838" fmla="*/ 6401624 w 12192528"/>
              <a:gd name="connsiteY3838" fmla="*/ 519189 h 3912503"/>
              <a:gd name="connsiteX3839" fmla="*/ 6401892 w 12192528"/>
              <a:gd name="connsiteY3839" fmla="*/ 516508 h 3912503"/>
              <a:gd name="connsiteX3840" fmla="*/ 6402698 w 12192528"/>
              <a:gd name="connsiteY3840" fmla="*/ 510075 h 3912503"/>
              <a:gd name="connsiteX3841" fmla="*/ 6416114 w 12192528"/>
              <a:gd name="connsiteY3841" fmla="*/ 499623 h 3912503"/>
              <a:gd name="connsiteX3842" fmla="*/ 6424702 w 12192528"/>
              <a:gd name="connsiteY3842" fmla="*/ 499355 h 3912503"/>
              <a:gd name="connsiteX3843" fmla="*/ 6433558 w 12192528"/>
              <a:gd name="connsiteY3843" fmla="*/ 499121 h 3912503"/>
              <a:gd name="connsiteX3844" fmla="*/ 8788828 w 12192528"/>
              <a:gd name="connsiteY3844" fmla="*/ 487582 h 3912503"/>
              <a:gd name="connsiteX3845" fmla="*/ 8798980 w 12192528"/>
              <a:gd name="connsiteY3845" fmla="*/ 489137 h 3912503"/>
              <a:gd name="connsiteX3846" fmla="*/ 8807572 w 12192528"/>
              <a:gd name="connsiteY3846" fmla="*/ 494579 h 3912503"/>
              <a:gd name="connsiteX3847" fmla="*/ 8812256 w 12192528"/>
              <a:gd name="connsiteY3847" fmla="*/ 500021 h 3912503"/>
              <a:gd name="connsiteX3848" fmla="*/ 8812256 w 12192528"/>
              <a:gd name="connsiteY3848" fmla="*/ 514015 h 3912503"/>
              <a:gd name="connsiteX3849" fmla="*/ 8803666 w 12192528"/>
              <a:gd name="connsiteY3849" fmla="*/ 522567 h 3912503"/>
              <a:gd name="connsiteX3850" fmla="*/ 8798199 w 12192528"/>
              <a:gd name="connsiteY3850" fmla="*/ 532674 h 3912503"/>
              <a:gd name="connsiteX3851" fmla="*/ 8793904 w 12192528"/>
              <a:gd name="connsiteY3851" fmla="*/ 543169 h 3912503"/>
              <a:gd name="connsiteX3852" fmla="*/ 8788048 w 12192528"/>
              <a:gd name="connsiteY3852" fmla="*/ 550167 h 3912503"/>
              <a:gd name="connsiteX3853" fmla="*/ 8779456 w 12192528"/>
              <a:gd name="connsiteY3853" fmla="*/ 554442 h 3912503"/>
              <a:gd name="connsiteX3854" fmla="*/ 8771646 w 12192528"/>
              <a:gd name="connsiteY3854" fmla="*/ 554442 h 3912503"/>
              <a:gd name="connsiteX3855" fmla="*/ 8770476 w 12192528"/>
              <a:gd name="connsiteY3855" fmla="*/ 552888 h 3912503"/>
              <a:gd name="connsiteX3856" fmla="*/ 8759542 w 12192528"/>
              <a:gd name="connsiteY3856" fmla="*/ 544335 h 3912503"/>
              <a:gd name="connsiteX3857" fmla="*/ 8756028 w 12192528"/>
              <a:gd name="connsiteY3857" fmla="*/ 531119 h 3912503"/>
              <a:gd name="connsiteX3858" fmla="*/ 8761494 w 12192528"/>
              <a:gd name="connsiteY3858" fmla="*/ 515570 h 3912503"/>
              <a:gd name="connsiteX3859" fmla="*/ 8767352 w 12192528"/>
              <a:gd name="connsiteY3859" fmla="*/ 512072 h 3912503"/>
              <a:gd name="connsiteX3860" fmla="*/ 8774770 w 12192528"/>
              <a:gd name="connsiteY3860" fmla="*/ 502742 h 3912503"/>
              <a:gd name="connsiteX3861" fmla="*/ 8777115 w 12192528"/>
              <a:gd name="connsiteY3861" fmla="*/ 498466 h 3912503"/>
              <a:gd name="connsiteX3862" fmla="*/ 8788828 w 12192528"/>
              <a:gd name="connsiteY3862" fmla="*/ 487582 h 3912503"/>
              <a:gd name="connsiteX3863" fmla="*/ 5326723 w 12192528"/>
              <a:gd name="connsiteY3863" fmla="*/ 485591 h 3912503"/>
              <a:gd name="connsiteX3864" fmla="*/ 5327190 w 12192528"/>
              <a:gd name="connsiteY3864" fmla="*/ 485702 h 3912503"/>
              <a:gd name="connsiteX3865" fmla="*/ 5326938 w 12192528"/>
              <a:gd name="connsiteY3865" fmla="*/ 485952 h 3912503"/>
              <a:gd name="connsiteX3866" fmla="*/ 7668546 w 12192528"/>
              <a:gd name="connsiteY3866" fmla="*/ 465737 h 3912503"/>
              <a:gd name="connsiteX3867" fmla="*/ 7681293 w 12192528"/>
              <a:gd name="connsiteY3867" fmla="*/ 466075 h 3912503"/>
              <a:gd name="connsiteX3868" fmla="*/ 7693660 w 12192528"/>
              <a:gd name="connsiteY3868" fmla="*/ 466461 h 3912503"/>
              <a:gd name="connsiteX3869" fmla="*/ 7712977 w 12192528"/>
              <a:gd name="connsiteY3869" fmla="*/ 481509 h 3912503"/>
              <a:gd name="connsiteX3870" fmla="*/ 7714136 w 12192528"/>
              <a:gd name="connsiteY3870" fmla="*/ 490770 h 3912503"/>
              <a:gd name="connsiteX3871" fmla="*/ 7714523 w 12192528"/>
              <a:gd name="connsiteY3871" fmla="*/ 494629 h 3912503"/>
              <a:gd name="connsiteX3872" fmla="*/ 7716454 w 12192528"/>
              <a:gd name="connsiteY3872" fmla="*/ 505048 h 3912503"/>
              <a:gd name="connsiteX3873" fmla="*/ 7717613 w 12192528"/>
              <a:gd name="connsiteY3873" fmla="*/ 510065 h 3912503"/>
              <a:gd name="connsiteX3874" fmla="*/ 7717228 w 12192528"/>
              <a:gd name="connsiteY3874" fmla="*/ 516624 h 3912503"/>
              <a:gd name="connsiteX3875" fmla="*/ 7714523 w 12192528"/>
              <a:gd name="connsiteY3875" fmla="*/ 523184 h 3912503"/>
              <a:gd name="connsiteX3876" fmla="*/ 7706024 w 12192528"/>
              <a:gd name="connsiteY3876" fmla="*/ 539005 h 3912503"/>
              <a:gd name="connsiteX3877" fmla="*/ 7678590 w 12192528"/>
              <a:gd name="connsiteY3877" fmla="*/ 556370 h 3912503"/>
              <a:gd name="connsiteX3878" fmla="*/ 7675888 w 12192528"/>
              <a:gd name="connsiteY3878" fmla="*/ 555598 h 3912503"/>
              <a:gd name="connsiteX3879" fmla="*/ 7663524 w 12192528"/>
              <a:gd name="connsiteY3879" fmla="*/ 554054 h 3912503"/>
              <a:gd name="connsiteX3880" fmla="*/ 7660440 w 12192528"/>
              <a:gd name="connsiteY3880" fmla="*/ 552511 h 3912503"/>
              <a:gd name="connsiteX3881" fmla="*/ 7651544 w 12192528"/>
              <a:gd name="connsiteY3881" fmla="*/ 549809 h 3912503"/>
              <a:gd name="connsiteX3882" fmla="*/ 7646913 w 12192528"/>
              <a:gd name="connsiteY3882" fmla="*/ 547881 h 3912503"/>
              <a:gd name="connsiteX3883" fmla="*/ 7644217 w 12192528"/>
              <a:gd name="connsiteY3883" fmla="*/ 542478 h 3912503"/>
              <a:gd name="connsiteX3884" fmla="*/ 7633787 w 12192528"/>
              <a:gd name="connsiteY3884" fmla="*/ 528586 h 3912503"/>
              <a:gd name="connsiteX3885" fmla="*/ 7629147 w 12192528"/>
              <a:gd name="connsiteY3885" fmla="*/ 519325 h 3912503"/>
              <a:gd name="connsiteX3886" fmla="*/ 7629147 w 12192528"/>
              <a:gd name="connsiteY3886" fmla="*/ 514694 h 3912503"/>
              <a:gd name="connsiteX3887" fmla="*/ 7633018 w 12192528"/>
              <a:gd name="connsiteY3887" fmla="*/ 504276 h 3912503"/>
              <a:gd name="connsiteX3888" fmla="*/ 7638423 w 12192528"/>
              <a:gd name="connsiteY3888" fmla="*/ 487298 h 3912503"/>
              <a:gd name="connsiteX3889" fmla="*/ 7643060 w 12192528"/>
              <a:gd name="connsiteY3889" fmla="*/ 481123 h 3912503"/>
              <a:gd name="connsiteX3890" fmla="*/ 7650388 w 12192528"/>
              <a:gd name="connsiteY3890" fmla="*/ 474950 h 3912503"/>
              <a:gd name="connsiteX3891" fmla="*/ 7656964 w 12192528"/>
              <a:gd name="connsiteY3891" fmla="*/ 471476 h 3912503"/>
              <a:gd name="connsiteX3892" fmla="*/ 7668546 w 12192528"/>
              <a:gd name="connsiteY3892" fmla="*/ 465737 h 3912503"/>
              <a:gd name="connsiteX3893" fmla="*/ 10118432 w 12192528"/>
              <a:gd name="connsiteY3893" fmla="*/ 433327 h 3912503"/>
              <a:gd name="connsiteX3894" fmla="*/ 10134928 w 12192528"/>
              <a:gd name="connsiteY3894" fmla="*/ 448654 h 3912503"/>
              <a:gd name="connsiteX3895" fmla="*/ 10138226 w 12192528"/>
              <a:gd name="connsiteY3895" fmla="*/ 454676 h 3912503"/>
              <a:gd name="connsiteX3896" fmla="*/ 10148675 w 12192528"/>
              <a:gd name="connsiteY3896" fmla="*/ 467813 h 3912503"/>
              <a:gd name="connsiteX3897" fmla="*/ 10156921 w 12192528"/>
              <a:gd name="connsiteY3897" fmla="*/ 472740 h 3912503"/>
              <a:gd name="connsiteX3898" fmla="*/ 10164620 w 12192528"/>
              <a:gd name="connsiteY3898" fmla="*/ 494637 h 3912503"/>
              <a:gd name="connsiteX3899" fmla="*/ 10159672 w 12192528"/>
              <a:gd name="connsiteY3899" fmla="*/ 513248 h 3912503"/>
              <a:gd name="connsiteX3900" fmla="*/ 10144275 w 12192528"/>
              <a:gd name="connsiteY3900" fmla="*/ 525291 h 3912503"/>
              <a:gd name="connsiteX3901" fmla="*/ 10142625 w 12192528"/>
              <a:gd name="connsiteY3901" fmla="*/ 527481 h 3912503"/>
              <a:gd name="connsiteX3902" fmla="*/ 10131628 w 12192528"/>
              <a:gd name="connsiteY3902" fmla="*/ 527481 h 3912503"/>
              <a:gd name="connsiteX3903" fmla="*/ 10119530 w 12192528"/>
              <a:gd name="connsiteY3903" fmla="*/ 521459 h 3912503"/>
              <a:gd name="connsiteX3904" fmla="*/ 10111283 w 12192528"/>
              <a:gd name="connsiteY3904" fmla="*/ 511606 h 3912503"/>
              <a:gd name="connsiteX3905" fmla="*/ 10105235 w 12192528"/>
              <a:gd name="connsiteY3905" fmla="*/ 496826 h 3912503"/>
              <a:gd name="connsiteX3906" fmla="*/ 10097534 w 12192528"/>
              <a:gd name="connsiteY3906" fmla="*/ 482594 h 3912503"/>
              <a:gd name="connsiteX3907" fmla="*/ 10085437 w 12192528"/>
              <a:gd name="connsiteY3907" fmla="*/ 470550 h 3912503"/>
              <a:gd name="connsiteX3908" fmla="*/ 10085437 w 12192528"/>
              <a:gd name="connsiteY3908" fmla="*/ 450844 h 3912503"/>
              <a:gd name="connsiteX3909" fmla="*/ 10092036 w 12192528"/>
              <a:gd name="connsiteY3909" fmla="*/ 443180 h 3912503"/>
              <a:gd name="connsiteX3910" fmla="*/ 10104134 w 12192528"/>
              <a:gd name="connsiteY3910" fmla="*/ 435517 h 3912503"/>
              <a:gd name="connsiteX3911" fmla="*/ 10118432 w 12192528"/>
              <a:gd name="connsiteY3911" fmla="*/ 433327 h 3912503"/>
              <a:gd name="connsiteX3912" fmla="*/ 9450766 w 12192528"/>
              <a:gd name="connsiteY3912" fmla="*/ 431533 h 3912503"/>
              <a:gd name="connsiteX3913" fmla="*/ 9465064 w 12192528"/>
              <a:gd name="connsiteY3913" fmla="*/ 433723 h 3912503"/>
              <a:gd name="connsiteX3914" fmla="*/ 9477162 w 12192528"/>
              <a:gd name="connsiteY3914" fmla="*/ 441386 h 3912503"/>
              <a:gd name="connsiteX3915" fmla="*/ 9483757 w 12192528"/>
              <a:gd name="connsiteY3915" fmla="*/ 449050 h 3912503"/>
              <a:gd name="connsiteX3916" fmla="*/ 9483757 w 12192528"/>
              <a:gd name="connsiteY3916" fmla="*/ 468756 h 3912503"/>
              <a:gd name="connsiteX3917" fmla="*/ 9471663 w 12192528"/>
              <a:gd name="connsiteY3917" fmla="*/ 480800 h 3912503"/>
              <a:gd name="connsiteX3918" fmla="*/ 9463963 w 12192528"/>
              <a:gd name="connsiteY3918" fmla="*/ 495032 h 3912503"/>
              <a:gd name="connsiteX3919" fmla="*/ 9457913 w 12192528"/>
              <a:gd name="connsiteY3919" fmla="*/ 509812 h 3912503"/>
              <a:gd name="connsiteX3920" fmla="*/ 9449667 w 12192528"/>
              <a:gd name="connsiteY3920" fmla="*/ 519665 h 3912503"/>
              <a:gd name="connsiteX3921" fmla="*/ 9437569 w 12192528"/>
              <a:gd name="connsiteY3921" fmla="*/ 525687 h 3912503"/>
              <a:gd name="connsiteX3922" fmla="*/ 9426572 w 12192528"/>
              <a:gd name="connsiteY3922" fmla="*/ 525687 h 3912503"/>
              <a:gd name="connsiteX3923" fmla="*/ 9424922 w 12192528"/>
              <a:gd name="connsiteY3923" fmla="*/ 523497 h 3912503"/>
              <a:gd name="connsiteX3924" fmla="*/ 9409526 w 12192528"/>
              <a:gd name="connsiteY3924" fmla="*/ 511454 h 3912503"/>
              <a:gd name="connsiteX3925" fmla="*/ 9404576 w 12192528"/>
              <a:gd name="connsiteY3925" fmla="*/ 492843 h 3912503"/>
              <a:gd name="connsiteX3926" fmla="*/ 9412275 w 12192528"/>
              <a:gd name="connsiteY3926" fmla="*/ 470946 h 3912503"/>
              <a:gd name="connsiteX3927" fmla="*/ 9420523 w 12192528"/>
              <a:gd name="connsiteY3927" fmla="*/ 466019 h 3912503"/>
              <a:gd name="connsiteX3928" fmla="*/ 9430969 w 12192528"/>
              <a:gd name="connsiteY3928" fmla="*/ 452882 h 3912503"/>
              <a:gd name="connsiteX3929" fmla="*/ 9434268 w 12192528"/>
              <a:gd name="connsiteY3929" fmla="*/ 446860 h 3912503"/>
              <a:gd name="connsiteX3930" fmla="*/ 9450766 w 12192528"/>
              <a:gd name="connsiteY3930" fmla="*/ 431533 h 3912503"/>
              <a:gd name="connsiteX3931" fmla="*/ 8279557 w 12192528"/>
              <a:gd name="connsiteY3931" fmla="*/ 404265 h 3912503"/>
              <a:gd name="connsiteX3932" fmla="*/ 8283237 w 12192528"/>
              <a:gd name="connsiteY3932" fmla="*/ 406104 h 3912503"/>
              <a:gd name="connsiteX3933" fmla="*/ 8293871 w 12192528"/>
              <a:gd name="connsiteY3933" fmla="*/ 411009 h 3912503"/>
              <a:gd name="connsiteX3934" fmla="*/ 8295912 w 12192528"/>
              <a:gd name="connsiteY3934" fmla="*/ 412440 h 3912503"/>
              <a:gd name="connsiteX3935" fmla="*/ 8304910 w 12192528"/>
              <a:gd name="connsiteY3935" fmla="*/ 423272 h 3912503"/>
              <a:gd name="connsiteX3936" fmla="*/ 8310432 w 12192528"/>
              <a:gd name="connsiteY3936" fmla="*/ 441666 h 3912503"/>
              <a:gd name="connsiteX3937" fmla="*/ 8313088 w 12192528"/>
              <a:gd name="connsiteY3937" fmla="*/ 448001 h 3912503"/>
              <a:gd name="connsiteX3938" fmla="*/ 8312478 w 12192528"/>
              <a:gd name="connsiteY3938" fmla="*/ 456994 h 3912503"/>
              <a:gd name="connsiteX3939" fmla="*/ 8311659 w 12192528"/>
              <a:gd name="connsiteY3939" fmla="*/ 464556 h 3912503"/>
              <a:gd name="connsiteX3940" fmla="*/ 8311863 w 12192528"/>
              <a:gd name="connsiteY3940" fmla="*/ 467622 h 3912503"/>
              <a:gd name="connsiteX3941" fmla="*/ 8299802 w 12192528"/>
              <a:gd name="connsiteY3941" fmla="*/ 481520 h 3912503"/>
              <a:gd name="connsiteX3942" fmla="*/ 8288349 w 12192528"/>
              <a:gd name="connsiteY3942" fmla="*/ 488264 h 3912503"/>
              <a:gd name="connsiteX3943" fmla="*/ 8279763 w 12192528"/>
              <a:gd name="connsiteY3943" fmla="*/ 499505 h 3912503"/>
              <a:gd name="connsiteX3944" fmla="*/ 8280988 w 12192528"/>
              <a:gd name="connsiteY3944" fmla="*/ 501754 h 3912503"/>
              <a:gd name="connsiteX3945" fmla="*/ 8293054 w 12192528"/>
              <a:gd name="connsiteY3945" fmla="*/ 516060 h 3912503"/>
              <a:gd name="connsiteX3946" fmla="*/ 8294687 w 12192528"/>
              <a:gd name="connsiteY3946" fmla="*/ 519330 h 3912503"/>
              <a:gd name="connsiteX3947" fmla="*/ 8296321 w 12192528"/>
              <a:gd name="connsiteY3947" fmla="*/ 529548 h 3912503"/>
              <a:gd name="connsiteX3948" fmla="*/ 8299184 w 12192528"/>
              <a:gd name="connsiteY3948" fmla="*/ 541402 h 3912503"/>
              <a:gd name="connsiteX3949" fmla="*/ 8298983 w 12192528"/>
              <a:gd name="connsiteY3949" fmla="*/ 546308 h 3912503"/>
              <a:gd name="connsiteX3950" fmla="*/ 8289215 w 12192528"/>
              <a:gd name="connsiteY3950" fmla="*/ 570066 h 3912503"/>
              <a:gd name="connsiteX3951" fmla="*/ 8297712 w 12192528"/>
              <a:gd name="connsiteY3951" fmla="*/ 565573 h 3912503"/>
              <a:gd name="connsiteX3952" fmla="*/ 8366204 w 12192528"/>
              <a:gd name="connsiteY3952" fmla="*/ 550372 h 3912503"/>
              <a:gd name="connsiteX3953" fmla="*/ 8400990 w 12192528"/>
              <a:gd name="connsiteY3953" fmla="*/ 551458 h 3912503"/>
              <a:gd name="connsiteX3954" fmla="*/ 8455344 w 12192528"/>
              <a:gd name="connsiteY3954" fmla="*/ 593802 h 3912503"/>
              <a:gd name="connsiteX3955" fmla="*/ 8458606 w 12192528"/>
              <a:gd name="connsiteY3955" fmla="*/ 619860 h 3912503"/>
              <a:gd name="connsiteX3956" fmla="*/ 8459693 w 12192528"/>
              <a:gd name="connsiteY3956" fmla="*/ 630717 h 3912503"/>
              <a:gd name="connsiteX3957" fmla="*/ 8465128 w 12192528"/>
              <a:gd name="connsiteY3957" fmla="*/ 660032 h 3912503"/>
              <a:gd name="connsiteX3958" fmla="*/ 8468392 w 12192528"/>
              <a:gd name="connsiteY3958" fmla="*/ 674146 h 3912503"/>
              <a:gd name="connsiteX3959" fmla="*/ 8467305 w 12192528"/>
              <a:gd name="connsiteY3959" fmla="*/ 692604 h 3912503"/>
              <a:gd name="connsiteX3960" fmla="*/ 8459693 w 12192528"/>
              <a:gd name="connsiteY3960" fmla="*/ 711061 h 3912503"/>
              <a:gd name="connsiteX3961" fmla="*/ 8435778 w 12192528"/>
              <a:gd name="connsiteY3961" fmla="*/ 755575 h 3912503"/>
              <a:gd name="connsiteX3962" fmla="*/ 8358590 w 12192528"/>
              <a:gd name="connsiteY3962" fmla="*/ 804433 h 3912503"/>
              <a:gd name="connsiteX3963" fmla="*/ 8350980 w 12192528"/>
              <a:gd name="connsiteY3963" fmla="*/ 802262 h 3912503"/>
              <a:gd name="connsiteX3964" fmla="*/ 8316193 w 12192528"/>
              <a:gd name="connsiteY3964" fmla="*/ 797919 h 3912503"/>
              <a:gd name="connsiteX3965" fmla="*/ 8307494 w 12192528"/>
              <a:gd name="connsiteY3965" fmla="*/ 793576 h 3912503"/>
              <a:gd name="connsiteX3966" fmla="*/ 8282496 w 12192528"/>
              <a:gd name="connsiteY3966" fmla="*/ 785976 h 3912503"/>
              <a:gd name="connsiteX3967" fmla="*/ 8269447 w 12192528"/>
              <a:gd name="connsiteY3967" fmla="*/ 780547 h 3912503"/>
              <a:gd name="connsiteX3968" fmla="*/ 8261838 w 12192528"/>
              <a:gd name="connsiteY3968" fmla="*/ 765347 h 3912503"/>
              <a:gd name="connsiteX3969" fmla="*/ 8232485 w 12192528"/>
              <a:gd name="connsiteY3969" fmla="*/ 726261 h 3912503"/>
              <a:gd name="connsiteX3970" fmla="*/ 8219438 w 12192528"/>
              <a:gd name="connsiteY3970" fmla="*/ 700204 h 3912503"/>
              <a:gd name="connsiteX3971" fmla="*/ 8219438 w 12192528"/>
              <a:gd name="connsiteY3971" fmla="*/ 687175 h 3912503"/>
              <a:gd name="connsiteX3972" fmla="*/ 8230309 w 12192528"/>
              <a:gd name="connsiteY3972" fmla="*/ 657860 h 3912503"/>
              <a:gd name="connsiteX3973" fmla="*/ 8245530 w 12192528"/>
              <a:gd name="connsiteY3973" fmla="*/ 610088 h 3912503"/>
              <a:gd name="connsiteX3974" fmla="*/ 8258577 w 12192528"/>
              <a:gd name="connsiteY3974" fmla="*/ 592717 h 3912503"/>
              <a:gd name="connsiteX3975" fmla="*/ 8263346 w 12192528"/>
              <a:gd name="connsiteY3975" fmla="*/ 582998 h 3912503"/>
              <a:gd name="connsiteX3976" fmla="*/ 8259312 w 12192528"/>
              <a:gd name="connsiteY3976" fmla="*/ 583914 h 3912503"/>
              <a:gd name="connsiteX3977" fmla="*/ 8252564 w 12192528"/>
              <a:gd name="connsiteY3977" fmla="*/ 589840 h 3912503"/>
              <a:gd name="connsiteX3978" fmla="*/ 8249498 w 12192528"/>
              <a:gd name="connsiteY3978" fmla="*/ 590939 h 3912503"/>
              <a:gd name="connsiteX3979" fmla="*/ 8247654 w 12192528"/>
              <a:gd name="connsiteY3979" fmla="*/ 588206 h 3912503"/>
              <a:gd name="connsiteX3980" fmla="*/ 8247044 w 12192528"/>
              <a:gd name="connsiteY3980" fmla="*/ 585753 h 3912503"/>
              <a:gd name="connsiteX3981" fmla="*/ 8245203 w 12192528"/>
              <a:gd name="connsiteY3981" fmla="*/ 582892 h 3912503"/>
              <a:gd name="connsiteX3982" fmla="*/ 8242546 w 12192528"/>
              <a:gd name="connsiteY3982" fmla="*/ 584731 h 3912503"/>
              <a:gd name="connsiteX3983" fmla="*/ 8236409 w 12192528"/>
              <a:gd name="connsiteY3983" fmla="*/ 583710 h 3912503"/>
              <a:gd name="connsiteX3984" fmla="*/ 8235182 w 12192528"/>
              <a:gd name="connsiteY3984" fmla="*/ 581052 h 3912503"/>
              <a:gd name="connsiteX3985" fmla="*/ 8231501 w 12192528"/>
              <a:gd name="connsiteY3985" fmla="*/ 579622 h 3912503"/>
              <a:gd name="connsiteX3986" fmla="*/ 8230070 w 12192528"/>
              <a:gd name="connsiteY3986" fmla="*/ 583096 h 3912503"/>
              <a:gd name="connsiteX3987" fmla="*/ 8230415 w 12192528"/>
              <a:gd name="connsiteY3987" fmla="*/ 586187 h 3912503"/>
              <a:gd name="connsiteX3988" fmla="*/ 8214432 w 12192528"/>
              <a:gd name="connsiteY3988" fmla="*/ 570292 h 3912503"/>
              <a:gd name="connsiteX3989" fmla="*/ 8215348 w 12192528"/>
              <a:gd name="connsiteY3989" fmla="*/ 568994 h 3912503"/>
              <a:gd name="connsiteX3990" fmla="*/ 8213506 w 12192528"/>
              <a:gd name="connsiteY3990" fmla="*/ 565111 h 3912503"/>
              <a:gd name="connsiteX3991" fmla="*/ 8209824 w 12192528"/>
              <a:gd name="connsiteY3991" fmla="*/ 563476 h 3912503"/>
              <a:gd name="connsiteX3992" fmla="*/ 8207373 w 12192528"/>
              <a:gd name="connsiteY3992" fmla="*/ 558570 h 3912503"/>
              <a:gd name="connsiteX3993" fmla="*/ 8199396 w 12192528"/>
              <a:gd name="connsiteY3993" fmla="*/ 542833 h 3912503"/>
              <a:gd name="connsiteX3994" fmla="*/ 8196535 w 12192528"/>
              <a:gd name="connsiteY3994" fmla="*/ 540586 h 3912503"/>
              <a:gd name="connsiteX3995" fmla="*/ 8200422 w 12192528"/>
              <a:gd name="connsiteY3995" fmla="*/ 538132 h 3912503"/>
              <a:gd name="connsiteX3996" fmla="*/ 8201035 w 12192528"/>
              <a:gd name="connsiteY3996" fmla="*/ 538132 h 3912503"/>
              <a:gd name="connsiteX3997" fmla="*/ 8204920 w 12192528"/>
              <a:gd name="connsiteY3997" fmla="*/ 531184 h 3912503"/>
              <a:gd name="connsiteX3998" fmla="*/ 8205329 w 12192528"/>
              <a:gd name="connsiteY3998" fmla="*/ 521577 h 3912503"/>
              <a:gd name="connsiteX3999" fmla="*/ 8208804 w 12192528"/>
              <a:gd name="connsiteY3999" fmla="*/ 508089 h 3912503"/>
              <a:gd name="connsiteX4000" fmla="*/ 8211871 w 12192528"/>
              <a:gd name="connsiteY4000" fmla="*/ 504410 h 3912503"/>
              <a:gd name="connsiteX4001" fmla="*/ 8220253 w 12192528"/>
              <a:gd name="connsiteY4001" fmla="*/ 493783 h 3912503"/>
              <a:gd name="connsiteX4002" fmla="*/ 8225165 w 12192528"/>
              <a:gd name="connsiteY4002" fmla="*/ 491943 h 3912503"/>
              <a:gd name="connsiteX4003" fmla="*/ 8245407 w 12192528"/>
              <a:gd name="connsiteY4003" fmla="*/ 486017 h 3912503"/>
              <a:gd name="connsiteX4004" fmla="*/ 8245407 w 12192528"/>
              <a:gd name="connsiteY4004" fmla="*/ 481520 h 3912503"/>
              <a:gd name="connsiteX4005" fmla="*/ 8240090 w 12192528"/>
              <a:gd name="connsiteY4005" fmla="*/ 480907 h 3912503"/>
              <a:gd name="connsiteX4006" fmla="*/ 8236409 w 12192528"/>
              <a:gd name="connsiteY4006" fmla="*/ 483359 h 3912503"/>
              <a:gd name="connsiteX4007" fmla="*/ 8232935 w 12192528"/>
              <a:gd name="connsiteY4007" fmla="*/ 483768 h 3912503"/>
              <a:gd name="connsiteX4008" fmla="*/ 8233545 w 12192528"/>
              <a:gd name="connsiteY4008" fmla="*/ 480089 h 3912503"/>
              <a:gd name="connsiteX4009" fmla="*/ 8236409 w 12192528"/>
              <a:gd name="connsiteY4009" fmla="*/ 477432 h 3912503"/>
              <a:gd name="connsiteX4010" fmla="*/ 8237431 w 12192528"/>
              <a:gd name="connsiteY4010" fmla="*/ 471096 h 3912503"/>
              <a:gd name="connsiteX4011" fmla="*/ 8231911 w 12192528"/>
              <a:gd name="connsiteY4011" fmla="*/ 472323 h 3912503"/>
              <a:gd name="connsiteX4012" fmla="*/ 8227617 w 12192528"/>
              <a:gd name="connsiteY4012" fmla="*/ 475797 h 3912503"/>
              <a:gd name="connsiteX4013" fmla="*/ 8223523 w 12192528"/>
              <a:gd name="connsiteY4013" fmla="*/ 473140 h 3912503"/>
              <a:gd name="connsiteX4014" fmla="*/ 8228027 w 12192528"/>
              <a:gd name="connsiteY4014" fmla="*/ 461491 h 3912503"/>
              <a:gd name="connsiteX4015" fmla="*/ 8228027 w 12192528"/>
              <a:gd name="connsiteY4015" fmla="*/ 450250 h 3912503"/>
              <a:gd name="connsiteX4016" fmla="*/ 8223932 w 12192528"/>
              <a:gd name="connsiteY4016" fmla="*/ 445754 h 3912503"/>
              <a:gd name="connsiteX4017" fmla="*/ 8222710 w 12192528"/>
              <a:gd name="connsiteY4017" fmla="*/ 443506 h 3912503"/>
              <a:gd name="connsiteX4018" fmla="*/ 8224957 w 12192528"/>
              <a:gd name="connsiteY4018" fmla="*/ 442279 h 3912503"/>
              <a:gd name="connsiteX4019" fmla="*/ 8229252 w 12192528"/>
              <a:gd name="connsiteY4019" fmla="*/ 438192 h 3912503"/>
              <a:gd name="connsiteX4020" fmla="*/ 8234571 w 12192528"/>
              <a:gd name="connsiteY4020" fmla="*/ 428994 h 3912503"/>
              <a:gd name="connsiteX4021" fmla="*/ 8234774 w 12192528"/>
              <a:gd name="connsiteY4021" fmla="*/ 424089 h 3912503"/>
              <a:gd name="connsiteX4022" fmla="*/ 8233137 w 12192528"/>
              <a:gd name="connsiteY4022" fmla="*/ 420819 h 3912503"/>
              <a:gd name="connsiteX4023" fmla="*/ 8236613 w 12192528"/>
              <a:gd name="connsiteY4023" fmla="*/ 418571 h 3912503"/>
              <a:gd name="connsiteX4024" fmla="*/ 8239477 w 12192528"/>
              <a:gd name="connsiteY4024" fmla="*/ 418162 h 3912503"/>
              <a:gd name="connsiteX4025" fmla="*/ 8242953 w 12192528"/>
              <a:gd name="connsiteY4025" fmla="*/ 409783 h 3912503"/>
              <a:gd name="connsiteX4026" fmla="*/ 8241931 w 12192528"/>
              <a:gd name="connsiteY4026" fmla="*/ 408148 h 3912503"/>
              <a:gd name="connsiteX4027" fmla="*/ 8242138 w 12192528"/>
              <a:gd name="connsiteY4027" fmla="*/ 404470 h 3912503"/>
              <a:gd name="connsiteX4028" fmla="*/ 8245407 w 12192528"/>
              <a:gd name="connsiteY4028" fmla="*/ 405286 h 3912503"/>
              <a:gd name="connsiteX4029" fmla="*/ 8247451 w 12192528"/>
              <a:gd name="connsiteY4029" fmla="*/ 407944 h 3912503"/>
              <a:gd name="connsiteX4030" fmla="*/ 8251542 w 12192528"/>
              <a:gd name="connsiteY4030" fmla="*/ 408557 h 3912503"/>
              <a:gd name="connsiteX4031" fmla="*/ 8264017 w 12192528"/>
              <a:gd name="connsiteY4031" fmla="*/ 405286 h 3912503"/>
              <a:gd name="connsiteX4032" fmla="*/ 8279557 w 12192528"/>
              <a:gd name="connsiteY4032" fmla="*/ 404265 h 3912503"/>
              <a:gd name="connsiteX4033" fmla="*/ 5434097 w 12192528"/>
              <a:gd name="connsiteY4033" fmla="*/ 377756 h 3912503"/>
              <a:gd name="connsiteX4034" fmla="*/ 5446849 w 12192528"/>
              <a:gd name="connsiteY4034" fmla="*/ 378094 h 3912503"/>
              <a:gd name="connsiteX4035" fmla="*/ 5459212 w 12192528"/>
              <a:gd name="connsiteY4035" fmla="*/ 378480 h 3912503"/>
              <a:gd name="connsiteX4036" fmla="*/ 5478530 w 12192528"/>
              <a:gd name="connsiteY4036" fmla="*/ 393529 h 3912503"/>
              <a:gd name="connsiteX4037" fmla="*/ 5479690 w 12192528"/>
              <a:gd name="connsiteY4037" fmla="*/ 402789 h 3912503"/>
              <a:gd name="connsiteX4038" fmla="*/ 5480075 w 12192528"/>
              <a:gd name="connsiteY4038" fmla="*/ 406648 h 3912503"/>
              <a:gd name="connsiteX4039" fmla="*/ 5482008 w 12192528"/>
              <a:gd name="connsiteY4039" fmla="*/ 417067 h 3912503"/>
              <a:gd name="connsiteX4040" fmla="*/ 5483166 w 12192528"/>
              <a:gd name="connsiteY4040" fmla="*/ 422084 h 3912503"/>
              <a:gd name="connsiteX4041" fmla="*/ 5482780 w 12192528"/>
              <a:gd name="connsiteY4041" fmla="*/ 428643 h 3912503"/>
              <a:gd name="connsiteX4042" fmla="*/ 5480075 w 12192528"/>
              <a:gd name="connsiteY4042" fmla="*/ 435204 h 3912503"/>
              <a:gd name="connsiteX4043" fmla="*/ 5471575 w 12192528"/>
              <a:gd name="connsiteY4043" fmla="*/ 451024 h 3912503"/>
              <a:gd name="connsiteX4044" fmla="*/ 5444142 w 12192528"/>
              <a:gd name="connsiteY4044" fmla="*/ 468389 h 3912503"/>
              <a:gd name="connsiteX4045" fmla="*/ 5441439 w 12192528"/>
              <a:gd name="connsiteY4045" fmla="*/ 467617 h 3912503"/>
              <a:gd name="connsiteX4046" fmla="*/ 5429074 w 12192528"/>
              <a:gd name="connsiteY4046" fmla="*/ 466074 h 3912503"/>
              <a:gd name="connsiteX4047" fmla="*/ 5425985 w 12192528"/>
              <a:gd name="connsiteY4047" fmla="*/ 464530 h 3912503"/>
              <a:gd name="connsiteX4048" fmla="*/ 5417098 w 12192528"/>
              <a:gd name="connsiteY4048" fmla="*/ 461829 h 3912503"/>
              <a:gd name="connsiteX4049" fmla="*/ 5412461 w 12192528"/>
              <a:gd name="connsiteY4049" fmla="*/ 459900 h 3912503"/>
              <a:gd name="connsiteX4050" fmla="*/ 5409756 w 12192528"/>
              <a:gd name="connsiteY4050" fmla="*/ 454497 h 3912503"/>
              <a:gd name="connsiteX4051" fmla="*/ 5399325 w 12192528"/>
              <a:gd name="connsiteY4051" fmla="*/ 440606 h 3912503"/>
              <a:gd name="connsiteX4052" fmla="*/ 5394689 w 12192528"/>
              <a:gd name="connsiteY4052" fmla="*/ 431345 h 3912503"/>
              <a:gd name="connsiteX4053" fmla="*/ 5394689 w 12192528"/>
              <a:gd name="connsiteY4053" fmla="*/ 426714 h 3912503"/>
              <a:gd name="connsiteX4054" fmla="*/ 5398552 w 12192528"/>
              <a:gd name="connsiteY4054" fmla="*/ 416295 h 3912503"/>
              <a:gd name="connsiteX4055" fmla="*/ 5403961 w 12192528"/>
              <a:gd name="connsiteY4055" fmla="*/ 399317 h 3912503"/>
              <a:gd name="connsiteX4056" fmla="*/ 5408596 w 12192528"/>
              <a:gd name="connsiteY4056" fmla="*/ 393143 h 3912503"/>
              <a:gd name="connsiteX4057" fmla="*/ 5415940 w 12192528"/>
              <a:gd name="connsiteY4057" fmla="*/ 386969 h 3912503"/>
              <a:gd name="connsiteX4058" fmla="*/ 5422507 w 12192528"/>
              <a:gd name="connsiteY4058" fmla="*/ 383496 h 3912503"/>
              <a:gd name="connsiteX4059" fmla="*/ 5434097 w 12192528"/>
              <a:gd name="connsiteY4059" fmla="*/ 377756 h 3912503"/>
              <a:gd name="connsiteX4060" fmla="*/ 6212256 w 12192528"/>
              <a:gd name="connsiteY4060" fmla="*/ 376863 h 3912503"/>
              <a:gd name="connsiteX4061" fmla="*/ 6220907 w 12192528"/>
              <a:gd name="connsiteY4061" fmla="*/ 381148 h 3912503"/>
              <a:gd name="connsiteX4062" fmla="*/ 6225813 w 12192528"/>
              <a:gd name="connsiteY4062" fmla="*/ 383740 h 3912503"/>
              <a:gd name="connsiteX4063" fmla="*/ 6231291 w 12192528"/>
              <a:gd name="connsiteY4063" fmla="*/ 388348 h 3912503"/>
              <a:gd name="connsiteX4064" fmla="*/ 6234751 w 12192528"/>
              <a:gd name="connsiteY4064" fmla="*/ 392957 h 3912503"/>
              <a:gd name="connsiteX4065" fmla="*/ 6238787 w 12192528"/>
              <a:gd name="connsiteY4065" fmla="*/ 405630 h 3912503"/>
              <a:gd name="connsiteX4066" fmla="*/ 6241671 w 12192528"/>
              <a:gd name="connsiteY4066" fmla="*/ 413406 h 3912503"/>
              <a:gd name="connsiteX4067" fmla="*/ 6241671 w 12192528"/>
              <a:gd name="connsiteY4067" fmla="*/ 416863 h 3912503"/>
              <a:gd name="connsiteX4068" fmla="*/ 6238210 w 12192528"/>
              <a:gd name="connsiteY4068" fmla="*/ 423775 h 3912503"/>
              <a:gd name="connsiteX4069" fmla="*/ 6230425 w 12192528"/>
              <a:gd name="connsiteY4069" fmla="*/ 434143 h 3912503"/>
              <a:gd name="connsiteX4070" fmla="*/ 6228406 w 12192528"/>
              <a:gd name="connsiteY4070" fmla="*/ 438176 h 3912503"/>
              <a:gd name="connsiteX4071" fmla="*/ 6224946 w 12192528"/>
              <a:gd name="connsiteY4071" fmla="*/ 439616 h 3912503"/>
              <a:gd name="connsiteX4072" fmla="*/ 6218313 w 12192528"/>
              <a:gd name="connsiteY4072" fmla="*/ 441632 h 3912503"/>
              <a:gd name="connsiteX4073" fmla="*/ 6216005 w 12192528"/>
              <a:gd name="connsiteY4073" fmla="*/ 442784 h 3912503"/>
              <a:gd name="connsiteX4074" fmla="*/ 6206777 w 12192528"/>
              <a:gd name="connsiteY4074" fmla="*/ 443937 h 3912503"/>
              <a:gd name="connsiteX4075" fmla="*/ 6204758 w 12192528"/>
              <a:gd name="connsiteY4075" fmla="*/ 444513 h 3912503"/>
              <a:gd name="connsiteX4076" fmla="*/ 6184282 w 12192528"/>
              <a:gd name="connsiteY4076" fmla="*/ 431551 h 3912503"/>
              <a:gd name="connsiteX4077" fmla="*/ 6177939 w 12192528"/>
              <a:gd name="connsiteY4077" fmla="*/ 419742 h 3912503"/>
              <a:gd name="connsiteX4078" fmla="*/ 6175922 w 12192528"/>
              <a:gd name="connsiteY4078" fmla="*/ 414847 h 3912503"/>
              <a:gd name="connsiteX4079" fmla="*/ 6175631 w 12192528"/>
              <a:gd name="connsiteY4079" fmla="*/ 409950 h 3912503"/>
              <a:gd name="connsiteX4080" fmla="*/ 6176498 w 12192528"/>
              <a:gd name="connsiteY4080" fmla="*/ 406206 h 3912503"/>
              <a:gd name="connsiteX4081" fmla="*/ 6177939 w 12192528"/>
              <a:gd name="connsiteY4081" fmla="*/ 398428 h 3912503"/>
              <a:gd name="connsiteX4082" fmla="*/ 6178227 w 12192528"/>
              <a:gd name="connsiteY4082" fmla="*/ 395549 h 3912503"/>
              <a:gd name="connsiteX4083" fmla="*/ 6179092 w 12192528"/>
              <a:gd name="connsiteY4083" fmla="*/ 388636 h 3912503"/>
              <a:gd name="connsiteX4084" fmla="*/ 6193512 w 12192528"/>
              <a:gd name="connsiteY4084" fmla="*/ 377403 h 3912503"/>
              <a:gd name="connsiteX4085" fmla="*/ 6202740 w 12192528"/>
              <a:gd name="connsiteY4085" fmla="*/ 377115 h 3912503"/>
              <a:gd name="connsiteX4086" fmla="*/ 6212256 w 12192528"/>
              <a:gd name="connsiteY4086" fmla="*/ 376863 h 3912503"/>
              <a:gd name="connsiteX4087" fmla="*/ 10320459 w 12192528"/>
              <a:gd name="connsiteY4087" fmla="*/ 369493 h 3912503"/>
              <a:gd name="connsiteX4088" fmla="*/ 10324706 w 12192528"/>
              <a:gd name="connsiteY4088" fmla="*/ 371616 h 3912503"/>
              <a:gd name="connsiteX4089" fmla="*/ 10336976 w 12192528"/>
              <a:gd name="connsiteY4089" fmla="*/ 377275 h 3912503"/>
              <a:gd name="connsiteX4090" fmla="*/ 10339336 w 12192528"/>
              <a:gd name="connsiteY4090" fmla="*/ 378926 h 3912503"/>
              <a:gd name="connsiteX4091" fmla="*/ 10349717 w 12192528"/>
              <a:gd name="connsiteY4091" fmla="*/ 391425 h 3912503"/>
              <a:gd name="connsiteX4092" fmla="*/ 10356089 w 12192528"/>
              <a:gd name="connsiteY4092" fmla="*/ 412650 h 3912503"/>
              <a:gd name="connsiteX4093" fmla="*/ 10359156 w 12192528"/>
              <a:gd name="connsiteY4093" fmla="*/ 419961 h 3912503"/>
              <a:gd name="connsiteX4094" fmla="*/ 10358449 w 12192528"/>
              <a:gd name="connsiteY4094" fmla="*/ 430338 h 3912503"/>
              <a:gd name="connsiteX4095" fmla="*/ 10357506 w 12192528"/>
              <a:gd name="connsiteY4095" fmla="*/ 439063 h 3912503"/>
              <a:gd name="connsiteX4096" fmla="*/ 10357740 w 12192528"/>
              <a:gd name="connsiteY4096" fmla="*/ 442601 h 3912503"/>
              <a:gd name="connsiteX4097" fmla="*/ 10343818 w 12192528"/>
              <a:gd name="connsiteY4097" fmla="*/ 458637 h 3912503"/>
              <a:gd name="connsiteX4098" fmla="*/ 10330605 w 12192528"/>
              <a:gd name="connsiteY4098" fmla="*/ 466419 h 3912503"/>
              <a:gd name="connsiteX4099" fmla="*/ 10320694 w 12192528"/>
              <a:gd name="connsiteY4099" fmla="*/ 479390 h 3912503"/>
              <a:gd name="connsiteX4100" fmla="*/ 10322111 w 12192528"/>
              <a:gd name="connsiteY4100" fmla="*/ 481985 h 3912503"/>
              <a:gd name="connsiteX4101" fmla="*/ 10336032 w 12192528"/>
              <a:gd name="connsiteY4101" fmla="*/ 498493 h 3912503"/>
              <a:gd name="connsiteX4102" fmla="*/ 10337920 w 12192528"/>
              <a:gd name="connsiteY4102" fmla="*/ 502265 h 3912503"/>
              <a:gd name="connsiteX4103" fmla="*/ 10339807 w 12192528"/>
              <a:gd name="connsiteY4103" fmla="*/ 514057 h 3912503"/>
              <a:gd name="connsiteX4104" fmla="*/ 10343111 w 12192528"/>
              <a:gd name="connsiteY4104" fmla="*/ 527736 h 3912503"/>
              <a:gd name="connsiteX4105" fmla="*/ 10342875 w 12192528"/>
              <a:gd name="connsiteY4105" fmla="*/ 533395 h 3912503"/>
              <a:gd name="connsiteX4106" fmla="*/ 10330369 w 12192528"/>
              <a:gd name="connsiteY4106" fmla="*/ 563818 h 3912503"/>
              <a:gd name="connsiteX4107" fmla="*/ 10328010 w 12192528"/>
              <a:gd name="connsiteY4107" fmla="*/ 565705 h 3912503"/>
              <a:gd name="connsiteX4108" fmla="*/ 10313616 w 12192528"/>
              <a:gd name="connsiteY4108" fmla="*/ 572543 h 3912503"/>
              <a:gd name="connsiteX4109" fmla="*/ 10307482 w 12192528"/>
              <a:gd name="connsiteY4109" fmla="*/ 574430 h 3912503"/>
              <a:gd name="connsiteX4110" fmla="*/ 10297100 w 12192528"/>
              <a:gd name="connsiteY4110" fmla="*/ 576788 h 3912503"/>
              <a:gd name="connsiteX4111" fmla="*/ 10289314 w 12192528"/>
              <a:gd name="connsiteY4111" fmla="*/ 583628 h 3912503"/>
              <a:gd name="connsiteX4112" fmla="*/ 10285775 w 12192528"/>
              <a:gd name="connsiteY4112" fmla="*/ 584896 h 3912503"/>
              <a:gd name="connsiteX4113" fmla="*/ 10283651 w 12192528"/>
              <a:gd name="connsiteY4113" fmla="*/ 581741 h 3912503"/>
              <a:gd name="connsiteX4114" fmla="*/ 10282944 w 12192528"/>
              <a:gd name="connsiteY4114" fmla="*/ 578912 h 3912503"/>
              <a:gd name="connsiteX4115" fmla="*/ 10280819 w 12192528"/>
              <a:gd name="connsiteY4115" fmla="*/ 575610 h 3912503"/>
              <a:gd name="connsiteX4116" fmla="*/ 10277753 w 12192528"/>
              <a:gd name="connsiteY4116" fmla="*/ 577732 h 3912503"/>
              <a:gd name="connsiteX4117" fmla="*/ 10270673 w 12192528"/>
              <a:gd name="connsiteY4117" fmla="*/ 576553 h 3912503"/>
              <a:gd name="connsiteX4118" fmla="*/ 10269258 w 12192528"/>
              <a:gd name="connsiteY4118" fmla="*/ 573487 h 3912503"/>
              <a:gd name="connsiteX4119" fmla="*/ 10265012 w 12192528"/>
              <a:gd name="connsiteY4119" fmla="*/ 571836 h 3912503"/>
              <a:gd name="connsiteX4120" fmla="*/ 10263358 w 12192528"/>
              <a:gd name="connsiteY4120" fmla="*/ 575845 h 3912503"/>
              <a:gd name="connsiteX4121" fmla="*/ 10263756 w 12192528"/>
              <a:gd name="connsiteY4121" fmla="*/ 579412 h 3912503"/>
              <a:gd name="connsiteX4122" fmla="*/ 10245315 w 12192528"/>
              <a:gd name="connsiteY4122" fmla="*/ 561071 h 3912503"/>
              <a:gd name="connsiteX4123" fmla="*/ 10246370 w 12192528"/>
              <a:gd name="connsiteY4123" fmla="*/ 559573 h 3912503"/>
              <a:gd name="connsiteX4124" fmla="*/ 10244247 w 12192528"/>
              <a:gd name="connsiteY4124" fmla="*/ 555092 h 3912503"/>
              <a:gd name="connsiteX4125" fmla="*/ 10240001 w 12192528"/>
              <a:gd name="connsiteY4125" fmla="*/ 553205 h 3912503"/>
              <a:gd name="connsiteX4126" fmla="*/ 10237170 w 12192528"/>
              <a:gd name="connsiteY4126" fmla="*/ 547545 h 3912503"/>
              <a:gd name="connsiteX4127" fmla="*/ 10227968 w 12192528"/>
              <a:gd name="connsiteY4127" fmla="*/ 529386 h 3912503"/>
              <a:gd name="connsiteX4128" fmla="*/ 10224664 w 12192528"/>
              <a:gd name="connsiteY4128" fmla="*/ 526792 h 3912503"/>
              <a:gd name="connsiteX4129" fmla="*/ 10229147 w 12192528"/>
              <a:gd name="connsiteY4129" fmla="*/ 523962 h 3912503"/>
              <a:gd name="connsiteX4130" fmla="*/ 10229856 w 12192528"/>
              <a:gd name="connsiteY4130" fmla="*/ 523962 h 3912503"/>
              <a:gd name="connsiteX4131" fmla="*/ 10234338 w 12192528"/>
              <a:gd name="connsiteY4131" fmla="*/ 515944 h 3912503"/>
              <a:gd name="connsiteX4132" fmla="*/ 10234809 w 12192528"/>
              <a:gd name="connsiteY4132" fmla="*/ 504860 h 3912503"/>
              <a:gd name="connsiteX4133" fmla="*/ 10238820 w 12192528"/>
              <a:gd name="connsiteY4133" fmla="*/ 489295 h 3912503"/>
              <a:gd name="connsiteX4134" fmla="*/ 10242359 w 12192528"/>
              <a:gd name="connsiteY4134" fmla="*/ 485050 h 3912503"/>
              <a:gd name="connsiteX4135" fmla="*/ 10252033 w 12192528"/>
              <a:gd name="connsiteY4135" fmla="*/ 472787 h 3912503"/>
              <a:gd name="connsiteX4136" fmla="*/ 10257696 w 12192528"/>
              <a:gd name="connsiteY4136" fmla="*/ 470664 h 3912503"/>
              <a:gd name="connsiteX4137" fmla="*/ 10281055 w 12192528"/>
              <a:gd name="connsiteY4137" fmla="*/ 463825 h 3912503"/>
              <a:gd name="connsiteX4138" fmla="*/ 10281055 w 12192528"/>
              <a:gd name="connsiteY4138" fmla="*/ 458637 h 3912503"/>
              <a:gd name="connsiteX4139" fmla="*/ 10274921 w 12192528"/>
              <a:gd name="connsiteY4139" fmla="*/ 457930 h 3912503"/>
              <a:gd name="connsiteX4140" fmla="*/ 10270673 w 12192528"/>
              <a:gd name="connsiteY4140" fmla="*/ 460759 h 3912503"/>
              <a:gd name="connsiteX4141" fmla="*/ 10266662 w 12192528"/>
              <a:gd name="connsiteY4141" fmla="*/ 461232 h 3912503"/>
              <a:gd name="connsiteX4142" fmla="*/ 10267369 w 12192528"/>
              <a:gd name="connsiteY4142" fmla="*/ 456987 h 3912503"/>
              <a:gd name="connsiteX4143" fmla="*/ 10270673 w 12192528"/>
              <a:gd name="connsiteY4143" fmla="*/ 453920 h 3912503"/>
              <a:gd name="connsiteX4144" fmla="*/ 10271852 w 12192528"/>
              <a:gd name="connsiteY4144" fmla="*/ 446610 h 3912503"/>
              <a:gd name="connsiteX4145" fmla="*/ 10265483 w 12192528"/>
              <a:gd name="connsiteY4145" fmla="*/ 448024 h 3912503"/>
              <a:gd name="connsiteX4146" fmla="*/ 10260526 w 12192528"/>
              <a:gd name="connsiteY4146" fmla="*/ 452034 h 3912503"/>
              <a:gd name="connsiteX4147" fmla="*/ 10255809 w 12192528"/>
              <a:gd name="connsiteY4147" fmla="*/ 448968 h 3912503"/>
              <a:gd name="connsiteX4148" fmla="*/ 10260999 w 12192528"/>
              <a:gd name="connsiteY4148" fmla="*/ 435525 h 3912503"/>
              <a:gd name="connsiteX4149" fmla="*/ 10260999 w 12192528"/>
              <a:gd name="connsiteY4149" fmla="*/ 422555 h 3912503"/>
              <a:gd name="connsiteX4150" fmla="*/ 10256279 w 12192528"/>
              <a:gd name="connsiteY4150" fmla="*/ 417367 h 3912503"/>
              <a:gd name="connsiteX4151" fmla="*/ 10254866 w 12192528"/>
              <a:gd name="connsiteY4151" fmla="*/ 414772 h 3912503"/>
              <a:gd name="connsiteX4152" fmla="*/ 10257460 w 12192528"/>
              <a:gd name="connsiteY4152" fmla="*/ 413358 h 3912503"/>
              <a:gd name="connsiteX4153" fmla="*/ 10262414 w 12192528"/>
              <a:gd name="connsiteY4153" fmla="*/ 408641 h 3912503"/>
              <a:gd name="connsiteX4154" fmla="*/ 10268551 w 12192528"/>
              <a:gd name="connsiteY4154" fmla="*/ 398028 h 3912503"/>
              <a:gd name="connsiteX4155" fmla="*/ 10268787 w 12192528"/>
              <a:gd name="connsiteY4155" fmla="*/ 392369 h 3912503"/>
              <a:gd name="connsiteX4156" fmla="*/ 10266898 w 12192528"/>
              <a:gd name="connsiteY4156" fmla="*/ 388596 h 3912503"/>
              <a:gd name="connsiteX4157" fmla="*/ 10270909 w 12192528"/>
              <a:gd name="connsiteY4157" fmla="*/ 386002 h 3912503"/>
              <a:gd name="connsiteX4158" fmla="*/ 10274213 w 12192528"/>
              <a:gd name="connsiteY4158" fmla="*/ 385529 h 3912503"/>
              <a:gd name="connsiteX4159" fmla="*/ 10278224 w 12192528"/>
              <a:gd name="connsiteY4159" fmla="*/ 375861 h 3912503"/>
              <a:gd name="connsiteX4160" fmla="*/ 10277044 w 12192528"/>
              <a:gd name="connsiteY4160" fmla="*/ 373974 h 3912503"/>
              <a:gd name="connsiteX4161" fmla="*/ 10277280 w 12192528"/>
              <a:gd name="connsiteY4161" fmla="*/ 369729 h 3912503"/>
              <a:gd name="connsiteX4162" fmla="*/ 10281055 w 12192528"/>
              <a:gd name="connsiteY4162" fmla="*/ 370672 h 3912503"/>
              <a:gd name="connsiteX4163" fmla="*/ 10283414 w 12192528"/>
              <a:gd name="connsiteY4163" fmla="*/ 373738 h 3912503"/>
              <a:gd name="connsiteX4164" fmla="*/ 10288134 w 12192528"/>
              <a:gd name="connsiteY4164" fmla="*/ 374446 h 3912503"/>
              <a:gd name="connsiteX4165" fmla="*/ 10302528 w 12192528"/>
              <a:gd name="connsiteY4165" fmla="*/ 370672 h 3912503"/>
              <a:gd name="connsiteX4166" fmla="*/ 10320459 w 12192528"/>
              <a:gd name="connsiteY4166" fmla="*/ 369493 h 3912503"/>
              <a:gd name="connsiteX4167" fmla="*/ 3421293 w 12192528"/>
              <a:gd name="connsiteY4167" fmla="*/ 364029 h 3912503"/>
              <a:gd name="connsiteX4168" fmla="*/ 3431446 w 12192528"/>
              <a:gd name="connsiteY4168" fmla="*/ 365583 h 3912503"/>
              <a:gd name="connsiteX4169" fmla="*/ 3440037 w 12192528"/>
              <a:gd name="connsiteY4169" fmla="*/ 371025 h 3912503"/>
              <a:gd name="connsiteX4170" fmla="*/ 3444723 w 12192528"/>
              <a:gd name="connsiteY4170" fmla="*/ 376467 h 3912503"/>
              <a:gd name="connsiteX4171" fmla="*/ 3444723 w 12192528"/>
              <a:gd name="connsiteY4171" fmla="*/ 390462 h 3912503"/>
              <a:gd name="connsiteX4172" fmla="*/ 3436132 w 12192528"/>
              <a:gd name="connsiteY4172" fmla="*/ 399013 h 3912503"/>
              <a:gd name="connsiteX4173" fmla="*/ 3430666 w 12192528"/>
              <a:gd name="connsiteY4173" fmla="*/ 409120 h 3912503"/>
              <a:gd name="connsiteX4174" fmla="*/ 3426370 w 12192528"/>
              <a:gd name="connsiteY4174" fmla="*/ 419615 h 3912503"/>
              <a:gd name="connsiteX4175" fmla="*/ 3420513 w 12192528"/>
              <a:gd name="connsiteY4175" fmla="*/ 426613 h 3912503"/>
              <a:gd name="connsiteX4176" fmla="*/ 3411922 w 12192528"/>
              <a:gd name="connsiteY4176" fmla="*/ 430889 h 3912503"/>
              <a:gd name="connsiteX4177" fmla="*/ 3404113 w 12192528"/>
              <a:gd name="connsiteY4177" fmla="*/ 430889 h 3912503"/>
              <a:gd name="connsiteX4178" fmla="*/ 3402941 w 12192528"/>
              <a:gd name="connsiteY4178" fmla="*/ 429334 h 3912503"/>
              <a:gd name="connsiteX4179" fmla="*/ 3392009 w 12192528"/>
              <a:gd name="connsiteY4179" fmla="*/ 420782 h 3912503"/>
              <a:gd name="connsiteX4180" fmla="*/ 3388494 w 12192528"/>
              <a:gd name="connsiteY4180" fmla="*/ 407566 h 3912503"/>
              <a:gd name="connsiteX4181" fmla="*/ 3393960 w 12192528"/>
              <a:gd name="connsiteY4181" fmla="*/ 392017 h 3912503"/>
              <a:gd name="connsiteX4182" fmla="*/ 3399818 w 12192528"/>
              <a:gd name="connsiteY4182" fmla="*/ 388518 h 3912503"/>
              <a:gd name="connsiteX4183" fmla="*/ 3407237 w 12192528"/>
              <a:gd name="connsiteY4183" fmla="*/ 379189 h 3912503"/>
              <a:gd name="connsiteX4184" fmla="*/ 3409579 w 12192528"/>
              <a:gd name="connsiteY4184" fmla="*/ 374913 h 3912503"/>
              <a:gd name="connsiteX4185" fmla="*/ 3421293 w 12192528"/>
              <a:gd name="connsiteY4185" fmla="*/ 364029 h 3912503"/>
              <a:gd name="connsiteX4186" fmla="*/ 5220801 w 12192528"/>
              <a:gd name="connsiteY4186" fmla="*/ 360716 h 3912503"/>
              <a:gd name="connsiteX4187" fmla="*/ 5236342 w 12192528"/>
              <a:gd name="connsiteY4187" fmla="*/ 361737 h 3912503"/>
              <a:gd name="connsiteX4188" fmla="*/ 5248816 w 12192528"/>
              <a:gd name="connsiteY4188" fmla="*/ 365008 h 3912503"/>
              <a:gd name="connsiteX4189" fmla="*/ 5252907 w 12192528"/>
              <a:gd name="connsiteY4189" fmla="*/ 364395 h 3912503"/>
              <a:gd name="connsiteX4190" fmla="*/ 5254951 w 12192528"/>
              <a:gd name="connsiteY4190" fmla="*/ 361737 h 3912503"/>
              <a:gd name="connsiteX4191" fmla="*/ 5258223 w 12192528"/>
              <a:gd name="connsiteY4191" fmla="*/ 360920 h 3912503"/>
              <a:gd name="connsiteX4192" fmla="*/ 5258426 w 12192528"/>
              <a:gd name="connsiteY4192" fmla="*/ 364599 h 3912503"/>
              <a:gd name="connsiteX4193" fmla="*/ 5257403 w 12192528"/>
              <a:gd name="connsiteY4193" fmla="*/ 366234 h 3912503"/>
              <a:gd name="connsiteX4194" fmla="*/ 5260878 w 12192528"/>
              <a:gd name="connsiteY4194" fmla="*/ 374613 h 3912503"/>
              <a:gd name="connsiteX4195" fmla="*/ 5263742 w 12192528"/>
              <a:gd name="connsiteY4195" fmla="*/ 375022 h 3912503"/>
              <a:gd name="connsiteX4196" fmla="*/ 5267219 w 12192528"/>
              <a:gd name="connsiteY4196" fmla="*/ 377270 h 3912503"/>
              <a:gd name="connsiteX4197" fmla="*/ 5265584 w 12192528"/>
              <a:gd name="connsiteY4197" fmla="*/ 380540 h 3912503"/>
              <a:gd name="connsiteX4198" fmla="*/ 5265788 w 12192528"/>
              <a:gd name="connsiteY4198" fmla="*/ 385445 h 3912503"/>
              <a:gd name="connsiteX4199" fmla="*/ 5271104 w 12192528"/>
              <a:gd name="connsiteY4199" fmla="*/ 394643 h 3912503"/>
              <a:gd name="connsiteX4200" fmla="*/ 5275399 w 12192528"/>
              <a:gd name="connsiteY4200" fmla="*/ 398730 h 3912503"/>
              <a:gd name="connsiteX4201" fmla="*/ 5277648 w 12192528"/>
              <a:gd name="connsiteY4201" fmla="*/ 399957 h 3912503"/>
              <a:gd name="connsiteX4202" fmla="*/ 5276421 w 12192528"/>
              <a:gd name="connsiteY4202" fmla="*/ 402204 h 3912503"/>
              <a:gd name="connsiteX4203" fmla="*/ 5272331 w 12192528"/>
              <a:gd name="connsiteY4203" fmla="*/ 406701 h 3912503"/>
              <a:gd name="connsiteX4204" fmla="*/ 5272331 w 12192528"/>
              <a:gd name="connsiteY4204" fmla="*/ 417942 h 3912503"/>
              <a:gd name="connsiteX4205" fmla="*/ 5276831 w 12192528"/>
              <a:gd name="connsiteY4205" fmla="*/ 429591 h 3912503"/>
              <a:gd name="connsiteX4206" fmla="*/ 5272740 w 12192528"/>
              <a:gd name="connsiteY4206" fmla="*/ 432248 h 3912503"/>
              <a:gd name="connsiteX4207" fmla="*/ 5268445 w 12192528"/>
              <a:gd name="connsiteY4207" fmla="*/ 428773 h 3912503"/>
              <a:gd name="connsiteX4208" fmla="*/ 5262926 w 12192528"/>
              <a:gd name="connsiteY4208" fmla="*/ 427547 h 3912503"/>
              <a:gd name="connsiteX4209" fmla="*/ 5263946 w 12192528"/>
              <a:gd name="connsiteY4209" fmla="*/ 433883 h 3912503"/>
              <a:gd name="connsiteX4210" fmla="*/ 5266810 w 12192528"/>
              <a:gd name="connsiteY4210" fmla="*/ 436540 h 3912503"/>
              <a:gd name="connsiteX4211" fmla="*/ 5267423 w 12192528"/>
              <a:gd name="connsiteY4211" fmla="*/ 440219 h 3912503"/>
              <a:gd name="connsiteX4212" fmla="*/ 5263946 w 12192528"/>
              <a:gd name="connsiteY4212" fmla="*/ 439810 h 3912503"/>
              <a:gd name="connsiteX4213" fmla="*/ 5260265 w 12192528"/>
              <a:gd name="connsiteY4213" fmla="*/ 437358 h 3912503"/>
              <a:gd name="connsiteX4214" fmla="*/ 5254951 w 12192528"/>
              <a:gd name="connsiteY4214" fmla="*/ 437971 h 3912503"/>
              <a:gd name="connsiteX4215" fmla="*/ 5254951 w 12192528"/>
              <a:gd name="connsiteY4215" fmla="*/ 442467 h 3912503"/>
              <a:gd name="connsiteX4216" fmla="*/ 5275195 w 12192528"/>
              <a:gd name="connsiteY4216" fmla="*/ 448394 h 3912503"/>
              <a:gd name="connsiteX4217" fmla="*/ 5280102 w 12192528"/>
              <a:gd name="connsiteY4217" fmla="*/ 450234 h 3912503"/>
              <a:gd name="connsiteX4218" fmla="*/ 5288485 w 12192528"/>
              <a:gd name="connsiteY4218" fmla="*/ 460861 h 3912503"/>
              <a:gd name="connsiteX4219" fmla="*/ 5291553 w 12192528"/>
              <a:gd name="connsiteY4219" fmla="*/ 464540 h 3912503"/>
              <a:gd name="connsiteX4220" fmla="*/ 5295028 w 12192528"/>
              <a:gd name="connsiteY4220" fmla="*/ 478028 h 3912503"/>
              <a:gd name="connsiteX4221" fmla="*/ 5295437 w 12192528"/>
              <a:gd name="connsiteY4221" fmla="*/ 487635 h 3912503"/>
              <a:gd name="connsiteX4222" fmla="*/ 5299323 w 12192528"/>
              <a:gd name="connsiteY4222" fmla="*/ 494583 h 3912503"/>
              <a:gd name="connsiteX4223" fmla="*/ 5299936 w 12192528"/>
              <a:gd name="connsiteY4223" fmla="*/ 494583 h 3912503"/>
              <a:gd name="connsiteX4224" fmla="*/ 5303822 w 12192528"/>
              <a:gd name="connsiteY4224" fmla="*/ 497036 h 3912503"/>
              <a:gd name="connsiteX4225" fmla="*/ 5300959 w 12192528"/>
              <a:gd name="connsiteY4225" fmla="*/ 499284 h 3912503"/>
              <a:gd name="connsiteX4226" fmla="*/ 5292984 w 12192528"/>
              <a:gd name="connsiteY4226" fmla="*/ 515021 h 3912503"/>
              <a:gd name="connsiteX4227" fmla="*/ 5290529 w 12192528"/>
              <a:gd name="connsiteY4227" fmla="*/ 519927 h 3912503"/>
              <a:gd name="connsiteX4228" fmla="*/ 5286851 w 12192528"/>
              <a:gd name="connsiteY4228" fmla="*/ 521561 h 3912503"/>
              <a:gd name="connsiteX4229" fmla="*/ 5285010 w 12192528"/>
              <a:gd name="connsiteY4229" fmla="*/ 525444 h 3912503"/>
              <a:gd name="connsiteX4230" fmla="*/ 5285924 w 12192528"/>
              <a:gd name="connsiteY4230" fmla="*/ 526743 h 3912503"/>
              <a:gd name="connsiteX4231" fmla="*/ 5269943 w 12192528"/>
              <a:gd name="connsiteY4231" fmla="*/ 542638 h 3912503"/>
              <a:gd name="connsiteX4232" fmla="*/ 5270287 w 12192528"/>
              <a:gd name="connsiteY4232" fmla="*/ 539547 h 3912503"/>
              <a:gd name="connsiteX4233" fmla="*/ 5268853 w 12192528"/>
              <a:gd name="connsiteY4233" fmla="*/ 536072 h 3912503"/>
              <a:gd name="connsiteX4234" fmla="*/ 5265175 w 12192528"/>
              <a:gd name="connsiteY4234" fmla="*/ 537503 h 3912503"/>
              <a:gd name="connsiteX4235" fmla="*/ 5263946 w 12192528"/>
              <a:gd name="connsiteY4235" fmla="*/ 540159 h 3912503"/>
              <a:gd name="connsiteX4236" fmla="*/ 5257815 w 12192528"/>
              <a:gd name="connsiteY4236" fmla="*/ 541181 h 3912503"/>
              <a:gd name="connsiteX4237" fmla="*/ 5255155 w 12192528"/>
              <a:gd name="connsiteY4237" fmla="*/ 539343 h 3912503"/>
              <a:gd name="connsiteX4238" fmla="*/ 5253315 w 12192528"/>
              <a:gd name="connsiteY4238" fmla="*/ 542204 h 3912503"/>
              <a:gd name="connsiteX4239" fmla="*/ 5252700 w 12192528"/>
              <a:gd name="connsiteY4239" fmla="*/ 544656 h 3912503"/>
              <a:gd name="connsiteX4240" fmla="*/ 5250860 w 12192528"/>
              <a:gd name="connsiteY4240" fmla="*/ 547390 h 3912503"/>
              <a:gd name="connsiteX4241" fmla="*/ 5247793 w 12192528"/>
              <a:gd name="connsiteY4241" fmla="*/ 546291 h 3912503"/>
              <a:gd name="connsiteX4242" fmla="*/ 5241045 w 12192528"/>
              <a:gd name="connsiteY4242" fmla="*/ 540364 h 3912503"/>
              <a:gd name="connsiteX4243" fmla="*/ 5232047 w 12192528"/>
              <a:gd name="connsiteY4243" fmla="*/ 538320 h 3912503"/>
              <a:gd name="connsiteX4244" fmla="*/ 5226731 w 12192528"/>
              <a:gd name="connsiteY4244" fmla="*/ 536685 h 3912503"/>
              <a:gd name="connsiteX4245" fmla="*/ 5214259 w 12192528"/>
              <a:gd name="connsiteY4245" fmla="*/ 530758 h 3912503"/>
              <a:gd name="connsiteX4246" fmla="*/ 5212214 w 12192528"/>
              <a:gd name="connsiteY4246" fmla="*/ 529123 h 3912503"/>
              <a:gd name="connsiteX4247" fmla="*/ 5201377 w 12192528"/>
              <a:gd name="connsiteY4247" fmla="*/ 502758 h 3912503"/>
              <a:gd name="connsiteX4248" fmla="*/ 5201172 w 12192528"/>
              <a:gd name="connsiteY4248" fmla="*/ 497853 h 3912503"/>
              <a:gd name="connsiteX4249" fmla="*/ 5204034 w 12192528"/>
              <a:gd name="connsiteY4249" fmla="*/ 485999 h 3912503"/>
              <a:gd name="connsiteX4250" fmla="*/ 5205671 w 12192528"/>
              <a:gd name="connsiteY4250" fmla="*/ 475781 h 3912503"/>
              <a:gd name="connsiteX4251" fmla="*/ 5207307 w 12192528"/>
              <a:gd name="connsiteY4251" fmla="*/ 472511 h 3912503"/>
              <a:gd name="connsiteX4252" fmla="*/ 5219370 w 12192528"/>
              <a:gd name="connsiteY4252" fmla="*/ 458205 h 3912503"/>
              <a:gd name="connsiteX4253" fmla="*/ 5220597 w 12192528"/>
              <a:gd name="connsiteY4253" fmla="*/ 455956 h 3912503"/>
              <a:gd name="connsiteX4254" fmla="*/ 5212010 w 12192528"/>
              <a:gd name="connsiteY4254" fmla="*/ 444715 h 3912503"/>
              <a:gd name="connsiteX4255" fmla="*/ 5200559 w 12192528"/>
              <a:gd name="connsiteY4255" fmla="*/ 437971 h 3912503"/>
              <a:gd name="connsiteX4256" fmla="*/ 5188495 w 12192528"/>
              <a:gd name="connsiteY4256" fmla="*/ 424073 h 3912503"/>
              <a:gd name="connsiteX4257" fmla="*/ 5188698 w 12192528"/>
              <a:gd name="connsiteY4257" fmla="*/ 421007 h 3912503"/>
              <a:gd name="connsiteX4258" fmla="*/ 5187879 w 12192528"/>
              <a:gd name="connsiteY4258" fmla="*/ 413445 h 3912503"/>
              <a:gd name="connsiteX4259" fmla="*/ 5187267 w 12192528"/>
              <a:gd name="connsiteY4259" fmla="*/ 404452 h 3912503"/>
              <a:gd name="connsiteX4260" fmla="*/ 5189925 w 12192528"/>
              <a:gd name="connsiteY4260" fmla="*/ 398117 h 3912503"/>
              <a:gd name="connsiteX4261" fmla="*/ 5195447 w 12192528"/>
              <a:gd name="connsiteY4261" fmla="*/ 379723 h 3912503"/>
              <a:gd name="connsiteX4262" fmla="*/ 5204444 w 12192528"/>
              <a:gd name="connsiteY4262" fmla="*/ 368891 h 3912503"/>
              <a:gd name="connsiteX4263" fmla="*/ 5206487 w 12192528"/>
              <a:gd name="connsiteY4263" fmla="*/ 367460 h 3912503"/>
              <a:gd name="connsiteX4264" fmla="*/ 5217121 w 12192528"/>
              <a:gd name="connsiteY4264" fmla="*/ 362555 h 3912503"/>
              <a:gd name="connsiteX4265" fmla="*/ 5220801 w 12192528"/>
              <a:gd name="connsiteY4265" fmla="*/ 360716 h 3912503"/>
              <a:gd name="connsiteX4266" fmla="*/ 8035907 w 12192528"/>
              <a:gd name="connsiteY4266" fmla="*/ 359979 h 3912503"/>
              <a:gd name="connsiteX4267" fmla="*/ 8047622 w 12192528"/>
              <a:gd name="connsiteY4267" fmla="*/ 370863 h 3912503"/>
              <a:gd name="connsiteX4268" fmla="*/ 8049964 w 12192528"/>
              <a:gd name="connsiteY4268" fmla="*/ 375139 h 3912503"/>
              <a:gd name="connsiteX4269" fmla="*/ 8057382 w 12192528"/>
              <a:gd name="connsiteY4269" fmla="*/ 384469 h 3912503"/>
              <a:gd name="connsiteX4270" fmla="*/ 8063241 w 12192528"/>
              <a:gd name="connsiteY4270" fmla="*/ 387967 h 3912503"/>
              <a:gd name="connsiteX4271" fmla="*/ 8068708 w 12192528"/>
              <a:gd name="connsiteY4271" fmla="*/ 403516 h 3912503"/>
              <a:gd name="connsiteX4272" fmla="*/ 8065194 w 12192528"/>
              <a:gd name="connsiteY4272" fmla="*/ 416733 h 3912503"/>
              <a:gd name="connsiteX4273" fmla="*/ 8054258 w 12192528"/>
              <a:gd name="connsiteY4273" fmla="*/ 425285 h 3912503"/>
              <a:gd name="connsiteX4274" fmla="*/ 8053089 w 12192528"/>
              <a:gd name="connsiteY4274" fmla="*/ 426840 h 3912503"/>
              <a:gd name="connsiteX4275" fmla="*/ 8045280 w 12192528"/>
              <a:gd name="connsiteY4275" fmla="*/ 426840 h 3912503"/>
              <a:gd name="connsiteX4276" fmla="*/ 8036690 w 12192528"/>
              <a:gd name="connsiteY4276" fmla="*/ 422564 h 3912503"/>
              <a:gd name="connsiteX4277" fmla="*/ 8030831 w 12192528"/>
              <a:gd name="connsiteY4277" fmla="*/ 415566 h 3912503"/>
              <a:gd name="connsiteX4278" fmla="*/ 8026537 w 12192528"/>
              <a:gd name="connsiteY4278" fmla="*/ 405071 h 3912503"/>
              <a:gd name="connsiteX4279" fmla="*/ 8021067 w 12192528"/>
              <a:gd name="connsiteY4279" fmla="*/ 394964 h 3912503"/>
              <a:gd name="connsiteX4280" fmla="*/ 8012479 w 12192528"/>
              <a:gd name="connsiteY4280" fmla="*/ 386413 h 3912503"/>
              <a:gd name="connsiteX4281" fmla="*/ 8012479 w 12192528"/>
              <a:gd name="connsiteY4281" fmla="*/ 372418 h 3912503"/>
              <a:gd name="connsiteX4282" fmla="*/ 8017162 w 12192528"/>
              <a:gd name="connsiteY4282" fmla="*/ 366976 h 3912503"/>
              <a:gd name="connsiteX4283" fmla="*/ 8025756 w 12192528"/>
              <a:gd name="connsiteY4283" fmla="*/ 361534 h 3912503"/>
              <a:gd name="connsiteX4284" fmla="*/ 8035907 w 12192528"/>
              <a:gd name="connsiteY4284" fmla="*/ 359979 h 3912503"/>
              <a:gd name="connsiteX4285" fmla="*/ 4470161 w 12192528"/>
              <a:gd name="connsiteY4285" fmla="*/ 359479 h 3912503"/>
              <a:gd name="connsiteX4286" fmla="*/ 4478815 w 12192528"/>
              <a:gd name="connsiteY4286" fmla="*/ 363763 h 3912503"/>
              <a:gd name="connsiteX4287" fmla="*/ 4483716 w 12192528"/>
              <a:gd name="connsiteY4287" fmla="*/ 366355 h 3912503"/>
              <a:gd name="connsiteX4288" fmla="*/ 4489194 w 12192528"/>
              <a:gd name="connsiteY4288" fmla="*/ 370963 h 3912503"/>
              <a:gd name="connsiteX4289" fmla="*/ 4492655 w 12192528"/>
              <a:gd name="connsiteY4289" fmla="*/ 375572 h 3912503"/>
              <a:gd name="connsiteX4290" fmla="*/ 4496693 w 12192528"/>
              <a:gd name="connsiteY4290" fmla="*/ 388245 h 3912503"/>
              <a:gd name="connsiteX4291" fmla="*/ 4499578 w 12192528"/>
              <a:gd name="connsiteY4291" fmla="*/ 396021 h 3912503"/>
              <a:gd name="connsiteX4292" fmla="*/ 4499578 w 12192528"/>
              <a:gd name="connsiteY4292" fmla="*/ 399478 h 3912503"/>
              <a:gd name="connsiteX4293" fmla="*/ 4496116 w 12192528"/>
              <a:gd name="connsiteY4293" fmla="*/ 406390 h 3912503"/>
              <a:gd name="connsiteX4294" fmla="*/ 4488332 w 12192528"/>
              <a:gd name="connsiteY4294" fmla="*/ 416759 h 3912503"/>
              <a:gd name="connsiteX4295" fmla="*/ 4486310 w 12192528"/>
              <a:gd name="connsiteY4295" fmla="*/ 420792 h 3912503"/>
              <a:gd name="connsiteX4296" fmla="*/ 4482851 w 12192528"/>
              <a:gd name="connsiteY4296" fmla="*/ 422232 h 3912503"/>
              <a:gd name="connsiteX4297" fmla="*/ 4476216 w 12192528"/>
              <a:gd name="connsiteY4297" fmla="*/ 424247 h 3912503"/>
              <a:gd name="connsiteX4298" fmla="*/ 4473910 w 12192528"/>
              <a:gd name="connsiteY4298" fmla="*/ 425400 h 3912503"/>
              <a:gd name="connsiteX4299" fmla="*/ 4464683 w 12192528"/>
              <a:gd name="connsiteY4299" fmla="*/ 426552 h 3912503"/>
              <a:gd name="connsiteX4300" fmla="*/ 4462661 w 12192528"/>
              <a:gd name="connsiteY4300" fmla="*/ 427128 h 3912503"/>
              <a:gd name="connsiteX4301" fmla="*/ 4442187 w 12192528"/>
              <a:gd name="connsiteY4301" fmla="*/ 414167 h 3912503"/>
              <a:gd name="connsiteX4302" fmla="*/ 4435842 w 12192528"/>
              <a:gd name="connsiteY4302" fmla="*/ 402358 h 3912503"/>
              <a:gd name="connsiteX4303" fmla="*/ 4433825 w 12192528"/>
              <a:gd name="connsiteY4303" fmla="*/ 397462 h 3912503"/>
              <a:gd name="connsiteX4304" fmla="*/ 4433536 w 12192528"/>
              <a:gd name="connsiteY4304" fmla="*/ 392565 h 3912503"/>
              <a:gd name="connsiteX4305" fmla="*/ 4434399 w 12192528"/>
              <a:gd name="connsiteY4305" fmla="*/ 388821 h 3912503"/>
              <a:gd name="connsiteX4306" fmla="*/ 4435842 w 12192528"/>
              <a:gd name="connsiteY4306" fmla="*/ 381044 h 3912503"/>
              <a:gd name="connsiteX4307" fmla="*/ 4436130 w 12192528"/>
              <a:gd name="connsiteY4307" fmla="*/ 378164 h 3912503"/>
              <a:gd name="connsiteX4308" fmla="*/ 4436997 w 12192528"/>
              <a:gd name="connsiteY4308" fmla="*/ 371252 h 3912503"/>
              <a:gd name="connsiteX4309" fmla="*/ 4451414 w 12192528"/>
              <a:gd name="connsiteY4309" fmla="*/ 360019 h 3912503"/>
              <a:gd name="connsiteX4310" fmla="*/ 4460643 w 12192528"/>
              <a:gd name="connsiteY4310" fmla="*/ 359730 h 3912503"/>
              <a:gd name="connsiteX4311" fmla="*/ 4470161 w 12192528"/>
              <a:gd name="connsiteY4311" fmla="*/ 359479 h 3912503"/>
              <a:gd name="connsiteX4312" fmla="*/ 5732626 w 12192528"/>
              <a:gd name="connsiteY4312" fmla="*/ 355434 h 3912503"/>
              <a:gd name="connsiteX4313" fmla="*/ 5740676 w 12192528"/>
              <a:gd name="connsiteY4313" fmla="*/ 359421 h 3912503"/>
              <a:gd name="connsiteX4314" fmla="*/ 5745238 w 12192528"/>
              <a:gd name="connsiteY4314" fmla="*/ 361832 h 3912503"/>
              <a:gd name="connsiteX4315" fmla="*/ 5750337 w 12192528"/>
              <a:gd name="connsiteY4315" fmla="*/ 366121 h 3912503"/>
              <a:gd name="connsiteX4316" fmla="*/ 5753559 w 12192528"/>
              <a:gd name="connsiteY4316" fmla="*/ 370410 h 3912503"/>
              <a:gd name="connsiteX4317" fmla="*/ 5757316 w 12192528"/>
              <a:gd name="connsiteY4317" fmla="*/ 382203 h 3912503"/>
              <a:gd name="connsiteX4318" fmla="*/ 5760000 w 12192528"/>
              <a:gd name="connsiteY4318" fmla="*/ 389440 h 3912503"/>
              <a:gd name="connsiteX4319" fmla="*/ 5760000 w 12192528"/>
              <a:gd name="connsiteY4319" fmla="*/ 392656 h 3912503"/>
              <a:gd name="connsiteX4320" fmla="*/ 5756778 w 12192528"/>
              <a:gd name="connsiteY4320" fmla="*/ 399089 h 3912503"/>
              <a:gd name="connsiteX4321" fmla="*/ 5749532 w 12192528"/>
              <a:gd name="connsiteY4321" fmla="*/ 408738 h 3912503"/>
              <a:gd name="connsiteX4322" fmla="*/ 5747654 w 12192528"/>
              <a:gd name="connsiteY4322" fmla="*/ 412490 h 3912503"/>
              <a:gd name="connsiteX4323" fmla="*/ 5744435 w 12192528"/>
              <a:gd name="connsiteY4323" fmla="*/ 413830 h 3912503"/>
              <a:gd name="connsiteX4324" fmla="*/ 5738261 w 12192528"/>
              <a:gd name="connsiteY4324" fmla="*/ 415706 h 3912503"/>
              <a:gd name="connsiteX4325" fmla="*/ 5736113 w 12192528"/>
              <a:gd name="connsiteY4325" fmla="*/ 416778 h 3912503"/>
              <a:gd name="connsiteX4326" fmla="*/ 5727528 w 12192528"/>
              <a:gd name="connsiteY4326" fmla="*/ 417851 h 3912503"/>
              <a:gd name="connsiteX4327" fmla="*/ 5725646 w 12192528"/>
              <a:gd name="connsiteY4327" fmla="*/ 418387 h 3912503"/>
              <a:gd name="connsiteX4328" fmla="*/ 5706593 w 12192528"/>
              <a:gd name="connsiteY4328" fmla="*/ 406325 h 3912503"/>
              <a:gd name="connsiteX4329" fmla="*/ 5700688 w 12192528"/>
              <a:gd name="connsiteY4329" fmla="*/ 395336 h 3912503"/>
              <a:gd name="connsiteX4330" fmla="*/ 5698810 w 12192528"/>
              <a:gd name="connsiteY4330" fmla="*/ 390780 h 3912503"/>
              <a:gd name="connsiteX4331" fmla="*/ 5698543 w 12192528"/>
              <a:gd name="connsiteY4331" fmla="*/ 386223 h 3912503"/>
              <a:gd name="connsiteX4332" fmla="*/ 5699347 w 12192528"/>
              <a:gd name="connsiteY4332" fmla="*/ 382739 h 3912503"/>
              <a:gd name="connsiteX4333" fmla="*/ 5700688 w 12192528"/>
              <a:gd name="connsiteY4333" fmla="*/ 375502 h 3912503"/>
              <a:gd name="connsiteX4334" fmla="*/ 5700958 w 12192528"/>
              <a:gd name="connsiteY4334" fmla="*/ 372821 h 3912503"/>
              <a:gd name="connsiteX4335" fmla="*/ 5701762 w 12192528"/>
              <a:gd name="connsiteY4335" fmla="*/ 366389 h 3912503"/>
              <a:gd name="connsiteX4336" fmla="*/ 5715181 w 12192528"/>
              <a:gd name="connsiteY4336" fmla="*/ 355936 h 3912503"/>
              <a:gd name="connsiteX4337" fmla="*/ 5723770 w 12192528"/>
              <a:gd name="connsiteY4337" fmla="*/ 355669 h 3912503"/>
              <a:gd name="connsiteX4338" fmla="*/ 5732626 w 12192528"/>
              <a:gd name="connsiteY4338" fmla="*/ 355434 h 3912503"/>
              <a:gd name="connsiteX4339" fmla="*/ 2269712 w 12192528"/>
              <a:gd name="connsiteY4339" fmla="*/ 349840 h 3912503"/>
              <a:gd name="connsiteX4340" fmla="*/ 2275524 w 12192528"/>
              <a:gd name="connsiteY4340" fmla="*/ 351279 h 3912503"/>
              <a:gd name="connsiteX4341" fmla="*/ 2296099 w 12192528"/>
              <a:gd name="connsiteY4341" fmla="*/ 367304 h 3912503"/>
              <a:gd name="connsiteX4342" fmla="*/ 2297333 w 12192528"/>
              <a:gd name="connsiteY4342" fmla="*/ 377168 h 3912503"/>
              <a:gd name="connsiteX4343" fmla="*/ 2297744 w 12192528"/>
              <a:gd name="connsiteY4343" fmla="*/ 381277 h 3912503"/>
              <a:gd name="connsiteX4344" fmla="*/ 2299801 w 12192528"/>
              <a:gd name="connsiteY4344" fmla="*/ 392373 h 3912503"/>
              <a:gd name="connsiteX4345" fmla="*/ 2301036 w 12192528"/>
              <a:gd name="connsiteY4345" fmla="*/ 397716 h 3912503"/>
              <a:gd name="connsiteX4346" fmla="*/ 2300624 w 12192528"/>
              <a:gd name="connsiteY4346" fmla="*/ 404702 h 3912503"/>
              <a:gd name="connsiteX4347" fmla="*/ 2297744 w 12192528"/>
              <a:gd name="connsiteY4347" fmla="*/ 411688 h 3912503"/>
              <a:gd name="connsiteX4348" fmla="*/ 2288692 w 12192528"/>
              <a:gd name="connsiteY4348" fmla="*/ 428537 h 3912503"/>
              <a:gd name="connsiteX4349" fmla="*/ 2259477 w 12192528"/>
              <a:gd name="connsiteY4349" fmla="*/ 447029 h 3912503"/>
              <a:gd name="connsiteX4350" fmla="*/ 2256597 w 12192528"/>
              <a:gd name="connsiteY4350" fmla="*/ 446207 h 3912503"/>
              <a:gd name="connsiteX4351" fmla="*/ 2243429 w 12192528"/>
              <a:gd name="connsiteY4351" fmla="*/ 444563 h 3912503"/>
              <a:gd name="connsiteX4352" fmla="*/ 2240138 w 12192528"/>
              <a:gd name="connsiteY4352" fmla="*/ 442920 h 3912503"/>
              <a:gd name="connsiteX4353" fmla="*/ 2230673 w 12192528"/>
              <a:gd name="connsiteY4353" fmla="*/ 440043 h 3912503"/>
              <a:gd name="connsiteX4354" fmla="*/ 2225736 w 12192528"/>
              <a:gd name="connsiteY4354" fmla="*/ 437989 h 3912503"/>
              <a:gd name="connsiteX4355" fmla="*/ 2222855 w 12192528"/>
              <a:gd name="connsiteY4355" fmla="*/ 432235 h 3912503"/>
              <a:gd name="connsiteX4356" fmla="*/ 2211747 w 12192528"/>
              <a:gd name="connsiteY4356" fmla="*/ 417440 h 3912503"/>
              <a:gd name="connsiteX4357" fmla="*/ 2206808 w 12192528"/>
              <a:gd name="connsiteY4357" fmla="*/ 407577 h 3912503"/>
              <a:gd name="connsiteX4358" fmla="*/ 2206808 w 12192528"/>
              <a:gd name="connsiteY4358" fmla="*/ 402648 h 3912503"/>
              <a:gd name="connsiteX4359" fmla="*/ 2210923 w 12192528"/>
              <a:gd name="connsiteY4359" fmla="*/ 391552 h 3912503"/>
              <a:gd name="connsiteX4360" fmla="*/ 2216684 w 12192528"/>
              <a:gd name="connsiteY4360" fmla="*/ 373470 h 3912503"/>
              <a:gd name="connsiteX4361" fmla="*/ 2221621 w 12192528"/>
              <a:gd name="connsiteY4361" fmla="*/ 366894 h 3912503"/>
              <a:gd name="connsiteX4362" fmla="*/ 2229439 w 12192528"/>
              <a:gd name="connsiteY4362" fmla="*/ 360319 h 3912503"/>
              <a:gd name="connsiteX4363" fmla="*/ 2236435 w 12192528"/>
              <a:gd name="connsiteY4363" fmla="*/ 356621 h 3912503"/>
              <a:gd name="connsiteX4364" fmla="*/ 2248779 w 12192528"/>
              <a:gd name="connsiteY4364" fmla="*/ 350508 h 3912503"/>
              <a:gd name="connsiteX4365" fmla="*/ 2262357 w 12192528"/>
              <a:gd name="connsiteY4365" fmla="*/ 350868 h 3912503"/>
              <a:gd name="connsiteX4366" fmla="*/ 2269712 w 12192528"/>
              <a:gd name="connsiteY4366" fmla="*/ 349840 h 3912503"/>
              <a:gd name="connsiteX4367" fmla="*/ 4750901 w 12192528"/>
              <a:gd name="connsiteY4367" fmla="*/ 309773 h 3912503"/>
              <a:gd name="connsiteX4368" fmla="*/ 4767396 w 12192528"/>
              <a:gd name="connsiteY4368" fmla="*/ 325101 h 3912503"/>
              <a:gd name="connsiteX4369" fmla="*/ 4770696 w 12192528"/>
              <a:gd name="connsiteY4369" fmla="*/ 331122 h 3912503"/>
              <a:gd name="connsiteX4370" fmla="*/ 4781143 w 12192528"/>
              <a:gd name="connsiteY4370" fmla="*/ 344260 h 3912503"/>
              <a:gd name="connsiteX4371" fmla="*/ 4789392 w 12192528"/>
              <a:gd name="connsiteY4371" fmla="*/ 349187 h 3912503"/>
              <a:gd name="connsiteX4372" fmla="*/ 4797092 w 12192528"/>
              <a:gd name="connsiteY4372" fmla="*/ 371083 h 3912503"/>
              <a:gd name="connsiteX4373" fmla="*/ 4792140 w 12192528"/>
              <a:gd name="connsiteY4373" fmla="*/ 389695 h 3912503"/>
              <a:gd name="connsiteX4374" fmla="*/ 4776745 w 12192528"/>
              <a:gd name="connsiteY4374" fmla="*/ 401738 h 3912503"/>
              <a:gd name="connsiteX4375" fmla="*/ 4775094 w 12192528"/>
              <a:gd name="connsiteY4375" fmla="*/ 403927 h 3912503"/>
              <a:gd name="connsiteX4376" fmla="*/ 4764096 w 12192528"/>
              <a:gd name="connsiteY4376" fmla="*/ 403927 h 3912503"/>
              <a:gd name="connsiteX4377" fmla="*/ 4751999 w 12192528"/>
              <a:gd name="connsiteY4377" fmla="*/ 397906 h 3912503"/>
              <a:gd name="connsiteX4378" fmla="*/ 4743752 w 12192528"/>
              <a:gd name="connsiteY4378" fmla="*/ 388052 h 3912503"/>
              <a:gd name="connsiteX4379" fmla="*/ 4737703 w 12192528"/>
              <a:gd name="connsiteY4379" fmla="*/ 373273 h 3912503"/>
              <a:gd name="connsiteX4380" fmla="*/ 4730004 w 12192528"/>
              <a:gd name="connsiteY4380" fmla="*/ 359040 h 3912503"/>
              <a:gd name="connsiteX4381" fmla="*/ 4717908 w 12192528"/>
              <a:gd name="connsiteY4381" fmla="*/ 346997 h 3912503"/>
              <a:gd name="connsiteX4382" fmla="*/ 4717908 w 12192528"/>
              <a:gd name="connsiteY4382" fmla="*/ 327290 h 3912503"/>
              <a:gd name="connsiteX4383" fmla="*/ 4724508 w 12192528"/>
              <a:gd name="connsiteY4383" fmla="*/ 319627 h 3912503"/>
              <a:gd name="connsiteX4384" fmla="*/ 4736603 w 12192528"/>
              <a:gd name="connsiteY4384" fmla="*/ 311963 h 3912503"/>
              <a:gd name="connsiteX4385" fmla="*/ 4750901 w 12192528"/>
              <a:gd name="connsiteY4385" fmla="*/ 309773 h 3912503"/>
              <a:gd name="connsiteX4386" fmla="*/ 4083241 w 12192528"/>
              <a:gd name="connsiteY4386" fmla="*/ 307979 h 3912503"/>
              <a:gd name="connsiteX4387" fmla="*/ 4097537 w 12192528"/>
              <a:gd name="connsiteY4387" fmla="*/ 310169 h 3912503"/>
              <a:gd name="connsiteX4388" fmla="*/ 4109635 w 12192528"/>
              <a:gd name="connsiteY4388" fmla="*/ 317833 h 3912503"/>
              <a:gd name="connsiteX4389" fmla="*/ 4116234 w 12192528"/>
              <a:gd name="connsiteY4389" fmla="*/ 325496 h 3912503"/>
              <a:gd name="connsiteX4390" fmla="*/ 4116234 w 12192528"/>
              <a:gd name="connsiteY4390" fmla="*/ 345203 h 3912503"/>
              <a:gd name="connsiteX4391" fmla="*/ 4104136 w 12192528"/>
              <a:gd name="connsiteY4391" fmla="*/ 357246 h 3912503"/>
              <a:gd name="connsiteX4392" fmla="*/ 4096437 w 12192528"/>
              <a:gd name="connsiteY4392" fmla="*/ 371479 h 3912503"/>
              <a:gd name="connsiteX4393" fmla="*/ 4090390 w 12192528"/>
              <a:gd name="connsiteY4393" fmla="*/ 386258 h 3912503"/>
              <a:gd name="connsiteX4394" fmla="*/ 4082141 w 12192528"/>
              <a:gd name="connsiteY4394" fmla="*/ 396112 h 3912503"/>
              <a:gd name="connsiteX4395" fmla="*/ 4070043 w 12192528"/>
              <a:gd name="connsiteY4395" fmla="*/ 402133 h 3912503"/>
              <a:gd name="connsiteX4396" fmla="*/ 4059046 w 12192528"/>
              <a:gd name="connsiteY4396" fmla="*/ 402133 h 3912503"/>
              <a:gd name="connsiteX4397" fmla="*/ 4057397 w 12192528"/>
              <a:gd name="connsiteY4397" fmla="*/ 399944 h 3912503"/>
              <a:gd name="connsiteX4398" fmla="*/ 4042001 w 12192528"/>
              <a:gd name="connsiteY4398" fmla="*/ 387901 h 3912503"/>
              <a:gd name="connsiteX4399" fmla="*/ 4037052 w 12192528"/>
              <a:gd name="connsiteY4399" fmla="*/ 369289 h 3912503"/>
              <a:gd name="connsiteX4400" fmla="*/ 4044749 w 12192528"/>
              <a:gd name="connsiteY4400" fmla="*/ 347393 h 3912503"/>
              <a:gd name="connsiteX4401" fmla="*/ 4052998 w 12192528"/>
              <a:gd name="connsiteY4401" fmla="*/ 342466 h 3912503"/>
              <a:gd name="connsiteX4402" fmla="*/ 4063446 w 12192528"/>
              <a:gd name="connsiteY4402" fmla="*/ 329328 h 3912503"/>
              <a:gd name="connsiteX4403" fmla="*/ 4066745 w 12192528"/>
              <a:gd name="connsiteY4403" fmla="*/ 323306 h 3912503"/>
              <a:gd name="connsiteX4404" fmla="*/ 4083241 w 12192528"/>
              <a:gd name="connsiteY4404" fmla="*/ 307979 h 3912503"/>
              <a:gd name="connsiteX4405" fmla="*/ 10833001 w 12192528"/>
              <a:gd name="connsiteY4405" fmla="*/ 305092 h 3912503"/>
              <a:gd name="connsiteX4406" fmla="*/ 10848358 w 12192528"/>
              <a:gd name="connsiteY4406" fmla="*/ 308892 h 3912503"/>
              <a:gd name="connsiteX4407" fmla="*/ 10902712 w 12192528"/>
              <a:gd name="connsiteY4407" fmla="*/ 351235 h 3912503"/>
              <a:gd name="connsiteX4408" fmla="*/ 10905974 w 12192528"/>
              <a:gd name="connsiteY4408" fmla="*/ 377294 h 3912503"/>
              <a:gd name="connsiteX4409" fmla="*/ 10907062 w 12192528"/>
              <a:gd name="connsiteY4409" fmla="*/ 388151 h 3912503"/>
              <a:gd name="connsiteX4410" fmla="*/ 10912497 w 12192528"/>
              <a:gd name="connsiteY4410" fmla="*/ 417465 h 3912503"/>
              <a:gd name="connsiteX4411" fmla="*/ 10915758 w 12192528"/>
              <a:gd name="connsiteY4411" fmla="*/ 431580 h 3912503"/>
              <a:gd name="connsiteX4412" fmla="*/ 10914670 w 12192528"/>
              <a:gd name="connsiteY4412" fmla="*/ 450037 h 3912503"/>
              <a:gd name="connsiteX4413" fmla="*/ 10907062 w 12192528"/>
              <a:gd name="connsiteY4413" fmla="*/ 468495 h 3912503"/>
              <a:gd name="connsiteX4414" fmla="*/ 10904160 w 12192528"/>
              <a:gd name="connsiteY4414" fmla="*/ 476276 h 3912503"/>
              <a:gd name="connsiteX4415" fmla="*/ 10909369 w 12192528"/>
              <a:gd name="connsiteY4415" fmla="*/ 475478 h 3912503"/>
              <a:gd name="connsiteX4416" fmla="*/ 10921086 w 12192528"/>
              <a:gd name="connsiteY4416" fmla="*/ 486362 h 3912503"/>
              <a:gd name="connsiteX4417" fmla="*/ 10923427 w 12192528"/>
              <a:gd name="connsiteY4417" fmla="*/ 490638 h 3912503"/>
              <a:gd name="connsiteX4418" fmla="*/ 10930846 w 12192528"/>
              <a:gd name="connsiteY4418" fmla="*/ 499967 h 3912503"/>
              <a:gd name="connsiteX4419" fmla="*/ 10936705 w 12192528"/>
              <a:gd name="connsiteY4419" fmla="*/ 503466 h 3912503"/>
              <a:gd name="connsiteX4420" fmla="*/ 10942170 w 12192528"/>
              <a:gd name="connsiteY4420" fmla="*/ 519015 h 3912503"/>
              <a:gd name="connsiteX4421" fmla="*/ 10938655 w 12192528"/>
              <a:gd name="connsiteY4421" fmla="*/ 532231 h 3912503"/>
              <a:gd name="connsiteX4422" fmla="*/ 10927723 w 12192528"/>
              <a:gd name="connsiteY4422" fmla="*/ 540783 h 3912503"/>
              <a:gd name="connsiteX4423" fmla="*/ 10926551 w 12192528"/>
              <a:gd name="connsiteY4423" fmla="*/ 542338 h 3912503"/>
              <a:gd name="connsiteX4424" fmla="*/ 10918742 w 12192528"/>
              <a:gd name="connsiteY4424" fmla="*/ 542338 h 3912503"/>
              <a:gd name="connsiteX4425" fmla="*/ 10910151 w 12192528"/>
              <a:gd name="connsiteY4425" fmla="*/ 538062 h 3912503"/>
              <a:gd name="connsiteX4426" fmla="*/ 10904294 w 12192528"/>
              <a:gd name="connsiteY4426" fmla="*/ 531065 h 3912503"/>
              <a:gd name="connsiteX4427" fmla="*/ 10899998 w 12192528"/>
              <a:gd name="connsiteY4427" fmla="*/ 520569 h 3912503"/>
              <a:gd name="connsiteX4428" fmla="*/ 10894532 w 12192528"/>
              <a:gd name="connsiteY4428" fmla="*/ 510462 h 3912503"/>
              <a:gd name="connsiteX4429" fmla="*/ 10889142 w 12192528"/>
              <a:gd name="connsiteY4429" fmla="*/ 505098 h 3912503"/>
              <a:gd name="connsiteX4430" fmla="*/ 10883145 w 12192528"/>
              <a:gd name="connsiteY4430" fmla="*/ 513010 h 3912503"/>
              <a:gd name="connsiteX4431" fmla="*/ 10805956 w 12192528"/>
              <a:gd name="connsiteY4431" fmla="*/ 561868 h 3912503"/>
              <a:gd name="connsiteX4432" fmla="*/ 10798346 w 12192528"/>
              <a:gd name="connsiteY4432" fmla="*/ 559696 h 3912503"/>
              <a:gd name="connsiteX4433" fmla="*/ 10763558 w 12192528"/>
              <a:gd name="connsiteY4433" fmla="*/ 555353 h 3912503"/>
              <a:gd name="connsiteX4434" fmla="*/ 10754863 w 12192528"/>
              <a:gd name="connsiteY4434" fmla="*/ 551011 h 3912503"/>
              <a:gd name="connsiteX4435" fmla="*/ 10729857 w 12192528"/>
              <a:gd name="connsiteY4435" fmla="*/ 543410 h 3912503"/>
              <a:gd name="connsiteX4436" fmla="*/ 10716812 w 12192528"/>
              <a:gd name="connsiteY4436" fmla="*/ 537981 h 3912503"/>
              <a:gd name="connsiteX4437" fmla="*/ 10709202 w 12192528"/>
              <a:gd name="connsiteY4437" fmla="*/ 522781 h 3912503"/>
              <a:gd name="connsiteX4438" fmla="*/ 10679850 w 12192528"/>
              <a:gd name="connsiteY4438" fmla="*/ 483694 h 3912503"/>
              <a:gd name="connsiteX4439" fmla="*/ 10666805 w 12192528"/>
              <a:gd name="connsiteY4439" fmla="*/ 457637 h 3912503"/>
              <a:gd name="connsiteX4440" fmla="*/ 10666805 w 12192528"/>
              <a:gd name="connsiteY4440" fmla="*/ 444609 h 3912503"/>
              <a:gd name="connsiteX4441" fmla="*/ 10677677 w 12192528"/>
              <a:gd name="connsiteY4441" fmla="*/ 415294 h 3912503"/>
              <a:gd name="connsiteX4442" fmla="*/ 10692895 w 12192528"/>
              <a:gd name="connsiteY4442" fmla="*/ 367521 h 3912503"/>
              <a:gd name="connsiteX4443" fmla="*/ 10705940 w 12192528"/>
              <a:gd name="connsiteY4443" fmla="*/ 350150 h 3912503"/>
              <a:gd name="connsiteX4444" fmla="*/ 10726596 w 12192528"/>
              <a:gd name="connsiteY4444" fmla="*/ 332778 h 3912503"/>
              <a:gd name="connsiteX4445" fmla="*/ 10745078 w 12192528"/>
              <a:gd name="connsiteY4445" fmla="*/ 323007 h 3912503"/>
              <a:gd name="connsiteX4446" fmla="*/ 10813569 w 12192528"/>
              <a:gd name="connsiteY4446" fmla="*/ 307807 h 3912503"/>
              <a:gd name="connsiteX4447" fmla="*/ 10833001 w 12192528"/>
              <a:gd name="connsiteY4447" fmla="*/ 305092 h 3912503"/>
              <a:gd name="connsiteX4448" fmla="*/ 9079830 w 12192528"/>
              <a:gd name="connsiteY4448" fmla="*/ 266277 h 3912503"/>
              <a:gd name="connsiteX4449" fmla="*/ 9092580 w 12192528"/>
              <a:gd name="connsiteY4449" fmla="*/ 266615 h 3912503"/>
              <a:gd name="connsiteX4450" fmla="*/ 9104944 w 12192528"/>
              <a:gd name="connsiteY4450" fmla="*/ 267001 h 3912503"/>
              <a:gd name="connsiteX4451" fmla="*/ 9124263 w 12192528"/>
              <a:gd name="connsiteY4451" fmla="*/ 282050 h 3912503"/>
              <a:gd name="connsiteX4452" fmla="*/ 9125421 w 12192528"/>
              <a:gd name="connsiteY4452" fmla="*/ 291311 h 3912503"/>
              <a:gd name="connsiteX4453" fmla="*/ 9125807 w 12192528"/>
              <a:gd name="connsiteY4453" fmla="*/ 295170 h 3912503"/>
              <a:gd name="connsiteX4454" fmla="*/ 9127740 w 12192528"/>
              <a:gd name="connsiteY4454" fmla="*/ 305588 h 3912503"/>
              <a:gd name="connsiteX4455" fmla="*/ 9128898 w 12192528"/>
              <a:gd name="connsiteY4455" fmla="*/ 310605 h 3912503"/>
              <a:gd name="connsiteX4456" fmla="*/ 9128509 w 12192528"/>
              <a:gd name="connsiteY4456" fmla="*/ 317165 h 3912503"/>
              <a:gd name="connsiteX4457" fmla="*/ 9125807 w 12192528"/>
              <a:gd name="connsiteY4457" fmla="*/ 323725 h 3912503"/>
              <a:gd name="connsiteX4458" fmla="*/ 9117309 w 12192528"/>
              <a:gd name="connsiteY4458" fmla="*/ 339545 h 3912503"/>
              <a:gd name="connsiteX4459" fmla="*/ 9089875 w 12192528"/>
              <a:gd name="connsiteY4459" fmla="*/ 356910 h 3912503"/>
              <a:gd name="connsiteX4460" fmla="*/ 9087170 w 12192528"/>
              <a:gd name="connsiteY4460" fmla="*/ 356139 h 3912503"/>
              <a:gd name="connsiteX4461" fmla="*/ 9074808 w 12192528"/>
              <a:gd name="connsiteY4461" fmla="*/ 354595 h 3912503"/>
              <a:gd name="connsiteX4462" fmla="*/ 9071716 w 12192528"/>
              <a:gd name="connsiteY4462" fmla="*/ 353051 h 3912503"/>
              <a:gd name="connsiteX4463" fmla="*/ 9062831 w 12192528"/>
              <a:gd name="connsiteY4463" fmla="*/ 350350 h 3912503"/>
              <a:gd name="connsiteX4464" fmla="*/ 9058196 w 12192528"/>
              <a:gd name="connsiteY4464" fmla="*/ 348421 h 3912503"/>
              <a:gd name="connsiteX4465" fmla="*/ 9055488 w 12192528"/>
              <a:gd name="connsiteY4465" fmla="*/ 343019 h 3912503"/>
              <a:gd name="connsiteX4466" fmla="*/ 9045059 w 12192528"/>
              <a:gd name="connsiteY4466" fmla="*/ 329127 h 3912503"/>
              <a:gd name="connsiteX4467" fmla="*/ 9040424 w 12192528"/>
              <a:gd name="connsiteY4467" fmla="*/ 319866 h 3912503"/>
              <a:gd name="connsiteX4468" fmla="*/ 9040424 w 12192528"/>
              <a:gd name="connsiteY4468" fmla="*/ 315235 h 3912503"/>
              <a:gd name="connsiteX4469" fmla="*/ 9044287 w 12192528"/>
              <a:gd name="connsiteY4469" fmla="*/ 304817 h 3912503"/>
              <a:gd name="connsiteX4470" fmla="*/ 9049694 w 12192528"/>
              <a:gd name="connsiteY4470" fmla="*/ 287839 h 3912503"/>
              <a:gd name="connsiteX4471" fmla="*/ 9054332 w 12192528"/>
              <a:gd name="connsiteY4471" fmla="*/ 281664 h 3912503"/>
              <a:gd name="connsiteX4472" fmla="*/ 9061672 w 12192528"/>
              <a:gd name="connsiteY4472" fmla="*/ 275490 h 3912503"/>
              <a:gd name="connsiteX4473" fmla="*/ 9068240 w 12192528"/>
              <a:gd name="connsiteY4473" fmla="*/ 272017 h 3912503"/>
              <a:gd name="connsiteX4474" fmla="*/ 9079830 w 12192528"/>
              <a:gd name="connsiteY4474" fmla="*/ 266277 h 3912503"/>
              <a:gd name="connsiteX4475" fmla="*/ 6762630 w 12192528"/>
              <a:gd name="connsiteY4475" fmla="*/ 248000 h 3912503"/>
              <a:gd name="connsiteX4476" fmla="*/ 6762380 w 12192528"/>
              <a:gd name="connsiteY4476" fmla="*/ 248416 h 3912503"/>
              <a:gd name="connsiteX4477" fmla="*/ 6762093 w 12192528"/>
              <a:gd name="connsiteY4477" fmla="*/ 248128 h 3912503"/>
              <a:gd name="connsiteX4478" fmla="*/ 5353229 w 12192528"/>
              <a:gd name="connsiteY4478" fmla="*/ 221996 h 3912503"/>
              <a:gd name="connsiteX4479" fmla="*/ 5363382 w 12192528"/>
              <a:gd name="connsiteY4479" fmla="*/ 223551 h 3912503"/>
              <a:gd name="connsiteX4480" fmla="*/ 5371975 w 12192528"/>
              <a:gd name="connsiteY4480" fmla="*/ 228993 h 3912503"/>
              <a:gd name="connsiteX4481" fmla="*/ 5376658 w 12192528"/>
              <a:gd name="connsiteY4481" fmla="*/ 234435 h 3912503"/>
              <a:gd name="connsiteX4482" fmla="*/ 5376658 w 12192528"/>
              <a:gd name="connsiteY4482" fmla="*/ 248429 h 3912503"/>
              <a:gd name="connsiteX4483" fmla="*/ 5368067 w 12192528"/>
              <a:gd name="connsiteY4483" fmla="*/ 256981 h 3912503"/>
              <a:gd name="connsiteX4484" fmla="*/ 5362602 w 12192528"/>
              <a:gd name="connsiteY4484" fmla="*/ 267088 h 3912503"/>
              <a:gd name="connsiteX4485" fmla="*/ 5358307 w 12192528"/>
              <a:gd name="connsiteY4485" fmla="*/ 277583 h 3912503"/>
              <a:gd name="connsiteX4486" fmla="*/ 5352449 w 12192528"/>
              <a:gd name="connsiteY4486" fmla="*/ 284581 h 3912503"/>
              <a:gd name="connsiteX4487" fmla="*/ 5343858 w 12192528"/>
              <a:gd name="connsiteY4487" fmla="*/ 288856 h 3912503"/>
              <a:gd name="connsiteX4488" fmla="*/ 5336048 w 12192528"/>
              <a:gd name="connsiteY4488" fmla="*/ 288856 h 3912503"/>
              <a:gd name="connsiteX4489" fmla="*/ 5334878 w 12192528"/>
              <a:gd name="connsiteY4489" fmla="*/ 287302 h 3912503"/>
              <a:gd name="connsiteX4490" fmla="*/ 5323944 w 12192528"/>
              <a:gd name="connsiteY4490" fmla="*/ 278749 h 3912503"/>
              <a:gd name="connsiteX4491" fmla="*/ 5320430 w 12192528"/>
              <a:gd name="connsiteY4491" fmla="*/ 265533 h 3912503"/>
              <a:gd name="connsiteX4492" fmla="*/ 5325897 w 12192528"/>
              <a:gd name="connsiteY4492" fmla="*/ 249984 h 3912503"/>
              <a:gd name="connsiteX4493" fmla="*/ 5331753 w 12192528"/>
              <a:gd name="connsiteY4493" fmla="*/ 246486 h 3912503"/>
              <a:gd name="connsiteX4494" fmla="*/ 5339173 w 12192528"/>
              <a:gd name="connsiteY4494" fmla="*/ 237156 h 3912503"/>
              <a:gd name="connsiteX4495" fmla="*/ 5341514 w 12192528"/>
              <a:gd name="connsiteY4495" fmla="*/ 232880 h 3912503"/>
              <a:gd name="connsiteX4496" fmla="*/ 5353229 w 12192528"/>
              <a:gd name="connsiteY4496" fmla="*/ 221996 h 3912503"/>
              <a:gd name="connsiteX4497" fmla="*/ 6402088 w 12192528"/>
              <a:gd name="connsiteY4497" fmla="*/ 217446 h 3912503"/>
              <a:gd name="connsiteX4498" fmla="*/ 6410741 w 12192528"/>
              <a:gd name="connsiteY4498" fmla="*/ 221730 h 3912503"/>
              <a:gd name="connsiteX4499" fmla="*/ 6415640 w 12192528"/>
              <a:gd name="connsiteY4499" fmla="*/ 224322 h 3912503"/>
              <a:gd name="connsiteX4500" fmla="*/ 6421122 w 12192528"/>
              <a:gd name="connsiteY4500" fmla="*/ 228930 h 3912503"/>
              <a:gd name="connsiteX4501" fmla="*/ 6424584 w 12192528"/>
              <a:gd name="connsiteY4501" fmla="*/ 233540 h 3912503"/>
              <a:gd name="connsiteX4502" fmla="*/ 6428621 w 12192528"/>
              <a:gd name="connsiteY4502" fmla="*/ 246212 h 3912503"/>
              <a:gd name="connsiteX4503" fmla="*/ 6431504 w 12192528"/>
              <a:gd name="connsiteY4503" fmla="*/ 253989 h 3912503"/>
              <a:gd name="connsiteX4504" fmla="*/ 6431504 w 12192528"/>
              <a:gd name="connsiteY4504" fmla="*/ 257445 h 3912503"/>
              <a:gd name="connsiteX4505" fmla="*/ 6428042 w 12192528"/>
              <a:gd name="connsiteY4505" fmla="*/ 264358 h 3912503"/>
              <a:gd name="connsiteX4506" fmla="*/ 6420256 w 12192528"/>
              <a:gd name="connsiteY4506" fmla="*/ 274726 h 3912503"/>
              <a:gd name="connsiteX4507" fmla="*/ 6418238 w 12192528"/>
              <a:gd name="connsiteY4507" fmla="*/ 278759 h 3912503"/>
              <a:gd name="connsiteX4508" fmla="*/ 6414777 w 12192528"/>
              <a:gd name="connsiteY4508" fmla="*/ 280199 h 3912503"/>
              <a:gd name="connsiteX4509" fmla="*/ 6408143 w 12192528"/>
              <a:gd name="connsiteY4509" fmla="*/ 282215 h 3912503"/>
              <a:gd name="connsiteX4510" fmla="*/ 6405836 w 12192528"/>
              <a:gd name="connsiteY4510" fmla="*/ 283367 h 3912503"/>
              <a:gd name="connsiteX4511" fmla="*/ 6396609 w 12192528"/>
              <a:gd name="connsiteY4511" fmla="*/ 284519 h 3912503"/>
              <a:gd name="connsiteX4512" fmla="*/ 6394592 w 12192528"/>
              <a:gd name="connsiteY4512" fmla="*/ 285096 h 3912503"/>
              <a:gd name="connsiteX4513" fmla="*/ 6374113 w 12192528"/>
              <a:gd name="connsiteY4513" fmla="*/ 272134 h 3912503"/>
              <a:gd name="connsiteX4514" fmla="*/ 6367769 w 12192528"/>
              <a:gd name="connsiteY4514" fmla="*/ 260325 h 3912503"/>
              <a:gd name="connsiteX4515" fmla="*/ 6365751 w 12192528"/>
              <a:gd name="connsiteY4515" fmla="*/ 255429 h 3912503"/>
              <a:gd name="connsiteX4516" fmla="*/ 6365462 w 12192528"/>
              <a:gd name="connsiteY4516" fmla="*/ 250533 h 3912503"/>
              <a:gd name="connsiteX4517" fmla="*/ 6366326 w 12192528"/>
              <a:gd name="connsiteY4517" fmla="*/ 246789 h 3912503"/>
              <a:gd name="connsiteX4518" fmla="*/ 6367769 w 12192528"/>
              <a:gd name="connsiteY4518" fmla="*/ 239011 h 3912503"/>
              <a:gd name="connsiteX4519" fmla="*/ 6368057 w 12192528"/>
              <a:gd name="connsiteY4519" fmla="*/ 236132 h 3912503"/>
              <a:gd name="connsiteX4520" fmla="*/ 6368923 w 12192528"/>
              <a:gd name="connsiteY4520" fmla="*/ 229219 h 3912503"/>
              <a:gd name="connsiteX4521" fmla="*/ 6383344 w 12192528"/>
              <a:gd name="connsiteY4521" fmla="*/ 217986 h 3912503"/>
              <a:gd name="connsiteX4522" fmla="*/ 6392572 w 12192528"/>
              <a:gd name="connsiteY4522" fmla="*/ 217697 h 3912503"/>
              <a:gd name="connsiteX4523" fmla="*/ 6402088 w 12192528"/>
              <a:gd name="connsiteY4523" fmla="*/ 217446 h 3912503"/>
              <a:gd name="connsiteX4524" fmla="*/ 4970801 w 12192528"/>
              <a:gd name="connsiteY4524" fmla="*/ 215227 h 3912503"/>
              <a:gd name="connsiteX4525" fmla="*/ 4982015 w 12192528"/>
              <a:gd name="connsiteY4525" fmla="*/ 220831 h 3912503"/>
              <a:gd name="connsiteX4526" fmla="*/ 5014407 w 12192528"/>
              <a:gd name="connsiteY4526" fmla="*/ 235774 h 3912503"/>
              <a:gd name="connsiteX4527" fmla="*/ 5020638 w 12192528"/>
              <a:gd name="connsiteY4527" fmla="*/ 240133 h 3912503"/>
              <a:gd name="connsiteX4528" fmla="*/ 5048047 w 12192528"/>
              <a:gd name="connsiteY4528" fmla="*/ 273133 h 3912503"/>
              <a:gd name="connsiteX4529" fmla="*/ 5064868 w 12192528"/>
              <a:gd name="connsiteY4529" fmla="*/ 329173 h 3912503"/>
              <a:gd name="connsiteX4530" fmla="*/ 5072969 w 12192528"/>
              <a:gd name="connsiteY4530" fmla="*/ 348475 h 3912503"/>
              <a:gd name="connsiteX4531" fmla="*/ 5071098 w 12192528"/>
              <a:gd name="connsiteY4531" fmla="*/ 375872 h 3912503"/>
              <a:gd name="connsiteX4532" fmla="*/ 5068607 w 12192528"/>
              <a:gd name="connsiteY4532" fmla="*/ 398909 h 3912503"/>
              <a:gd name="connsiteX4533" fmla="*/ 5069230 w 12192528"/>
              <a:gd name="connsiteY4533" fmla="*/ 408249 h 3912503"/>
              <a:gd name="connsiteX4534" fmla="*/ 5032474 w 12192528"/>
              <a:gd name="connsiteY4534" fmla="*/ 450590 h 3912503"/>
              <a:gd name="connsiteX4535" fmla="*/ 4997588 w 12192528"/>
              <a:gd name="connsiteY4535" fmla="*/ 471138 h 3912503"/>
              <a:gd name="connsiteX4536" fmla="*/ 4971424 w 12192528"/>
              <a:gd name="connsiteY4536" fmla="*/ 505383 h 3912503"/>
              <a:gd name="connsiteX4537" fmla="*/ 4975163 w 12192528"/>
              <a:gd name="connsiteY4537" fmla="*/ 512232 h 3912503"/>
              <a:gd name="connsiteX4538" fmla="*/ 5011917 w 12192528"/>
              <a:gd name="connsiteY4538" fmla="*/ 555819 h 3912503"/>
              <a:gd name="connsiteX4539" fmla="*/ 5016902 w 12192528"/>
              <a:gd name="connsiteY4539" fmla="*/ 565781 h 3912503"/>
              <a:gd name="connsiteX4540" fmla="*/ 5021883 w 12192528"/>
              <a:gd name="connsiteY4540" fmla="*/ 596915 h 3912503"/>
              <a:gd name="connsiteX4541" fmla="*/ 5030606 w 12192528"/>
              <a:gd name="connsiteY4541" fmla="*/ 633028 h 3912503"/>
              <a:gd name="connsiteX4542" fmla="*/ 5029984 w 12192528"/>
              <a:gd name="connsiteY4542" fmla="*/ 647971 h 3912503"/>
              <a:gd name="connsiteX4543" fmla="*/ 5014537 w 12192528"/>
              <a:gd name="connsiteY4543" fmla="*/ 685550 h 3912503"/>
              <a:gd name="connsiteX4544" fmla="*/ 5084787 w 12192528"/>
              <a:gd name="connsiteY4544" fmla="*/ 676707 h 3912503"/>
              <a:gd name="connsiteX4545" fmla="*/ 5315437 w 12192528"/>
              <a:gd name="connsiteY4545" fmla="*/ 672584 h 3912503"/>
              <a:gd name="connsiteX4546" fmla="*/ 5870643 w 12192528"/>
              <a:gd name="connsiteY4546" fmla="*/ 797194 h 3912503"/>
              <a:gd name="connsiteX4547" fmla="*/ 6737349 w 12192528"/>
              <a:gd name="connsiteY4547" fmla="*/ 1249822 h 3912503"/>
              <a:gd name="connsiteX4548" fmla="*/ 6949760 w 12192528"/>
              <a:gd name="connsiteY4548" fmla="*/ 1437768 h 3912503"/>
              <a:gd name="connsiteX4549" fmla="*/ 7135575 w 12192528"/>
              <a:gd name="connsiteY4549" fmla="*/ 1640186 h 3912503"/>
              <a:gd name="connsiteX4550" fmla="*/ 7155702 w 12192528"/>
              <a:gd name="connsiteY4550" fmla="*/ 1617195 h 3912503"/>
              <a:gd name="connsiteX4551" fmla="*/ 7149127 w 12192528"/>
              <a:gd name="connsiteY4551" fmla="*/ 1606185 h 3912503"/>
              <a:gd name="connsiteX4552" fmla="*/ 7132956 w 12192528"/>
              <a:gd name="connsiteY4552" fmla="*/ 1613378 h 3912503"/>
              <a:gd name="connsiteX4553" fmla="*/ 7119911 w 12192528"/>
              <a:gd name="connsiteY4553" fmla="*/ 1607949 h 3912503"/>
              <a:gd name="connsiteX4554" fmla="*/ 7112301 w 12192528"/>
              <a:gd name="connsiteY4554" fmla="*/ 1592748 h 3912503"/>
              <a:gd name="connsiteX4555" fmla="*/ 7082952 w 12192528"/>
              <a:gd name="connsiteY4555" fmla="*/ 1553663 h 3912503"/>
              <a:gd name="connsiteX4556" fmla="*/ 7069901 w 12192528"/>
              <a:gd name="connsiteY4556" fmla="*/ 1527606 h 3912503"/>
              <a:gd name="connsiteX4557" fmla="*/ 7069901 w 12192528"/>
              <a:gd name="connsiteY4557" fmla="*/ 1514576 h 3912503"/>
              <a:gd name="connsiteX4558" fmla="*/ 7080773 w 12192528"/>
              <a:gd name="connsiteY4558" fmla="*/ 1485261 h 3912503"/>
              <a:gd name="connsiteX4559" fmla="*/ 7095993 w 12192528"/>
              <a:gd name="connsiteY4559" fmla="*/ 1437490 h 3912503"/>
              <a:gd name="connsiteX4560" fmla="*/ 7109038 w 12192528"/>
              <a:gd name="connsiteY4560" fmla="*/ 1420118 h 3912503"/>
              <a:gd name="connsiteX4561" fmla="*/ 7129695 w 12192528"/>
              <a:gd name="connsiteY4561" fmla="*/ 1402746 h 3912503"/>
              <a:gd name="connsiteX4562" fmla="*/ 7132509 w 12192528"/>
              <a:gd name="connsiteY4562" fmla="*/ 1401258 h 3912503"/>
              <a:gd name="connsiteX4563" fmla="*/ 7077965 w 12192528"/>
              <a:gd name="connsiteY4563" fmla="*/ 1343957 h 3912503"/>
              <a:gd name="connsiteX4564" fmla="*/ 7011807 w 12192528"/>
              <a:gd name="connsiteY4564" fmla="*/ 1277298 h 3912503"/>
              <a:gd name="connsiteX4565" fmla="*/ 6990206 w 12192528"/>
              <a:gd name="connsiteY4565" fmla="*/ 1266487 h 3912503"/>
              <a:gd name="connsiteX4566" fmla="*/ 6957804 w 12192528"/>
              <a:gd name="connsiteY4566" fmla="*/ 1226851 h 3912503"/>
              <a:gd name="connsiteX4567" fmla="*/ 6921802 w 12192528"/>
              <a:gd name="connsiteY4567" fmla="*/ 1205231 h 3912503"/>
              <a:gd name="connsiteX4568" fmla="*/ 6889398 w 12192528"/>
              <a:gd name="connsiteY4568" fmla="*/ 1161993 h 3912503"/>
              <a:gd name="connsiteX4569" fmla="*/ 6896598 w 12192528"/>
              <a:gd name="connsiteY4569" fmla="*/ 1154786 h 3912503"/>
              <a:gd name="connsiteX4570" fmla="*/ 6867795 w 12192528"/>
              <a:gd name="connsiteY4570" fmla="*/ 1129563 h 3912503"/>
              <a:gd name="connsiteX4571" fmla="*/ 6867795 w 12192528"/>
              <a:gd name="connsiteY4571" fmla="*/ 1133166 h 3912503"/>
              <a:gd name="connsiteX4572" fmla="*/ 6871396 w 12192528"/>
              <a:gd name="connsiteY4572" fmla="*/ 1136769 h 3912503"/>
              <a:gd name="connsiteX4573" fmla="*/ 6867795 w 12192528"/>
              <a:gd name="connsiteY4573" fmla="*/ 1136769 h 3912503"/>
              <a:gd name="connsiteX4574" fmla="*/ 6871396 w 12192528"/>
              <a:gd name="connsiteY4574" fmla="*/ 1147579 h 3912503"/>
              <a:gd name="connsiteX4575" fmla="*/ 6849795 w 12192528"/>
              <a:gd name="connsiteY4575" fmla="*/ 1129563 h 3912503"/>
              <a:gd name="connsiteX4576" fmla="*/ 6846193 w 12192528"/>
              <a:gd name="connsiteY4576" fmla="*/ 1129563 h 3912503"/>
              <a:gd name="connsiteX4577" fmla="*/ 6846193 w 12192528"/>
              <a:gd name="connsiteY4577" fmla="*/ 1125960 h 3912503"/>
              <a:gd name="connsiteX4578" fmla="*/ 6838994 w 12192528"/>
              <a:gd name="connsiteY4578" fmla="*/ 1122356 h 3912503"/>
              <a:gd name="connsiteX4579" fmla="*/ 6838994 w 12192528"/>
              <a:gd name="connsiteY4579" fmla="*/ 1118753 h 3912503"/>
              <a:gd name="connsiteX4580" fmla="*/ 6795790 w 12192528"/>
              <a:gd name="connsiteY4580" fmla="*/ 1093531 h 3912503"/>
              <a:gd name="connsiteX4581" fmla="*/ 6770588 w 12192528"/>
              <a:gd name="connsiteY4581" fmla="*/ 1061101 h 3912503"/>
              <a:gd name="connsiteX4582" fmla="*/ 6766986 w 12192528"/>
              <a:gd name="connsiteY4582" fmla="*/ 1057497 h 3912503"/>
              <a:gd name="connsiteX4583" fmla="*/ 6759786 w 12192528"/>
              <a:gd name="connsiteY4583" fmla="*/ 1050291 h 3912503"/>
              <a:gd name="connsiteX4584" fmla="*/ 6763386 w 12192528"/>
              <a:gd name="connsiteY4584" fmla="*/ 1050291 h 3912503"/>
              <a:gd name="connsiteX4585" fmla="*/ 6766987 w 12192528"/>
              <a:gd name="connsiteY4585" fmla="*/ 1053894 h 3912503"/>
              <a:gd name="connsiteX4586" fmla="*/ 6770588 w 12192528"/>
              <a:gd name="connsiteY4586" fmla="*/ 1053894 h 3912503"/>
              <a:gd name="connsiteX4587" fmla="*/ 6745385 w 12192528"/>
              <a:gd name="connsiteY4587" fmla="*/ 1039481 h 3912503"/>
              <a:gd name="connsiteX4588" fmla="*/ 6748983 w 12192528"/>
              <a:gd name="connsiteY4588" fmla="*/ 1043084 h 3912503"/>
              <a:gd name="connsiteX4589" fmla="*/ 6745385 w 12192528"/>
              <a:gd name="connsiteY4589" fmla="*/ 1043084 h 3912503"/>
              <a:gd name="connsiteX4590" fmla="*/ 6741784 w 12192528"/>
              <a:gd name="connsiteY4590" fmla="*/ 1043084 h 3912503"/>
              <a:gd name="connsiteX4591" fmla="*/ 6745385 w 12192528"/>
              <a:gd name="connsiteY4591" fmla="*/ 1050291 h 3912503"/>
              <a:gd name="connsiteX4592" fmla="*/ 6727382 w 12192528"/>
              <a:gd name="connsiteY4592" fmla="*/ 1032275 h 3912503"/>
              <a:gd name="connsiteX4593" fmla="*/ 6723785 w 12192528"/>
              <a:gd name="connsiteY4593" fmla="*/ 1028671 h 3912503"/>
              <a:gd name="connsiteX4594" fmla="*/ 6720182 w 12192528"/>
              <a:gd name="connsiteY4594" fmla="*/ 1025068 h 3912503"/>
              <a:gd name="connsiteX4595" fmla="*/ 6719746 w 12192528"/>
              <a:gd name="connsiteY4595" fmla="*/ 1025507 h 3912503"/>
              <a:gd name="connsiteX4596" fmla="*/ 6640974 w 12192528"/>
              <a:gd name="connsiteY4596" fmla="*/ 963812 h 3912503"/>
              <a:gd name="connsiteX4597" fmla="*/ 6637376 w 12192528"/>
              <a:gd name="connsiteY4597" fmla="*/ 960209 h 3912503"/>
              <a:gd name="connsiteX4598" fmla="*/ 6630173 w 12192528"/>
              <a:gd name="connsiteY4598" fmla="*/ 956607 h 3912503"/>
              <a:gd name="connsiteX4599" fmla="*/ 6633772 w 12192528"/>
              <a:gd name="connsiteY4599" fmla="*/ 956607 h 3912503"/>
              <a:gd name="connsiteX4600" fmla="*/ 6597771 w 12192528"/>
              <a:gd name="connsiteY4600" fmla="*/ 945797 h 3912503"/>
              <a:gd name="connsiteX4601" fmla="*/ 6604972 w 12192528"/>
              <a:gd name="connsiteY4601" fmla="*/ 949399 h 3912503"/>
              <a:gd name="connsiteX4602" fmla="*/ 6604972 w 12192528"/>
              <a:gd name="connsiteY4602" fmla="*/ 953002 h 3912503"/>
              <a:gd name="connsiteX4603" fmla="*/ 6597771 w 12192528"/>
              <a:gd name="connsiteY4603" fmla="*/ 949399 h 3912503"/>
              <a:gd name="connsiteX4604" fmla="*/ 6596462 w 12192528"/>
              <a:gd name="connsiteY4604" fmla="*/ 949399 h 3912503"/>
              <a:gd name="connsiteX4605" fmla="*/ 6594621 w 12192528"/>
              <a:gd name="connsiteY4605" fmla="*/ 948048 h 3912503"/>
              <a:gd name="connsiteX4606" fmla="*/ 6590570 w 12192528"/>
              <a:gd name="connsiteY4606" fmla="*/ 945797 h 3912503"/>
              <a:gd name="connsiteX4607" fmla="*/ 6594172 w 12192528"/>
              <a:gd name="connsiteY4607" fmla="*/ 949399 h 3912503"/>
              <a:gd name="connsiteX4608" fmla="*/ 6596462 w 12192528"/>
              <a:gd name="connsiteY4608" fmla="*/ 949399 h 3912503"/>
              <a:gd name="connsiteX4609" fmla="*/ 6601371 w 12192528"/>
              <a:gd name="connsiteY4609" fmla="*/ 953002 h 3912503"/>
              <a:gd name="connsiteX4610" fmla="*/ 6457358 w 12192528"/>
              <a:gd name="connsiteY4610" fmla="*/ 880937 h 3912503"/>
              <a:gd name="connsiteX4611" fmla="*/ 6439357 w 12192528"/>
              <a:gd name="connsiteY4611" fmla="*/ 866524 h 3912503"/>
              <a:gd name="connsiteX4612" fmla="*/ 6432157 w 12192528"/>
              <a:gd name="connsiteY4612" fmla="*/ 870127 h 3912503"/>
              <a:gd name="connsiteX4613" fmla="*/ 6428556 w 12192528"/>
              <a:gd name="connsiteY4613" fmla="*/ 866524 h 3912503"/>
              <a:gd name="connsiteX4614" fmla="*/ 6421355 w 12192528"/>
              <a:gd name="connsiteY4614" fmla="*/ 862922 h 3912503"/>
              <a:gd name="connsiteX4615" fmla="*/ 6360150 w 12192528"/>
              <a:gd name="connsiteY4615" fmla="*/ 826889 h 3912503"/>
              <a:gd name="connsiteX4616" fmla="*/ 6363751 w 12192528"/>
              <a:gd name="connsiteY4616" fmla="*/ 830492 h 3912503"/>
              <a:gd name="connsiteX4617" fmla="*/ 6360149 w 12192528"/>
              <a:gd name="connsiteY4617" fmla="*/ 834095 h 3912503"/>
              <a:gd name="connsiteX4618" fmla="*/ 6356551 w 12192528"/>
              <a:gd name="connsiteY4618" fmla="*/ 830493 h 3912503"/>
              <a:gd name="connsiteX4619" fmla="*/ 6352949 w 12192528"/>
              <a:gd name="connsiteY4619" fmla="*/ 830492 h 3912503"/>
              <a:gd name="connsiteX4620" fmla="*/ 6316047 w 12192528"/>
              <a:gd name="connsiteY4620" fmla="*/ 818331 h 3912503"/>
              <a:gd name="connsiteX4621" fmla="*/ 6310544 w 12192528"/>
              <a:gd name="connsiteY4621" fmla="*/ 812943 h 3912503"/>
              <a:gd name="connsiteX4622" fmla="*/ 6309341 w 12192528"/>
              <a:gd name="connsiteY4622" fmla="*/ 813999 h 3912503"/>
              <a:gd name="connsiteX4623" fmla="*/ 6306727 w 12192528"/>
              <a:gd name="connsiteY4623" fmla="*/ 814935 h 3912503"/>
              <a:gd name="connsiteX4624" fmla="*/ 6305159 w 12192528"/>
              <a:gd name="connsiteY4624" fmla="*/ 812605 h 3912503"/>
              <a:gd name="connsiteX4625" fmla="*/ 6304635 w 12192528"/>
              <a:gd name="connsiteY4625" fmla="*/ 810515 h 3912503"/>
              <a:gd name="connsiteX4626" fmla="*/ 6303065 w 12192528"/>
              <a:gd name="connsiteY4626" fmla="*/ 808076 h 3912503"/>
              <a:gd name="connsiteX4627" fmla="*/ 6300800 w 12192528"/>
              <a:gd name="connsiteY4627" fmla="*/ 809644 h 3912503"/>
              <a:gd name="connsiteX4628" fmla="*/ 6295574 w 12192528"/>
              <a:gd name="connsiteY4628" fmla="*/ 808774 h 3912503"/>
              <a:gd name="connsiteX4629" fmla="*/ 6294527 w 12192528"/>
              <a:gd name="connsiteY4629" fmla="*/ 806508 h 3912503"/>
              <a:gd name="connsiteX4630" fmla="*/ 6291390 w 12192528"/>
              <a:gd name="connsiteY4630" fmla="*/ 805289 h 3912503"/>
              <a:gd name="connsiteX4631" fmla="*/ 6290170 w 12192528"/>
              <a:gd name="connsiteY4631" fmla="*/ 808251 h 3912503"/>
              <a:gd name="connsiteX4632" fmla="*/ 6290462 w 12192528"/>
              <a:gd name="connsiteY4632" fmla="*/ 810886 h 3912503"/>
              <a:gd name="connsiteX4633" fmla="*/ 6276844 w 12192528"/>
              <a:gd name="connsiteY4633" fmla="*/ 797338 h 3912503"/>
              <a:gd name="connsiteX4634" fmla="*/ 6277624 w 12192528"/>
              <a:gd name="connsiteY4634" fmla="*/ 796232 h 3912503"/>
              <a:gd name="connsiteX4635" fmla="*/ 6276056 w 12192528"/>
              <a:gd name="connsiteY4635" fmla="*/ 792923 h 3912503"/>
              <a:gd name="connsiteX4636" fmla="*/ 6272917 w 12192528"/>
              <a:gd name="connsiteY4636" fmla="*/ 791529 h 3912503"/>
              <a:gd name="connsiteX4637" fmla="*/ 6272760 w 12192528"/>
              <a:gd name="connsiteY4637" fmla="*/ 791213 h 3912503"/>
              <a:gd name="connsiteX4638" fmla="*/ 6250789 w 12192528"/>
              <a:gd name="connsiteY4638" fmla="*/ 784550 h 3912503"/>
              <a:gd name="connsiteX4639" fmla="*/ 6208935 w 12192528"/>
              <a:gd name="connsiteY4639" fmla="*/ 765633 h 3912503"/>
              <a:gd name="connsiteX4640" fmla="*/ 6242689 w 12192528"/>
              <a:gd name="connsiteY4640" fmla="*/ 771938 h 3912503"/>
              <a:gd name="connsiteX4641" fmla="*/ 6266377 w 12192528"/>
              <a:gd name="connsiteY4641" fmla="*/ 778566 h 3912503"/>
              <a:gd name="connsiteX4642" fmla="*/ 6264029 w 12192528"/>
              <a:gd name="connsiteY4642" fmla="*/ 773935 h 3912503"/>
              <a:gd name="connsiteX4643" fmla="*/ 6261589 w 12192528"/>
              <a:gd name="connsiteY4643" fmla="*/ 772020 h 3912503"/>
              <a:gd name="connsiteX4644" fmla="*/ 6264902 w 12192528"/>
              <a:gd name="connsiteY4644" fmla="*/ 769930 h 3912503"/>
              <a:gd name="connsiteX4645" fmla="*/ 6265423 w 12192528"/>
              <a:gd name="connsiteY4645" fmla="*/ 769930 h 3912503"/>
              <a:gd name="connsiteX4646" fmla="*/ 6268733 w 12192528"/>
              <a:gd name="connsiteY4646" fmla="*/ 764008 h 3912503"/>
              <a:gd name="connsiteX4647" fmla="*/ 6269085 w 12192528"/>
              <a:gd name="connsiteY4647" fmla="*/ 755820 h 3912503"/>
              <a:gd name="connsiteX4648" fmla="*/ 6272045 w 12192528"/>
              <a:gd name="connsiteY4648" fmla="*/ 744324 h 3912503"/>
              <a:gd name="connsiteX4649" fmla="*/ 6274660 w 12192528"/>
              <a:gd name="connsiteY4649" fmla="*/ 741188 h 3912503"/>
              <a:gd name="connsiteX4650" fmla="*/ 6281805 w 12192528"/>
              <a:gd name="connsiteY4650" fmla="*/ 732131 h 3912503"/>
              <a:gd name="connsiteX4651" fmla="*/ 6285989 w 12192528"/>
              <a:gd name="connsiteY4651" fmla="*/ 730563 h 3912503"/>
              <a:gd name="connsiteX4652" fmla="*/ 6303242 w 12192528"/>
              <a:gd name="connsiteY4652" fmla="*/ 725511 h 3912503"/>
              <a:gd name="connsiteX4653" fmla="*/ 6303242 w 12192528"/>
              <a:gd name="connsiteY4653" fmla="*/ 721680 h 3912503"/>
              <a:gd name="connsiteX4654" fmla="*/ 6298709 w 12192528"/>
              <a:gd name="connsiteY4654" fmla="*/ 721157 h 3912503"/>
              <a:gd name="connsiteX4655" fmla="*/ 6295574 w 12192528"/>
              <a:gd name="connsiteY4655" fmla="*/ 723247 h 3912503"/>
              <a:gd name="connsiteX4656" fmla="*/ 6292608 w 12192528"/>
              <a:gd name="connsiteY4656" fmla="*/ 723596 h 3912503"/>
              <a:gd name="connsiteX4657" fmla="*/ 6293131 w 12192528"/>
              <a:gd name="connsiteY4657" fmla="*/ 720461 h 3912503"/>
              <a:gd name="connsiteX4658" fmla="*/ 6295574 w 12192528"/>
              <a:gd name="connsiteY4658" fmla="*/ 718195 h 3912503"/>
              <a:gd name="connsiteX4659" fmla="*/ 6296444 w 12192528"/>
              <a:gd name="connsiteY4659" fmla="*/ 712796 h 3912503"/>
              <a:gd name="connsiteX4660" fmla="*/ 6291738 w 12192528"/>
              <a:gd name="connsiteY4660" fmla="*/ 713841 h 3912503"/>
              <a:gd name="connsiteX4661" fmla="*/ 6288080 w 12192528"/>
              <a:gd name="connsiteY4661" fmla="*/ 716803 h 3912503"/>
              <a:gd name="connsiteX4662" fmla="*/ 6284594 w 12192528"/>
              <a:gd name="connsiteY4662" fmla="*/ 714537 h 3912503"/>
              <a:gd name="connsiteX4663" fmla="*/ 6288427 w 12192528"/>
              <a:gd name="connsiteY4663" fmla="*/ 704610 h 3912503"/>
              <a:gd name="connsiteX4664" fmla="*/ 6288427 w 12192528"/>
              <a:gd name="connsiteY4664" fmla="*/ 695029 h 3912503"/>
              <a:gd name="connsiteX4665" fmla="*/ 6284943 w 12192528"/>
              <a:gd name="connsiteY4665" fmla="*/ 691197 h 3912503"/>
              <a:gd name="connsiteX4666" fmla="*/ 6283898 w 12192528"/>
              <a:gd name="connsiteY4666" fmla="*/ 689280 h 3912503"/>
              <a:gd name="connsiteX4667" fmla="*/ 6285815 w 12192528"/>
              <a:gd name="connsiteY4667" fmla="*/ 688235 h 3912503"/>
              <a:gd name="connsiteX4668" fmla="*/ 6289475 w 12192528"/>
              <a:gd name="connsiteY4668" fmla="*/ 684752 h 3912503"/>
              <a:gd name="connsiteX4669" fmla="*/ 6294004 w 12192528"/>
              <a:gd name="connsiteY4669" fmla="*/ 676914 h 3912503"/>
              <a:gd name="connsiteX4670" fmla="*/ 6294179 w 12192528"/>
              <a:gd name="connsiteY4670" fmla="*/ 672733 h 3912503"/>
              <a:gd name="connsiteX4671" fmla="*/ 6292785 w 12192528"/>
              <a:gd name="connsiteY4671" fmla="*/ 669946 h 3912503"/>
              <a:gd name="connsiteX4672" fmla="*/ 6295747 w 12192528"/>
              <a:gd name="connsiteY4672" fmla="*/ 668030 h 3912503"/>
              <a:gd name="connsiteX4673" fmla="*/ 6298187 w 12192528"/>
              <a:gd name="connsiteY4673" fmla="*/ 667681 h 3912503"/>
              <a:gd name="connsiteX4674" fmla="*/ 6301149 w 12192528"/>
              <a:gd name="connsiteY4674" fmla="*/ 660540 h 3912503"/>
              <a:gd name="connsiteX4675" fmla="*/ 6300278 w 12192528"/>
              <a:gd name="connsiteY4675" fmla="*/ 659146 h 3912503"/>
              <a:gd name="connsiteX4676" fmla="*/ 6300451 w 12192528"/>
              <a:gd name="connsiteY4676" fmla="*/ 656011 h 3912503"/>
              <a:gd name="connsiteX4677" fmla="*/ 6303242 w 12192528"/>
              <a:gd name="connsiteY4677" fmla="*/ 656707 h 3912503"/>
              <a:gd name="connsiteX4678" fmla="*/ 6304984 w 12192528"/>
              <a:gd name="connsiteY4678" fmla="*/ 658973 h 3912503"/>
              <a:gd name="connsiteX4679" fmla="*/ 6308469 w 12192528"/>
              <a:gd name="connsiteY4679" fmla="*/ 659495 h 3912503"/>
              <a:gd name="connsiteX4680" fmla="*/ 6319100 w 12192528"/>
              <a:gd name="connsiteY4680" fmla="*/ 656707 h 3912503"/>
              <a:gd name="connsiteX4681" fmla="*/ 6332346 w 12192528"/>
              <a:gd name="connsiteY4681" fmla="*/ 655837 h 3912503"/>
              <a:gd name="connsiteX4682" fmla="*/ 6335484 w 12192528"/>
              <a:gd name="connsiteY4682" fmla="*/ 657405 h 3912503"/>
              <a:gd name="connsiteX4683" fmla="*/ 6344544 w 12192528"/>
              <a:gd name="connsiteY4683" fmla="*/ 661585 h 3912503"/>
              <a:gd name="connsiteX4684" fmla="*/ 6346287 w 12192528"/>
              <a:gd name="connsiteY4684" fmla="*/ 662804 h 3912503"/>
              <a:gd name="connsiteX4685" fmla="*/ 6353955 w 12192528"/>
              <a:gd name="connsiteY4685" fmla="*/ 672037 h 3912503"/>
              <a:gd name="connsiteX4686" fmla="*/ 6358662 w 12192528"/>
              <a:gd name="connsiteY4686" fmla="*/ 687713 h 3912503"/>
              <a:gd name="connsiteX4687" fmla="*/ 6360927 w 12192528"/>
              <a:gd name="connsiteY4687" fmla="*/ 693113 h 3912503"/>
              <a:gd name="connsiteX4688" fmla="*/ 6360403 w 12192528"/>
              <a:gd name="connsiteY4688" fmla="*/ 700777 h 3912503"/>
              <a:gd name="connsiteX4689" fmla="*/ 6359706 w 12192528"/>
              <a:gd name="connsiteY4689" fmla="*/ 707223 h 3912503"/>
              <a:gd name="connsiteX4690" fmla="*/ 6359880 w 12192528"/>
              <a:gd name="connsiteY4690" fmla="*/ 709834 h 3912503"/>
              <a:gd name="connsiteX4691" fmla="*/ 6349597 w 12192528"/>
              <a:gd name="connsiteY4691" fmla="*/ 721680 h 3912503"/>
              <a:gd name="connsiteX4692" fmla="*/ 6339838 w 12192528"/>
              <a:gd name="connsiteY4692" fmla="*/ 727428 h 3912503"/>
              <a:gd name="connsiteX4693" fmla="*/ 6332518 w 12192528"/>
              <a:gd name="connsiteY4693" fmla="*/ 737008 h 3912503"/>
              <a:gd name="connsiteX4694" fmla="*/ 6333566 w 12192528"/>
              <a:gd name="connsiteY4694" fmla="*/ 738924 h 3912503"/>
              <a:gd name="connsiteX4695" fmla="*/ 6343847 w 12192528"/>
              <a:gd name="connsiteY4695" fmla="*/ 751117 h 3912503"/>
              <a:gd name="connsiteX4696" fmla="*/ 6345241 w 12192528"/>
              <a:gd name="connsiteY4696" fmla="*/ 753904 h 3912503"/>
              <a:gd name="connsiteX4697" fmla="*/ 6346636 w 12192528"/>
              <a:gd name="connsiteY4697" fmla="*/ 762614 h 3912503"/>
              <a:gd name="connsiteX4698" fmla="*/ 6349076 w 12192528"/>
              <a:gd name="connsiteY4698" fmla="*/ 772716 h 3912503"/>
              <a:gd name="connsiteX4699" fmla="*/ 6348902 w 12192528"/>
              <a:gd name="connsiteY4699" fmla="*/ 776897 h 3912503"/>
              <a:gd name="connsiteX4700" fmla="*/ 6339665 w 12192528"/>
              <a:gd name="connsiteY4700" fmla="*/ 799367 h 3912503"/>
              <a:gd name="connsiteX4701" fmla="*/ 6337921 w 12192528"/>
              <a:gd name="connsiteY4701" fmla="*/ 800761 h 3912503"/>
              <a:gd name="connsiteX4702" fmla="*/ 6327385 w 12192528"/>
              <a:gd name="connsiteY4702" fmla="*/ 805767 h 3912503"/>
              <a:gd name="connsiteX4703" fmla="*/ 6338547 w 12192528"/>
              <a:gd name="connsiteY4703" fmla="*/ 816079 h 3912503"/>
              <a:gd name="connsiteX4704" fmla="*/ 6342149 w 12192528"/>
              <a:gd name="connsiteY4704" fmla="*/ 812475 h 3912503"/>
              <a:gd name="connsiteX4705" fmla="*/ 6352949 w 12192528"/>
              <a:gd name="connsiteY4705" fmla="*/ 819682 h 3912503"/>
              <a:gd name="connsiteX4706" fmla="*/ 6356549 w 12192528"/>
              <a:gd name="connsiteY4706" fmla="*/ 823285 h 3912503"/>
              <a:gd name="connsiteX4707" fmla="*/ 6356551 w 12192528"/>
              <a:gd name="connsiteY4707" fmla="*/ 819683 h 3912503"/>
              <a:gd name="connsiteX4708" fmla="*/ 6410555 w 12192528"/>
              <a:gd name="connsiteY4708" fmla="*/ 841303 h 3912503"/>
              <a:gd name="connsiteX4709" fmla="*/ 6414155 w 12192528"/>
              <a:gd name="connsiteY4709" fmla="*/ 841302 h 3912503"/>
              <a:gd name="connsiteX4710" fmla="*/ 6417757 w 12192528"/>
              <a:gd name="connsiteY4710" fmla="*/ 841302 h 3912503"/>
              <a:gd name="connsiteX4711" fmla="*/ 6421355 w 12192528"/>
              <a:gd name="connsiteY4711" fmla="*/ 841302 h 3912503"/>
              <a:gd name="connsiteX4712" fmla="*/ 6421355 w 12192528"/>
              <a:gd name="connsiteY4712" fmla="*/ 844904 h 3912503"/>
              <a:gd name="connsiteX4713" fmla="*/ 6424958 w 12192528"/>
              <a:gd name="connsiteY4713" fmla="*/ 841302 h 3912503"/>
              <a:gd name="connsiteX4714" fmla="*/ 6453761 w 12192528"/>
              <a:gd name="connsiteY4714" fmla="*/ 848508 h 3912503"/>
              <a:gd name="connsiteX4715" fmla="*/ 6442960 w 12192528"/>
              <a:gd name="connsiteY4715" fmla="*/ 830492 h 3912503"/>
              <a:gd name="connsiteX4716" fmla="*/ 6450159 w 12192528"/>
              <a:gd name="connsiteY4716" fmla="*/ 832294 h 3912503"/>
              <a:gd name="connsiteX4717" fmla="*/ 6453760 w 12192528"/>
              <a:gd name="connsiteY4717" fmla="*/ 833194 h 3912503"/>
              <a:gd name="connsiteX4718" fmla="*/ 6453761 w 12192528"/>
              <a:gd name="connsiteY4718" fmla="*/ 834095 h 3912503"/>
              <a:gd name="connsiteX4719" fmla="*/ 6457356 w 12192528"/>
              <a:gd name="connsiteY4719" fmla="*/ 834095 h 3912503"/>
              <a:gd name="connsiteX4720" fmla="*/ 6453760 w 12192528"/>
              <a:gd name="connsiteY4720" fmla="*/ 833194 h 3912503"/>
              <a:gd name="connsiteX4721" fmla="*/ 6453760 w 12192528"/>
              <a:gd name="connsiteY4721" fmla="*/ 830492 h 3912503"/>
              <a:gd name="connsiteX4722" fmla="*/ 6457358 w 12192528"/>
              <a:gd name="connsiteY4722" fmla="*/ 830492 h 3912503"/>
              <a:gd name="connsiteX4723" fmla="*/ 6460959 w 12192528"/>
              <a:gd name="connsiteY4723" fmla="*/ 830492 h 3912503"/>
              <a:gd name="connsiteX4724" fmla="*/ 6478961 w 12192528"/>
              <a:gd name="connsiteY4724" fmla="*/ 841302 h 3912503"/>
              <a:gd name="connsiteX4725" fmla="*/ 6482560 w 12192528"/>
              <a:gd name="connsiteY4725" fmla="*/ 844904 h 3912503"/>
              <a:gd name="connsiteX4726" fmla="*/ 6489761 w 12192528"/>
              <a:gd name="connsiteY4726" fmla="*/ 848508 h 3912503"/>
              <a:gd name="connsiteX4727" fmla="*/ 6493362 w 12192528"/>
              <a:gd name="connsiteY4727" fmla="*/ 852112 h 3912503"/>
              <a:gd name="connsiteX4728" fmla="*/ 6486162 w 12192528"/>
              <a:gd name="connsiteY4728" fmla="*/ 848508 h 3912503"/>
              <a:gd name="connsiteX4729" fmla="*/ 6478959 w 12192528"/>
              <a:gd name="connsiteY4729" fmla="*/ 844904 h 3912503"/>
              <a:gd name="connsiteX4730" fmla="*/ 6496963 w 12192528"/>
              <a:gd name="connsiteY4730" fmla="*/ 862921 h 3912503"/>
              <a:gd name="connsiteX4731" fmla="*/ 6486164 w 12192528"/>
              <a:gd name="connsiteY4731" fmla="*/ 873731 h 3912503"/>
              <a:gd name="connsiteX4732" fmla="*/ 6633774 w 12192528"/>
              <a:gd name="connsiteY4732" fmla="*/ 953002 h 3912503"/>
              <a:gd name="connsiteX4733" fmla="*/ 6640974 w 12192528"/>
              <a:gd name="connsiteY4733" fmla="*/ 956607 h 3912503"/>
              <a:gd name="connsiteX4734" fmla="*/ 6644573 w 12192528"/>
              <a:gd name="connsiteY4734" fmla="*/ 960209 h 3912503"/>
              <a:gd name="connsiteX4735" fmla="*/ 6702181 w 12192528"/>
              <a:gd name="connsiteY4735" fmla="*/ 996241 h 3912503"/>
              <a:gd name="connsiteX4736" fmla="*/ 6774188 w 12192528"/>
              <a:gd name="connsiteY4736" fmla="*/ 1039481 h 3912503"/>
              <a:gd name="connsiteX4737" fmla="*/ 6842593 w 12192528"/>
              <a:gd name="connsiteY4737" fmla="*/ 1093530 h 3912503"/>
              <a:gd name="connsiteX4738" fmla="*/ 6943402 w 12192528"/>
              <a:gd name="connsiteY4738" fmla="*/ 1172803 h 3912503"/>
              <a:gd name="connsiteX4739" fmla="*/ 6948504 w 12192528"/>
              <a:gd name="connsiteY4739" fmla="*/ 1177734 h 3912503"/>
              <a:gd name="connsiteX4740" fmla="*/ 6951854 w 12192528"/>
              <a:gd name="connsiteY4740" fmla="*/ 1167214 h 3912503"/>
              <a:gd name="connsiteX4741" fmla="*/ 6956495 w 12192528"/>
              <a:gd name="connsiteY4741" fmla="*/ 1161040 h 3912503"/>
              <a:gd name="connsiteX4742" fmla="*/ 6963833 w 12192528"/>
              <a:gd name="connsiteY4742" fmla="*/ 1154866 h 3912503"/>
              <a:gd name="connsiteX4743" fmla="*/ 6970403 w 12192528"/>
              <a:gd name="connsiteY4743" fmla="*/ 1151393 h 3912503"/>
              <a:gd name="connsiteX4744" fmla="*/ 6994748 w 12192528"/>
              <a:gd name="connsiteY4744" fmla="*/ 1145991 h 3912503"/>
              <a:gd name="connsiteX4745" fmla="*/ 7007110 w 12192528"/>
              <a:gd name="connsiteY4745" fmla="*/ 1146377 h 3912503"/>
              <a:gd name="connsiteX4746" fmla="*/ 7026426 w 12192528"/>
              <a:gd name="connsiteY4746" fmla="*/ 1161425 h 3912503"/>
              <a:gd name="connsiteX4747" fmla="*/ 7027586 w 12192528"/>
              <a:gd name="connsiteY4747" fmla="*/ 1170687 h 3912503"/>
              <a:gd name="connsiteX4748" fmla="*/ 7027973 w 12192528"/>
              <a:gd name="connsiteY4748" fmla="*/ 1174545 h 3912503"/>
              <a:gd name="connsiteX4749" fmla="*/ 7029903 w 12192528"/>
              <a:gd name="connsiteY4749" fmla="*/ 1184964 h 3912503"/>
              <a:gd name="connsiteX4750" fmla="*/ 7031062 w 12192528"/>
              <a:gd name="connsiteY4750" fmla="*/ 1189981 h 3912503"/>
              <a:gd name="connsiteX4751" fmla="*/ 7030677 w 12192528"/>
              <a:gd name="connsiteY4751" fmla="*/ 1196541 h 3912503"/>
              <a:gd name="connsiteX4752" fmla="*/ 7027973 w 12192528"/>
              <a:gd name="connsiteY4752" fmla="*/ 1203101 h 3912503"/>
              <a:gd name="connsiteX4753" fmla="*/ 7019470 w 12192528"/>
              <a:gd name="connsiteY4753" fmla="*/ 1218922 h 3912503"/>
              <a:gd name="connsiteX4754" fmla="*/ 6997569 w 12192528"/>
              <a:gd name="connsiteY4754" fmla="*/ 1232784 h 3912503"/>
              <a:gd name="connsiteX4755" fmla="*/ 7008208 w 12192528"/>
              <a:gd name="connsiteY4755" fmla="*/ 1248471 h 3912503"/>
              <a:gd name="connsiteX4756" fmla="*/ 6997405 w 12192528"/>
              <a:gd name="connsiteY4756" fmla="*/ 1237661 h 3912503"/>
              <a:gd name="connsiteX4757" fmla="*/ 7001005 w 12192528"/>
              <a:gd name="connsiteY4757" fmla="*/ 1244867 h 3912503"/>
              <a:gd name="connsiteX4758" fmla="*/ 7004609 w 12192528"/>
              <a:gd name="connsiteY4758" fmla="*/ 1248471 h 3912503"/>
              <a:gd name="connsiteX4759" fmla="*/ 6997406 w 12192528"/>
              <a:gd name="connsiteY4759" fmla="*/ 1244867 h 3912503"/>
              <a:gd name="connsiteX4760" fmla="*/ 6993807 w 12192528"/>
              <a:gd name="connsiteY4760" fmla="*/ 1244867 h 3912503"/>
              <a:gd name="connsiteX4761" fmla="*/ 7076615 w 12192528"/>
              <a:gd name="connsiteY4761" fmla="*/ 1320535 h 3912503"/>
              <a:gd name="connsiteX4762" fmla="*/ 7104966 w 12192528"/>
              <a:gd name="connsiteY4762" fmla="*/ 1362874 h 3912503"/>
              <a:gd name="connsiteX4763" fmla="*/ 7133764 w 12192528"/>
              <a:gd name="connsiteY4763" fmla="*/ 1400593 h 3912503"/>
              <a:gd name="connsiteX4764" fmla="*/ 7148176 w 12192528"/>
              <a:gd name="connsiteY4764" fmla="*/ 1392974 h 3912503"/>
              <a:gd name="connsiteX4765" fmla="*/ 7216664 w 12192528"/>
              <a:gd name="connsiteY4765" fmla="*/ 1377774 h 3912503"/>
              <a:gd name="connsiteX4766" fmla="*/ 7251450 w 12192528"/>
              <a:gd name="connsiteY4766" fmla="*/ 1378861 h 3912503"/>
              <a:gd name="connsiteX4767" fmla="*/ 7305807 w 12192528"/>
              <a:gd name="connsiteY4767" fmla="*/ 1421204 h 3912503"/>
              <a:gd name="connsiteX4768" fmla="*/ 7309068 w 12192528"/>
              <a:gd name="connsiteY4768" fmla="*/ 1447261 h 3912503"/>
              <a:gd name="connsiteX4769" fmla="*/ 7309326 w 12192528"/>
              <a:gd name="connsiteY4769" fmla="*/ 1449835 h 3912503"/>
              <a:gd name="connsiteX4770" fmla="*/ 7350188 w 12192528"/>
              <a:gd name="connsiteY4770" fmla="*/ 1406717 h 3912503"/>
              <a:gd name="connsiteX4771" fmla="*/ 7498986 w 12192528"/>
              <a:gd name="connsiteY4771" fmla="*/ 1279882 h 3912503"/>
              <a:gd name="connsiteX4772" fmla="*/ 7534700 w 12192528"/>
              <a:gd name="connsiteY4772" fmla="*/ 1257005 h 3912503"/>
              <a:gd name="connsiteX4773" fmla="*/ 7527867 w 12192528"/>
              <a:gd name="connsiteY4773" fmla="*/ 1250208 h 3912503"/>
              <a:gd name="connsiteX4774" fmla="*/ 7528782 w 12192528"/>
              <a:gd name="connsiteY4774" fmla="*/ 1248911 h 3912503"/>
              <a:gd name="connsiteX4775" fmla="*/ 7526944 w 12192528"/>
              <a:gd name="connsiteY4775" fmla="*/ 1245027 h 3912503"/>
              <a:gd name="connsiteX4776" fmla="*/ 7523274 w 12192528"/>
              <a:gd name="connsiteY4776" fmla="*/ 1243392 h 3912503"/>
              <a:gd name="connsiteX4777" fmla="*/ 7520810 w 12192528"/>
              <a:gd name="connsiteY4777" fmla="*/ 1238486 h 3912503"/>
              <a:gd name="connsiteX4778" fmla="*/ 7512842 w 12192528"/>
              <a:gd name="connsiteY4778" fmla="*/ 1222749 h 3912503"/>
              <a:gd name="connsiteX4779" fmla="*/ 7509977 w 12192528"/>
              <a:gd name="connsiteY4779" fmla="*/ 1220502 h 3912503"/>
              <a:gd name="connsiteX4780" fmla="*/ 7513857 w 12192528"/>
              <a:gd name="connsiteY4780" fmla="*/ 1218048 h 3912503"/>
              <a:gd name="connsiteX4781" fmla="*/ 7514485 w 12192528"/>
              <a:gd name="connsiteY4781" fmla="*/ 1218048 h 3912503"/>
              <a:gd name="connsiteX4782" fmla="*/ 7518364 w 12192528"/>
              <a:gd name="connsiteY4782" fmla="*/ 1211100 h 3912503"/>
              <a:gd name="connsiteX4783" fmla="*/ 7518766 w 12192528"/>
              <a:gd name="connsiteY4783" fmla="*/ 1201495 h 3912503"/>
              <a:gd name="connsiteX4784" fmla="*/ 7522241 w 12192528"/>
              <a:gd name="connsiteY4784" fmla="*/ 1188005 h 3912503"/>
              <a:gd name="connsiteX4785" fmla="*/ 7525310 w 12192528"/>
              <a:gd name="connsiteY4785" fmla="*/ 1184326 h 3912503"/>
              <a:gd name="connsiteX4786" fmla="*/ 7533699 w 12192528"/>
              <a:gd name="connsiteY4786" fmla="*/ 1173699 h 3912503"/>
              <a:gd name="connsiteX4787" fmla="*/ 7538609 w 12192528"/>
              <a:gd name="connsiteY4787" fmla="*/ 1171859 h 3912503"/>
              <a:gd name="connsiteX4788" fmla="*/ 7558845 w 12192528"/>
              <a:gd name="connsiteY4788" fmla="*/ 1165933 h 3912503"/>
              <a:gd name="connsiteX4789" fmla="*/ 7558845 w 12192528"/>
              <a:gd name="connsiteY4789" fmla="*/ 1161436 h 3912503"/>
              <a:gd name="connsiteX4790" fmla="*/ 7553535 w 12192528"/>
              <a:gd name="connsiteY4790" fmla="*/ 1160823 h 3912503"/>
              <a:gd name="connsiteX4791" fmla="*/ 7549843 w 12192528"/>
              <a:gd name="connsiteY4791" fmla="*/ 1163276 h 3912503"/>
              <a:gd name="connsiteX4792" fmla="*/ 7546376 w 12192528"/>
              <a:gd name="connsiteY4792" fmla="*/ 1163684 h 3912503"/>
              <a:gd name="connsiteX4793" fmla="*/ 7546988 w 12192528"/>
              <a:gd name="connsiteY4793" fmla="*/ 1160005 h 3912503"/>
              <a:gd name="connsiteX4794" fmla="*/ 7549843 w 12192528"/>
              <a:gd name="connsiteY4794" fmla="*/ 1157348 h 3912503"/>
              <a:gd name="connsiteX4795" fmla="*/ 7550877 w 12192528"/>
              <a:gd name="connsiteY4795" fmla="*/ 1151013 h 3912503"/>
              <a:gd name="connsiteX4796" fmla="*/ 7545341 w 12192528"/>
              <a:gd name="connsiteY4796" fmla="*/ 1152239 h 3912503"/>
              <a:gd name="connsiteX4797" fmla="*/ 7541048 w 12192528"/>
              <a:gd name="connsiteY4797" fmla="*/ 1155713 h 3912503"/>
              <a:gd name="connsiteX4798" fmla="*/ 7536967 w 12192528"/>
              <a:gd name="connsiteY4798" fmla="*/ 1153056 h 3912503"/>
              <a:gd name="connsiteX4799" fmla="*/ 7541460 w 12192528"/>
              <a:gd name="connsiteY4799" fmla="*/ 1141407 h 3912503"/>
              <a:gd name="connsiteX4800" fmla="*/ 7541460 w 12192528"/>
              <a:gd name="connsiteY4800" fmla="*/ 1130166 h 3912503"/>
              <a:gd name="connsiteX4801" fmla="*/ 7537376 w 12192528"/>
              <a:gd name="connsiteY4801" fmla="*/ 1125670 h 3912503"/>
              <a:gd name="connsiteX4802" fmla="*/ 7536141 w 12192528"/>
              <a:gd name="connsiteY4802" fmla="*/ 1123422 h 3912503"/>
              <a:gd name="connsiteX4803" fmla="*/ 7538392 w 12192528"/>
              <a:gd name="connsiteY4803" fmla="*/ 1122195 h 3912503"/>
              <a:gd name="connsiteX4804" fmla="*/ 7542687 w 12192528"/>
              <a:gd name="connsiteY4804" fmla="*/ 1118108 h 3912503"/>
              <a:gd name="connsiteX4805" fmla="*/ 7548005 w 12192528"/>
              <a:gd name="connsiteY4805" fmla="*/ 1108910 h 3912503"/>
              <a:gd name="connsiteX4806" fmla="*/ 7548220 w 12192528"/>
              <a:gd name="connsiteY4806" fmla="*/ 1104006 h 3912503"/>
              <a:gd name="connsiteX4807" fmla="*/ 7546575 w 12192528"/>
              <a:gd name="connsiteY4807" fmla="*/ 1100736 h 3912503"/>
              <a:gd name="connsiteX4808" fmla="*/ 7550056 w 12192528"/>
              <a:gd name="connsiteY4808" fmla="*/ 1098487 h 3912503"/>
              <a:gd name="connsiteX4809" fmla="*/ 7552912 w 12192528"/>
              <a:gd name="connsiteY4809" fmla="*/ 1098079 h 3912503"/>
              <a:gd name="connsiteX4810" fmla="*/ 7556386 w 12192528"/>
              <a:gd name="connsiteY4810" fmla="*/ 1089699 h 3912503"/>
              <a:gd name="connsiteX4811" fmla="*/ 7555366 w 12192528"/>
              <a:gd name="connsiteY4811" fmla="*/ 1088064 h 3912503"/>
              <a:gd name="connsiteX4812" fmla="*/ 7555570 w 12192528"/>
              <a:gd name="connsiteY4812" fmla="*/ 1084386 h 3912503"/>
              <a:gd name="connsiteX4813" fmla="*/ 7558845 w 12192528"/>
              <a:gd name="connsiteY4813" fmla="*/ 1085203 h 3912503"/>
              <a:gd name="connsiteX4814" fmla="*/ 7560900 w 12192528"/>
              <a:gd name="connsiteY4814" fmla="*/ 1087860 h 3912503"/>
              <a:gd name="connsiteX4815" fmla="*/ 7564981 w 12192528"/>
              <a:gd name="connsiteY4815" fmla="*/ 1088473 h 3912503"/>
              <a:gd name="connsiteX4816" fmla="*/ 7577466 w 12192528"/>
              <a:gd name="connsiteY4816" fmla="*/ 1085203 h 3912503"/>
              <a:gd name="connsiteX4817" fmla="*/ 7592997 w 12192528"/>
              <a:gd name="connsiteY4817" fmla="*/ 1084181 h 3912503"/>
              <a:gd name="connsiteX4818" fmla="*/ 7596671 w 12192528"/>
              <a:gd name="connsiteY4818" fmla="*/ 1086020 h 3912503"/>
              <a:gd name="connsiteX4819" fmla="*/ 7607318 w 12192528"/>
              <a:gd name="connsiteY4819" fmla="*/ 1090925 h 3912503"/>
              <a:gd name="connsiteX4820" fmla="*/ 7609352 w 12192528"/>
              <a:gd name="connsiteY4820" fmla="*/ 1092357 h 3912503"/>
              <a:gd name="connsiteX4821" fmla="*/ 7618364 w 12192528"/>
              <a:gd name="connsiteY4821" fmla="*/ 1103188 h 3912503"/>
              <a:gd name="connsiteX4822" fmla="*/ 7623885 w 12192528"/>
              <a:gd name="connsiteY4822" fmla="*/ 1121582 h 3912503"/>
              <a:gd name="connsiteX4823" fmla="*/ 7626549 w 12192528"/>
              <a:gd name="connsiteY4823" fmla="*/ 1127918 h 3912503"/>
              <a:gd name="connsiteX4824" fmla="*/ 7625918 w 12192528"/>
              <a:gd name="connsiteY4824" fmla="*/ 1136910 h 3912503"/>
              <a:gd name="connsiteX4825" fmla="*/ 7625103 w 12192528"/>
              <a:gd name="connsiteY4825" fmla="*/ 1144472 h 3912503"/>
              <a:gd name="connsiteX4826" fmla="*/ 7625317 w 12192528"/>
              <a:gd name="connsiteY4826" fmla="*/ 1147539 h 3912503"/>
              <a:gd name="connsiteX4827" fmla="*/ 7613239 w 12192528"/>
              <a:gd name="connsiteY4827" fmla="*/ 1161436 h 3912503"/>
              <a:gd name="connsiteX4828" fmla="*/ 7601786 w 12192528"/>
              <a:gd name="connsiteY4828" fmla="*/ 1168180 h 3912503"/>
              <a:gd name="connsiteX4829" fmla="*/ 7593194 w 12192528"/>
              <a:gd name="connsiteY4829" fmla="*/ 1179421 h 3912503"/>
              <a:gd name="connsiteX4830" fmla="*/ 7594422 w 12192528"/>
              <a:gd name="connsiteY4830" fmla="*/ 1181670 h 3912503"/>
              <a:gd name="connsiteX4831" fmla="*/ 7606502 w 12192528"/>
              <a:gd name="connsiteY4831" fmla="*/ 1195976 h 3912503"/>
              <a:gd name="connsiteX4832" fmla="*/ 7608139 w 12192528"/>
              <a:gd name="connsiteY4832" fmla="*/ 1199246 h 3912503"/>
              <a:gd name="connsiteX4833" fmla="*/ 7609682 w 12192528"/>
              <a:gd name="connsiteY4833" fmla="*/ 1208978 h 3912503"/>
              <a:gd name="connsiteX4834" fmla="*/ 7711936 w 12192528"/>
              <a:gd name="connsiteY4834" fmla="*/ 1143485 h 3912503"/>
              <a:gd name="connsiteX4835" fmla="*/ 8386838 w 12192528"/>
              <a:gd name="connsiteY4835" fmla="*/ 800356 h 3912503"/>
              <a:gd name="connsiteX4836" fmla="*/ 8642502 w 12192528"/>
              <a:gd name="connsiteY4836" fmla="*/ 723473 h 3912503"/>
              <a:gd name="connsiteX4837" fmla="*/ 8655782 w 12192528"/>
              <a:gd name="connsiteY4837" fmla="*/ 720746 h 3912503"/>
              <a:gd name="connsiteX4838" fmla="*/ 8652892 w 12192528"/>
              <a:gd name="connsiteY4838" fmla="*/ 715079 h 3912503"/>
              <a:gd name="connsiteX4839" fmla="*/ 8647600 w 12192528"/>
              <a:gd name="connsiteY4839" fmla="*/ 710301 h 3912503"/>
              <a:gd name="connsiteX4840" fmla="*/ 8636152 w 12192528"/>
              <a:gd name="connsiteY4840" fmla="*/ 703557 h 3912503"/>
              <a:gd name="connsiteX4841" fmla="*/ 8624086 w 12192528"/>
              <a:gd name="connsiteY4841" fmla="*/ 689660 h 3912503"/>
              <a:gd name="connsiteX4842" fmla="*/ 8624289 w 12192528"/>
              <a:gd name="connsiteY4842" fmla="*/ 686593 h 3912503"/>
              <a:gd name="connsiteX4843" fmla="*/ 8623472 w 12192528"/>
              <a:gd name="connsiteY4843" fmla="*/ 679031 h 3912503"/>
              <a:gd name="connsiteX4844" fmla="*/ 8622859 w 12192528"/>
              <a:gd name="connsiteY4844" fmla="*/ 670039 h 3912503"/>
              <a:gd name="connsiteX4845" fmla="*/ 8625520 w 12192528"/>
              <a:gd name="connsiteY4845" fmla="*/ 663703 h 3912503"/>
              <a:gd name="connsiteX4846" fmla="*/ 8631040 w 12192528"/>
              <a:gd name="connsiteY4846" fmla="*/ 645309 h 3912503"/>
              <a:gd name="connsiteX4847" fmla="*/ 8640035 w 12192528"/>
              <a:gd name="connsiteY4847" fmla="*/ 634477 h 3912503"/>
              <a:gd name="connsiteX4848" fmla="*/ 8642079 w 12192528"/>
              <a:gd name="connsiteY4848" fmla="*/ 633046 h 3912503"/>
              <a:gd name="connsiteX4849" fmla="*/ 8652713 w 12192528"/>
              <a:gd name="connsiteY4849" fmla="*/ 628141 h 3912503"/>
              <a:gd name="connsiteX4850" fmla="*/ 8656393 w 12192528"/>
              <a:gd name="connsiteY4850" fmla="*/ 626302 h 3912503"/>
              <a:gd name="connsiteX4851" fmla="*/ 8671936 w 12192528"/>
              <a:gd name="connsiteY4851" fmla="*/ 627324 h 3912503"/>
              <a:gd name="connsiteX4852" fmla="*/ 8684410 w 12192528"/>
              <a:gd name="connsiteY4852" fmla="*/ 630594 h 3912503"/>
              <a:gd name="connsiteX4853" fmla="*/ 8688500 w 12192528"/>
              <a:gd name="connsiteY4853" fmla="*/ 629981 h 3912503"/>
              <a:gd name="connsiteX4854" fmla="*/ 8690544 w 12192528"/>
              <a:gd name="connsiteY4854" fmla="*/ 627324 h 3912503"/>
              <a:gd name="connsiteX4855" fmla="*/ 8693816 w 12192528"/>
              <a:gd name="connsiteY4855" fmla="*/ 626507 h 3912503"/>
              <a:gd name="connsiteX4856" fmla="*/ 8694021 w 12192528"/>
              <a:gd name="connsiteY4856" fmla="*/ 630185 h 3912503"/>
              <a:gd name="connsiteX4857" fmla="*/ 8692999 w 12192528"/>
              <a:gd name="connsiteY4857" fmla="*/ 631820 h 3912503"/>
              <a:gd name="connsiteX4858" fmla="*/ 8696476 w 12192528"/>
              <a:gd name="connsiteY4858" fmla="*/ 640199 h 3912503"/>
              <a:gd name="connsiteX4859" fmla="*/ 8699338 w 12192528"/>
              <a:gd name="connsiteY4859" fmla="*/ 640608 h 3912503"/>
              <a:gd name="connsiteX4860" fmla="*/ 8702815 w 12192528"/>
              <a:gd name="connsiteY4860" fmla="*/ 642857 h 3912503"/>
              <a:gd name="connsiteX4861" fmla="*/ 8701178 w 12192528"/>
              <a:gd name="connsiteY4861" fmla="*/ 646127 h 3912503"/>
              <a:gd name="connsiteX4862" fmla="*/ 8701383 w 12192528"/>
              <a:gd name="connsiteY4862" fmla="*/ 651031 h 3912503"/>
              <a:gd name="connsiteX4863" fmla="*/ 8706698 w 12192528"/>
              <a:gd name="connsiteY4863" fmla="*/ 660229 h 3912503"/>
              <a:gd name="connsiteX4864" fmla="*/ 8710994 w 12192528"/>
              <a:gd name="connsiteY4864" fmla="*/ 664316 h 3912503"/>
              <a:gd name="connsiteX4865" fmla="*/ 8713242 w 12192528"/>
              <a:gd name="connsiteY4865" fmla="*/ 665543 h 3912503"/>
              <a:gd name="connsiteX4866" fmla="*/ 8712016 w 12192528"/>
              <a:gd name="connsiteY4866" fmla="*/ 667791 h 3912503"/>
              <a:gd name="connsiteX4867" fmla="*/ 8707926 w 12192528"/>
              <a:gd name="connsiteY4867" fmla="*/ 672287 h 3912503"/>
              <a:gd name="connsiteX4868" fmla="*/ 8707926 w 12192528"/>
              <a:gd name="connsiteY4868" fmla="*/ 683528 h 3912503"/>
              <a:gd name="connsiteX4869" fmla="*/ 8712426 w 12192528"/>
              <a:gd name="connsiteY4869" fmla="*/ 695177 h 3912503"/>
              <a:gd name="connsiteX4870" fmla="*/ 8708336 w 12192528"/>
              <a:gd name="connsiteY4870" fmla="*/ 697834 h 3912503"/>
              <a:gd name="connsiteX4871" fmla="*/ 8704040 w 12192528"/>
              <a:gd name="connsiteY4871" fmla="*/ 694360 h 3912503"/>
              <a:gd name="connsiteX4872" fmla="*/ 8698520 w 12192528"/>
              <a:gd name="connsiteY4872" fmla="*/ 693134 h 3912503"/>
              <a:gd name="connsiteX4873" fmla="*/ 8699543 w 12192528"/>
              <a:gd name="connsiteY4873" fmla="*/ 699469 h 3912503"/>
              <a:gd name="connsiteX4874" fmla="*/ 8702406 w 12192528"/>
              <a:gd name="connsiteY4874" fmla="*/ 702126 h 3912503"/>
              <a:gd name="connsiteX4875" fmla="*/ 8703020 w 12192528"/>
              <a:gd name="connsiteY4875" fmla="*/ 705805 h 3912503"/>
              <a:gd name="connsiteX4876" fmla="*/ 8699543 w 12192528"/>
              <a:gd name="connsiteY4876" fmla="*/ 705397 h 3912503"/>
              <a:gd name="connsiteX4877" fmla="*/ 8695861 w 12192528"/>
              <a:gd name="connsiteY4877" fmla="*/ 702944 h 3912503"/>
              <a:gd name="connsiteX4878" fmla="*/ 8690544 w 12192528"/>
              <a:gd name="connsiteY4878" fmla="*/ 703557 h 3912503"/>
              <a:gd name="connsiteX4879" fmla="*/ 8690544 w 12192528"/>
              <a:gd name="connsiteY4879" fmla="*/ 708053 h 3912503"/>
              <a:gd name="connsiteX4880" fmla="*/ 8695871 w 12192528"/>
              <a:gd name="connsiteY4880" fmla="*/ 712514 h 3912503"/>
              <a:gd name="connsiteX4881" fmla="*/ 8833254 w 12192528"/>
              <a:gd name="connsiteY4881" fmla="*/ 684302 h 3912503"/>
              <a:gd name="connsiteX4882" fmla="*/ 8834152 w 12192528"/>
              <a:gd name="connsiteY4882" fmla="*/ 681882 h 3912503"/>
              <a:gd name="connsiteX4883" fmla="*/ 8839562 w 12192528"/>
              <a:gd name="connsiteY4883" fmla="*/ 664903 h 3912503"/>
              <a:gd name="connsiteX4884" fmla="*/ 8844197 w 12192528"/>
              <a:gd name="connsiteY4884" fmla="*/ 658730 h 3912503"/>
              <a:gd name="connsiteX4885" fmla="*/ 8851540 w 12192528"/>
              <a:gd name="connsiteY4885" fmla="*/ 652555 h 3912503"/>
              <a:gd name="connsiteX4886" fmla="*/ 8858108 w 12192528"/>
              <a:gd name="connsiteY4886" fmla="*/ 649082 h 3912503"/>
              <a:gd name="connsiteX4887" fmla="*/ 8882448 w 12192528"/>
              <a:gd name="connsiteY4887" fmla="*/ 643680 h 3912503"/>
              <a:gd name="connsiteX4888" fmla="*/ 8894812 w 12192528"/>
              <a:gd name="connsiteY4888" fmla="*/ 644066 h 3912503"/>
              <a:gd name="connsiteX4889" fmla="*/ 8914130 w 12192528"/>
              <a:gd name="connsiteY4889" fmla="*/ 659115 h 3912503"/>
              <a:gd name="connsiteX4890" fmla="*/ 8915251 w 12192528"/>
              <a:gd name="connsiteY4890" fmla="*/ 668076 h 3912503"/>
              <a:gd name="connsiteX4891" fmla="*/ 9085203 w 12192528"/>
              <a:gd name="connsiteY4891" fmla="*/ 642648 h 3912503"/>
              <a:gd name="connsiteX4892" fmla="*/ 9124174 w 12192528"/>
              <a:gd name="connsiteY4892" fmla="*/ 640237 h 3912503"/>
              <a:gd name="connsiteX4893" fmla="*/ 9136268 w 12192528"/>
              <a:gd name="connsiteY4893" fmla="*/ 641172 h 3912503"/>
              <a:gd name="connsiteX4894" fmla="*/ 9136283 w 12192528"/>
              <a:gd name="connsiteY4894" fmla="*/ 641088 h 3912503"/>
              <a:gd name="connsiteX4895" fmla="*/ 9136550 w 12192528"/>
              <a:gd name="connsiteY4895" fmla="*/ 638409 h 3912503"/>
              <a:gd name="connsiteX4896" fmla="*/ 9137356 w 12192528"/>
              <a:gd name="connsiteY4896" fmla="*/ 631976 h 3912503"/>
              <a:gd name="connsiteX4897" fmla="*/ 9150774 w 12192528"/>
              <a:gd name="connsiteY4897" fmla="*/ 621523 h 3912503"/>
              <a:gd name="connsiteX4898" fmla="*/ 9159363 w 12192528"/>
              <a:gd name="connsiteY4898" fmla="*/ 621255 h 3912503"/>
              <a:gd name="connsiteX4899" fmla="*/ 9168217 w 12192528"/>
              <a:gd name="connsiteY4899" fmla="*/ 621020 h 3912503"/>
              <a:gd name="connsiteX4900" fmla="*/ 9168219 w 12192528"/>
              <a:gd name="connsiteY4900" fmla="*/ 621020 h 3912503"/>
              <a:gd name="connsiteX4901" fmla="*/ 9176268 w 12192528"/>
              <a:gd name="connsiteY4901" fmla="*/ 625007 h 3912503"/>
              <a:gd name="connsiteX4902" fmla="*/ 9180830 w 12192528"/>
              <a:gd name="connsiteY4902" fmla="*/ 627419 h 3912503"/>
              <a:gd name="connsiteX4903" fmla="*/ 9185932 w 12192528"/>
              <a:gd name="connsiteY4903" fmla="*/ 631707 h 3912503"/>
              <a:gd name="connsiteX4904" fmla="*/ 9189150 w 12192528"/>
              <a:gd name="connsiteY4904" fmla="*/ 635996 h 3912503"/>
              <a:gd name="connsiteX4905" fmla="*/ 9191804 w 12192528"/>
              <a:gd name="connsiteY4905" fmla="*/ 644325 h 3912503"/>
              <a:gd name="connsiteX4906" fmla="*/ 9216932 w 12192528"/>
              <a:gd name="connsiteY4906" fmla="*/ 645251 h 3912503"/>
              <a:gd name="connsiteX4907" fmla="*/ 9268811 w 12192528"/>
              <a:gd name="connsiteY4907" fmla="*/ 629588 h 3912503"/>
              <a:gd name="connsiteX4908" fmla="*/ 9319660 w 12192528"/>
              <a:gd name="connsiteY4908" fmla="*/ 637272 h 3912503"/>
              <a:gd name="connsiteX4909" fmla="*/ 9384428 w 12192528"/>
              <a:gd name="connsiteY4909" fmla="*/ 653459 h 3912503"/>
              <a:gd name="connsiteX4910" fmla="*/ 9502498 w 12192528"/>
              <a:gd name="connsiteY4910" fmla="*/ 650498 h 3912503"/>
              <a:gd name="connsiteX4911" fmla="*/ 9606748 w 12192528"/>
              <a:gd name="connsiteY4911" fmla="*/ 670152 h 3912503"/>
              <a:gd name="connsiteX4912" fmla="*/ 9612232 w 12192528"/>
              <a:gd name="connsiteY4912" fmla="*/ 671028 h 3912503"/>
              <a:gd name="connsiteX4913" fmla="*/ 9613534 w 12192528"/>
              <a:gd name="connsiteY4913" fmla="*/ 664016 h 3912503"/>
              <a:gd name="connsiteX4914" fmla="*/ 9613823 w 12192528"/>
              <a:gd name="connsiteY4914" fmla="*/ 661135 h 3912503"/>
              <a:gd name="connsiteX4915" fmla="*/ 9614688 w 12192528"/>
              <a:gd name="connsiteY4915" fmla="*/ 654223 h 3912503"/>
              <a:gd name="connsiteX4916" fmla="*/ 9629108 w 12192528"/>
              <a:gd name="connsiteY4916" fmla="*/ 642990 h 3912503"/>
              <a:gd name="connsiteX4917" fmla="*/ 9638335 w 12192528"/>
              <a:gd name="connsiteY4917" fmla="*/ 642702 h 3912503"/>
              <a:gd name="connsiteX4918" fmla="*/ 9656506 w 12192528"/>
              <a:gd name="connsiteY4918" fmla="*/ 646734 h 3912503"/>
              <a:gd name="connsiteX4919" fmla="*/ 9661408 w 12192528"/>
              <a:gd name="connsiteY4919" fmla="*/ 649326 h 3912503"/>
              <a:gd name="connsiteX4920" fmla="*/ 9666888 w 12192528"/>
              <a:gd name="connsiteY4920" fmla="*/ 653935 h 3912503"/>
              <a:gd name="connsiteX4921" fmla="*/ 9670348 w 12192528"/>
              <a:gd name="connsiteY4921" fmla="*/ 658543 h 3912503"/>
              <a:gd name="connsiteX4922" fmla="*/ 9674385 w 12192528"/>
              <a:gd name="connsiteY4922" fmla="*/ 671216 h 3912503"/>
              <a:gd name="connsiteX4923" fmla="*/ 9677270 w 12192528"/>
              <a:gd name="connsiteY4923" fmla="*/ 678993 h 3912503"/>
              <a:gd name="connsiteX4924" fmla="*/ 9677270 w 12192528"/>
              <a:gd name="connsiteY4924" fmla="*/ 681415 h 3912503"/>
              <a:gd name="connsiteX4925" fmla="*/ 9711442 w 12192528"/>
              <a:gd name="connsiteY4925" fmla="*/ 686872 h 3912503"/>
              <a:gd name="connsiteX4926" fmla="*/ 9824543 w 12192528"/>
              <a:gd name="connsiteY4926" fmla="*/ 708328 h 3912503"/>
              <a:gd name="connsiteX4927" fmla="*/ 9827713 w 12192528"/>
              <a:gd name="connsiteY4927" fmla="*/ 698989 h 3912503"/>
              <a:gd name="connsiteX4928" fmla="*/ 9815752 w 12192528"/>
              <a:gd name="connsiteY4928" fmla="*/ 624202 h 3912503"/>
              <a:gd name="connsiteX4929" fmla="*/ 9804912 w 12192528"/>
              <a:gd name="connsiteY4929" fmla="*/ 572226 h 3912503"/>
              <a:gd name="connsiteX4930" fmla="*/ 9813791 w 12192528"/>
              <a:gd name="connsiteY4930" fmla="*/ 540299 h 3912503"/>
              <a:gd name="connsiteX4931" fmla="*/ 9809715 w 12192528"/>
              <a:gd name="connsiteY4931" fmla="*/ 537720 h 3912503"/>
              <a:gd name="connsiteX4932" fmla="*/ 9803372 w 12192528"/>
              <a:gd name="connsiteY4932" fmla="*/ 525911 h 3912503"/>
              <a:gd name="connsiteX4933" fmla="*/ 9801352 w 12192528"/>
              <a:gd name="connsiteY4933" fmla="*/ 521015 h 3912503"/>
              <a:gd name="connsiteX4934" fmla="*/ 9801066 w 12192528"/>
              <a:gd name="connsiteY4934" fmla="*/ 516119 h 3912503"/>
              <a:gd name="connsiteX4935" fmla="*/ 9801928 w 12192528"/>
              <a:gd name="connsiteY4935" fmla="*/ 512375 h 3912503"/>
              <a:gd name="connsiteX4936" fmla="*/ 9803372 w 12192528"/>
              <a:gd name="connsiteY4936" fmla="*/ 504597 h 3912503"/>
              <a:gd name="connsiteX4937" fmla="*/ 9803659 w 12192528"/>
              <a:gd name="connsiteY4937" fmla="*/ 501718 h 3912503"/>
              <a:gd name="connsiteX4938" fmla="*/ 9804527 w 12192528"/>
              <a:gd name="connsiteY4938" fmla="*/ 494805 h 3912503"/>
              <a:gd name="connsiteX4939" fmla="*/ 9818944 w 12192528"/>
              <a:gd name="connsiteY4939" fmla="*/ 483572 h 3912503"/>
              <a:gd name="connsiteX4940" fmla="*/ 9828174 w 12192528"/>
              <a:gd name="connsiteY4940" fmla="*/ 483283 h 3912503"/>
              <a:gd name="connsiteX4941" fmla="*/ 9846342 w 12192528"/>
              <a:gd name="connsiteY4941" fmla="*/ 487316 h 3912503"/>
              <a:gd name="connsiteX4942" fmla="*/ 9851245 w 12192528"/>
              <a:gd name="connsiteY4942" fmla="*/ 489908 h 3912503"/>
              <a:gd name="connsiteX4943" fmla="*/ 9856724 w 12192528"/>
              <a:gd name="connsiteY4943" fmla="*/ 494516 h 3912503"/>
              <a:gd name="connsiteX4944" fmla="*/ 9860184 w 12192528"/>
              <a:gd name="connsiteY4944" fmla="*/ 499126 h 3912503"/>
              <a:gd name="connsiteX4945" fmla="*/ 9864224 w 12192528"/>
              <a:gd name="connsiteY4945" fmla="*/ 511798 h 3912503"/>
              <a:gd name="connsiteX4946" fmla="*/ 9867106 w 12192528"/>
              <a:gd name="connsiteY4946" fmla="*/ 519575 h 3912503"/>
              <a:gd name="connsiteX4947" fmla="*/ 9867106 w 12192528"/>
              <a:gd name="connsiteY4947" fmla="*/ 523031 h 3912503"/>
              <a:gd name="connsiteX4948" fmla="*/ 9863647 w 12192528"/>
              <a:gd name="connsiteY4948" fmla="*/ 529944 h 3912503"/>
              <a:gd name="connsiteX4949" fmla="*/ 9855860 w 12192528"/>
              <a:gd name="connsiteY4949" fmla="*/ 540312 h 3912503"/>
              <a:gd name="connsiteX4950" fmla="*/ 9854626 w 12192528"/>
              <a:gd name="connsiteY4950" fmla="*/ 542774 h 3912503"/>
              <a:gd name="connsiteX4951" fmla="*/ 9854626 w 12192528"/>
              <a:gd name="connsiteY4951" fmla="*/ 588306 h 3912503"/>
              <a:gd name="connsiteX4952" fmla="*/ 9857618 w 12192528"/>
              <a:gd name="connsiteY4952" fmla="*/ 639160 h 3912503"/>
              <a:gd name="connsiteX4953" fmla="*/ 9893130 w 12192528"/>
              <a:gd name="connsiteY4953" fmla="*/ 698241 h 3912503"/>
              <a:gd name="connsiteX4954" fmla="*/ 9893504 w 12192528"/>
              <a:gd name="connsiteY4954" fmla="*/ 698290 h 3912503"/>
              <a:gd name="connsiteX4955" fmla="*/ 9896644 w 12192528"/>
              <a:gd name="connsiteY4955" fmla="*/ 696735 h 3912503"/>
              <a:gd name="connsiteX4956" fmla="*/ 9909397 w 12192528"/>
              <a:gd name="connsiteY4956" fmla="*/ 697073 h 3912503"/>
              <a:gd name="connsiteX4957" fmla="*/ 9921764 w 12192528"/>
              <a:gd name="connsiteY4957" fmla="*/ 697459 h 3912503"/>
              <a:gd name="connsiteX4958" fmla="*/ 9927482 w 12192528"/>
              <a:gd name="connsiteY4958" fmla="*/ 701044 h 3912503"/>
              <a:gd name="connsiteX4959" fmla="*/ 9962283 w 12192528"/>
              <a:gd name="connsiteY4959" fmla="*/ 690014 h 3912503"/>
              <a:gd name="connsiteX4960" fmla="*/ 10037044 w 12192528"/>
              <a:gd name="connsiteY4960" fmla="*/ 698989 h 3912503"/>
              <a:gd name="connsiteX4961" fmla="*/ 10114796 w 12192528"/>
              <a:gd name="connsiteY4961" fmla="*/ 695998 h 3912503"/>
              <a:gd name="connsiteX4962" fmla="*/ 10123768 w 12192528"/>
              <a:gd name="connsiteY4962" fmla="*/ 675058 h 3912503"/>
              <a:gd name="connsiteX4963" fmla="*/ 10216470 w 12192528"/>
              <a:gd name="connsiteY4963" fmla="*/ 663092 h 3912503"/>
              <a:gd name="connsiteX4964" fmla="*/ 10243384 w 12192528"/>
              <a:gd name="connsiteY4964" fmla="*/ 701981 h 3912503"/>
              <a:gd name="connsiteX4965" fmla="*/ 10330107 w 12192528"/>
              <a:gd name="connsiteY4965" fmla="*/ 857536 h 3912503"/>
              <a:gd name="connsiteX4966" fmla="*/ 10343144 w 12192528"/>
              <a:gd name="connsiteY4966" fmla="*/ 884365 h 3912503"/>
              <a:gd name="connsiteX4967" fmla="*/ 10358962 w 12192528"/>
              <a:gd name="connsiteY4967" fmla="*/ 900231 h 3912503"/>
              <a:gd name="connsiteX4968" fmla="*/ 10368416 w 12192528"/>
              <a:gd name="connsiteY4968" fmla="*/ 904253 h 3912503"/>
              <a:gd name="connsiteX4969" fmla="*/ 10382674 w 12192528"/>
              <a:gd name="connsiteY4969" fmla="*/ 908858 h 3912503"/>
              <a:gd name="connsiteX4970" fmla="*/ 10410849 w 12192528"/>
              <a:gd name="connsiteY4970" fmla="*/ 905399 h 3912503"/>
              <a:gd name="connsiteX4971" fmla="*/ 10428792 w 12192528"/>
              <a:gd name="connsiteY4971" fmla="*/ 905399 h 3912503"/>
              <a:gd name="connsiteX4972" fmla="*/ 10462061 w 12192528"/>
              <a:gd name="connsiteY4972" fmla="*/ 920355 h 3912503"/>
              <a:gd name="connsiteX4973" fmla="*/ 10461792 w 12192528"/>
              <a:gd name="connsiteY4973" fmla="*/ 943976 h 3912503"/>
              <a:gd name="connsiteX4974" fmla="*/ 10463990 w 12192528"/>
              <a:gd name="connsiteY4974" fmla="*/ 944911 h 3912503"/>
              <a:gd name="connsiteX4975" fmla="*/ 10501548 w 12192528"/>
              <a:gd name="connsiteY4975" fmla="*/ 964264 h 3912503"/>
              <a:gd name="connsiteX4976" fmla="*/ 10507371 w 12192528"/>
              <a:gd name="connsiteY4976" fmla="*/ 939192 h 3912503"/>
              <a:gd name="connsiteX4977" fmla="*/ 10518746 w 12192528"/>
              <a:gd name="connsiteY4977" fmla="*/ 880720 h 3912503"/>
              <a:gd name="connsiteX4978" fmla="*/ 10536623 w 12192528"/>
              <a:gd name="connsiteY4978" fmla="*/ 863665 h 3912503"/>
              <a:gd name="connsiteX4979" fmla="*/ 10634124 w 12192528"/>
              <a:gd name="connsiteY4979" fmla="*/ 872599 h 3912503"/>
              <a:gd name="connsiteX4980" fmla="*/ 10651186 w 12192528"/>
              <a:gd name="connsiteY4980" fmla="*/ 905084 h 3912503"/>
              <a:gd name="connsiteX4981" fmla="*/ 10670686 w 12192528"/>
              <a:gd name="connsiteY4981" fmla="*/ 967616 h 3912503"/>
              <a:gd name="connsiteX4982" fmla="*/ 10683686 w 12192528"/>
              <a:gd name="connsiteY4982" fmla="*/ 974924 h 3912503"/>
              <a:gd name="connsiteX4983" fmla="*/ 10742187 w 12192528"/>
              <a:gd name="connsiteY4983" fmla="*/ 978173 h 3912503"/>
              <a:gd name="connsiteX4984" fmla="*/ 10769814 w 12192528"/>
              <a:gd name="connsiteY4984" fmla="*/ 991167 h 3912503"/>
              <a:gd name="connsiteX4985" fmla="*/ 10794189 w 12192528"/>
              <a:gd name="connsiteY4985" fmla="*/ 1013094 h 3912503"/>
              <a:gd name="connsiteX4986" fmla="*/ 10827506 w 12192528"/>
              <a:gd name="connsiteY4986" fmla="*/ 1011469 h 3912503"/>
              <a:gd name="connsiteX4987" fmla="*/ 10860818 w 12192528"/>
              <a:gd name="connsiteY4987" fmla="*/ 1023651 h 3912503"/>
              <a:gd name="connsiteX4988" fmla="*/ 10911193 w 12192528"/>
              <a:gd name="connsiteY4988" fmla="*/ 1035021 h 3912503"/>
              <a:gd name="connsiteX4989" fmla="*/ 10946132 w 12192528"/>
              <a:gd name="connsiteY4989" fmla="*/ 995227 h 3912503"/>
              <a:gd name="connsiteX4990" fmla="*/ 10984320 w 12192528"/>
              <a:gd name="connsiteY4990" fmla="*/ 974112 h 3912503"/>
              <a:gd name="connsiteX4991" fmla="*/ 10942069 w 12192528"/>
              <a:gd name="connsiteY4991" fmla="*/ 1043954 h 3912503"/>
              <a:gd name="connsiteX4992" fmla="*/ 10975382 w 12192528"/>
              <a:gd name="connsiteY4992" fmla="*/ 1112171 h 3912503"/>
              <a:gd name="connsiteX4993" fmla="*/ 11025758 w 12192528"/>
              <a:gd name="connsiteY4993" fmla="*/ 1154400 h 3912503"/>
              <a:gd name="connsiteX4994" fmla="*/ 11029820 w 12192528"/>
              <a:gd name="connsiteY4994" fmla="*/ 1166582 h 3912503"/>
              <a:gd name="connsiteX4995" fmla="*/ 11052572 w 12192528"/>
              <a:gd name="connsiteY4995" fmla="*/ 1176327 h 3912503"/>
              <a:gd name="connsiteX4996" fmla="*/ 11086698 w 12192528"/>
              <a:gd name="connsiteY4996" fmla="*/ 1143843 h 3912503"/>
              <a:gd name="connsiteX4997" fmla="*/ 11107822 w 12192528"/>
              <a:gd name="connsiteY4997" fmla="*/ 1136535 h 3912503"/>
              <a:gd name="connsiteX4998" fmla="*/ 11136260 w 12192528"/>
              <a:gd name="connsiteY4998" fmla="*/ 1141407 h 3912503"/>
              <a:gd name="connsiteX4999" fmla="*/ 11150072 w 12192528"/>
              <a:gd name="connsiteY4999" fmla="*/ 1132473 h 3912503"/>
              <a:gd name="connsiteX5000" fmla="*/ 11142760 w 12192528"/>
              <a:gd name="connsiteY5000" fmla="*/ 1117043 h 3912503"/>
              <a:gd name="connsiteX5001" fmla="*/ 11128134 w 12192528"/>
              <a:gd name="connsiteY5001" fmla="*/ 1110547 h 3912503"/>
              <a:gd name="connsiteX5002" fmla="*/ 11118385 w 12192528"/>
              <a:gd name="connsiteY5002" fmla="*/ 1091056 h 3912503"/>
              <a:gd name="connsiteX5003" fmla="*/ 11086698 w 12192528"/>
              <a:gd name="connsiteY5003" fmla="*/ 1028524 h 3912503"/>
              <a:gd name="connsiteX5004" fmla="*/ 11075321 w 12192528"/>
              <a:gd name="connsiteY5004" fmla="*/ 1019591 h 3912503"/>
              <a:gd name="connsiteX5005" fmla="*/ 11090760 w 12192528"/>
              <a:gd name="connsiteY5005" fmla="*/ 1009846 h 3912503"/>
              <a:gd name="connsiteX5006" fmla="*/ 11093196 w 12192528"/>
              <a:gd name="connsiteY5006" fmla="*/ 1009846 h 3912503"/>
              <a:gd name="connsiteX5007" fmla="*/ 11108634 w 12192528"/>
              <a:gd name="connsiteY5007" fmla="*/ 982234 h 3912503"/>
              <a:gd name="connsiteX5008" fmla="*/ 11110260 w 12192528"/>
              <a:gd name="connsiteY5008" fmla="*/ 944064 h 3912503"/>
              <a:gd name="connsiteX5009" fmla="*/ 11124072 w 12192528"/>
              <a:gd name="connsiteY5009" fmla="*/ 890465 h 3912503"/>
              <a:gd name="connsiteX5010" fmla="*/ 11136260 w 12192528"/>
              <a:gd name="connsiteY5010" fmla="*/ 875847 h 3912503"/>
              <a:gd name="connsiteX5011" fmla="*/ 11169572 w 12192528"/>
              <a:gd name="connsiteY5011" fmla="*/ 833618 h 3912503"/>
              <a:gd name="connsiteX5012" fmla="*/ 11189073 w 12192528"/>
              <a:gd name="connsiteY5012" fmla="*/ 826309 h 3912503"/>
              <a:gd name="connsiteX5013" fmla="*/ 11269512 w 12192528"/>
              <a:gd name="connsiteY5013" fmla="*/ 802758 h 3912503"/>
              <a:gd name="connsiteX5014" fmla="*/ 11269512 w 12192528"/>
              <a:gd name="connsiteY5014" fmla="*/ 784891 h 3912503"/>
              <a:gd name="connsiteX5015" fmla="*/ 11248387 w 12192528"/>
              <a:gd name="connsiteY5015" fmla="*/ 782455 h 3912503"/>
              <a:gd name="connsiteX5016" fmla="*/ 11233763 w 12192528"/>
              <a:gd name="connsiteY5016" fmla="*/ 792200 h 3912503"/>
              <a:gd name="connsiteX5017" fmla="*/ 11219949 w 12192528"/>
              <a:gd name="connsiteY5017" fmla="*/ 793825 h 3912503"/>
              <a:gd name="connsiteX5018" fmla="*/ 11222388 w 12192528"/>
              <a:gd name="connsiteY5018" fmla="*/ 779206 h 3912503"/>
              <a:gd name="connsiteX5019" fmla="*/ 11233763 w 12192528"/>
              <a:gd name="connsiteY5019" fmla="*/ 768649 h 3912503"/>
              <a:gd name="connsiteX5020" fmla="*/ 11237824 w 12192528"/>
              <a:gd name="connsiteY5020" fmla="*/ 743474 h 3912503"/>
              <a:gd name="connsiteX5021" fmla="*/ 11215886 w 12192528"/>
              <a:gd name="connsiteY5021" fmla="*/ 748346 h 3912503"/>
              <a:gd name="connsiteX5022" fmla="*/ 11198824 w 12192528"/>
              <a:gd name="connsiteY5022" fmla="*/ 762153 h 3912503"/>
              <a:gd name="connsiteX5023" fmla="*/ 11182573 w 12192528"/>
              <a:gd name="connsiteY5023" fmla="*/ 751595 h 3912503"/>
              <a:gd name="connsiteX5024" fmla="*/ 11200449 w 12192528"/>
              <a:gd name="connsiteY5024" fmla="*/ 705304 h 3912503"/>
              <a:gd name="connsiteX5025" fmla="*/ 11200449 w 12192528"/>
              <a:gd name="connsiteY5025" fmla="*/ 660639 h 3912503"/>
              <a:gd name="connsiteX5026" fmla="*/ 11184198 w 12192528"/>
              <a:gd name="connsiteY5026" fmla="*/ 642772 h 3912503"/>
              <a:gd name="connsiteX5027" fmla="*/ 11179324 w 12192528"/>
              <a:gd name="connsiteY5027" fmla="*/ 633839 h 3912503"/>
              <a:gd name="connsiteX5028" fmla="*/ 11188261 w 12192528"/>
              <a:gd name="connsiteY5028" fmla="*/ 628967 h 3912503"/>
              <a:gd name="connsiteX5029" fmla="*/ 11205323 w 12192528"/>
              <a:gd name="connsiteY5029" fmla="*/ 612724 h 3912503"/>
              <a:gd name="connsiteX5030" fmla="*/ 11226449 w 12192528"/>
              <a:gd name="connsiteY5030" fmla="*/ 576179 h 3912503"/>
              <a:gd name="connsiteX5031" fmla="*/ 11227261 w 12192528"/>
              <a:gd name="connsiteY5031" fmla="*/ 556688 h 3912503"/>
              <a:gd name="connsiteX5032" fmla="*/ 11220761 w 12192528"/>
              <a:gd name="connsiteY5032" fmla="*/ 543695 h 3912503"/>
              <a:gd name="connsiteX5033" fmla="*/ 11234574 w 12192528"/>
              <a:gd name="connsiteY5033" fmla="*/ 534762 h 3912503"/>
              <a:gd name="connsiteX5034" fmla="*/ 11245949 w 12192528"/>
              <a:gd name="connsiteY5034" fmla="*/ 533137 h 3912503"/>
              <a:gd name="connsiteX5035" fmla="*/ 11259762 w 12192528"/>
              <a:gd name="connsiteY5035" fmla="*/ 499841 h 3912503"/>
              <a:gd name="connsiteX5036" fmla="*/ 11255700 w 12192528"/>
              <a:gd name="connsiteY5036" fmla="*/ 493343 h 3912503"/>
              <a:gd name="connsiteX5037" fmla="*/ 11256512 w 12192528"/>
              <a:gd name="connsiteY5037" fmla="*/ 478726 h 3912503"/>
              <a:gd name="connsiteX5038" fmla="*/ 11269512 w 12192528"/>
              <a:gd name="connsiteY5038" fmla="*/ 481975 h 3912503"/>
              <a:gd name="connsiteX5039" fmla="*/ 11277637 w 12192528"/>
              <a:gd name="connsiteY5039" fmla="*/ 492532 h 3912503"/>
              <a:gd name="connsiteX5040" fmla="*/ 11293888 w 12192528"/>
              <a:gd name="connsiteY5040" fmla="*/ 494968 h 3912503"/>
              <a:gd name="connsiteX5041" fmla="*/ 11343451 w 12192528"/>
              <a:gd name="connsiteY5041" fmla="*/ 481975 h 3912503"/>
              <a:gd name="connsiteX5042" fmla="*/ 11405201 w 12192528"/>
              <a:gd name="connsiteY5042" fmla="*/ 477913 h 3912503"/>
              <a:gd name="connsiteX5043" fmla="*/ 11419828 w 12192528"/>
              <a:gd name="connsiteY5043" fmla="*/ 485223 h 3912503"/>
              <a:gd name="connsiteX5044" fmla="*/ 11462078 w 12192528"/>
              <a:gd name="connsiteY5044" fmla="*/ 504713 h 3912503"/>
              <a:gd name="connsiteX5045" fmla="*/ 11470203 w 12192528"/>
              <a:gd name="connsiteY5045" fmla="*/ 510398 h 3912503"/>
              <a:gd name="connsiteX5046" fmla="*/ 11505953 w 12192528"/>
              <a:gd name="connsiteY5046" fmla="*/ 553440 h 3912503"/>
              <a:gd name="connsiteX5047" fmla="*/ 11527892 w 12192528"/>
              <a:gd name="connsiteY5047" fmla="*/ 626530 h 3912503"/>
              <a:gd name="connsiteX5048" fmla="*/ 11538454 w 12192528"/>
              <a:gd name="connsiteY5048" fmla="*/ 651706 h 3912503"/>
              <a:gd name="connsiteX5049" fmla="*/ 11536017 w 12192528"/>
              <a:gd name="connsiteY5049" fmla="*/ 687439 h 3912503"/>
              <a:gd name="connsiteX5050" fmla="*/ 11532766 w 12192528"/>
              <a:gd name="connsiteY5050" fmla="*/ 717486 h 3912503"/>
              <a:gd name="connsiteX5051" fmla="*/ 11533579 w 12192528"/>
              <a:gd name="connsiteY5051" fmla="*/ 729668 h 3912503"/>
              <a:gd name="connsiteX5052" fmla="*/ 11485642 w 12192528"/>
              <a:gd name="connsiteY5052" fmla="*/ 784891 h 3912503"/>
              <a:gd name="connsiteX5053" fmla="*/ 11440140 w 12192528"/>
              <a:gd name="connsiteY5053" fmla="*/ 811691 h 3912503"/>
              <a:gd name="connsiteX5054" fmla="*/ 11406015 w 12192528"/>
              <a:gd name="connsiteY5054" fmla="*/ 856357 h 3912503"/>
              <a:gd name="connsiteX5055" fmla="*/ 11410890 w 12192528"/>
              <a:gd name="connsiteY5055" fmla="*/ 865290 h 3912503"/>
              <a:gd name="connsiteX5056" fmla="*/ 11458828 w 12192528"/>
              <a:gd name="connsiteY5056" fmla="*/ 922137 h 3912503"/>
              <a:gd name="connsiteX5057" fmla="*/ 11465328 w 12192528"/>
              <a:gd name="connsiteY5057" fmla="*/ 935132 h 3912503"/>
              <a:gd name="connsiteX5058" fmla="*/ 11471828 w 12192528"/>
              <a:gd name="connsiteY5058" fmla="*/ 975737 h 3912503"/>
              <a:gd name="connsiteX5059" fmla="*/ 11481872 w 12192528"/>
              <a:gd name="connsiteY5059" fmla="*/ 1017329 h 3912503"/>
              <a:gd name="connsiteX5060" fmla="*/ 11491053 w 12192528"/>
              <a:gd name="connsiteY5060" fmla="*/ 1017615 h 3912503"/>
              <a:gd name="connsiteX5061" fmla="*/ 11510371 w 12192528"/>
              <a:gd name="connsiteY5061" fmla="*/ 1032664 h 3912503"/>
              <a:gd name="connsiteX5062" fmla="*/ 11511530 w 12192528"/>
              <a:gd name="connsiteY5062" fmla="*/ 1041926 h 3912503"/>
              <a:gd name="connsiteX5063" fmla="*/ 11511917 w 12192528"/>
              <a:gd name="connsiteY5063" fmla="*/ 1045784 h 3912503"/>
              <a:gd name="connsiteX5064" fmla="*/ 11513848 w 12192528"/>
              <a:gd name="connsiteY5064" fmla="*/ 1056202 h 3912503"/>
              <a:gd name="connsiteX5065" fmla="*/ 11515007 w 12192528"/>
              <a:gd name="connsiteY5065" fmla="*/ 1061219 h 3912503"/>
              <a:gd name="connsiteX5066" fmla="*/ 11514621 w 12192528"/>
              <a:gd name="connsiteY5066" fmla="*/ 1067780 h 3912503"/>
              <a:gd name="connsiteX5067" fmla="*/ 11511917 w 12192528"/>
              <a:gd name="connsiteY5067" fmla="*/ 1074339 h 3912503"/>
              <a:gd name="connsiteX5068" fmla="*/ 11503417 w 12192528"/>
              <a:gd name="connsiteY5068" fmla="*/ 1090160 h 3912503"/>
              <a:gd name="connsiteX5069" fmla="*/ 11475984 w 12192528"/>
              <a:gd name="connsiteY5069" fmla="*/ 1107524 h 3912503"/>
              <a:gd name="connsiteX5070" fmla="*/ 11473280 w 12192528"/>
              <a:gd name="connsiteY5070" fmla="*/ 1106753 h 3912503"/>
              <a:gd name="connsiteX5071" fmla="*/ 11460917 w 12192528"/>
              <a:gd name="connsiteY5071" fmla="*/ 1105209 h 3912503"/>
              <a:gd name="connsiteX5072" fmla="*/ 11457826 w 12192528"/>
              <a:gd name="connsiteY5072" fmla="*/ 1103665 h 3912503"/>
              <a:gd name="connsiteX5073" fmla="*/ 11454686 w 12192528"/>
              <a:gd name="connsiteY5073" fmla="*/ 1098408 h 3912503"/>
              <a:gd name="connsiteX5074" fmla="*/ 11451372 w 12192528"/>
              <a:gd name="connsiteY5074" fmla="*/ 1099882 h 3912503"/>
              <a:gd name="connsiteX5075" fmla="*/ 11439328 w 12192528"/>
              <a:gd name="connsiteY5075" fmla="*/ 1147092 h 3912503"/>
              <a:gd name="connsiteX5076" fmla="*/ 11431203 w 12192528"/>
              <a:gd name="connsiteY5076" fmla="*/ 1153588 h 3912503"/>
              <a:gd name="connsiteX5077" fmla="*/ 11381639 w 12192528"/>
              <a:gd name="connsiteY5077" fmla="*/ 1177140 h 3912503"/>
              <a:gd name="connsiteX5078" fmla="*/ 11360513 w 12192528"/>
              <a:gd name="connsiteY5078" fmla="*/ 1183637 h 3912503"/>
              <a:gd name="connsiteX5079" fmla="*/ 11324763 w 12192528"/>
              <a:gd name="connsiteY5079" fmla="*/ 1191757 h 3912503"/>
              <a:gd name="connsiteX5080" fmla="*/ 11297950 w 12192528"/>
              <a:gd name="connsiteY5080" fmla="*/ 1215309 h 3912503"/>
              <a:gd name="connsiteX5081" fmla="*/ 11278450 w 12192528"/>
              <a:gd name="connsiteY5081" fmla="*/ 1208812 h 3912503"/>
              <a:gd name="connsiteX5082" fmla="*/ 11276013 w 12192528"/>
              <a:gd name="connsiteY5082" fmla="*/ 1199067 h 3912503"/>
              <a:gd name="connsiteX5083" fmla="*/ 11268700 w 12192528"/>
              <a:gd name="connsiteY5083" fmla="*/ 1187697 h 3912503"/>
              <a:gd name="connsiteX5084" fmla="*/ 11258137 w 12192528"/>
              <a:gd name="connsiteY5084" fmla="*/ 1195006 h 3912503"/>
              <a:gd name="connsiteX5085" fmla="*/ 11233763 w 12192528"/>
              <a:gd name="connsiteY5085" fmla="*/ 1190945 h 3912503"/>
              <a:gd name="connsiteX5086" fmla="*/ 11228886 w 12192528"/>
              <a:gd name="connsiteY5086" fmla="*/ 1180388 h 3912503"/>
              <a:gd name="connsiteX5087" fmla="*/ 11214263 w 12192528"/>
              <a:gd name="connsiteY5087" fmla="*/ 1174703 h 3912503"/>
              <a:gd name="connsiteX5088" fmla="*/ 11208574 w 12192528"/>
              <a:gd name="connsiteY5088" fmla="*/ 1188509 h 3912503"/>
              <a:gd name="connsiteX5089" fmla="*/ 11185823 w 12192528"/>
              <a:gd name="connsiteY5089" fmla="*/ 1286774 h 3912503"/>
              <a:gd name="connsiteX5090" fmla="*/ 11133822 w 12192528"/>
              <a:gd name="connsiteY5090" fmla="*/ 1319258 h 3912503"/>
              <a:gd name="connsiteX5091" fmla="*/ 11125698 w 12192528"/>
              <a:gd name="connsiteY5091" fmla="*/ 1333064 h 3912503"/>
              <a:gd name="connsiteX5092" fmla="*/ 11140324 w 12192528"/>
              <a:gd name="connsiteY5092" fmla="*/ 1364736 h 3912503"/>
              <a:gd name="connsiteX5093" fmla="*/ 11139266 w 12192528"/>
              <a:gd name="connsiteY5093" fmla="*/ 1369228 h 3912503"/>
              <a:gd name="connsiteX5094" fmla="*/ 11297806 w 12192528"/>
              <a:gd name="connsiteY5094" fmla="*/ 1320298 h 3912503"/>
              <a:gd name="connsiteX5095" fmla="*/ 11446716 w 12192528"/>
              <a:gd name="connsiteY5095" fmla="*/ 1297193 h 3912503"/>
              <a:gd name="connsiteX5096" fmla="*/ 11458695 w 12192528"/>
              <a:gd name="connsiteY5096" fmla="*/ 1297294 h 3912503"/>
              <a:gd name="connsiteX5097" fmla="*/ 11471267 w 12192528"/>
              <a:gd name="connsiteY5097" fmla="*/ 1305334 h 3912503"/>
              <a:gd name="connsiteX5098" fmla="*/ 11461171 w 12192528"/>
              <a:gd name="connsiteY5098" fmla="*/ 1317063 h 3912503"/>
              <a:gd name="connsiteX5099" fmla="*/ 11419876 w 12192528"/>
              <a:gd name="connsiteY5099" fmla="*/ 1325139 h 3912503"/>
              <a:gd name="connsiteX5100" fmla="*/ 11405440 w 12192528"/>
              <a:gd name="connsiteY5100" fmla="*/ 1332204 h 3912503"/>
              <a:gd name="connsiteX5101" fmla="*/ 11456257 w 12192528"/>
              <a:gd name="connsiteY5101" fmla="*/ 1331398 h 3912503"/>
              <a:gd name="connsiteX5102" fmla="*/ 11703928 w 12192528"/>
              <a:gd name="connsiteY5102" fmla="*/ 1294923 h 3912503"/>
              <a:gd name="connsiteX5103" fmla="*/ 12009562 w 12192528"/>
              <a:gd name="connsiteY5103" fmla="*/ 1339913 h 3912503"/>
              <a:gd name="connsiteX5104" fmla="*/ 12145400 w 12192528"/>
              <a:gd name="connsiteY5104" fmla="*/ 1382661 h 3912503"/>
              <a:gd name="connsiteX5105" fmla="*/ 12141852 w 12192528"/>
              <a:gd name="connsiteY5105" fmla="*/ 1377822 h 3912503"/>
              <a:gd name="connsiteX5106" fmla="*/ 12137943 w 12192528"/>
              <a:gd name="connsiteY5106" fmla="*/ 1369063 h 3912503"/>
              <a:gd name="connsiteX5107" fmla="*/ 12136466 w 12192528"/>
              <a:gd name="connsiteY5107" fmla="*/ 1361485 h 3912503"/>
              <a:gd name="connsiteX5108" fmla="*/ 12139010 w 12192528"/>
              <a:gd name="connsiteY5108" fmla="*/ 1343848 h 3912503"/>
              <a:gd name="connsiteX5109" fmla="*/ 12140082 w 12192528"/>
              <a:gd name="connsiteY5109" fmla="*/ 1332787 h 3912503"/>
              <a:gd name="connsiteX5110" fmla="*/ 12142101 w 12192528"/>
              <a:gd name="connsiteY5110" fmla="*/ 1328622 h 3912503"/>
              <a:gd name="connsiteX5111" fmla="*/ 12150316 w 12192528"/>
              <a:gd name="connsiteY5111" fmla="*/ 1322313 h 3912503"/>
              <a:gd name="connsiteX5112" fmla="*/ 12165766 w 12192528"/>
              <a:gd name="connsiteY5112" fmla="*/ 1314368 h 3912503"/>
              <a:gd name="connsiteX5113" fmla="*/ 12170557 w 12192528"/>
              <a:gd name="connsiteY5113" fmla="*/ 1310688 h 3912503"/>
              <a:gd name="connsiteX5114" fmla="*/ 12175571 w 12192528"/>
              <a:gd name="connsiteY5114" fmla="*/ 1310976 h 3912503"/>
              <a:gd name="connsiteX5115" fmla="*/ 12184744 w 12192528"/>
              <a:gd name="connsiteY5115" fmla="*/ 1312425 h 3912503"/>
              <a:gd name="connsiteX5116" fmla="*/ 12188199 w 12192528"/>
              <a:gd name="connsiteY5116" fmla="*/ 1312384 h 3912503"/>
              <a:gd name="connsiteX5117" fmla="*/ 12192528 w 12192528"/>
              <a:gd name="connsiteY5117" fmla="*/ 1316854 h 3912503"/>
              <a:gd name="connsiteX5118" fmla="*/ 12192528 w 12192528"/>
              <a:gd name="connsiteY5118" fmla="*/ 1502417 h 3912503"/>
              <a:gd name="connsiteX5119" fmla="*/ 12172292 w 12192528"/>
              <a:gd name="connsiteY5119" fmla="*/ 1494365 h 3912503"/>
              <a:gd name="connsiteX5120" fmla="*/ 12055557 w 12192528"/>
              <a:gd name="connsiteY5120" fmla="*/ 1459253 h 3912503"/>
              <a:gd name="connsiteX5121" fmla="*/ 12041903 w 12192528"/>
              <a:gd name="connsiteY5121" fmla="*/ 1456628 h 3912503"/>
              <a:gd name="connsiteX5122" fmla="*/ 12041538 w 12192528"/>
              <a:gd name="connsiteY5122" fmla="*/ 1462401 h 3912503"/>
              <a:gd name="connsiteX5123" fmla="*/ 12042045 w 12192528"/>
              <a:gd name="connsiteY5123" fmla="*/ 1473880 h 3912503"/>
              <a:gd name="connsiteX5124" fmla="*/ 12045528 w 12192528"/>
              <a:gd name="connsiteY5124" fmla="*/ 1483851 h 3912503"/>
              <a:gd name="connsiteX5125" fmla="*/ 12181815 w 12192528"/>
              <a:gd name="connsiteY5125" fmla="*/ 1525576 h 3912503"/>
              <a:gd name="connsiteX5126" fmla="*/ 12192528 w 12192528"/>
              <a:gd name="connsiteY5126" fmla="*/ 1530531 h 3912503"/>
              <a:gd name="connsiteX5127" fmla="*/ 12192528 w 12192528"/>
              <a:gd name="connsiteY5127" fmla="*/ 1654878 h 3912503"/>
              <a:gd name="connsiteX5128" fmla="*/ 12189630 w 12192528"/>
              <a:gd name="connsiteY5128" fmla="*/ 1653690 h 3912503"/>
              <a:gd name="connsiteX5129" fmla="*/ 12176969 w 12192528"/>
              <a:gd name="connsiteY5129" fmla="*/ 1645025 h 3912503"/>
              <a:gd name="connsiteX5130" fmla="*/ 12174400 w 12192528"/>
              <a:gd name="connsiteY5130" fmla="*/ 1642814 h 3912503"/>
              <a:gd name="connsiteX5131" fmla="*/ 12172010 w 12192528"/>
              <a:gd name="connsiteY5131" fmla="*/ 1642993 h 3912503"/>
              <a:gd name="connsiteX5132" fmla="*/ 12172189 w 12192528"/>
              <a:gd name="connsiteY5132" fmla="*/ 1645382 h 3912503"/>
              <a:gd name="connsiteX5133" fmla="*/ 12167232 w 12192528"/>
              <a:gd name="connsiteY5133" fmla="*/ 1643350 h 3912503"/>
              <a:gd name="connsiteX5134" fmla="*/ 12169620 w 12192528"/>
              <a:gd name="connsiteY5134" fmla="*/ 1643171 h 3912503"/>
              <a:gd name="connsiteX5135" fmla="*/ 12169442 w 12192528"/>
              <a:gd name="connsiteY5135" fmla="*/ 1640781 h 3912503"/>
              <a:gd name="connsiteX5136" fmla="*/ 12164664 w 12192528"/>
              <a:gd name="connsiteY5136" fmla="*/ 1641139 h 3912503"/>
              <a:gd name="connsiteX5137" fmla="*/ 12162096 w 12192528"/>
              <a:gd name="connsiteY5137" fmla="*/ 1638928 h 3912503"/>
              <a:gd name="connsiteX5138" fmla="*/ 12154927 w 12192528"/>
              <a:gd name="connsiteY5138" fmla="*/ 1639464 h 3912503"/>
              <a:gd name="connsiteX5139" fmla="*/ 12149969 w 12192528"/>
              <a:gd name="connsiteY5139" fmla="*/ 1637432 h 3912503"/>
              <a:gd name="connsiteX5140" fmla="*/ 12152538 w 12192528"/>
              <a:gd name="connsiteY5140" fmla="*/ 1639642 h 3912503"/>
              <a:gd name="connsiteX5141" fmla="*/ 12155105 w 12192528"/>
              <a:gd name="connsiteY5141" fmla="*/ 1641854 h 3912503"/>
              <a:gd name="connsiteX5142" fmla="*/ 12150327 w 12192528"/>
              <a:gd name="connsiteY5142" fmla="*/ 1642211 h 3912503"/>
              <a:gd name="connsiteX5143" fmla="*/ 12135455 w 12192528"/>
              <a:gd name="connsiteY5143" fmla="*/ 1636114 h 3912503"/>
              <a:gd name="connsiteX5144" fmla="*/ 12108279 w 12192528"/>
              <a:gd name="connsiteY5144" fmla="*/ 1626133 h 3912503"/>
              <a:gd name="connsiteX5145" fmla="*/ 12105711 w 12192528"/>
              <a:gd name="connsiteY5145" fmla="*/ 1623922 h 3912503"/>
              <a:gd name="connsiteX5146" fmla="*/ 12103321 w 12192528"/>
              <a:gd name="connsiteY5146" fmla="*/ 1624101 h 3912503"/>
              <a:gd name="connsiteX5147" fmla="*/ 12091016 w 12192528"/>
              <a:gd name="connsiteY5147" fmla="*/ 1620214 h 3912503"/>
              <a:gd name="connsiteX5148" fmla="*/ 12081281 w 12192528"/>
              <a:gd name="connsiteY5148" fmla="*/ 1618540 h 3912503"/>
              <a:gd name="connsiteX5149" fmla="*/ 12063841 w 12192528"/>
              <a:gd name="connsiteY5149" fmla="*/ 1610233 h 3912503"/>
              <a:gd name="connsiteX5150" fmla="*/ 12063662 w 12192528"/>
              <a:gd name="connsiteY5150" fmla="*/ 1607843 h 3912503"/>
              <a:gd name="connsiteX5151" fmla="*/ 12058883 w 12192528"/>
              <a:gd name="connsiteY5151" fmla="*/ 1608200 h 3912503"/>
              <a:gd name="connsiteX5152" fmla="*/ 12056494 w 12192528"/>
              <a:gd name="connsiteY5152" fmla="*/ 1608380 h 3912503"/>
              <a:gd name="connsiteX5153" fmla="*/ 12059062 w 12192528"/>
              <a:gd name="connsiteY5153" fmla="*/ 1610589 h 3912503"/>
              <a:gd name="connsiteX5154" fmla="*/ 12041800 w 12192528"/>
              <a:gd name="connsiteY5154" fmla="*/ 1604673 h 3912503"/>
              <a:gd name="connsiteX5155" fmla="*/ 12039231 w 12192528"/>
              <a:gd name="connsiteY5155" fmla="*/ 1602462 h 3912503"/>
              <a:gd name="connsiteX5156" fmla="*/ 12036842 w 12192528"/>
              <a:gd name="connsiteY5156" fmla="*/ 1602640 h 3912503"/>
              <a:gd name="connsiteX5157" fmla="*/ 12019759 w 12192528"/>
              <a:gd name="connsiteY5157" fmla="*/ 1599111 h 3912503"/>
              <a:gd name="connsiteX5158" fmla="*/ 12022149 w 12192528"/>
              <a:gd name="connsiteY5158" fmla="*/ 1598933 h 3912503"/>
              <a:gd name="connsiteX5159" fmla="*/ 12029317 w 12192528"/>
              <a:gd name="connsiteY5159" fmla="*/ 1598396 h 3912503"/>
              <a:gd name="connsiteX5160" fmla="*/ 12024359 w 12192528"/>
              <a:gd name="connsiteY5160" fmla="*/ 1596365 h 3912503"/>
              <a:gd name="connsiteX5161" fmla="*/ 12021792 w 12192528"/>
              <a:gd name="connsiteY5161" fmla="*/ 1594155 h 3912503"/>
              <a:gd name="connsiteX5162" fmla="*/ 12031528 w 12192528"/>
              <a:gd name="connsiteY5162" fmla="*/ 1595829 h 3912503"/>
              <a:gd name="connsiteX5163" fmla="*/ 12033559 w 12192528"/>
              <a:gd name="connsiteY5163" fmla="*/ 1590872 h 3912503"/>
              <a:gd name="connsiteX5164" fmla="*/ 12016298 w 12192528"/>
              <a:gd name="connsiteY5164" fmla="*/ 1584954 h 3912503"/>
              <a:gd name="connsiteX5165" fmla="*/ 12013730 w 12192528"/>
              <a:gd name="connsiteY5165" fmla="*/ 1582743 h 3912503"/>
              <a:gd name="connsiteX5166" fmla="*/ 12011341 w 12192528"/>
              <a:gd name="connsiteY5166" fmla="*/ 1582922 h 3912503"/>
              <a:gd name="connsiteX5167" fmla="*/ 12008951 w 12192528"/>
              <a:gd name="connsiteY5167" fmla="*/ 1583101 h 3912503"/>
              <a:gd name="connsiteX5168" fmla="*/ 12011519 w 12192528"/>
              <a:gd name="connsiteY5168" fmla="*/ 1585311 h 3912503"/>
              <a:gd name="connsiteX5169" fmla="*/ 12004351 w 12192528"/>
              <a:gd name="connsiteY5169" fmla="*/ 1585847 h 3912503"/>
              <a:gd name="connsiteX5170" fmla="*/ 12002139 w 12192528"/>
              <a:gd name="connsiteY5170" fmla="*/ 1588415 h 3912503"/>
              <a:gd name="connsiteX5171" fmla="*/ 12014444 w 12192528"/>
              <a:gd name="connsiteY5171" fmla="*/ 1592300 h 3912503"/>
              <a:gd name="connsiteX5172" fmla="*/ 12012055 w 12192528"/>
              <a:gd name="connsiteY5172" fmla="*/ 1592480 h 3912503"/>
              <a:gd name="connsiteX5173" fmla="*/ 12007456 w 12192528"/>
              <a:gd name="connsiteY5173" fmla="*/ 1595226 h 3912503"/>
              <a:gd name="connsiteX5174" fmla="*/ 12011728 w 12192528"/>
              <a:gd name="connsiteY5174" fmla="*/ 1596978 h 3912503"/>
              <a:gd name="connsiteX5175" fmla="*/ 12007291 w 12192528"/>
              <a:gd name="connsiteY5175" fmla="*/ 1597041 h 3912503"/>
              <a:gd name="connsiteX5176" fmla="*/ 11995331 w 12192528"/>
              <a:gd name="connsiteY5176" fmla="*/ 1593730 h 3912503"/>
              <a:gd name="connsiteX5177" fmla="*/ 11988697 w 12192528"/>
              <a:gd name="connsiteY5177" fmla="*/ 1601434 h 3912503"/>
              <a:gd name="connsiteX5178" fmla="*/ 11990908 w 12192528"/>
              <a:gd name="connsiteY5178" fmla="*/ 1598866 h 3912503"/>
              <a:gd name="connsiteX5179" fmla="*/ 11990730 w 12192528"/>
              <a:gd name="connsiteY5179" fmla="*/ 1596477 h 3912503"/>
              <a:gd name="connsiteX5180" fmla="*/ 11990551 w 12192528"/>
              <a:gd name="connsiteY5180" fmla="*/ 1594088 h 3912503"/>
              <a:gd name="connsiteX5181" fmla="*/ 11985771 w 12192528"/>
              <a:gd name="connsiteY5181" fmla="*/ 1594444 h 3912503"/>
              <a:gd name="connsiteX5182" fmla="*/ 11983384 w 12192528"/>
              <a:gd name="connsiteY5182" fmla="*/ 1594622 h 3912503"/>
              <a:gd name="connsiteX5183" fmla="*/ 11978246 w 12192528"/>
              <a:gd name="connsiteY5183" fmla="*/ 1590202 h 3912503"/>
              <a:gd name="connsiteX5184" fmla="*/ 11983024 w 12192528"/>
              <a:gd name="connsiteY5184" fmla="*/ 1589845 h 3912503"/>
              <a:gd name="connsiteX5185" fmla="*/ 11982847 w 12192528"/>
              <a:gd name="connsiteY5185" fmla="*/ 1587455 h 3912503"/>
              <a:gd name="connsiteX5186" fmla="*/ 11977889 w 12192528"/>
              <a:gd name="connsiteY5186" fmla="*/ 1585423 h 3912503"/>
              <a:gd name="connsiteX5187" fmla="*/ 11973110 w 12192528"/>
              <a:gd name="connsiteY5187" fmla="*/ 1585780 h 3912503"/>
              <a:gd name="connsiteX5188" fmla="*/ 11968688 w 12192528"/>
              <a:gd name="connsiteY5188" fmla="*/ 1590916 h 3912503"/>
              <a:gd name="connsiteX5189" fmla="*/ 11966478 w 12192528"/>
              <a:gd name="connsiteY5189" fmla="*/ 1593484 h 3912503"/>
              <a:gd name="connsiteX5190" fmla="*/ 11969047 w 12192528"/>
              <a:gd name="connsiteY5190" fmla="*/ 1595695 h 3912503"/>
              <a:gd name="connsiteX5191" fmla="*/ 11956920 w 12192528"/>
              <a:gd name="connsiteY5191" fmla="*/ 1594199 h 3912503"/>
              <a:gd name="connsiteX5192" fmla="*/ 11964088 w 12192528"/>
              <a:gd name="connsiteY5192" fmla="*/ 1593664 h 3912503"/>
              <a:gd name="connsiteX5193" fmla="*/ 11954174 w 12192528"/>
              <a:gd name="connsiteY5193" fmla="*/ 1589599 h 3912503"/>
              <a:gd name="connsiteX5194" fmla="*/ 11953994 w 12192528"/>
              <a:gd name="connsiteY5194" fmla="*/ 1587209 h 3912503"/>
              <a:gd name="connsiteX5195" fmla="*/ 11951606 w 12192528"/>
              <a:gd name="connsiteY5195" fmla="*/ 1587387 h 3912503"/>
              <a:gd name="connsiteX5196" fmla="*/ 11949216 w 12192528"/>
              <a:gd name="connsiteY5196" fmla="*/ 1587567 h 3912503"/>
              <a:gd name="connsiteX5197" fmla="*/ 11949395 w 12192528"/>
              <a:gd name="connsiteY5197" fmla="*/ 1589957 h 3912503"/>
              <a:gd name="connsiteX5198" fmla="*/ 11944259 w 12192528"/>
              <a:gd name="connsiteY5198" fmla="*/ 1585534 h 3912503"/>
              <a:gd name="connsiteX5199" fmla="*/ 11934701 w 12192528"/>
              <a:gd name="connsiteY5199" fmla="*/ 1586249 h 3912503"/>
              <a:gd name="connsiteX5200" fmla="*/ 11926526 w 12192528"/>
              <a:gd name="connsiteY5200" fmla="*/ 1585359 h 3912503"/>
              <a:gd name="connsiteX5201" fmla="*/ 11920008 w 12192528"/>
              <a:gd name="connsiteY5201" fmla="*/ 1582542 h 3912503"/>
              <a:gd name="connsiteX5202" fmla="*/ 11922218 w 12192528"/>
              <a:gd name="connsiteY5202" fmla="*/ 1579974 h 3912503"/>
              <a:gd name="connsiteX5203" fmla="*/ 11919829 w 12192528"/>
              <a:gd name="connsiteY5203" fmla="*/ 1580152 h 3912503"/>
              <a:gd name="connsiteX5204" fmla="*/ 11919651 w 12192528"/>
              <a:gd name="connsiteY5204" fmla="*/ 1577764 h 3912503"/>
              <a:gd name="connsiteX5205" fmla="*/ 11921861 w 12192528"/>
              <a:gd name="connsiteY5205" fmla="*/ 1575196 h 3912503"/>
              <a:gd name="connsiteX5206" fmla="*/ 11943723 w 12192528"/>
              <a:gd name="connsiteY5206" fmla="*/ 1578366 h 3912503"/>
              <a:gd name="connsiteX5207" fmla="*/ 11943901 w 12192528"/>
              <a:gd name="connsiteY5207" fmla="*/ 1580756 h 3912503"/>
              <a:gd name="connsiteX5208" fmla="*/ 11953637 w 12192528"/>
              <a:gd name="connsiteY5208" fmla="*/ 1582431 h 3912503"/>
              <a:gd name="connsiteX5209" fmla="*/ 11946112 w 12192528"/>
              <a:gd name="connsiteY5209" fmla="*/ 1578188 h 3912503"/>
              <a:gd name="connsiteX5210" fmla="*/ 11958237 w 12192528"/>
              <a:gd name="connsiteY5210" fmla="*/ 1579684 h 3912503"/>
              <a:gd name="connsiteX5211" fmla="*/ 11960807 w 12192528"/>
              <a:gd name="connsiteY5211" fmla="*/ 1581895 h 3912503"/>
              <a:gd name="connsiteX5212" fmla="*/ 11963195 w 12192528"/>
              <a:gd name="connsiteY5212" fmla="*/ 1581716 h 3912503"/>
              <a:gd name="connsiteX5213" fmla="*/ 11965405 w 12192528"/>
              <a:gd name="connsiteY5213" fmla="*/ 1579148 h 3912503"/>
              <a:gd name="connsiteX5214" fmla="*/ 11962837 w 12192528"/>
              <a:gd name="connsiteY5214" fmla="*/ 1576937 h 3912503"/>
              <a:gd name="connsiteX5215" fmla="*/ 11957881 w 12192528"/>
              <a:gd name="connsiteY5215" fmla="*/ 1574905 h 3912503"/>
              <a:gd name="connsiteX5216" fmla="*/ 11955491 w 12192528"/>
              <a:gd name="connsiteY5216" fmla="*/ 1575084 h 3912503"/>
              <a:gd name="connsiteX5217" fmla="*/ 11955670 w 12192528"/>
              <a:gd name="connsiteY5217" fmla="*/ 1577473 h 3912503"/>
              <a:gd name="connsiteX5218" fmla="*/ 11921682 w 12192528"/>
              <a:gd name="connsiteY5218" fmla="*/ 1572806 h 3912503"/>
              <a:gd name="connsiteX5219" fmla="*/ 11919114 w 12192528"/>
              <a:gd name="connsiteY5219" fmla="*/ 1570595 h 3912503"/>
              <a:gd name="connsiteX5220" fmla="*/ 11916724 w 12192528"/>
              <a:gd name="connsiteY5220" fmla="*/ 1570775 h 3912503"/>
              <a:gd name="connsiteX5221" fmla="*/ 11914336 w 12192528"/>
              <a:gd name="connsiteY5221" fmla="*/ 1570953 h 3912503"/>
              <a:gd name="connsiteX5222" fmla="*/ 11899642 w 12192528"/>
              <a:gd name="connsiteY5222" fmla="*/ 1567246 h 3912503"/>
              <a:gd name="connsiteX5223" fmla="*/ 11899820 w 12192528"/>
              <a:gd name="connsiteY5223" fmla="*/ 1569635 h 3912503"/>
              <a:gd name="connsiteX5224" fmla="*/ 11897253 w 12192528"/>
              <a:gd name="connsiteY5224" fmla="*/ 1567424 h 3912503"/>
              <a:gd name="connsiteX5225" fmla="*/ 11892295 w 12192528"/>
              <a:gd name="connsiteY5225" fmla="*/ 1565391 h 3912503"/>
              <a:gd name="connsiteX5226" fmla="*/ 11890083 w 12192528"/>
              <a:gd name="connsiteY5226" fmla="*/ 1567961 h 3912503"/>
              <a:gd name="connsiteX5227" fmla="*/ 11836982 w 12192528"/>
              <a:gd name="connsiteY5227" fmla="*/ 1564722 h 3912503"/>
              <a:gd name="connsiteX5228" fmla="*/ 11832026 w 12192528"/>
              <a:gd name="connsiteY5228" fmla="*/ 1562690 h 3912503"/>
              <a:gd name="connsiteX5229" fmla="*/ 11829635 w 12192528"/>
              <a:gd name="connsiteY5229" fmla="*/ 1562868 h 3912503"/>
              <a:gd name="connsiteX5230" fmla="*/ 11829813 w 12192528"/>
              <a:gd name="connsiteY5230" fmla="*/ 1565258 h 3912503"/>
              <a:gd name="connsiteX5231" fmla="*/ 11815120 w 12192528"/>
              <a:gd name="connsiteY5231" fmla="*/ 1561551 h 3912503"/>
              <a:gd name="connsiteX5232" fmla="*/ 11812730 w 12192528"/>
              <a:gd name="connsiteY5232" fmla="*/ 1561730 h 3912503"/>
              <a:gd name="connsiteX5233" fmla="*/ 11807953 w 12192528"/>
              <a:gd name="connsiteY5233" fmla="*/ 1562088 h 3912503"/>
              <a:gd name="connsiteX5234" fmla="*/ 11805563 w 12192528"/>
              <a:gd name="connsiteY5234" fmla="*/ 1562266 h 3912503"/>
              <a:gd name="connsiteX5235" fmla="*/ 11802995 w 12192528"/>
              <a:gd name="connsiteY5235" fmla="*/ 1560055 h 3912503"/>
              <a:gd name="connsiteX5236" fmla="*/ 11800605 w 12192528"/>
              <a:gd name="connsiteY5236" fmla="*/ 1560235 h 3912503"/>
              <a:gd name="connsiteX5237" fmla="*/ 11786270 w 12192528"/>
              <a:gd name="connsiteY5237" fmla="*/ 1561305 h 3912503"/>
              <a:gd name="connsiteX5238" fmla="*/ 11783880 w 12192528"/>
              <a:gd name="connsiteY5238" fmla="*/ 1561484 h 3912503"/>
              <a:gd name="connsiteX5239" fmla="*/ 11779101 w 12192528"/>
              <a:gd name="connsiteY5239" fmla="*/ 1561842 h 3912503"/>
              <a:gd name="connsiteX5240" fmla="*/ 11776711 w 12192528"/>
              <a:gd name="connsiteY5240" fmla="*/ 1562020 h 3912503"/>
              <a:gd name="connsiteX5241" fmla="*/ 11759986 w 12192528"/>
              <a:gd name="connsiteY5241" fmla="*/ 1563271 h 3912503"/>
              <a:gd name="connsiteX5242" fmla="*/ 11750071 w 12192528"/>
              <a:gd name="connsiteY5242" fmla="*/ 1559207 h 3912503"/>
              <a:gd name="connsiteX5243" fmla="*/ 11747503 w 12192528"/>
              <a:gd name="connsiteY5243" fmla="*/ 1556995 h 3912503"/>
              <a:gd name="connsiteX5244" fmla="*/ 11745114 w 12192528"/>
              <a:gd name="connsiteY5244" fmla="*/ 1557175 h 3912503"/>
              <a:gd name="connsiteX5245" fmla="*/ 11745293 w 12192528"/>
              <a:gd name="connsiteY5245" fmla="*/ 1559563 h 3912503"/>
              <a:gd name="connsiteX5246" fmla="*/ 11747681 w 12192528"/>
              <a:gd name="connsiteY5246" fmla="*/ 1559384 h 3912503"/>
              <a:gd name="connsiteX5247" fmla="*/ 11738304 w 12192528"/>
              <a:gd name="connsiteY5247" fmla="*/ 1562489 h 3912503"/>
              <a:gd name="connsiteX5248" fmla="*/ 11737946 w 12192528"/>
              <a:gd name="connsiteY5248" fmla="*/ 1557710 h 3912503"/>
              <a:gd name="connsiteX5249" fmla="*/ 11740023 w 12192528"/>
              <a:gd name="connsiteY5249" fmla="*/ 1555298 h 3912503"/>
              <a:gd name="connsiteX5250" fmla="*/ 11753411 w 12192528"/>
              <a:gd name="connsiteY5250" fmla="*/ 1555164 h 3912503"/>
              <a:gd name="connsiteX5251" fmla="*/ 11787943 w 12192528"/>
              <a:gd name="connsiteY5251" fmla="*/ 1551570 h 3912503"/>
              <a:gd name="connsiteX5252" fmla="*/ 11790511 w 12192528"/>
              <a:gd name="connsiteY5252" fmla="*/ 1553780 h 3912503"/>
              <a:gd name="connsiteX5253" fmla="*/ 11792903 w 12192528"/>
              <a:gd name="connsiteY5253" fmla="*/ 1553602 h 3912503"/>
              <a:gd name="connsiteX5254" fmla="*/ 11804670 w 12192528"/>
              <a:gd name="connsiteY5254" fmla="*/ 1550319 h 3912503"/>
              <a:gd name="connsiteX5255" fmla="*/ 11795112 w 12192528"/>
              <a:gd name="connsiteY5255" fmla="*/ 1551033 h 3912503"/>
              <a:gd name="connsiteX5256" fmla="*/ 11797322 w 12192528"/>
              <a:gd name="connsiteY5256" fmla="*/ 1548465 h 3912503"/>
              <a:gd name="connsiteX5257" fmla="*/ 11794933 w 12192528"/>
              <a:gd name="connsiteY5257" fmla="*/ 1548644 h 3912503"/>
              <a:gd name="connsiteX5258" fmla="*/ 11792544 w 12192528"/>
              <a:gd name="connsiteY5258" fmla="*/ 1548822 h 3912503"/>
              <a:gd name="connsiteX5259" fmla="*/ 11790155 w 12192528"/>
              <a:gd name="connsiteY5259" fmla="*/ 1549000 h 3912503"/>
              <a:gd name="connsiteX5260" fmla="*/ 11765367 w 12192528"/>
              <a:gd name="connsiteY5260" fmla="*/ 1538841 h 3912503"/>
              <a:gd name="connsiteX5261" fmla="*/ 11711194 w 12192528"/>
              <a:gd name="connsiteY5261" fmla="*/ 1521266 h 3912503"/>
              <a:gd name="connsiteX5262" fmla="*/ 11708625 w 12192528"/>
              <a:gd name="connsiteY5262" fmla="*/ 1519056 h 3912503"/>
              <a:gd name="connsiteX5263" fmla="*/ 11706058 w 12192528"/>
              <a:gd name="connsiteY5263" fmla="*/ 1516845 h 3912503"/>
              <a:gd name="connsiteX5264" fmla="*/ 11708268 w 12192528"/>
              <a:gd name="connsiteY5264" fmla="*/ 1514276 h 3912503"/>
              <a:gd name="connsiteX5265" fmla="*/ 11701100 w 12192528"/>
              <a:gd name="connsiteY5265" fmla="*/ 1514813 h 3912503"/>
              <a:gd name="connsiteX5266" fmla="*/ 11654987 w 12192528"/>
              <a:gd name="connsiteY5266" fmla="*/ 1508649 h 3912503"/>
              <a:gd name="connsiteX5267" fmla="*/ 11659587 w 12192528"/>
              <a:gd name="connsiteY5267" fmla="*/ 1505903 h 3912503"/>
              <a:gd name="connsiteX5268" fmla="*/ 11629842 w 12192528"/>
              <a:gd name="connsiteY5268" fmla="*/ 1493709 h 3912503"/>
              <a:gd name="connsiteX5269" fmla="*/ 11634621 w 12192528"/>
              <a:gd name="connsiteY5269" fmla="*/ 1493352 h 3912503"/>
              <a:gd name="connsiteX5270" fmla="*/ 11637011 w 12192528"/>
              <a:gd name="connsiteY5270" fmla="*/ 1493173 h 3912503"/>
              <a:gd name="connsiteX5271" fmla="*/ 11634444 w 12192528"/>
              <a:gd name="connsiteY5271" fmla="*/ 1490964 h 3912503"/>
              <a:gd name="connsiteX5272" fmla="*/ 11629664 w 12192528"/>
              <a:gd name="connsiteY5272" fmla="*/ 1491320 h 3912503"/>
              <a:gd name="connsiteX5273" fmla="*/ 11667895 w 12192528"/>
              <a:gd name="connsiteY5273" fmla="*/ 1488462 h 3912503"/>
              <a:gd name="connsiteX5274" fmla="*/ 11603984 w 12192528"/>
              <a:gd name="connsiteY5274" fmla="*/ 1469213 h 3912503"/>
              <a:gd name="connsiteX5275" fmla="*/ 11596100 w 12192528"/>
              <a:gd name="connsiteY5275" fmla="*/ 1460191 h 3912503"/>
              <a:gd name="connsiteX5276" fmla="*/ 11603090 w 12192528"/>
              <a:gd name="connsiteY5276" fmla="*/ 1457266 h 3912503"/>
              <a:gd name="connsiteX5277" fmla="*/ 11660615 w 12192528"/>
              <a:gd name="connsiteY5277" fmla="*/ 1455368 h 3912503"/>
              <a:gd name="connsiteX5278" fmla="*/ 11669457 w 12192528"/>
              <a:gd name="connsiteY5278" fmla="*/ 1445095 h 3912503"/>
              <a:gd name="connsiteX5279" fmla="*/ 11700698 w 12192528"/>
              <a:gd name="connsiteY5279" fmla="*/ 1445162 h 3912503"/>
              <a:gd name="connsiteX5280" fmla="*/ 11686004 w 12192528"/>
              <a:gd name="connsiteY5280" fmla="*/ 1441455 h 3912503"/>
              <a:gd name="connsiteX5281" fmla="*/ 11705119 w 12192528"/>
              <a:gd name="connsiteY5281" fmla="*/ 1440026 h 3912503"/>
              <a:gd name="connsiteX5282" fmla="*/ 11695026 w 12192528"/>
              <a:gd name="connsiteY5282" fmla="*/ 1433573 h 3912503"/>
              <a:gd name="connsiteX5283" fmla="*/ 11818135 w 12192528"/>
              <a:gd name="connsiteY5283" fmla="*/ 1441187 h 3912503"/>
              <a:gd name="connsiteX5284" fmla="*/ 11830260 w 12192528"/>
              <a:gd name="connsiteY5284" fmla="*/ 1442684 h 3912503"/>
              <a:gd name="connsiteX5285" fmla="*/ 12005870 w 12192528"/>
              <a:gd name="connsiteY5285" fmla="*/ 1472296 h 3912503"/>
              <a:gd name="connsiteX5286" fmla="*/ 12004793 w 12192528"/>
              <a:gd name="connsiteY5286" fmla="*/ 1467472 h 3912503"/>
              <a:gd name="connsiteX5287" fmla="*/ 12001048 w 12192528"/>
              <a:gd name="connsiteY5287" fmla="*/ 1461769 h 3912503"/>
              <a:gd name="connsiteX5288" fmla="*/ 12002499 w 12192528"/>
              <a:gd name="connsiteY5288" fmla="*/ 1449052 h 3912503"/>
              <a:gd name="connsiteX5289" fmla="*/ 11894890 w 12192528"/>
              <a:gd name="connsiteY5289" fmla="*/ 1428363 h 3912503"/>
              <a:gd name="connsiteX5290" fmla="*/ 11729796 w 12192528"/>
              <a:gd name="connsiteY5290" fmla="*/ 1416557 h 3912503"/>
              <a:gd name="connsiteX5291" fmla="*/ 11638642 w 12192528"/>
              <a:gd name="connsiteY5291" fmla="*/ 1418566 h 3912503"/>
              <a:gd name="connsiteX5292" fmla="*/ 11636073 w 12192528"/>
              <a:gd name="connsiteY5292" fmla="*/ 1416356 h 3912503"/>
              <a:gd name="connsiteX5293" fmla="*/ 11628904 w 12192528"/>
              <a:gd name="connsiteY5293" fmla="*/ 1416891 h 3912503"/>
              <a:gd name="connsiteX5294" fmla="*/ 11626695 w 12192528"/>
              <a:gd name="connsiteY5294" fmla="*/ 1419459 h 3912503"/>
              <a:gd name="connsiteX5295" fmla="*/ 11559791 w 12192528"/>
              <a:gd name="connsiteY5295" fmla="*/ 1424462 h 3912503"/>
              <a:gd name="connsiteX5296" fmla="*/ 11405552 w 12192528"/>
              <a:gd name="connsiteY5296" fmla="*/ 1450408 h 3912503"/>
              <a:gd name="connsiteX5297" fmla="*/ 11281960 w 12192528"/>
              <a:gd name="connsiteY5297" fmla="*/ 1483039 h 3912503"/>
              <a:gd name="connsiteX5298" fmla="*/ 11235063 w 12192528"/>
              <a:gd name="connsiteY5298" fmla="*/ 1499986 h 3912503"/>
              <a:gd name="connsiteX5299" fmla="*/ 11239348 w 12192528"/>
              <a:gd name="connsiteY5299" fmla="*/ 1504926 h 3912503"/>
              <a:gd name="connsiteX5300" fmla="*/ 11386016 w 12192528"/>
              <a:gd name="connsiteY5300" fmla="*/ 1464785 h 3912503"/>
              <a:gd name="connsiteX5301" fmla="*/ 11548916 w 12192528"/>
              <a:gd name="connsiteY5301" fmla="*/ 1439691 h 3912503"/>
              <a:gd name="connsiteX5302" fmla="*/ 11549274 w 12192528"/>
              <a:gd name="connsiteY5302" fmla="*/ 1444469 h 3912503"/>
              <a:gd name="connsiteX5303" fmla="*/ 11481946 w 12192528"/>
              <a:gd name="connsiteY5303" fmla="*/ 1475934 h 3912503"/>
              <a:gd name="connsiteX5304" fmla="*/ 11491682 w 12192528"/>
              <a:gd name="connsiteY5304" fmla="*/ 1477609 h 3912503"/>
              <a:gd name="connsiteX5305" fmla="*/ 11449030 w 12192528"/>
              <a:gd name="connsiteY5305" fmla="*/ 1485604 h 3912503"/>
              <a:gd name="connsiteX5306" fmla="*/ 11418862 w 12192528"/>
              <a:gd name="connsiteY5306" fmla="*/ 1499873 h 3912503"/>
              <a:gd name="connsiteX5307" fmla="*/ 11443113 w 12192528"/>
              <a:gd name="connsiteY5307" fmla="*/ 1502865 h 3912503"/>
              <a:gd name="connsiteX5308" fmla="*/ 11440902 w 12192528"/>
              <a:gd name="connsiteY5308" fmla="*/ 1505433 h 3912503"/>
              <a:gd name="connsiteX5309" fmla="*/ 11438513 w 12192528"/>
              <a:gd name="connsiteY5309" fmla="*/ 1505612 h 3912503"/>
              <a:gd name="connsiteX5310" fmla="*/ 11436122 w 12192528"/>
              <a:gd name="connsiteY5310" fmla="*/ 1505790 h 3912503"/>
              <a:gd name="connsiteX5311" fmla="*/ 11431345 w 12192528"/>
              <a:gd name="connsiteY5311" fmla="*/ 1506148 h 3912503"/>
              <a:gd name="connsiteX5312" fmla="*/ 11433912 w 12192528"/>
              <a:gd name="connsiteY5312" fmla="*/ 1508358 h 3912503"/>
              <a:gd name="connsiteX5313" fmla="*/ 11436303 w 12192528"/>
              <a:gd name="connsiteY5313" fmla="*/ 1508179 h 3912503"/>
              <a:gd name="connsiteX5314" fmla="*/ 11438692 w 12192528"/>
              <a:gd name="connsiteY5314" fmla="*/ 1508001 h 3912503"/>
              <a:gd name="connsiteX5315" fmla="*/ 11446038 w 12192528"/>
              <a:gd name="connsiteY5315" fmla="*/ 1509855 h 3912503"/>
              <a:gd name="connsiteX5316" fmla="*/ 11448248 w 12192528"/>
              <a:gd name="connsiteY5316" fmla="*/ 1507286 h 3912503"/>
              <a:gd name="connsiteX5317" fmla="*/ 11445861 w 12192528"/>
              <a:gd name="connsiteY5317" fmla="*/ 1507465 h 3912503"/>
              <a:gd name="connsiteX5318" fmla="*/ 11443292 w 12192528"/>
              <a:gd name="connsiteY5318" fmla="*/ 1505255 h 3912503"/>
              <a:gd name="connsiteX5319" fmla="*/ 11450459 w 12192528"/>
              <a:gd name="connsiteY5319" fmla="*/ 1504719 h 3912503"/>
              <a:gd name="connsiteX5320" fmla="*/ 11452849 w 12192528"/>
              <a:gd name="connsiteY5320" fmla="*/ 1504540 h 3912503"/>
              <a:gd name="connsiteX5321" fmla="*/ 11472858 w 12192528"/>
              <a:gd name="connsiteY5321" fmla="*/ 1515058 h 3912503"/>
              <a:gd name="connsiteX5322" fmla="*/ 11444363 w 12192528"/>
              <a:gd name="connsiteY5322" fmla="*/ 1519591 h 3912503"/>
              <a:gd name="connsiteX5323" fmla="*/ 11454635 w 12192528"/>
              <a:gd name="connsiteY5323" fmla="*/ 1528433 h 3912503"/>
              <a:gd name="connsiteX5324" fmla="*/ 11399077 w 12192528"/>
              <a:gd name="connsiteY5324" fmla="*/ 1556614 h 3912503"/>
              <a:gd name="connsiteX5325" fmla="*/ 11396686 w 12192528"/>
              <a:gd name="connsiteY5325" fmla="*/ 1556794 h 3912503"/>
              <a:gd name="connsiteX5326" fmla="*/ 11391909 w 12192528"/>
              <a:gd name="connsiteY5326" fmla="*/ 1557151 h 3912503"/>
              <a:gd name="connsiteX5327" fmla="*/ 11389698 w 12192528"/>
              <a:gd name="connsiteY5327" fmla="*/ 1559718 h 3912503"/>
              <a:gd name="connsiteX5328" fmla="*/ 11363950 w 12192528"/>
              <a:gd name="connsiteY5328" fmla="*/ 1568852 h 3912503"/>
              <a:gd name="connsiteX5329" fmla="*/ 11354572 w 12192528"/>
              <a:gd name="connsiteY5329" fmla="*/ 1571956 h 3912503"/>
              <a:gd name="connsiteX5330" fmla="*/ 11352361 w 12192528"/>
              <a:gd name="connsiteY5330" fmla="*/ 1574524 h 3912503"/>
              <a:gd name="connsiteX5331" fmla="*/ 11349972 w 12192528"/>
              <a:gd name="connsiteY5331" fmla="*/ 1574703 h 3912503"/>
              <a:gd name="connsiteX5332" fmla="*/ 11350150 w 12192528"/>
              <a:gd name="connsiteY5332" fmla="*/ 1577092 h 3912503"/>
              <a:gd name="connsiteX5333" fmla="*/ 11347760 w 12192528"/>
              <a:gd name="connsiteY5333" fmla="*/ 1577271 h 3912503"/>
              <a:gd name="connsiteX5334" fmla="*/ 11338560 w 12192528"/>
              <a:gd name="connsiteY5334" fmla="*/ 1582765 h 3912503"/>
              <a:gd name="connsiteX5335" fmla="*/ 11345908 w 12192528"/>
              <a:gd name="connsiteY5335" fmla="*/ 1584618 h 3912503"/>
              <a:gd name="connsiteX5336" fmla="*/ 11341485 w 12192528"/>
              <a:gd name="connsiteY5336" fmla="*/ 1589754 h 3912503"/>
              <a:gd name="connsiteX5337" fmla="*/ 11320159 w 12192528"/>
              <a:gd name="connsiteY5337" fmla="*/ 1593751 h 3912503"/>
              <a:gd name="connsiteX5338" fmla="*/ 11317664 w 12192528"/>
              <a:gd name="connsiteY5338" fmla="*/ 1595200 h 3912503"/>
              <a:gd name="connsiteX5339" fmla="*/ 11333078 w 12192528"/>
              <a:gd name="connsiteY5339" fmla="*/ 1612970 h 3912503"/>
              <a:gd name="connsiteX5340" fmla="*/ 11388303 w 12192528"/>
              <a:gd name="connsiteY5340" fmla="*/ 1598219 h 3912503"/>
              <a:gd name="connsiteX5341" fmla="*/ 11447717 w 12192528"/>
              <a:gd name="connsiteY5341" fmla="*/ 1588132 h 3912503"/>
              <a:gd name="connsiteX5342" fmla="*/ 11458791 w 12192528"/>
              <a:gd name="connsiteY5342" fmla="*/ 1590064 h 3912503"/>
              <a:gd name="connsiteX5343" fmla="*/ 11454672 w 12192528"/>
              <a:gd name="connsiteY5343" fmla="*/ 1595329 h 3912503"/>
              <a:gd name="connsiteX5344" fmla="*/ 11359640 w 12192528"/>
              <a:gd name="connsiteY5344" fmla="*/ 1616676 h 3912503"/>
              <a:gd name="connsiteX5345" fmla="*/ 11341256 w 12192528"/>
              <a:gd name="connsiteY5345" fmla="*/ 1622396 h 3912503"/>
              <a:gd name="connsiteX5346" fmla="*/ 11347775 w 12192528"/>
              <a:gd name="connsiteY5346" fmla="*/ 1629910 h 3912503"/>
              <a:gd name="connsiteX5347" fmla="*/ 11365669 w 12192528"/>
              <a:gd name="connsiteY5347" fmla="*/ 1623987 h 3912503"/>
              <a:gd name="connsiteX5348" fmla="*/ 11382038 w 12192528"/>
              <a:gd name="connsiteY5348" fmla="*/ 1617958 h 3912503"/>
              <a:gd name="connsiteX5349" fmla="*/ 11389028 w 12192528"/>
              <a:gd name="connsiteY5349" fmla="*/ 1615033 h 3912503"/>
              <a:gd name="connsiteX5350" fmla="*/ 11391417 w 12192528"/>
              <a:gd name="connsiteY5350" fmla="*/ 1614853 h 3912503"/>
              <a:gd name="connsiteX5351" fmla="*/ 11398764 w 12192528"/>
              <a:gd name="connsiteY5351" fmla="*/ 1616708 h 3912503"/>
              <a:gd name="connsiteX5352" fmla="*/ 11401153 w 12192528"/>
              <a:gd name="connsiteY5352" fmla="*/ 1616528 h 3912503"/>
              <a:gd name="connsiteX5353" fmla="*/ 11405753 w 12192528"/>
              <a:gd name="connsiteY5353" fmla="*/ 1613782 h 3912503"/>
              <a:gd name="connsiteX5354" fmla="*/ 11405575 w 12192528"/>
              <a:gd name="connsiteY5354" fmla="*/ 1611392 h 3912503"/>
              <a:gd name="connsiteX5355" fmla="*/ 11417521 w 12192528"/>
              <a:gd name="connsiteY5355" fmla="*/ 1610500 h 3912503"/>
              <a:gd name="connsiteX5356" fmla="*/ 11419733 w 12192528"/>
              <a:gd name="connsiteY5356" fmla="*/ 1607932 h 3912503"/>
              <a:gd name="connsiteX5357" fmla="*/ 11417343 w 12192528"/>
              <a:gd name="connsiteY5357" fmla="*/ 1608111 h 3912503"/>
              <a:gd name="connsiteX5358" fmla="*/ 11405575 w 12192528"/>
              <a:gd name="connsiteY5358" fmla="*/ 1611392 h 3912503"/>
              <a:gd name="connsiteX5359" fmla="*/ 11405396 w 12192528"/>
              <a:gd name="connsiteY5359" fmla="*/ 1609004 h 3912503"/>
              <a:gd name="connsiteX5360" fmla="*/ 11410174 w 12192528"/>
              <a:gd name="connsiteY5360" fmla="*/ 1608647 h 3912503"/>
              <a:gd name="connsiteX5361" fmla="*/ 11412564 w 12192528"/>
              <a:gd name="connsiteY5361" fmla="*/ 1608468 h 3912503"/>
              <a:gd name="connsiteX5362" fmla="*/ 11419553 w 12192528"/>
              <a:gd name="connsiteY5362" fmla="*/ 1605542 h 3912503"/>
              <a:gd name="connsiteX5363" fmla="*/ 11429110 w 12192528"/>
              <a:gd name="connsiteY5363" fmla="*/ 1604828 h 3912503"/>
              <a:gd name="connsiteX5364" fmla="*/ 11426900 w 12192528"/>
              <a:gd name="connsiteY5364" fmla="*/ 1607397 h 3912503"/>
              <a:gd name="connsiteX5365" fmla="*/ 11431680 w 12192528"/>
              <a:gd name="connsiteY5365" fmla="*/ 1607038 h 3912503"/>
              <a:gd name="connsiteX5366" fmla="*/ 11436458 w 12192528"/>
              <a:gd name="connsiteY5366" fmla="*/ 1606682 h 3912503"/>
              <a:gd name="connsiteX5367" fmla="*/ 11443448 w 12192528"/>
              <a:gd name="connsiteY5367" fmla="*/ 1603755 h 3912503"/>
              <a:gd name="connsiteX5368" fmla="*/ 11448226 w 12192528"/>
              <a:gd name="connsiteY5368" fmla="*/ 1603399 h 3912503"/>
              <a:gd name="connsiteX5369" fmla="*/ 11450437 w 12192528"/>
              <a:gd name="connsiteY5369" fmla="*/ 1600831 h 3912503"/>
              <a:gd name="connsiteX5370" fmla="*/ 11457426 w 12192528"/>
              <a:gd name="connsiteY5370" fmla="*/ 1597904 h 3912503"/>
              <a:gd name="connsiteX5371" fmla="*/ 11462206 w 12192528"/>
              <a:gd name="connsiteY5371" fmla="*/ 1597548 h 3912503"/>
              <a:gd name="connsiteX5372" fmla="*/ 11464774 w 12192528"/>
              <a:gd name="connsiteY5372" fmla="*/ 1599758 h 3912503"/>
              <a:gd name="connsiteX5373" fmla="*/ 11466984 w 12192528"/>
              <a:gd name="connsiteY5373" fmla="*/ 1597190 h 3912503"/>
              <a:gd name="connsiteX5374" fmla="*/ 11471942 w 12192528"/>
              <a:gd name="connsiteY5374" fmla="*/ 1599223 h 3912503"/>
              <a:gd name="connsiteX5375" fmla="*/ 11476542 w 12192528"/>
              <a:gd name="connsiteY5375" fmla="*/ 1596475 h 3912503"/>
              <a:gd name="connsiteX5376" fmla="*/ 11473974 w 12192528"/>
              <a:gd name="connsiteY5376" fmla="*/ 1594265 h 3912503"/>
              <a:gd name="connsiteX5377" fmla="*/ 11481142 w 12192528"/>
              <a:gd name="connsiteY5377" fmla="*/ 1593729 h 3912503"/>
              <a:gd name="connsiteX5378" fmla="*/ 11483532 w 12192528"/>
              <a:gd name="connsiteY5378" fmla="*/ 1593551 h 3912503"/>
              <a:gd name="connsiteX5379" fmla="*/ 11492910 w 12192528"/>
              <a:gd name="connsiteY5379" fmla="*/ 1590446 h 3912503"/>
              <a:gd name="connsiteX5380" fmla="*/ 11502468 w 12192528"/>
              <a:gd name="connsiteY5380" fmla="*/ 1589732 h 3912503"/>
              <a:gd name="connsiteX5381" fmla="*/ 11509636 w 12192528"/>
              <a:gd name="connsiteY5381" fmla="*/ 1589196 h 3912503"/>
              <a:gd name="connsiteX5382" fmla="*/ 11523972 w 12192528"/>
              <a:gd name="connsiteY5382" fmla="*/ 1588124 h 3912503"/>
              <a:gd name="connsiteX5383" fmla="*/ 11531320 w 12192528"/>
              <a:gd name="connsiteY5383" fmla="*/ 1589978 h 3912503"/>
              <a:gd name="connsiteX5384" fmla="*/ 11529109 w 12192528"/>
              <a:gd name="connsiteY5384" fmla="*/ 1592545 h 3912503"/>
              <a:gd name="connsiteX5385" fmla="*/ 11526897 w 12192528"/>
              <a:gd name="connsiteY5385" fmla="*/ 1595114 h 3912503"/>
              <a:gd name="connsiteX5386" fmla="*/ 11529287 w 12192528"/>
              <a:gd name="connsiteY5386" fmla="*/ 1594935 h 3912503"/>
              <a:gd name="connsiteX5387" fmla="*/ 11531676 w 12192528"/>
              <a:gd name="connsiteY5387" fmla="*/ 1594757 h 3912503"/>
              <a:gd name="connsiteX5388" fmla="*/ 11533889 w 12192528"/>
              <a:gd name="connsiteY5388" fmla="*/ 1592188 h 3912503"/>
              <a:gd name="connsiteX5389" fmla="*/ 11536098 w 12192528"/>
              <a:gd name="connsiteY5389" fmla="*/ 1589621 h 3912503"/>
              <a:gd name="connsiteX5390" fmla="*/ 11535920 w 12192528"/>
              <a:gd name="connsiteY5390" fmla="*/ 1587231 h 3912503"/>
              <a:gd name="connsiteX5391" fmla="*/ 11523794 w 12192528"/>
              <a:gd name="connsiteY5391" fmla="*/ 1585734 h 3912503"/>
              <a:gd name="connsiteX5392" fmla="*/ 11521405 w 12192528"/>
              <a:gd name="connsiteY5392" fmla="*/ 1585914 h 3912503"/>
              <a:gd name="connsiteX5393" fmla="*/ 11511847 w 12192528"/>
              <a:gd name="connsiteY5393" fmla="*/ 1586628 h 3912503"/>
              <a:gd name="connsiteX5394" fmla="*/ 11507068 w 12192528"/>
              <a:gd name="connsiteY5394" fmla="*/ 1586985 h 3912503"/>
              <a:gd name="connsiteX5395" fmla="*/ 11518837 w 12192528"/>
              <a:gd name="connsiteY5395" fmla="*/ 1583703 h 3912503"/>
              <a:gd name="connsiteX5396" fmla="*/ 11532994 w 12192528"/>
              <a:gd name="connsiteY5396" fmla="*/ 1580242 h 3912503"/>
              <a:gd name="connsiteX5397" fmla="*/ 11537952 w 12192528"/>
              <a:gd name="connsiteY5397" fmla="*/ 1582274 h 3912503"/>
              <a:gd name="connsiteX5398" fmla="*/ 11542730 w 12192528"/>
              <a:gd name="connsiteY5398" fmla="*/ 1581917 h 3912503"/>
              <a:gd name="connsiteX5399" fmla="*/ 11554677 w 12192528"/>
              <a:gd name="connsiteY5399" fmla="*/ 1581024 h 3912503"/>
              <a:gd name="connsiteX5400" fmla="*/ 11552466 w 12192528"/>
              <a:gd name="connsiteY5400" fmla="*/ 1583591 h 3912503"/>
              <a:gd name="connsiteX5401" fmla="*/ 11552645 w 12192528"/>
              <a:gd name="connsiteY5401" fmla="*/ 1585980 h 3912503"/>
              <a:gd name="connsiteX5402" fmla="*/ 11555034 w 12192528"/>
              <a:gd name="connsiteY5402" fmla="*/ 1585802 h 3912503"/>
              <a:gd name="connsiteX5403" fmla="*/ 11557424 w 12192528"/>
              <a:gd name="connsiteY5403" fmla="*/ 1585623 h 3912503"/>
              <a:gd name="connsiteX5404" fmla="*/ 11559634 w 12192528"/>
              <a:gd name="connsiteY5404" fmla="*/ 1583055 h 3912503"/>
              <a:gd name="connsiteX5405" fmla="*/ 11562024 w 12192528"/>
              <a:gd name="connsiteY5405" fmla="*/ 1582877 h 3912503"/>
              <a:gd name="connsiteX5406" fmla="*/ 11564413 w 12192528"/>
              <a:gd name="connsiteY5406" fmla="*/ 1582697 h 3912503"/>
              <a:gd name="connsiteX5407" fmla="*/ 11573792 w 12192528"/>
              <a:gd name="connsiteY5407" fmla="*/ 1579595 h 3912503"/>
              <a:gd name="connsiteX5408" fmla="*/ 11585740 w 12192528"/>
              <a:gd name="connsiteY5408" fmla="*/ 1578702 h 3912503"/>
              <a:gd name="connsiteX5409" fmla="*/ 11588308 w 12192528"/>
              <a:gd name="connsiteY5409" fmla="*/ 1580911 h 3912503"/>
              <a:gd name="connsiteX5410" fmla="*/ 11586097 w 12192528"/>
              <a:gd name="connsiteY5410" fmla="*/ 1583480 h 3912503"/>
              <a:gd name="connsiteX5411" fmla="*/ 11557602 w 12192528"/>
              <a:gd name="connsiteY5411" fmla="*/ 1588013 h 3912503"/>
              <a:gd name="connsiteX5412" fmla="*/ 11555212 w 12192528"/>
              <a:gd name="connsiteY5412" fmla="*/ 1588192 h 3912503"/>
              <a:gd name="connsiteX5413" fmla="*/ 11557781 w 12192528"/>
              <a:gd name="connsiteY5413" fmla="*/ 1590401 h 3912503"/>
              <a:gd name="connsiteX5414" fmla="*/ 11586276 w 12192528"/>
              <a:gd name="connsiteY5414" fmla="*/ 1585869 h 3912503"/>
              <a:gd name="connsiteX5415" fmla="*/ 11591591 w 12192528"/>
              <a:gd name="connsiteY5415" fmla="*/ 1592680 h 3912503"/>
              <a:gd name="connsiteX5416" fmla="*/ 11618231 w 12192528"/>
              <a:gd name="connsiteY5416" fmla="*/ 1595494 h 3912503"/>
              <a:gd name="connsiteX5417" fmla="*/ 11715235 w 12192528"/>
              <a:gd name="connsiteY5417" fmla="*/ 1607464 h 3912503"/>
              <a:gd name="connsiteX5418" fmla="*/ 11717625 w 12192528"/>
              <a:gd name="connsiteY5418" fmla="*/ 1607284 h 3912503"/>
              <a:gd name="connsiteX5419" fmla="*/ 11720015 w 12192528"/>
              <a:gd name="connsiteY5419" fmla="*/ 1607106 h 3912503"/>
              <a:gd name="connsiteX5420" fmla="*/ 11717447 w 12192528"/>
              <a:gd name="connsiteY5420" fmla="*/ 1604895 h 3912503"/>
              <a:gd name="connsiteX5421" fmla="*/ 11622830 w 12192528"/>
              <a:gd name="connsiteY5421" fmla="*/ 1592748 h 3912503"/>
              <a:gd name="connsiteX5422" fmla="*/ 11625220 w 12192528"/>
              <a:gd name="connsiteY5422" fmla="*/ 1592568 h 3912503"/>
              <a:gd name="connsiteX5423" fmla="*/ 11620084 w 12192528"/>
              <a:gd name="connsiteY5423" fmla="*/ 1588147 h 3912503"/>
              <a:gd name="connsiteX5424" fmla="*/ 11627251 w 12192528"/>
              <a:gd name="connsiteY5424" fmla="*/ 1587610 h 3912503"/>
              <a:gd name="connsiteX5425" fmla="*/ 11627431 w 12192528"/>
              <a:gd name="connsiteY5425" fmla="*/ 1590000 h 3912503"/>
              <a:gd name="connsiteX5426" fmla="*/ 11629822 w 12192528"/>
              <a:gd name="connsiteY5426" fmla="*/ 1589822 h 3912503"/>
              <a:gd name="connsiteX5427" fmla="*/ 11632209 w 12192528"/>
              <a:gd name="connsiteY5427" fmla="*/ 1589643 h 3912503"/>
              <a:gd name="connsiteX5428" fmla="*/ 11632031 w 12192528"/>
              <a:gd name="connsiteY5428" fmla="*/ 1587254 h 3912503"/>
              <a:gd name="connsiteX5429" fmla="*/ 11644156 w 12192528"/>
              <a:gd name="connsiteY5429" fmla="*/ 1588750 h 3912503"/>
              <a:gd name="connsiteX5430" fmla="*/ 11648936 w 12192528"/>
              <a:gd name="connsiteY5430" fmla="*/ 1588392 h 3912503"/>
              <a:gd name="connsiteX5431" fmla="*/ 11656104 w 12192528"/>
              <a:gd name="connsiteY5431" fmla="*/ 1587856 h 3912503"/>
              <a:gd name="connsiteX5432" fmla="*/ 11658493 w 12192528"/>
              <a:gd name="connsiteY5432" fmla="*/ 1587678 h 3912503"/>
              <a:gd name="connsiteX5433" fmla="*/ 11661061 w 12192528"/>
              <a:gd name="connsiteY5433" fmla="*/ 1589889 h 3912503"/>
              <a:gd name="connsiteX5434" fmla="*/ 11665839 w 12192528"/>
              <a:gd name="connsiteY5434" fmla="*/ 1589531 h 3912503"/>
              <a:gd name="connsiteX5435" fmla="*/ 11668051 w 12192528"/>
              <a:gd name="connsiteY5435" fmla="*/ 1586963 h 3912503"/>
              <a:gd name="connsiteX5436" fmla="*/ 11725396 w 12192528"/>
              <a:gd name="connsiteY5436" fmla="*/ 1582676 h 3912503"/>
              <a:gd name="connsiteX5437" fmla="*/ 11752037 w 12192528"/>
              <a:gd name="connsiteY5437" fmla="*/ 1585490 h 3912503"/>
              <a:gd name="connsiteX5438" fmla="*/ 11749470 w 12192528"/>
              <a:gd name="connsiteY5438" fmla="*/ 1583279 h 3912503"/>
              <a:gd name="connsiteX5439" fmla="*/ 11797614 w 12192528"/>
              <a:gd name="connsiteY5439" fmla="*/ 1584485 h 3912503"/>
              <a:gd name="connsiteX5440" fmla="*/ 11799824 w 12192528"/>
              <a:gd name="connsiteY5440" fmla="*/ 1581917 h 3912503"/>
              <a:gd name="connsiteX5441" fmla="*/ 11811950 w 12192528"/>
              <a:gd name="connsiteY5441" fmla="*/ 1583413 h 3912503"/>
              <a:gd name="connsiteX5442" fmla="*/ 11814519 w 12192528"/>
              <a:gd name="connsiteY5442" fmla="*/ 1585624 h 3912503"/>
              <a:gd name="connsiteX5443" fmla="*/ 11819118 w 12192528"/>
              <a:gd name="connsiteY5443" fmla="*/ 1582877 h 3912503"/>
              <a:gd name="connsiteX5444" fmla="*/ 11833634 w 12192528"/>
              <a:gd name="connsiteY5444" fmla="*/ 1584195 h 3912503"/>
              <a:gd name="connsiteX5445" fmla="*/ 11836023 w 12192528"/>
              <a:gd name="connsiteY5445" fmla="*/ 1584017 h 3912503"/>
              <a:gd name="connsiteX5446" fmla="*/ 11843368 w 12192528"/>
              <a:gd name="connsiteY5446" fmla="*/ 1585869 h 3912503"/>
              <a:gd name="connsiteX5447" fmla="*/ 11845758 w 12192528"/>
              <a:gd name="connsiteY5447" fmla="*/ 1585691 h 3912503"/>
              <a:gd name="connsiteX5448" fmla="*/ 11848148 w 12192528"/>
              <a:gd name="connsiteY5448" fmla="*/ 1585511 h 3912503"/>
              <a:gd name="connsiteX5449" fmla="*/ 11889481 w 12192528"/>
              <a:gd name="connsiteY5449" fmla="*/ 1592033 h 3912503"/>
              <a:gd name="connsiteX5450" fmla="*/ 11896649 w 12192528"/>
              <a:gd name="connsiteY5450" fmla="*/ 1591497 h 3912503"/>
              <a:gd name="connsiteX5451" fmla="*/ 11899040 w 12192528"/>
              <a:gd name="connsiteY5451" fmla="*/ 1591318 h 3912503"/>
              <a:gd name="connsiteX5452" fmla="*/ 11908596 w 12192528"/>
              <a:gd name="connsiteY5452" fmla="*/ 1590603 h 3912503"/>
              <a:gd name="connsiteX5453" fmla="*/ 11935594 w 12192528"/>
              <a:gd name="connsiteY5453" fmla="*/ 1598196 h 3912503"/>
              <a:gd name="connsiteX5454" fmla="*/ 12038271 w 12192528"/>
              <a:gd name="connsiteY5454" fmla="*/ 1621756 h 3912503"/>
              <a:gd name="connsiteX5455" fmla="*/ 12040662 w 12192528"/>
              <a:gd name="connsiteY5455" fmla="*/ 1621577 h 3912503"/>
              <a:gd name="connsiteX5456" fmla="*/ 12043230 w 12192528"/>
              <a:gd name="connsiteY5456" fmla="*/ 1623788 h 3912503"/>
              <a:gd name="connsiteX5457" fmla="*/ 12076227 w 12192528"/>
              <a:gd name="connsiteY5457" fmla="*/ 1639341 h 3912503"/>
              <a:gd name="connsiteX5458" fmla="*/ 12108878 w 12192528"/>
              <a:gd name="connsiteY5458" fmla="*/ 1652983 h 3912503"/>
              <a:gd name="connsiteX5459" fmla="*/ 12108167 w 12192528"/>
              <a:gd name="connsiteY5459" fmla="*/ 1652759 h 3912503"/>
              <a:gd name="connsiteX5460" fmla="*/ 12100508 w 12192528"/>
              <a:gd name="connsiteY5460" fmla="*/ 1650742 h 3912503"/>
              <a:gd name="connsiteX5461" fmla="*/ 12095550 w 12192528"/>
              <a:gd name="connsiteY5461" fmla="*/ 1648709 h 3912503"/>
              <a:gd name="connsiteX5462" fmla="*/ 12078288 w 12192528"/>
              <a:gd name="connsiteY5462" fmla="*/ 1642791 h 3912503"/>
              <a:gd name="connsiteX5463" fmla="*/ 12048722 w 12192528"/>
              <a:gd name="connsiteY5463" fmla="*/ 1632987 h 3912503"/>
              <a:gd name="connsiteX5464" fmla="*/ 12043764 w 12192528"/>
              <a:gd name="connsiteY5464" fmla="*/ 1630956 h 3912503"/>
              <a:gd name="connsiteX5465" fmla="*/ 12038808 w 12192528"/>
              <a:gd name="connsiteY5465" fmla="*/ 1628924 h 3912503"/>
              <a:gd name="connsiteX5466" fmla="*/ 12036596 w 12192528"/>
              <a:gd name="connsiteY5466" fmla="*/ 1631492 h 3912503"/>
              <a:gd name="connsiteX5467" fmla="*/ 12046691 w 12192528"/>
              <a:gd name="connsiteY5467" fmla="*/ 1637945 h 3912503"/>
              <a:gd name="connsiteX5468" fmla="*/ 12049080 w 12192528"/>
              <a:gd name="connsiteY5468" fmla="*/ 1637767 h 3912503"/>
              <a:gd name="connsiteX5469" fmla="*/ 12093517 w 12192528"/>
              <a:gd name="connsiteY5469" fmla="*/ 1653667 h 3912503"/>
              <a:gd name="connsiteX5470" fmla="*/ 12095908 w 12192528"/>
              <a:gd name="connsiteY5470" fmla="*/ 1653488 h 3912503"/>
              <a:gd name="connsiteX5471" fmla="*/ 12108568 w 12192528"/>
              <a:gd name="connsiteY5471" fmla="*/ 1662152 h 3912503"/>
              <a:gd name="connsiteX5472" fmla="*/ 12123441 w 12192528"/>
              <a:gd name="connsiteY5472" fmla="*/ 1668249 h 3912503"/>
              <a:gd name="connsiteX5473" fmla="*/ 12153074 w 12192528"/>
              <a:gd name="connsiteY5473" fmla="*/ 1678948 h 3912503"/>
              <a:gd name="connsiteX5474" fmla="*/ 12178245 w 12192528"/>
              <a:gd name="connsiteY5474" fmla="*/ 1692420 h 3912503"/>
              <a:gd name="connsiteX5475" fmla="*/ 12175762 w 12192528"/>
              <a:gd name="connsiteY5475" fmla="*/ 1693170 h 3912503"/>
              <a:gd name="connsiteX5476" fmla="*/ 12192528 w 12192528"/>
              <a:gd name="connsiteY5476" fmla="*/ 1701733 h 3912503"/>
              <a:gd name="connsiteX5477" fmla="*/ 12192528 w 12192528"/>
              <a:gd name="connsiteY5477" fmla="*/ 1875532 h 3912503"/>
              <a:gd name="connsiteX5478" fmla="*/ 12155044 w 12192528"/>
              <a:gd name="connsiteY5478" fmla="*/ 1856672 h 3912503"/>
              <a:gd name="connsiteX5479" fmla="*/ 12122398 w 12192528"/>
              <a:gd name="connsiteY5479" fmla="*/ 1839496 h 3912503"/>
              <a:gd name="connsiteX5480" fmla="*/ 12120302 w 12192528"/>
              <a:gd name="connsiteY5480" fmla="*/ 1837691 h 3912503"/>
              <a:gd name="connsiteX5481" fmla="*/ 12116257 w 12192528"/>
              <a:gd name="connsiteY5481" fmla="*/ 1836031 h 3912503"/>
              <a:gd name="connsiteX5482" fmla="*/ 12106796 w 12192528"/>
              <a:gd name="connsiteY5482" fmla="*/ 1831249 h 3912503"/>
              <a:gd name="connsiteX5483" fmla="*/ 12109476 w 12192528"/>
              <a:gd name="connsiteY5483" fmla="*/ 1836130 h 3912503"/>
              <a:gd name="connsiteX5484" fmla="*/ 12116404 w 12192528"/>
              <a:gd name="connsiteY5484" fmla="*/ 1837982 h 3912503"/>
              <a:gd name="connsiteX5485" fmla="*/ 12114455 w 12192528"/>
              <a:gd name="connsiteY5485" fmla="*/ 1838128 h 3912503"/>
              <a:gd name="connsiteX5486" fmla="*/ 12118499 w 12192528"/>
              <a:gd name="connsiteY5486" fmla="*/ 1839787 h 3912503"/>
              <a:gd name="connsiteX5487" fmla="*/ 12120595 w 12192528"/>
              <a:gd name="connsiteY5487" fmla="*/ 1841592 h 3912503"/>
              <a:gd name="connsiteX5488" fmla="*/ 12165737 w 12192528"/>
              <a:gd name="connsiteY5488" fmla="*/ 1871806 h 3912503"/>
              <a:gd name="connsiteX5489" fmla="*/ 12164154 w 12192528"/>
              <a:gd name="connsiteY5489" fmla="*/ 1873647 h 3912503"/>
              <a:gd name="connsiteX5490" fmla="*/ 12166103 w 12192528"/>
              <a:gd name="connsiteY5490" fmla="*/ 1873501 h 3912503"/>
              <a:gd name="connsiteX5491" fmla="*/ 12168053 w 12192528"/>
              <a:gd name="connsiteY5491" fmla="*/ 1873355 h 3912503"/>
              <a:gd name="connsiteX5492" fmla="*/ 12170148 w 12192528"/>
              <a:gd name="connsiteY5492" fmla="*/ 1875161 h 3912503"/>
              <a:gd name="connsiteX5493" fmla="*/ 12180624 w 12192528"/>
              <a:gd name="connsiteY5493" fmla="*/ 1884185 h 3912503"/>
              <a:gd name="connsiteX5494" fmla="*/ 12178383 w 12192528"/>
              <a:gd name="connsiteY5494" fmla="*/ 1880430 h 3912503"/>
              <a:gd name="connsiteX5495" fmla="*/ 12180331 w 12192528"/>
              <a:gd name="connsiteY5495" fmla="*/ 1880285 h 3912503"/>
              <a:gd name="connsiteX5496" fmla="*/ 12182281 w 12192528"/>
              <a:gd name="connsiteY5496" fmla="*/ 1880138 h 3912503"/>
              <a:gd name="connsiteX5497" fmla="*/ 12180184 w 12192528"/>
              <a:gd name="connsiteY5497" fmla="*/ 1878333 h 3912503"/>
              <a:gd name="connsiteX5498" fmla="*/ 12186513 w 12192528"/>
              <a:gd name="connsiteY5498" fmla="*/ 1881048 h 3912503"/>
              <a:gd name="connsiteX5499" fmla="*/ 12192528 w 12192528"/>
              <a:gd name="connsiteY5499" fmla="*/ 1884146 h 3912503"/>
              <a:gd name="connsiteX5500" fmla="*/ 12192528 w 12192528"/>
              <a:gd name="connsiteY5500" fmla="*/ 1885258 h 3912503"/>
              <a:gd name="connsiteX5501" fmla="*/ 12192465 w 12192528"/>
              <a:gd name="connsiteY5501" fmla="*/ 1885262 h 3912503"/>
              <a:gd name="connsiteX5502" fmla="*/ 12190369 w 12192528"/>
              <a:gd name="connsiteY5502" fmla="*/ 1883457 h 3912503"/>
              <a:gd name="connsiteX5503" fmla="*/ 12188421 w 12192528"/>
              <a:gd name="connsiteY5503" fmla="*/ 1883603 h 3912503"/>
              <a:gd name="connsiteX5504" fmla="*/ 12192528 w 12192528"/>
              <a:gd name="connsiteY5504" fmla="*/ 1887143 h 3912503"/>
              <a:gd name="connsiteX5505" fmla="*/ 12192528 w 12192528"/>
              <a:gd name="connsiteY5505" fmla="*/ 1958759 h 3912503"/>
              <a:gd name="connsiteX5506" fmla="*/ 12158038 w 12192528"/>
              <a:gd name="connsiteY5506" fmla="*/ 1934428 h 3912503"/>
              <a:gd name="connsiteX5507" fmla="*/ 12031094 w 12192528"/>
              <a:gd name="connsiteY5507" fmla="*/ 1869163 h 3912503"/>
              <a:gd name="connsiteX5508" fmla="*/ 11963817 w 12192528"/>
              <a:gd name="connsiteY5508" fmla="*/ 1845439 h 3912503"/>
              <a:gd name="connsiteX5509" fmla="*/ 11890564 w 12192528"/>
              <a:gd name="connsiteY5509" fmla="*/ 1829006 h 3912503"/>
              <a:gd name="connsiteX5510" fmla="*/ 11810821 w 12192528"/>
              <a:gd name="connsiteY5510" fmla="*/ 1817337 h 3912503"/>
              <a:gd name="connsiteX5511" fmla="*/ 11790325 w 12192528"/>
              <a:gd name="connsiteY5511" fmla="*/ 1814196 h 3912503"/>
              <a:gd name="connsiteX5512" fmla="*/ 11770484 w 12192528"/>
              <a:gd name="connsiteY5512" fmla="*/ 1820457 h 3912503"/>
              <a:gd name="connsiteX5513" fmla="*/ 11740721 w 12192528"/>
              <a:gd name="connsiteY5513" fmla="*/ 1822778 h 3912503"/>
              <a:gd name="connsiteX5514" fmla="*/ 11578846 w 12192528"/>
              <a:gd name="connsiteY5514" fmla="*/ 1821529 h 3912503"/>
              <a:gd name="connsiteX5515" fmla="*/ 11569192 w 12192528"/>
              <a:gd name="connsiteY5515" fmla="*/ 1825827 h 3912503"/>
              <a:gd name="connsiteX5516" fmla="*/ 11581531 w 12192528"/>
              <a:gd name="connsiteY5516" fmla="*/ 1830067 h 3912503"/>
              <a:gd name="connsiteX5517" fmla="*/ 11827489 w 12192528"/>
              <a:gd name="connsiteY5517" fmla="*/ 1842230 h 3912503"/>
              <a:gd name="connsiteX5518" fmla="*/ 11836946 w 12192528"/>
              <a:gd name="connsiteY5518" fmla="*/ 1843046 h 3912503"/>
              <a:gd name="connsiteX5519" fmla="*/ 11842362 w 12192528"/>
              <a:gd name="connsiteY5519" fmla="*/ 1851086 h 3912503"/>
              <a:gd name="connsiteX5520" fmla="*/ 11833901 w 12192528"/>
              <a:gd name="connsiteY5520" fmla="*/ 1855732 h 3912503"/>
              <a:gd name="connsiteX5521" fmla="*/ 11785510 w 12192528"/>
              <a:gd name="connsiteY5521" fmla="*/ 1848597 h 3912503"/>
              <a:gd name="connsiteX5522" fmla="*/ 11767387 w 12192528"/>
              <a:gd name="connsiteY5522" fmla="*/ 1847364 h 3912503"/>
              <a:gd name="connsiteX5523" fmla="*/ 11845289 w 12192528"/>
              <a:gd name="connsiteY5523" fmla="*/ 1862300 h 3912503"/>
              <a:gd name="connsiteX5524" fmla="*/ 12189934 w 12192528"/>
              <a:gd name="connsiteY5524" fmla="*/ 2022009 h 3912503"/>
              <a:gd name="connsiteX5525" fmla="*/ 12192528 w 12192528"/>
              <a:gd name="connsiteY5525" fmla="*/ 2024036 h 3912503"/>
              <a:gd name="connsiteX5526" fmla="*/ 12192528 w 12192528"/>
              <a:gd name="connsiteY5526" fmla="*/ 3912503 h 3912503"/>
              <a:gd name="connsiteX5527" fmla="*/ 8919422 w 12192528"/>
              <a:gd name="connsiteY5527" fmla="*/ 3912503 h 3912503"/>
              <a:gd name="connsiteX5528" fmla="*/ 7502493 w 12192528"/>
              <a:gd name="connsiteY5528" fmla="*/ 3912503 h 3912503"/>
              <a:gd name="connsiteX5529" fmla="*/ 7486248 w 12192528"/>
              <a:gd name="connsiteY5529" fmla="*/ 3912503 h 3912503"/>
              <a:gd name="connsiteX5530" fmla="*/ 6270700 w 12192528"/>
              <a:gd name="connsiteY5530" fmla="*/ 3912503 h 3912503"/>
              <a:gd name="connsiteX5531" fmla="*/ 2570428 w 12192528"/>
              <a:gd name="connsiteY5531" fmla="*/ 3912503 h 3912503"/>
              <a:gd name="connsiteX5532" fmla="*/ 2568147 w 12192528"/>
              <a:gd name="connsiteY5532" fmla="*/ 3901375 h 3912503"/>
              <a:gd name="connsiteX5533" fmla="*/ 2570303 w 12192528"/>
              <a:gd name="connsiteY5533" fmla="*/ 3898823 h 3912503"/>
              <a:gd name="connsiteX5534" fmla="*/ 2567750 w 12192528"/>
              <a:gd name="connsiteY5534" fmla="*/ 3896665 h 3912503"/>
              <a:gd name="connsiteX5535" fmla="*/ 2566957 w 12192528"/>
              <a:gd name="connsiteY5535" fmla="*/ 3887246 h 3912503"/>
              <a:gd name="connsiteX5536" fmla="*/ 2564800 w 12192528"/>
              <a:gd name="connsiteY5536" fmla="*/ 3889799 h 3912503"/>
              <a:gd name="connsiteX5537" fmla="*/ 2565197 w 12192528"/>
              <a:gd name="connsiteY5537" fmla="*/ 3894508 h 3912503"/>
              <a:gd name="connsiteX5538" fmla="*/ 2555553 w 12192528"/>
              <a:gd name="connsiteY5538" fmla="*/ 3864488 h 3912503"/>
              <a:gd name="connsiteX5539" fmla="*/ 2548775 w 12192528"/>
              <a:gd name="connsiteY5539" fmla="*/ 3910707 h 3912503"/>
              <a:gd name="connsiteX5540" fmla="*/ 2548533 w 12192528"/>
              <a:gd name="connsiteY5540" fmla="*/ 3912503 h 3912503"/>
              <a:gd name="connsiteX5541" fmla="*/ 528 w 12192528"/>
              <a:gd name="connsiteY5541" fmla="*/ 3912503 h 3912503"/>
              <a:gd name="connsiteX5542" fmla="*/ 528 w 12192528"/>
              <a:gd name="connsiteY5542" fmla="*/ 2422816 h 3912503"/>
              <a:gd name="connsiteX5543" fmla="*/ 562 w 12192528"/>
              <a:gd name="connsiteY5543" fmla="*/ 2422797 h 3912503"/>
              <a:gd name="connsiteX5544" fmla="*/ 562 w 12192528"/>
              <a:gd name="connsiteY5544" fmla="*/ 2354170 h 3912503"/>
              <a:gd name="connsiteX5545" fmla="*/ 528 w 12192528"/>
              <a:gd name="connsiteY5545" fmla="*/ 2354165 h 3912503"/>
              <a:gd name="connsiteX5546" fmla="*/ 528 w 12192528"/>
              <a:gd name="connsiteY5546" fmla="*/ 2245643 h 3912503"/>
              <a:gd name="connsiteX5547" fmla="*/ 562 w 12192528"/>
              <a:gd name="connsiteY5547" fmla="*/ 2245615 h 3912503"/>
              <a:gd name="connsiteX5548" fmla="*/ 562 w 12192528"/>
              <a:gd name="connsiteY5548" fmla="*/ 2234827 h 3912503"/>
              <a:gd name="connsiteX5549" fmla="*/ 528 w 12192528"/>
              <a:gd name="connsiteY5549" fmla="*/ 2234823 h 3912503"/>
              <a:gd name="connsiteX5550" fmla="*/ 528 w 12192528"/>
              <a:gd name="connsiteY5550" fmla="*/ 2160151 h 3912503"/>
              <a:gd name="connsiteX5551" fmla="*/ 562 w 12192528"/>
              <a:gd name="connsiteY5551" fmla="*/ 2160070 h 3912503"/>
              <a:gd name="connsiteX5552" fmla="*/ 562 w 12192528"/>
              <a:gd name="connsiteY5552" fmla="*/ 2014682 h 3912503"/>
              <a:gd name="connsiteX5553" fmla="*/ 528 w 12192528"/>
              <a:gd name="connsiteY5553" fmla="*/ 2014748 h 3912503"/>
              <a:gd name="connsiteX5554" fmla="*/ 528 w 12192528"/>
              <a:gd name="connsiteY5554" fmla="*/ 1980386 h 3912503"/>
              <a:gd name="connsiteX5555" fmla="*/ 562 w 12192528"/>
              <a:gd name="connsiteY5555" fmla="*/ 1980516 h 3912503"/>
              <a:gd name="connsiteX5556" fmla="*/ 562 w 12192528"/>
              <a:gd name="connsiteY5556" fmla="*/ 1921057 h 3912503"/>
              <a:gd name="connsiteX5557" fmla="*/ 65793 w 12192528"/>
              <a:gd name="connsiteY5557" fmla="*/ 1885408 h 3912503"/>
              <a:gd name="connsiteX5558" fmla="*/ 130401 w 12192528"/>
              <a:gd name="connsiteY5558" fmla="*/ 1855429 h 3912503"/>
              <a:gd name="connsiteX5559" fmla="*/ 147299 w 12192528"/>
              <a:gd name="connsiteY5559" fmla="*/ 1842541 h 3912503"/>
              <a:gd name="connsiteX5560" fmla="*/ 172670 w 12192528"/>
              <a:gd name="connsiteY5560" fmla="*/ 1832005 h 3912503"/>
              <a:gd name="connsiteX5561" fmla="*/ 400135 w 12192528"/>
              <a:gd name="connsiteY5561" fmla="*/ 1753406 h 3912503"/>
              <a:gd name="connsiteX5562" fmla="*/ 421747 w 12192528"/>
              <a:gd name="connsiteY5562" fmla="*/ 1749338 h 3912503"/>
              <a:gd name="connsiteX5563" fmla="*/ 454512 w 12192528"/>
              <a:gd name="connsiteY5563" fmla="*/ 1738616 h 3912503"/>
              <a:gd name="connsiteX5564" fmla="*/ 475466 w 12192528"/>
              <a:gd name="connsiteY5564" fmla="*/ 1732990 h 3912503"/>
              <a:gd name="connsiteX5565" fmla="*/ 472883 w 12192528"/>
              <a:gd name="connsiteY5565" fmla="*/ 1730110 h 3912503"/>
              <a:gd name="connsiteX5566" fmla="*/ 444340 w 12192528"/>
              <a:gd name="connsiteY5566" fmla="*/ 1718036 h 3912503"/>
              <a:gd name="connsiteX5567" fmla="*/ 550512 w 12192528"/>
              <a:gd name="connsiteY5567" fmla="*/ 1686811 h 3912503"/>
              <a:gd name="connsiteX5568" fmla="*/ 605595 w 12192528"/>
              <a:gd name="connsiteY5568" fmla="*/ 1677864 h 3912503"/>
              <a:gd name="connsiteX5569" fmla="*/ 611881 w 12192528"/>
              <a:gd name="connsiteY5569" fmla="*/ 1672556 h 3912503"/>
              <a:gd name="connsiteX5570" fmla="*/ 629208 w 12192528"/>
              <a:gd name="connsiteY5570" fmla="*/ 1669316 h 3912503"/>
              <a:gd name="connsiteX5571" fmla="*/ 654158 w 12192528"/>
              <a:gd name="connsiteY5571" fmla="*/ 1669977 h 3912503"/>
              <a:gd name="connsiteX5572" fmla="*/ 736748 w 12192528"/>
              <a:gd name="connsiteY5572" fmla="*/ 1656562 h 3912503"/>
              <a:gd name="connsiteX5573" fmla="*/ 784107 w 12192528"/>
              <a:gd name="connsiteY5573" fmla="*/ 1651855 h 3912503"/>
              <a:gd name="connsiteX5574" fmla="*/ 778563 w 12192528"/>
              <a:gd name="connsiteY5574" fmla="*/ 1641534 h 3912503"/>
              <a:gd name="connsiteX5575" fmla="*/ 776413 w 12192528"/>
              <a:gd name="connsiteY5575" fmla="*/ 1636320 h 3912503"/>
              <a:gd name="connsiteX5576" fmla="*/ 776105 w 12192528"/>
              <a:gd name="connsiteY5576" fmla="*/ 1631105 h 3912503"/>
              <a:gd name="connsiteX5577" fmla="*/ 777027 w 12192528"/>
              <a:gd name="connsiteY5577" fmla="*/ 1627118 h 3912503"/>
              <a:gd name="connsiteX5578" fmla="*/ 777210 w 12192528"/>
              <a:gd name="connsiteY5578" fmla="*/ 1626130 h 3912503"/>
              <a:gd name="connsiteX5579" fmla="*/ 752801 w 12192528"/>
              <a:gd name="connsiteY5579" fmla="*/ 1628923 h 3912503"/>
              <a:gd name="connsiteX5580" fmla="*/ 316312 w 12192528"/>
              <a:gd name="connsiteY5580" fmla="*/ 1733647 h 3912503"/>
              <a:gd name="connsiteX5581" fmla="*/ 196090 w 12192528"/>
              <a:gd name="connsiteY5581" fmla="*/ 1764871 h 3912503"/>
              <a:gd name="connsiteX5582" fmla="*/ 643409 w 12192528"/>
              <a:gd name="connsiteY5582" fmla="*/ 1622411 h 3912503"/>
              <a:gd name="connsiteX5583" fmla="*/ 789090 w 12192528"/>
              <a:gd name="connsiteY5583" fmla="*/ 1600242 h 3912503"/>
              <a:gd name="connsiteX5584" fmla="*/ 795148 w 12192528"/>
              <a:gd name="connsiteY5584" fmla="*/ 1596443 h 3912503"/>
              <a:gd name="connsiteX5585" fmla="*/ 804975 w 12192528"/>
              <a:gd name="connsiteY5585" fmla="*/ 1596138 h 3912503"/>
              <a:gd name="connsiteX5586" fmla="*/ 815110 w 12192528"/>
              <a:gd name="connsiteY5586" fmla="*/ 1595868 h 3912503"/>
              <a:gd name="connsiteX5587" fmla="*/ 815751 w 12192528"/>
              <a:gd name="connsiteY5587" fmla="*/ 1596185 h 3912503"/>
              <a:gd name="connsiteX5588" fmla="*/ 875852 w 12192528"/>
              <a:gd name="connsiteY5588" fmla="*/ 1587040 h 3912503"/>
              <a:gd name="connsiteX5589" fmla="*/ 1114150 w 12192528"/>
              <a:gd name="connsiteY5589" fmla="*/ 1575965 h 3912503"/>
              <a:gd name="connsiteX5590" fmla="*/ 1064186 w 12192528"/>
              <a:gd name="connsiteY5590" fmla="*/ 1552546 h 3912503"/>
              <a:gd name="connsiteX5591" fmla="*/ 1215635 w 12192528"/>
              <a:gd name="connsiteY5591" fmla="*/ 1557230 h 3912503"/>
              <a:gd name="connsiteX5592" fmla="*/ 1427976 w 12192528"/>
              <a:gd name="connsiteY5592" fmla="*/ 1580649 h 3912503"/>
              <a:gd name="connsiteX5593" fmla="*/ 1445151 w 12192528"/>
              <a:gd name="connsiteY5593" fmla="*/ 1577525 h 3912503"/>
              <a:gd name="connsiteX5594" fmla="*/ 1444119 w 12192528"/>
              <a:gd name="connsiteY5594" fmla="*/ 1575061 h 3912503"/>
              <a:gd name="connsiteX5595" fmla="*/ 1439234 w 12192528"/>
              <a:gd name="connsiteY5595" fmla="*/ 1568556 h 3912503"/>
              <a:gd name="connsiteX5596" fmla="*/ 1431100 w 12192528"/>
              <a:gd name="connsiteY5596" fmla="*/ 1566598 h 3912503"/>
              <a:gd name="connsiteX5597" fmla="*/ 1235689 w 12192528"/>
              <a:gd name="connsiteY5597" fmla="*/ 1533226 h 3912503"/>
              <a:gd name="connsiteX5598" fmla="*/ 1229745 w 12192528"/>
              <a:gd name="connsiteY5598" fmla="*/ 1533279 h 3912503"/>
              <a:gd name="connsiteX5599" fmla="*/ 1229336 w 12192528"/>
              <a:gd name="connsiteY5599" fmla="*/ 1534098 h 3912503"/>
              <a:gd name="connsiteX5600" fmla="*/ 1225906 w 12192528"/>
              <a:gd name="connsiteY5600" fmla="*/ 1535526 h 3912503"/>
              <a:gd name="connsiteX5601" fmla="*/ 1219332 w 12192528"/>
              <a:gd name="connsiteY5601" fmla="*/ 1537524 h 3912503"/>
              <a:gd name="connsiteX5602" fmla="*/ 1217045 w 12192528"/>
              <a:gd name="connsiteY5602" fmla="*/ 1538665 h 3912503"/>
              <a:gd name="connsiteX5603" fmla="*/ 1207900 w 12192528"/>
              <a:gd name="connsiteY5603" fmla="*/ 1539807 h 3912503"/>
              <a:gd name="connsiteX5604" fmla="*/ 1205899 w 12192528"/>
              <a:gd name="connsiteY5604" fmla="*/ 1540378 h 3912503"/>
              <a:gd name="connsiteX5605" fmla="*/ 1195161 w 12192528"/>
              <a:gd name="connsiteY5605" fmla="*/ 1533581 h 3912503"/>
              <a:gd name="connsiteX5606" fmla="*/ 1168796 w 12192528"/>
              <a:gd name="connsiteY5606" fmla="*/ 1533811 h 3912503"/>
              <a:gd name="connsiteX5607" fmla="*/ 1104782 w 12192528"/>
              <a:gd name="connsiteY5607" fmla="*/ 1522884 h 3912503"/>
              <a:gd name="connsiteX5608" fmla="*/ 834671 w 12192528"/>
              <a:gd name="connsiteY5608" fmla="*/ 1535372 h 3912503"/>
              <a:gd name="connsiteX5609" fmla="*/ 590413 w 12192528"/>
              <a:gd name="connsiteY5609" fmla="*/ 1575123 h 3912503"/>
              <a:gd name="connsiteX5610" fmla="*/ 586633 w 12192528"/>
              <a:gd name="connsiteY5610" fmla="*/ 1580157 h 3912503"/>
              <a:gd name="connsiteX5611" fmla="*/ 584483 w 12192528"/>
              <a:gd name="connsiteY5611" fmla="*/ 1584451 h 3912503"/>
              <a:gd name="connsiteX5612" fmla="*/ 580797 w 12192528"/>
              <a:gd name="connsiteY5612" fmla="*/ 1585983 h 3912503"/>
              <a:gd name="connsiteX5613" fmla="*/ 573734 w 12192528"/>
              <a:gd name="connsiteY5613" fmla="*/ 1588131 h 3912503"/>
              <a:gd name="connsiteX5614" fmla="*/ 571276 w 12192528"/>
              <a:gd name="connsiteY5614" fmla="*/ 1589358 h 3912503"/>
              <a:gd name="connsiteX5615" fmla="*/ 561449 w 12192528"/>
              <a:gd name="connsiteY5615" fmla="*/ 1590585 h 3912503"/>
              <a:gd name="connsiteX5616" fmla="*/ 559299 w 12192528"/>
              <a:gd name="connsiteY5616" fmla="*/ 1591198 h 3912503"/>
              <a:gd name="connsiteX5617" fmla="*/ 545458 w 12192528"/>
              <a:gd name="connsiteY5617" fmla="*/ 1582437 h 3912503"/>
              <a:gd name="connsiteX5618" fmla="*/ 536068 w 12192528"/>
              <a:gd name="connsiteY5618" fmla="*/ 1583966 h 3912503"/>
              <a:gd name="connsiteX5619" fmla="*/ 359357 w 12192528"/>
              <a:gd name="connsiteY5619" fmla="*/ 1631156 h 3912503"/>
              <a:gd name="connsiteX5620" fmla="*/ 355670 w 12192528"/>
              <a:gd name="connsiteY5620" fmla="*/ 1635560 h 3912503"/>
              <a:gd name="connsiteX5621" fmla="*/ 346523 w 12192528"/>
              <a:gd name="connsiteY5621" fmla="*/ 1640113 h 3912503"/>
              <a:gd name="connsiteX5622" fmla="*/ 338206 w 12192528"/>
              <a:gd name="connsiteY5622" fmla="*/ 1640113 h 3912503"/>
              <a:gd name="connsiteX5623" fmla="*/ 336959 w 12192528"/>
              <a:gd name="connsiteY5623" fmla="*/ 1638458 h 3912503"/>
              <a:gd name="connsiteX5624" fmla="*/ 335701 w 12192528"/>
              <a:gd name="connsiteY5624" fmla="*/ 1637474 h 3912503"/>
              <a:gd name="connsiteX5625" fmla="*/ 244491 w 12192528"/>
              <a:gd name="connsiteY5625" fmla="*/ 1661832 h 3912503"/>
              <a:gd name="connsiteX5626" fmla="*/ 156106 w 12192528"/>
              <a:gd name="connsiteY5626" fmla="*/ 1694300 h 3912503"/>
              <a:gd name="connsiteX5627" fmla="*/ 75309 w 12192528"/>
              <a:gd name="connsiteY5627" fmla="*/ 1730759 h 3912503"/>
              <a:gd name="connsiteX5628" fmla="*/ 77712 w 12192528"/>
              <a:gd name="connsiteY5628" fmla="*/ 1732282 h 3912503"/>
              <a:gd name="connsiteX5629" fmla="*/ 82397 w 12192528"/>
              <a:gd name="connsiteY5629" fmla="*/ 1737724 h 3912503"/>
              <a:gd name="connsiteX5630" fmla="*/ 82397 w 12192528"/>
              <a:gd name="connsiteY5630" fmla="*/ 1751718 h 3912503"/>
              <a:gd name="connsiteX5631" fmla="*/ 73807 w 12192528"/>
              <a:gd name="connsiteY5631" fmla="*/ 1760270 h 3912503"/>
              <a:gd name="connsiteX5632" fmla="*/ 68340 w 12192528"/>
              <a:gd name="connsiteY5632" fmla="*/ 1770377 h 3912503"/>
              <a:gd name="connsiteX5633" fmla="*/ 67944 w 12192528"/>
              <a:gd name="connsiteY5633" fmla="*/ 1771344 h 3912503"/>
              <a:gd name="connsiteX5634" fmla="*/ 69426 w 12192528"/>
              <a:gd name="connsiteY5634" fmla="*/ 1780598 h 3912503"/>
              <a:gd name="connsiteX5635" fmla="*/ 72942 w 12192528"/>
              <a:gd name="connsiteY5635" fmla="*/ 1795163 h 3912503"/>
              <a:gd name="connsiteX5636" fmla="*/ 72692 w 12192528"/>
              <a:gd name="connsiteY5636" fmla="*/ 1801191 h 3912503"/>
              <a:gd name="connsiteX5637" fmla="*/ 59374 w 12192528"/>
              <a:gd name="connsiteY5637" fmla="*/ 1833591 h 3912503"/>
              <a:gd name="connsiteX5638" fmla="*/ 56861 w 12192528"/>
              <a:gd name="connsiteY5638" fmla="*/ 1835600 h 3912503"/>
              <a:gd name="connsiteX5639" fmla="*/ 41533 w 12192528"/>
              <a:gd name="connsiteY5639" fmla="*/ 1842882 h 3912503"/>
              <a:gd name="connsiteX5640" fmla="*/ 35000 w 12192528"/>
              <a:gd name="connsiteY5640" fmla="*/ 1844892 h 3912503"/>
              <a:gd name="connsiteX5641" fmla="*/ 23943 w 12192528"/>
              <a:gd name="connsiteY5641" fmla="*/ 1847403 h 3912503"/>
              <a:gd name="connsiteX5642" fmla="*/ 15651 w 12192528"/>
              <a:gd name="connsiteY5642" fmla="*/ 1854687 h 3912503"/>
              <a:gd name="connsiteX5643" fmla="*/ 11883 w 12192528"/>
              <a:gd name="connsiteY5643" fmla="*/ 1856037 h 3912503"/>
              <a:gd name="connsiteX5644" fmla="*/ 9620 w 12192528"/>
              <a:gd name="connsiteY5644" fmla="*/ 1852677 h 3912503"/>
              <a:gd name="connsiteX5645" fmla="*/ 8867 w 12192528"/>
              <a:gd name="connsiteY5645" fmla="*/ 1849664 h 3912503"/>
              <a:gd name="connsiteX5646" fmla="*/ 6605 w 12192528"/>
              <a:gd name="connsiteY5646" fmla="*/ 1846148 h 3912503"/>
              <a:gd name="connsiteX5647" fmla="*/ 3338 w 12192528"/>
              <a:gd name="connsiteY5647" fmla="*/ 1848408 h 3912503"/>
              <a:gd name="connsiteX5648" fmla="*/ 562 w 12192528"/>
              <a:gd name="connsiteY5648" fmla="*/ 1847945 h 3912503"/>
              <a:gd name="connsiteX5649" fmla="*/ 562 w 12192528"/>
              <a:gd name="connsiteY5649" fmla="*/ 1732372 h 3912503"/>
              <a:gd name="connsiteX5650" fmla="*/ 6856 w 12192528"/>
              <a:gd name="connsiteY5650" fmla="*/ 1727102 h 3912503"/>
              <a:gd name="connsiteX5651" fmla="*/ 6856 w 12192528"/>
              <a:gd name="connsiteY5651" fmla="*/ 1721576 h 3912503"/>
              <a:gd name="connsiteX5652" fmla="*/ 562 w 12192528"/>
              <a:gd name="connsiteY5652" fmla="*/ 1720849 h 3912503"/>
              <a:gd name="connsiteX5653" fmla="*/ 562 w 12192528"/>
              <a:gd name="connsiteY5653" fmla="*/ 1641326 h 3912503"/>
              <a:gd name="connsiteX5654" fmla="*/ 3841 w 12192528"/>
              <a:gd name="connsiteY5654" fmla="*/ 1633420 h 3912503"/>
              <a:gd name="connsiteX5655" fmla="*/ 2585 w 12192528"/>
              <a:gd name="connsiteY5655" fmla="*/ 1631411 h 3912503"/>
              <a:gd name="connsiteX5656" fmla="*/ 2836 w 12192528"/>
              <a:gd name="connsiteY5656" fmla="*/ 1626890 h 3912503"/>
              <a:gd name="connsiteX5657" fmla="*/ 6856 w 12192528"/>
              <a:gd name="connsiteY5657" fmla="*/ 1627895 h 3912503"/>
              <a:gd name="connsiteX5658" fmla="*/ 9369 w 12192528"/>
              <a:gd name="connsiteY5658" fmla="*/ 1631160 h 3912503"/>
              <a:gd name="connsiteX5659" fmla="*/ 14395 w 12192528"/>
              <a:gd name="connsiteY5659" fmla="*/ 1631914 h 3912503"/>
              <a:gd name="connsiteX5660" fmla="*/ 29723 w 12192528"/>
              <a:gd name="connsiteY5660" fmla="*/ 1627895 h 3912503"/>
              <a:gd name="connsiteX5661" fmla="*/ 48821 w 12192528"/>
              <a:gd name="connsiteY5661" fmla="*/ 1626640 h 3912503"/>
              <a:gd name="connsiteX5662" fmla="*/ 53344 w 12192528"/>
              <a:gd name="connsiteY5662" fmla="*/ 1628900 h 3912503"/>
              <a:gd name="connsiteX5663" fmla="*/ 66410 w 12192528"/>
              <a:gd name="connsiteY5663" fmla="*/ 1634927 h 3912503"/>
              <a:gd name="connsiteX5664" fmla="*/ 68922 w 12192528"/>
              <a:gd name="connsiteY5664" fmla="*/ 1636686 h 3912503"/>
              <a:gd name="connsiteX5665" fmla="*/ 79980 w 12192528"/>
              <a:gd name="connsiteY5665" fmla="*/ 1649997 h 3912503"/>
              <a:gd name="connsiteX5666" fmla="*/ 86763 w 12192528"/>
              <a:gd name="connsiteY5666" fmla="*/ 1672601 h 3912503"/>
              <a:gd name="connsiteX5667" fmla="*/ 90031 w 12192528"/>
              <a:gd name="connsiteY5667" fmla="*/ 1680387 h 3912503"/>
              <a:gd name="connsiteX5668" fmla="*/ 89276 w 12192528"/>
              <a:gd name="connsiteY5668" fmla="*/ 1691438 h 3912503"/>
              <a:gd name="connsiteX5669" fmla="*/ 88271 w 12192528"/>
              <a:gd name="connsiteY5669" fmla="*/ 1700730 h 3912503"/>
              <a:gd name="connsiteX5670" fmla="*/ 88282 w 12192528"/>
              <a:gd name="connsiteY5670" fmla="*/ 1700881 h 3912503"/>
              <a:gd name="connsiteX5671" fmla="*/ 191406 w 12192528"/>
              <a:gd name="connsiteY5671" fmla="*/ 1652464 h 3912503"/>
              <a:gd name="connsiteX5672" fmla="*/ 323467 w 12192528"/>
              <a:gd name="connsiteY5672" fmla="*/ 1609882 h 3912503"/>
              <a:gd name="connsiteX5673" fmla="*/ 327394 w 12192528"/>
              <a:gd name="connsiteY5673" fmla="*/ 1598715 h 3912503"/>
              <a:gd name="connsiteX5674" fmla="*/ 333631 w 12192528"/>
              <a:gd name="connsiteY5674" fmla="*/ 1594990 h 3912503"/>
              <a:gd name="connsiteX5675" fmla="*/ 339777 w 12192528"/>
              <a:gd name="connsiteY5675" fmla="*/ 1587261 h 3912503"/>
              <a:gd name="connsiteX5676" fmla="*/ 338724 w 12192528"/>
              <a:gd name="connsiteY5676" fmla="*/ 1585497 h 3912503"/>
              <a:gd name="connsiteX5677" fmla="*/ 332976 w 12192528"/>
              <a:gd name="connsiteY5677" fmla="*/ 1588054 h 3912503"/>
              <a:gd name="connsiteX5678" fmla="*/ 328340 w 12192528"/>
              <a:gd name="connsiteY5678" fmla="*/ 1586124 h 3912503"/>
              <a:gd name="connsiteX5679" fmla="*/ 325635 w 12192528"/>
              <a:gd name="connsiteY5679" fmla="*/ 1580722 h 3912503"/>
              <a:gd name="connsiteX5680" fmla="*/ 315204 w 12192528"/>
              <a:gd name="connsiteY5680" fmla="*/ 1566830 h 3912503"/>
              <a:gd name="connsiteX5681" fmla="*/ 310567 w 12192528"/>
              <a:gd name="connsiteY5681" fmla="*/ 1557569 h 3912503"/>
              <a:gd name="connsiteX5682" fmla="*/ 310567 w 12192528"/>
              <a:gd name="connsiteY5682" fmla="*/ 1552939 h 3912503"/>
              <a:gd name="connsiteX5683" fmla="*/ 314431 w 12192528"/>
              <a:gd name="connsiteY5683" fmla="*/ 1542521 h 3912503"/>
              <a:gd name="connsiteX5684" fmla="*/ 319840 w 12192528"/>
              <a:gd name="connsiteY5684" fmla="*/ 1525542 h 3912503"/>
              <a:gd name="connsiteX5685" fmla="*/ 324476 w 12192528"/>
              <a:gd name="connsiteY5685" fmla="*/ 1519368 h 3912503"/>
              <a:gd name="connsiteX5686" fmla="*/ 331818 w 12192528"/>
              <a:gd name="connsiteY5686" fmla="*/ 1513193 h 3912503"/>
              <a:gd name="connsiteX5687" fmla="*/ 338386 w 12192528"/>
              <a:gd name="connsiteY5687" fmla="*/ 1509720 h 3912503"/>
              <a:gd name="connsiteX5688" fmla="*/ 349977 w 12192528"/>
              <a:gd name="connsiteY5688" fmla="*/ 1503980 h 3912503"/>
              <a:gd name="connsiteX5689" fmla="*/ 362727 w 12192528"/>
              <a:gd name="connsiteY5689" fmla="*/ 1504318 h 3912503"/>
              <a:gd name="connsiteX5690" fmla="*/ 375091 w 12192528"/>
              <a:gd name="connsiteY5690" fmla="*/ 1504704 h 3912503"/>
              <a:gd name="connsiteX5691" fmla="*/ 394410 w 12192528"/>
              <a:gd name="connsiteY5691" fmla="*/ 1519753 h 3912503"/>
              <a:gd name="connsiteX5692" fmla="*/ 395569 w 12192528"/>
              <a:gd name="connsiteY5692" fmla="*/ 1529015 h 3912503"/>
              <a:gd name="connsiteX5693" fmla="*/ 395955 w 12192528"/>
              <a:gd name="connsiteY5693" fmla="*/ 1532873 h 3912503"/>
              <a:gd name="connsiteX5694" fmla="*/ 397886 w 12192528"/>
              <a:gd name="connsiteY5694" fmla="*/ 1543291 h 3912503"/>
              <a:gd name="connsiteX5695" fmla="*/ 399046 w 12192528"/>
              <a:gd name="connsiteY5695" fmla="*/ 1548308 h 3912503"/>
              <a:gd name="connsiteX5696" fmla="*/ 398659 w 12192528"/>
              <a:gd name="connsiteY5696" fmla="*/ 1554869 h 3912503"/>
              <a:gd name="connsiteX5697" fmla="*/ 395955 w 12192528"/>
              <a:gd name="connsiteY5697" fmla="*/ 1561428 h 3912503"/>
              <a:gd name="connsiteX5698" fmla="*/ 387455 w 12192528"/>
              <a:gd name="connsiteY5698" fmla="*/ 1577250 h 3912503"/>
              <a:gd name="connsiteX5699" fmla="*/ 380836 w 12192528"/>
              <a:gd name="connsiteY5699" fmla="*/ 1581439 h 3912503"/>
              <a:gd name="connsiteX5700" fmla="*/ 381453 w 12192528"/>
              <a:gd name="connsiteY5700" fmla="*/ 1582156 h 3912503"/>
              <a:gd name="connsiteX5701" fmla="*/ 381453 w 12192528"/>
              <a:gd name="connsiteY5701" fmla="*/ 1591186 h 3912503"/>
              <a:gd name="connsiteX5702" fmla="*/ 426240 w 12192528"/>
              <a:gd name="connsiteY5702" fmla="*/ 1576746 h 3912503"/>
              <a:gd name="connsiteX5703" fmla="*/ 528308 w 12192528"/>
              <a:gd name="connsiteY5703" fmla="*/ 1554876 h 3912503"/>
              <a:gd name="connsiteX5704" fmla="*/ 528278 w 12192528"/>
              <a:gd name="connsiteY5704" fmla="*/ 1554390 h 3912503"/>
              <a:gd name="connsiteX5705" fmla="*/ 529200 w 12192528"/>
              <a:gd name="connsiteY5705" fmla="*/ 1550402 h 3912503"/>
              <a:gd name="connsiteX5706" fmla="*/ 530736 w 12192528"/>
              <a:gd name="connsiteY5706" fmla="*/ 1542121 h 3912503"/>
              <a:gd name="connsiteX5707" fmla="*/ 531043 w 12192528"/>
              <a:gd name="connsiteY5707" fmla="*/ 1539053 h 3912503"/>
              <a:gd name="connsiteX5708" fmla="*/ 531965 w 12192528"/>
              <a:gd name="connsiteY5708" fmla="*/ 1531691 h 3912503"/>
              <a:gd name="connsiteX5709" fmla="*/ 547321 w 12192528"/>
              <a:gd name="connsiteY5709" fmla="*/ 1519728 h 3912503"/>
              <a:gd name="connsiteX5710" fmla="*/ 557148 w 12192528"/>
              <a:gd name="connsiteY5710" fmla="*/ 1519422 h 3912503"/>
              <a:gd name="connsiteX5711" fmla="*/ 576498 w 12192528"/>
              <a:gd name="connsiteY5711" fmla="*/ 1523716 h 3912503"/>
              <a:gd name="connsiteX5712" fmla="*/ 581718 w 12192528"/>
              <a:gd name="connsiteY5712" fmla="*/ 1526477 h 3912503"/>
              <a:gd name="connsiteX5713" fmla="*/ 587553 w 12192528"/>
              <a:gd name="connsiteY5713" fmla="*/ 1531385 h 3912503"/>
              <a:gd name="connsiteX5714" fmla="*/ 591240 w 12192528"/>
              <a:gd name="connsiteY5714" fmla="*/ 1536293 h 3912503"/>
              <a:gd name="connsiteX5715" fmla="*/ 592760 w 12192528"/>
              <a:gd name="connsiteY5715" fmla="*/ 1541067 h 3912503"/>
              <a:gd name="connsiteX5716" fmla="*/ 664878 w 12192528"/>
              <a:gd name="connsiteY5716" fmla="*/ 1525615 h 3912503"/>
              <a:gd name="connsiteX5717" fmla="*/ 1154743 w 12192528"/>
              <a:gd name="connsiteY5717" fmla="*/ 1499465 h 3912503"/>
              <a:gd name="connsiteX5718" fmla="*/ 1178003 w 12192528"/>
              <a:gd name="connsiteY5718" fmla="*/ 1501806 h 3912503"/>
              <a:gd name="connsiteX5719" fmla="*/ 1179320 w 12192528"/>
              <a:gd name="connsiteY5719" fmla="*/ 1494708 h 3912503"/>
              <a:gd name="connsiteX5720" fmla="*/ 1179605 w 12192528"/>
              <a:gd name="connsiteY5720" fmla="*/ 1491853 h 3912503"/>
              <a:gd name="connsiteX5721" fmla="*/ 1180463 w 12192528"/>
              <a:gd name="connsiteY5721" fmla="*/ 1485004 h 3912503"/>
              <a:gd name="connsiteX5722" fmla="*/ 1187073 w 12192528"/>
              <a:gd name="connsiteY5722" fmla="*/ 1478687 h 3912503"/>
              <a:gd name="connsiteX5723" fmla="*/ 1190229 w 12192528"/>
              <a:gd name="connsiteY5723" fmla="*/ 1476707 h 3912503"/>
              <a:gd name="connsiteX5724" fmla="*/ 1159428 w 12192528"/>
              <a:gd name="connsiteY5724" fmla="*/ 1474486 h 3912503"/>
              <a:gd name="connsiteX5725" fmla="*/ 711328 w 12192528"/>
              <a:gd name="connsiteY5725" fmla="*/ 1491660 h 3912503"/>
              <a:gd name="connsiteX5726" fmla="*/ 536460 w 12192528"/>
              <a:gd name="connsiteY5726" fmla="*/ 1494781 h 3912503"/>
              <a:gd name="connsiteX5727" fmla="*/ 1107905 w 12192528"/>
              <a:gd name="connsiteY5727" fmla="*/ 1440139 h 3912503"/>
              <a:gd name="connsiteX5728" fmla="*/ 1677788 w 12192528"/>
              <a:gd name="connsiteY5728" fmla="*/ 1516639 h 3912503"/>
              <a:gd name="connsiteX5729" fmla="*/ 1167234 w 12192528"/>
              <a:gd name="connsiteY5729" fmla="*/ 1397987 h 3912503"/>
              <a:gd name="connsiteX5730" fmla="*/ 1168796 w 12192528"/>
              <a:gd name="connsiteY5730" fmla="*/ 1390180 h 3912503"/>
              <a:gd name="connsiteX5731" fmla="*/ 1315562 w 12192528"/>
              <a:gd name="connsiteY5731" fmla="*/ 1405792 h 3912503"/>
              <a:gd name="connsiteX5732" fmla="*/ 1539021 w 12192528"/>
              <a:gd name="connsiteY5732" fmla="*/ 1445523 h 3912503"/>
              <a:gd name="connsiteX5733" fmla="*/ 1712598 w 12192528"/>
              <a:gd name="connsiteY5733" fmla="*/ 1491453 h 3912503"/>
              <a:gd name="connsiteX5734" fmla="*/ 1708390 w 12192528"/>
              <a:gd name="connsiteY5734" fmla="*/ 1487758 h 3912503"/>
              <a:gd name="connsiteX5735" fmla="*/ 1699393 w 12192528"/>
              <a:gd name="connsiteY5735" fmla="*/ 1485714 h 3912503"/>
              <a:gd name="connsiteX5736" fmla="*/ 1694076 w 12192528"/>
              <a:gd name="connsiteY5736" fmla="*/ 1484079 h 3912503"/>
              <a:gd name="connsiteX5737" fmla="*/ 1681604 w 12192528"/>
              <a:gd name="connsiteY5737" fmla="*/ 1478152 h 3912503"/>
              <a:gd name="connsiteX5738" fmla="*/ 1679558 w 12192528"/>
              <a:gd name="connsiteY5738" fmla="*/ 1476517 h 3912503"/>
              <a:gd name="connsiteX5739" fmla="*/ 1668721 w 12192528"/>
              <a:gd name="connsiteY5739" fmla="*/ 1450152 h 3912503"/>
              <a:gd name="connsiteX5740" fmla="*/ 1668516 w 12192528"/>
              <a:gd name="connsiteY5740" fmla="*/ 1445247 h 3912503"/>
              <a:gd name="connsiteX5741" fmla="*/ 1671380 w 12192528"/>
              <a:gd name="connsiteY5741" fmla="*/ 1433394 h 3912503"/>
              <a:gd name="connsiteX5742" fmla="*/ 1673015 w 12192528"/>
              <a:gd name="connsiteY5742" fmla="*/ 1423174 h 3912503"/>
              <a:gd name="connsiteX5743" fmla="*/ 1674651 w 12192528"/>
              <a:gd name="connsiteY5743" fmla="*/ 1419904 h 3912503"/>
              <a:gd name="connsiteX5744" fmla="*/ 1686716 w 12192528"/>
              <a:gd name="connsiteY5744" fmla="*/ 1405598 h 3912503"/>
              <a:gd name="connsiteX5745" fmla="*/ 1687942 w 12192528"/>
              <a:gd name="connsiteY5745" fmla="*/ 1403349 h 3912503"/>
              <a:gd name="connsiteX5746" fmla="*/ 1679354 w 12192528"/>
              <a:gd name="connsiteY5746" fmla="*/ 1392108 h 3912503"/>
              <a:gd name="connsiteX5747" fmla="*/ 1667903 w 12192528"/>
              <a:gd name="connsiteY5747" fmla="*/ 1385364 h 3912503"/>
              <a:gd name="connsiteX5748" fmla="*/ 1655838 w 12192528"/>
              <a:gd name="connsiteY5748" fmla="*/ 1371467 h 3912503"/>
              <a:gd name="connsiteX5749" fmla="*/ 1656043 w 12192528"/>
              <a:gd name="connsiteY5749" fmla="*/ 1368400 h 3912503"/>
              <a:gd name="connsiteX5750" fmla="*/ 1655225 w 12192528"/>
              <a:gd name="connsiteY5750" fmla="*/ 1360839 h 3912503"/>
              <a:gd name="connsiteX5751" fmla="*/ 1654612 w 12192528"/>
              <a:gd name="connsiteY5751" fmla="*/ 1351847 h 3912503"/>
              <a:gd name="connsiteX5752" fmla="*/ 1657270 w 12192528"/>
              <a:gd name="connsiteY5752" fmla="*/ 1345510 h 3912503"/>
              <a:gd name="connsiteX5753" fmla="*/ 1662791 w 12192528"/>
              <a:gd name="connsiteY5753" fmla="*/ 1327116 h 3912503"/>
              <a:gd name="connsiteX5754" fmla="*/ 1671789 w 12192528"/>
              <a:gd name="connsiteY5754" fmla="*/ 1316285 h 3912503"/>
              <a:gd name="connsiteX5755" fmla="*/ 1673833 w 12192528"/>
              <a:gd name="connsiteY5755" fmla="*/ 1314854 h 3912503"/>
              <a:gd name="connsiteX5756" fmla="*/ 1684466 w 12192528"/>
              <a:gd name="connsiteY5756" fmla="*/ 1309948 h 3912503"/>
              <a:gd name="connsiteX5757" fmla="*/ 1688147 w 12192528"/>
              <a:gd name="connsiteY5757" fmla="*/ 1308109 h 3912503"/>
              <a:gd name="connsiteX5758" fmla="*/ 1703687 w 12192528"/>
              <a:gd name="connsiteY5758" fmla="*/ 1309132 h 3912503"/>
              <a:gd name="connsiteX5759" fmla="*/ 1716161 w 12192528"/>
              <a:gd name="connsiteY5759" fmla="*/ 1312401 h 3912503"/>
              <a:gd name="connsiteX5760" fmla="*/ 1720251 w 12192528"/>
              <a:gd name="connsiteY5760" fmla="*/ 1311788 h 3912503"/>
              <a:gd name="connsiteX5761" fmla="*/ 1722295 w 12192528"/>
              <a:gd name="connsiteY5761" fmla="*/ 1309132 h 3912503"/>
              <a:gd name="connsiteX5762" fmla="*/ 1725567 w 12192528"/>
              <a:gd name="connsiteY5762" fmla="*/ 1308314 h 3912503"/>
              <a:gd name="connsiteX5763" fmla="*/ 1725772 w 12192528"/>
              <a:gd name="connsiteY5763" fmla="*/ 1311993 h 3912503"/>
              <a:gd name="connsiteX5764" fmla="*/ 1724749 w 12192528"/>
              <a:gd name="connsiteY5764" fmla="*/ 1313627 h 3912503"/>
              <a:gd name="connsiteX5765" fmla="*/ 1728225 w 12192528"/>
              <a:gd name="connsiteY5765" fmla="*/ 1322007 h 3912503"/>
              <a:gd name="connsiteX5766" fmla="*/ 1731088 w 12192528"/>
              <a:gd name="connsiteY5766" fmla="*/ 1322416 h 3912503"/>
              <a:gd name="connsiteX5767" fmla="*/ 1734565 w 12192528"/>
              <a:gd name="connsiteY5767" fmla="*/ 1324664 h 3912503"/>
              <a:gd name="connsiteX5768" fmla="*/ 1732928 w 12192528"/>
              <a:gd name="connsiteY5768" fmla="*/ 1327934 h 3912503"/>
              <a:gd name="connsiteX5769" fmla="*/ 1733132 w 12192528"/>
              <a:gd name="connsiteY5769" fmla="*/ 1332838 h 3912503"/>
              <a:gd name="connsiteX5770" fmla="*/ 1738450 w 12192528"/>
              <a:gd name="connsiteY5770" fmla="*/ 1342036 h 3912503"/>
              <a:gd name="connsiteX5771" fmla="*/ 1742743 w 12192528"/>
              <a:gd name="connsiteY5771" fmla="*/ 1346124 h 3912503"/>
              <a:gd name="connsiteX5772" fmla="*/ 1744993 w 12192528"/>
              <a:gd name="connsiteY5772" fmla="*/ 1347350 h 3912503"/>
              <a:gd name="connsiteX5773" fmla="*/ 1743766 w 12192528"/>
              <a:gd name="connsiteY5773" fmla="*/ 1349598 h 3912503"/>
              <a:gd name="connsiteX5774" fmla="*/ 1739676 w 12192528"/>
              <a:gd name="connsiteY5774" fmla="*/ 1354094 h 3912503"/>
              <a:gd name="connsiteX5775" fmla="*/ 1739676 w 12192528"/>
              <a:gd name="connsiteY5775" fmla="*/ 1365335 h 3912503"/>
              <a:gd name="connsiteX5776" fmla="*/ 1744175 w 12192528"/>
              <a:gd name="connsiteY5776" fmla="*/ 1376985 h 3912503"/>
              <a:gd name="connsiteX5777" fmla="*/ 1740085 w 12192528"/>
              <a:gd name="connsiteY5777" fmla="*/ 1379641 h 3912503"/>
              <a:gd name="connsiteX5778" fmla="*/ 1735791 w 12192528"/>
              <a:gd name="connsiteY5778" fmla="*/ 1376167 h 3912503"/>
              <a:gd name="connsiteX5779" fmla="*/ 1730270 w 12192528"/>
              <a:gd name="connsiteY5779" fmla="*/ 1374941 h 3912503"/>
              <a:gd name="connsiteX5780" fmla="*/ 1731292 w 12192528"/>
              <a:gd name="connsiteY5780" fmla="*/ 1381277 h 3912503"/>
              <a:gd name="connsiteX5781" fmla="*/ 1734156 w 12192528"/>
              <a:gd name="connsiteY5781" fmla="*/ 1383933 h 3912503"/>
              <a:gd name="connsiteX5782" fmla="*/ 1734769 w 12192528"/>
              <a:gd name="connsiteY5782" fmla="*/ 1387612 h 3912503"/>
              <a:gd name="connsiteX5783" fmla="*/ 1731292 w 12192528"/>
              <a:gd name="connsiteY5783" fmla="*/ 1387204 h 3912503"/>
              <a:gd name="connsiteX5784" fmla="*/ 1727612 w 12192528"/>
              <a:gd name="connsiteY5784" fmla="*/ 1384751 h 3912503"/>
              <a:gd name="connsiteX5785" fmla="*/ 1722295 w 12192528"/>
              <a:gd name="connsiteY5785" fmla="*/ 1385364 h 3912503"/>
              <a:gd name="connsiteX5786" fmla="*/ 1722295 w 12192528"/>
              <a:gd name="connsiteY5786" fmla="*/ 1389861 h 3912503"/>
              <a:gd name="connsiteX5787" fmla="*/ 1742539 w 12192528"/>
              <a:gd name="connsiteY5787" fmla="*/ 1395787 h 3912503"/>
              <a:gd name="connsiteX5788" fmla="*/ 1747446 w 12192528"/>
              <a:gd name="connsiteY5788" fmla="*/ 1397627 h 3912503"/>
              <a:gd name="connsiteX5789" fmla="*/ 1755830 w 12192528"/>
              <a:gd name="connsiteY5789" fmla="*/ 1408254 h 3912503"/>
              <a:gd name="connsiteX5790" fmla="*/ 1758898 w 12192528"/>
              <a:gd name="connsiteY5790" fmla="*/ 1411933 h 3912503"/>
              <a:gd name="connsiteX5791" fmla="*/ 1762374 w 12192528"/>
              <a:gd name="connsiteY5791" fmla="*/ 1425423 h 3912503"/>
              <a:gd name="connsiteX5792" fmla="*/ 1762783 w 12192528"/>
              <a:gd name="connsiteY5792" fmla="*/ 1435028 h 3912503"/>
              <a:gd name="connsiteX5793" fmla="*/ 1766667 w 12192528"/>
              <a:gd name="connsiteY5793" fmla="*/ 1441977 h 3912503"/>
              <a:gd name="connsiteX5794" fmla="*/ 1767282 w 12192528"/>
              <a:gd name="connsiteY5794" fmla="*/ 1441977 h 3912503"/>
              <a:gd name="connsiteX5795" fmla="*/ 1771166 w 12192528"/>
              <a:gd name="connsiteY5795" fmla="*/ 1444430 h 3912503"/>
              <a:gd name="connsiteX5796" fmla="*/ 1768304 w 12192528"/>
              <a:gd name="connsiteY5796" fmla="*/ 1446677 h 3912503"/>
              <a:gd name="connsiteX5797" fmla="*/ 1760329 w 12192528"/>
              <a:gd name="connsiteY5797" fmla="*/ 1462415 h 3912503"/>
              <a:gd name="connsiteX5798" fmla="*/ 1757876 w 12192528"/>
              <a:gd name="connsiteY5798" fmla="*/ 1467320 h 3912503"/>
              <a:gd name="connsiteX5799" fmla="*/ 1754195 w 12192528"/>
              <a:gd name="connsiteY5799" fmla="*/ 1468955 h 3912503"/>
              <a:gd name="connsiteX5800" fmla="*/ 1752354 w 12192528"/>
              <a:gd name="connsiteY5800" fmla="*/ 1472839 h 3912503"/>
              <a:gd name="connsiteX5801" fmla="*/ 1753269 w 12192528"/>
              <a:gd name="connsiteY5801" fmla="*/ 1474136 h 3912503"/>
              <a:gd name="connsiteX5802" fmla="*/ 1737287 w 12192528"/>
              <a:gd name="connsiteY5802" fmla="*/ 1490031 h 3912503"/>
              <a:gd name="connsiteX5803" fmla="*/ 1737631 w 12192528"/>
              <a:gd name="connsiteY5803" fmla="*/ 1486940 h 3912503"/>
              <a:gd name="connsiteX5804" fmla="*/ 1736200 w 12192528"/>
              <a:gd name="connsiteY5804" fmla="*/ 1483466 h 3912503"/>
              <a:gd name="connsiteX5805" fmla="*/ 1732519 w 12192528"/>
              <a:gd name="connsiteY5805" fmla="*/ 1484896 h 3912503"/>
              <a:gd name="connsiteX5806" fmla="*/ 1731292 w 12192528"/>
              <a:gd name="connsiteY5806" fmla="*/ 1487554 h 3912503"/>
              <a:gd name="connsiteX5807" fmla="*/ 1725158 w 12192528"/>
              <a:gd name="connsiteY5807" fmla="*/ 1488575 h 3912503"/>
              <a:gd name="connsiteX5808" fmla="*/ 1722500 w 12192528"/>
              <a:gd name="connsiteY5808" fmla="*/ 1486736 h 3912503"/>
              <a:gd name="connsiteX5809" fmla="*/ 1720660 w 12192528"/>
              <a:gd name="connsiteY5809" fmla="*/ 1489597 h 3912503"/>
              <a:gd name="connsiteX5810" fmla="*/ 1720046 w 12192528"/>
              <a:gd name="connsiteY5810" fmla="*/ 1492050 h 3912503"/>
              <a:gd name="connsiteX5811" fmla="*/ 1719261 w 12192528"/>
              <a:gd name="connsiteY5811" fmla="*/ 1493216 h 3912503"/>
              <a:gd name="connsiteX5812" fmla="*/ 1756221 w 12192528"/>
              <a:gd name="connsiteY5812" fmla="*/ 1502996 h 3912503"/>
              <a:gd name="connsiteX5813" fmla="*/ 2171851 w 12192528"/>
              <a:gd name="connsiteY5813" fmla="*/ 1669686 h 3912503"/>
              <a:gd name="connsiteX5814" fmla="*/ 2193858 w 12192528"/>
              <a:gd name="connsiteY5814" fmla="*/ 1682084 h 3912503"/>
              <a:gd name="connsiteX5815" fmla="*/ 2203401 w 12192528"/>
              <a:gd name="connsiteY5815" fmla="*/ 1657369 h 3912503"/>
              <a:gd name="connsiteX5816" fmla="*/ 2203401 w 12192528"/>
              <a:gd name="connsiteY5816" fmla="*/ 1625741 h 3912503"/>
              <a:gd name="connsiteX5817" fmla="*/ 2191894 w 12192528"/>
              <a:gd name="connsiteY5817" fmla="*/ 1613090 h 3912503"/>
              <a:gd name="connsiteX5818" fmla="*/ 2188442 w 12192528"/>
              <a:gd name="connsiteY5818" fmla="*/ 1606765 h 3912503"/>
              <a:gd name="connsiteX5819" fmla="*/ 2194771 w 12192528"/>
              <a:gd name="connsiteY5819" fmla="*/ 1603313 h 3912503"/>
              <a:gd name="connsiteX5820" fmla="*/ 2206854 w 12192528"/>
              <a:gd name="connsiteY5820" fmla="*/ 1591813 h 3912503"/>
              <a:gd name="connsiteX5821" fmla="*/ 2221812 w 12192528"/>
              <a:gd name="connsiteY5821" fmla="*/ 1565936 h 3912503"/>
              <a:gd name="connsiteX5822" fmla="*/ 2222387 w 12192528"/>
              <a:gd name="connsiteY5822" fmla="*/ 1552133 h 3912503"/>
              <a:gd name="connsiteX5823" fmla="*/ 2217785 w 12192528"/>
              <a:gd name="connsiteY5823" fmla="*/ 1542933 h 3912503"/>
              <a:gd name="connsiteX5824" fmla="*/ 2227566 w 12192528"/>
              <a:gd name="connsiteY5824" fmla="*/ 1536607 h 3912503"/>
              <a:gd name="connsiteX5825" fmla="*/ 2235620 w 12192528"/>
              <a:gd name="connsiteY5825" fmla="*/ 1535457 h 3912503"/>
              <a:gd name="connsiteX5826" fmla="*/ 2245401 w 12192528"/>
              <a:gd name="connsiteY5826" fmla="*/ 1511880 h 3912503"/>
              <a:gd name="connsiteX5827" fmla="*/ 2242525 w 12192528"/>
              <a:gd name="connsiteY5827" fmla="*/ 1507280 h 3912503"/>
              <a:gd name="connsiteX5828" fmla="*/ 2243100 w 12192528"/>
              <a:gd name="connsiteY5828" fmla="*/ 1496929 h 3912503"/>
              <a:gd name="connsiteX5829" fmla="*/ 2252305 w 12192528"/>
              <a:gd name="connsiteY5829" fmla="*/ 1499229 h 3912503"/>
              <a:gd name="connsiteX5830" fmla="*/ 2258059 w 12192528"/>
              <a:gd name="connsiteY5830" fmla="*/ 1506705 h 3912503"/>
              <a:gd name="connsiteX5831" fmla="*/ 2260397 w 12192528"/>
              <a:gd name="connsiteY5831" fmla="*/ 1507055 h 3912503"/>
              <a:gd name="connsiteX5832" fmla="*/ 2261117 w 12192528"/>
              <a:gd name="connsiteY5832" fmla="*/ 1501310 h 3912503"/>
              <a:gd name="connsiteX5833" fmla="*/ 2275536 w 12192528"/>
              <a:gd name="connsiteY5833" fmla="*/ 1490077 h 3912503"/>
              <a:gd name="connsiteX5834" fmla="*/ 2284764 w 12192528"/>
              <a:gd name="connsiteY5834" fmla="*/ 1489789 h 3912503"/>
              <a:gd name="connsiteX5835" fmla="*/ 2302933 w 12192528"/>
              <a:gd name="connsiteY5835" fmla="*/ 1493821 h 3912503"/>
              <a:gd name="connsiteX5836" fmla="*/ 2307835 w 12192528"/>
              <a:gd name="connsiteY5836" fmla="*/ 1496413 h 3912503"/>
              <a:gd name="connsiteX5837" fmla="*/ 2310709 w 12192528"/>
              <a:gd name="connsiteY5837" fmla="*/ 1498832 h 3912503"/>
              <a:gd name="connsiteX5838" fmla="*/ 2348388 w 12192528"/>
              <a:gd name="connsiteY5838" fmla="*/ 1496353 h 3912503"/>
              <a:gd name="connsiteX5839" fmla="*/ 2358744 w 12192528"/>
              <a:gd name="connsiteY5839" fmla="*/ 1501530 h 3912503"/>
              <a:gd name="connsiteX5840" fmla="*/ 2388661 w 12192528"/>
              <a:gd name="connsiteY5840" fmla="*/ 1515331 h 3912503"/>
              <a:gd name="connsiteX5841" fmla="*/ 2394415 w 12192528"/>
              <a:gd name="connsiteY5841" fmla="*/ 1519356 h 3912503"/>
              <a:gd name="connsiteX5842" fmla="*/ 2419730 w 12192528"/>
              <a:gd name="connsiteY5842" fmla="*/ 1549833 h 3912503"/>
              <a:gd name="connsiteX5843" fmla="*/ 2435265 w 12192528"/>
              <a:gd name="connsiteY5843" fmla="*/ 1601588 h 3912503"/>
              <a:gd name="connsiteX5844" fmla="*/ 2442744 w 12192528"/>
              <a:gd name="connsiteY5844" fmla="*/ 1619416 h 3912503"/>
              <a:gd name="connsiteX5845" fmla="*/ 2441018 w 12192528"/>
              <a:gd name="connsiteY5845" fmla="*/ 1644718 h 3912503"/>
              <a:gd name="connsiteX5846" fmla="*/ 2438716 w 12192528"/>
              <a:gd name="connsiteY5846" fmla="*/ 1665994 h 3912503"/>
              <a:gd name="connsiteX5847" fmla="*/ 2439293 w 12192528"/>
              <a:gd name="connsiteY5847" fmla="*/ 1674621 h 3912503"/>
              <a:gd name="connsiteX5848" fmla="*/ 2405346 w 12192528"/>
              <a:gd name="connsiteY5848" fmla="*/ 1713724 h 3912503"/>
              <a:gd name="connsiteX5849" fmla="*/ 2373128 w 12192528"/>
              <a:gd name="connsiteY5849" fmla="*/ 1732702 h 3912503"/>
              <a:gd name="connsiteX5850" fmla="*/ 2348963 w 12192528"/>
              <a:gd name="connsiteY5850" fmla="*/ 1764329 h 3912503"/>
              <a:gd name="connsiteX5851" fmla="*/ 2352415 w 12192528"/>
              <a:gd name="connsiteY5851" fmla="*/ 1770654 h 3912503"/>
              <a:gd name="connsiteX5852" fmla="*/ 2355478 w 12192528"/>
              <a:gd name="connsiteY5852" fmla="*/ 1773134 h 3912503"/>
              <a:gd name="connsiteX5853" fmla="*/ 2429009 w 12192528"/>
              <a:gd name="connsiteY5853" fmla="*/ 1814559 h 3912503"/>
              <a:gd name="connsiteX5854" fmla="*/ 2441530 w 12192528"/>
              <a:gd name="connsiteY5854" fmla="*/ 1776982 h 3912503"/>
              <a:gd name="connsiteX5855" fmla="*/ 2528254 w 12192528"/>
              <a:gd name="connsiteY5855" fmla="*/ 1660316 h 3912503"/>
              <a:gd name="connsiteX5856" fmla="*/ 2549187 w 12192528"/>
              <a:gd name="connsiteY5856" fmla="*/ 1654334 h 3912503"/>
              <a:gd name="connsiteX5857" fmla="*/ 2668804 w 12192528"/>
              <a:gd name="connsiteY5857" fmla="*/ 1654334 h 3912503"/>
              <a:gd name="connsiteX5858" fmla="*/ 2644881 w 12192528"/>
              <a:gd name="connsiteY5858" fmla="*/ 1555615 h 3912503"/>
              <a:gd name="connsiteX5859" fmla="*/ 2713661 w 12192528"/>
              <a:gd name="connsiteY5859" fmla="*/ 1609462 h 3912503"/>
              <a:gd name="connsiteX5860" fmla="*/ 2738473 w 12192528"/>
              <a:gd name="connsiteY5860" fmla="*/ 1627551 h 3912503"/>
              <a:gd name="connsiteX5861" fmla="*/ 2753930 w 12192528"/>
              <a:gd name="connsiteY5861" fmla="*/ 1634901 h 3912503"/>
              <a:gd name="connsiteX5862" fmla="*/ 2756826 w 12192528"/>
              <a:gd name="connsiteY5862" fmla="*/ 1632145 h 3912503"/>
              <a:gd name="connsiteX5863" fmla="*/ 2761358 w 12192528"/>
              <a:gd name="connsiteY5863" fmla="*/ 1624307 h 3912503"/>
              <a:gd name="connsiteX5864" fmla="*/ 2761531 w 12192528"/>
              <a:gd name="connsiteY5864" fmla="*/ 1620126 h 3912503"/>
              <a:gd name="connsiteX5865" fmla="*/ 2760137 w 12192528"/>
              <a:gd name="connsiteY5865" fmla="*/ 1617340 h 3912503"/>
              <a:gd name="connsiteX5866" fmla="*/ 2762472 w 12192528"/>
              <a:gd name="connsiteY5866" fmla="*/ 1615830 h 3912503"/>
              <a:gd name="connsiteX5867" fmla="*/ 2741438 w 12192528"/>
              <a:gd name="connsiteY5867" fmla="*/ 1612164 h 3912503"/>
              <a:gd name="connsiteX5868" fmla="*/ 2729475 w 12192528"/>
              <a:gd name="connsiteY5868" fmla="*/ 1606181 h 3912503"/>
              <a:gd name="connsiteX5869" fmla="*/ 2774332 w 12192528"/>
              <a:gd name="connsiteY5869" fmla="*/ 1582250 h 3912503"/>
              <a:gd name="connsiteX5870" fmla="*/ 2774332 w 12192528"/>
              <a:gd name="connsiteY5870" fmla="*/ 1570285 h 3912503"/>
              <a:gd name="connsiteX5871" fmla="*/ 2795265 w 12192528"/>
              <a:gd name="connsiteY5871" fmla="*/ 1378832 h 3912503"/>
              <a:gd name="connsiteX5872" fmla="*/ 2794669 w 12192528"/>
              <a:gd name="connsiteY5872" fmla="*/ 1374358 h 3912503"/>
              <a:gd name="connsiteX5873" fmla="*/ 2786788 w 12192528"/>
              <a:gd name="connsiteY5873" fmla="*/ 1383378 h 3912503"/>
              <a:gd name="connsiteX5874" fmla="*/ 2707088 w 12192528"/>
              <a:gd name="connsiteY5874" fmla="*/ 1499451 h 3912503"/>
              <a:gd name="connsiteX5875" fmla="*/ 2739426 w 12192528"/>
              <a:gd name="connsiteY5875" fmla="*/ 1420865 h 3912503"/>
              <a:gd name="connsiteX5876" fmla="*/ 2781999 w 12192528"/>
              <a:gd name="connsiteY5876" fmla="*/ 1364866 h 3912503"/>
              <a:gd name="connsiteX5877" fmla="*/ 2791485 w 12192528"/>
              <a:gd name="connsiteY5877" fmla="*/ 1350472 h 3912503"/>
              <a:gd name="connsiteX5878" fmla="*/ 2789370 w 12192528"/>
              <a:gd name="connsiteY5878" fmla="*/ 1334601 h 3912503"/>
              <a:gd name="connsiteX5879" fmla="*/ 2777442 w 12192528"/>
              <a:gd name="connsiteY5879" fmla="*/ 1349807 h 3912503"/>
              <a:gd name="connsiteX5880" fmla="*/ 2733038 w 12192528"/>
              <a:gd name="connsiteY5880" fmla="*/ 1396182 h 3912503"/>
              <a:gd name="connsiteX5881" fmla="*/ 2690597 w 12192528"/>
              <a:gd name="connsiteY5881" fmla="*/ 1449294 h 3912503"/>
              <a:gd name="connsiteX5882" fmla="*/ 2734086 w 12192528"/>
              <a:gd name="connsiteY5882" fmla="*/ 1373089 h 3912503"/>
              <a:gd name="connsiteX5883" fmla="*/ 2736214 w 12192528"/>
              <a:gd name="connsiteY5883" fmla="*/ 1381317 h 3912503"/>
              <a:gd name="connsiteX5884" fmla="*/ 2751588 w 12192528"/>
              <a:gd name="connsiteY5884" fmla="*/ 1345740 h 3912503"/>
              <a:gd name="connsiteX5885" fmla="*/ 2768045 w 12192528"/>
              <a:gd name="connsiteY5885" fmla="*/ 1341485 h 3912503"/>
              <a:gd name="connsiteX5886" fmla="*/ 2817381 w 12192528"/>
              <a:gd name="connsiteY5886" fmla="*/ 1274301 h 3912503"/>
              <a:gd name="connsiteX5887" fmla="*/ 2828785 w 12192528"/>
              <a:gd name="connsiteY5887" fmla="*/ 1257307 h 3912503"/>
              <a:gd name="connsiteX5888" fmla="*/ 2854356 w 12192528"/>
              <a:gd name="connsiteY5888" fmla="*/ 1227686 h 3912503"/>
              <a:gd name="connsiteX5889" fmla="*/ 2841467 w 12192528"/>
              <a:gd name="connsiteY5889" fmla="*/ 1219528 h 3912503"/>
              <a:gd name="connsiteX5890" fmla="*/ 2835123 w 12192528"/>
              <a:gd name="connsiteY5890" fmla="*/ 1207719 h 3912503"/>
              <a:gd name="connsiteX5891" fmla="*/ 2833104 w 12192528"/>
              <a:gd name="connsiteY5891" fmla="*/ 1202823 h 3912503"/>
              <a:gd name="connsiteX5892" fmla="*/ 2832815 w 12192528"/>
              <a:gd name="connsiteY5892" fmla="*/ 1197926 h 3912503"/>
              <a:gd name="connsiteX5893" fmla="*/ 2833681 w 12192528"/>
              <a:gd name="connsiteY5893" fmla="*/ 1194182 h 3912503"/>
              <a:gd name="connsiteX5894" fmla="*/ 2835123 w 12192528"/>
              <a:gd name="connsiteY5894" fmla="*/ 1186406 h 3912503"/>
              <a:gd name="connsiteX5895" fmla="*/ 2835410 w 12192528"/>
              <a:gd name="connsiteY5895" fmla="*/ 1183525 h 3912503"/>
              <a:gd name="connsiteX5896" fmla="*/ 2836276 w 12192528"/>
              <a:gd name="connsiteY5896" fmla="*/ 1176612 h 3912503"/>
              <a:gd name="connsiteX5897" fmla="*/ 2850696 w 12192528"/>
              <a:gd name="connsiteY5897" fmla="*/ 1165379 h 3912503"/>
              <a:gd name="connsiteX5898" fmla="*/ 2859924 w 12192528"/>
              <a:gd name="connsiteY5898" fmla="*/ 1165092 h 3912503"/>
              <a:gd name="connsiteX5899" fmla="*/ 2878092 w 12192528"/>
              <a:gd name="connsiteY5899" fmla="*/ 1169124 h 3912503"/>
              <a:gd name="connsiteX5900" fmla="*/ 2882995 w 12192528"/>
              <a:gd name="connsiteY5900" fmla="*/ 1171716 h 3912503"/>
              <a:gd name="connsiteX5901" fmla="*/ 2888474 w 12192528"/>
              <a:gd name="connsiteY5901" fmla="*/ 1176325 h 3912503"/>
              <a:gd name="connsiteX5902" fmla="*/ 2891935 w 12192528"/>
              <a:gd name="connsiteY5902" fmla="*/ 1180933 h 3912503"/>
              <a:gd name="connsiteX5903" fmla="*/ 2892685 w 12192528"/>
              <a:gd name="connsiteY5903" fmla="*/ 1183288 h 3912503"/>
              <a:gd name="connsiteX5904" fmla="*/ 2894641 w 12192528"/>
              <a:gd name="connsiteY5904" fmla="*/ 1181023 h 3912503"/>
              <a:gd name="connsiteX5905" fmla="*/ 2964881 w 12192528"/>
              <a:gd name="connsiteY5905" fmla="*/ 1111506 h 3912503"/>
              <a:gd name="connsiteX5906" fmla="*/ 3008658 w 12192528"/>
              <a:gd name="connsiteY5906" fmla="*/ 1070339 h 3912503"/>
              <a:gd name="connsiteX5907" fmla="*/ 3030673 w 12192528"/>
              <a:gd name="connsiteY5907" fmla="*/ 1040066 h 3912503"/>
              <a:gd name="connsiteX5908" fmla="*/ 3041825 w 12192528"/>
              <a:gd name="connsiteY5908" fmla="*/ 1042448 h 3912503"/>
              <a:gd name="connsiteX5909" fmla="*/ 2946583 w 12192528"/>
              <a:gd name="connsiteY5909" fmla="*/ 1142573 h 3912503"/>
              <a:gd name="connsiteX5910" fmla="*/ 2944995 w 12192528"/>
              <a:gd name="connsiteY5910" fmla="*/ 1150006 h 3912503"/>
              <a:gd name="connsiteX5911" fmla="*/ 2950300 w 12192528"/>
              <a:gd name="connsiteY5911" fmla="*/ 1143366 h 3912503"/>
              <a:gd name="connsiteX5912" fmla="*/ 2959322 w 12192528"/>
              <a:gd name="connsiteY5912" fmla="*/ 1137521 h 3912503"/>
              <a:gd name="connsiteX5913" fmla="*/ 2954017 w 12192528"/>
              <a:gd name="connsiteY5913" fmla="*/ 1144161 h 3912503"/>
              <a:gd name="connsiteX5914" fmla="*/ 2953223 w 12192528"/>
              <a:gd name="connsiteY5914" fmla="*/ 1147877 h 3912503"/>
              <a:gd name="connsiteX5915" fmla="*/ 3064922 w 12192528"/>
              <a:gd name="connsiteY5915" fmla="*/ 1043496 h 3912503"/>
              <a:gd name="connsiteX5916" fmla="*/ 3180338 w 12192528"/>
              <a:gd name="connsiteY5916" fmla="*/ 939912 h 3912503"/>
              <a:gd name="connsiteX5917" fmla="*/ 3200764 w 12192528"/>
              <a:gd name="connsiteY5917" fmla="*/ 917073 h 3912503"/>
              <a:gd name="connsiteX5918" fmla="*/ 3294164 w 12192528"/>
              <a:gd name="connsiteY5918" fmla="*/ 843759 h 3912503"/>
              <a:gd name="connsiteX5919" fmla="*/ 3289907 w 12192528"/>
              <a:gd name="connsiteY5919" fmla="*/ 827305 h 3912503"/>
              <a:gd name="connsiteX5920" fmla="*/ 3305822 w 12192528"/>
              <a:gd name="connsiteY5920" fmla="*/ 807388 h 3912503"/>
              <a:gd name="connsiteX5921" fmla="*/ 3301310 w 12192528"/>
              <a:gd name="connsiteY5921" fmla="*/ 810312 h 3912503"/>
              <a:gd name="connsiteX5922" fmla="*/ 3297592 w 12192528"/>
              <a:gd name="connsiteY5922" fmla="*/ 809517 h 3912503"/>
              <a:gd name="connsiteX5923" fmla="*/ 3306615 w 12192528"/>
              <a:gd name="connsiteY5923" fmla="*/ 803671 h 3912503"/>
              <a:gd name="connsiteX5924" fmla="*/ 3311127 w 12192528"/>
              <a:gd name="connsiteY5924" fmla="*/ 800750 h 3912503"/>
              <a:gd name="connsiteX5925" fmla="*/ 3342165 w 12192528"/>
              <a:gd name="connsiteY5925" fmla="*/ 764634 h 3912503"/>
              <a:gd name="connsiteX5926" fmla="*/ 3414344 w 12192528"/>
              <a:gd name="connsiteY5926" fmla="*/ 717875 h 3912503"/>
              <a:gd name="connsiteX5927" fmla="*/ 3403734 w 12192528"/>
              <a:gd name="connsiteY5927" fmla="*/ 731153 h 3912503"/>
              <a:gd name="connsiteX5928" fmla="*/ 3408245 w 12192528"/>
              <a:gd name="connsiteY5928" fmla="*/ 728230 h 3912503"/>
              <a:gd name="connsiteX5929" fmla="*/ 3416473 w 12192528"/>
              <a:gd name="connsiteY5929" fmla="*/ 726102 h 3912503"/>
              <a:gd name="connsiteX5930" fmla="*/ 3411962 w 12192528"/>
              <a:gd name="connsiteY5930" fmla="*/ 729025 h 3912503"/>
              <a:gd name="connsiteX5931" fmla="*/ 3411168 w 12192528"/>
              <a:gd name="connsiteY5931" fmla="*/ 732742 h 3912503"/>
              <a:gd name="connsiteX5932" fmla="*/ 3441159 w 12192528"/>
              <a:gd name="connsiteY5932" fmla="*/ 719719 h 3912503"/>
              <a:gd name="connsiteX5933" fmla="*/ 3407198 w 12192528"/>
              <a:gd name="connsiteY5933" fmla="*/ 751324 h 3912503"/>
              <a:gd name="connsiteX5934" fmla="*/ 3411709 w 12192528"/>
              <a:gd name="connsiteY5934" fmla="*/ 748402 h 3912503"/>
              <a:gd name="connsiteX5935" fmla="*/ 3420730 w 12192528"/>
              <a:gd name="connsiteY5935" fmla="*/ 742557 h 3912503"/>
              <a:gd name="connsiteX5936" fmla="*/ 3419937 w 12192528"/>
              <a:gd name="connsiteY5936" fmla="*/ 746274 h 3912503"/>
              <a:gd name="connsiteX5937" fmla="*/ 3415427 w 12192528"/>
              <a:gd name="connsiteY5937" fmla="*/ 749195 h 3912503"/>
              <a:gd name="connsiteX5938" fmla="*/ 3441699 w 12192528"/>
              <a:gd name="connsiteY5938" fmla="*/ 735378 h 3912503"/>
              <a:gd name="connsiteX5939" fmla="*/ 3568807 w 12192528"/>
              <a:gd name="connsiteY5939" fmla="*/ 649835 h 3912503"/>
              <a:gd name="connsiteX5940" fmla="*/ 3607821 w 12192528"/>
              <a:gd name="connsiteY5940" fmla="*/ 630967 h 3912503"/>
              <a:gd name="connsiteX5941" fmla="*/ 3735470 w 12192528"/>
              <a:gd name="connsiteY5941" fmla="*/ 561085 h 3912503"/>
              <a:gd name="connsiteX5942" fmla="*/ 3772019 w 12192528"/>
              <a:gd name="connsiteY5942" fmla="*/ 543441 h 3912503"/>
              <a:gd name="connsiteX5943" fmla="*/ 3768755 w 12192528"/>
              <a:gd name="connsiteY5943" fmla="*/ 537368 h 3912503"/>
              <a:gd name="connsiteX5944" fmla="*/ 3766877 w 12192528"/>
              <a:gd name="connsiteY5944" fmla="*/ 532813 h 3912503"/>
              <a:gd name="connsiteX5945" fmla="*/ 3766609 w 12192528"/>
              <a:gd name="connsiteY5945" fmla="*/ 528256 h 3912503"/>
              <a:gd name="connsiteX5946" fmla="*/ 3767414 w 12192528"/>
              <a:gd name="connsiteY5946" fmla="*/ 524772 h 3912503"/>
              <a:gd name="connsiteX5947" fmla="*/ 3768755 w 12192528"/>
              <a:gd name="connsiteY5947" fmla="*/ 517535 h 3912503"/>
              <a:gd name="connsiteX5948" fmla="*/ 3769024 w 12192528"/>
              <a:gd name="connsiteY5948" fmla="*/ 514854 h 3912503"/>
              <a:gd name="connsiteX5949" fmla="*/ 3769829 w 12192528"/>
              <a:gd name="connsiteY5949" fmla="*/ 508421 h 3912503"/>
              <a:gd name="connsiteX5950" fmla="*/ 3783247 w 12192528"/>
              <a:gd name="connsiteY5950" fmla="*/ 497969 h 3912503"/>
              <a:gd name="connsiteX5951" fmla="*/ 3791836 w 12192528"/>
              <a:gd name="connsiteY5951" fmla="*/ 497701 h 3912503"/>
              <a:gd name="connsiteX5952" fmla="*/ 3808743 w 12192528"/>
              <a:gd name="connsiteY5952" fmla="*/ 501453 h 3912503"/>
              <a:gd name="connsiteX5953" fmla="*/ 3813305 w 12192528"/>
              <a:gd name="connsiteY5953" fmla="*/ 503865 h 3912503"/>
              <a:gd name="connsiteX5954" fmla="*/ 3818404 w 12192528"/>
              <a:gd name="connsiteY5954" fmla="*/ 508154 h 3912503"/>
              <a:gd name="connsiteX5955" fmla="*/ 3821624 w 12192528"/>
              <a:gd name="connsiteY5955" fmla="*/ 512442 h 3912503"/>
              <a:gd name="connsiteX5956" fmla="*/ 3825382 w 12192528"/>
              <a:gd name="connsiteY5956" fmla="*/ 524235 h 3912503"/>
              <a:gd name="connsiteX5957" fmla="*/ 3825824 w 12192528"/>
              <a:gd name="connsiteY5957" fmla="*/ 525427 h 3912503"/>
              <a:gd name="connsiteX5958" fmla="*/ 3832875 w 12192528"/>
              <a:gd name="connsiteY5958" fmla="*/ 523603 h 3912503"/>
              <a:gd name="connsiteX5959" fmla="*/ 3828364 w 12192528"/>
              <a:gd name="connsiteY5959" fmla="*/ 526525 h 3912503"/>
              <a:gd name="connsiteX5960" fmla="*/ 3826645 w 12192528"/>
              <a:gd name="connsiteY5960" fmla="*/ 527639 h 3912503"/>
              <a:gd name="connsiteX5961" fmla="*/ 3826895 w 12192528"/>
              <a:gd name="connsiteY5961" fmla="*/ 528316 h 3912503"/>
              <a:gd name="connsiteX5962" fmla="*/ 3870300 w 12192528"/>
              <a:gd name="connsiteY5962" fmla="*/ 512168 h 3912503"/>
              <a:gd name="connsiteX5963" fmla="*/ 3888091 w 12192528"/>
              <a:gd name="connsiteY5963" fmla="*/ 519856 h 3912503"/>
              <a:gd name="connsiteX5964" fmla="*/ 4087415 w 12192528"/>
              <a:gd name="connsiteY5964" fmla="*/ 441969 h 3912503"/>
              <a:gd name="connsiteX5965" fmla="*/ 4228633 w 12192528"/>
              <a:gd name="connsiteY5965" fmla="*/ 417733 h 3912503"/>
              <a:gd name="connsiteX5966" fmla="*/ 4248810 w 12192528"/>
              <a:gd name="connsiteY5966" fmla="*/ 414271 h 3912503"/>
              <a:gd name="connsiteX5967" fmla="*/ 4334812 w 12192528"/>
              <a:gd name="connsiteY5967" fmla="*/ 393783 h 3912503"/>
              <a:gd name="connsiteX5968" fmla="*/ 4409405 w 12192528"/>
              <a:gd name="connsiteY5968" fmla="*/ 390289 h 3912503"/>
              <a:gd name="connsiteX5969" fmla="*/ 4367469 w 12192528"/>
              <a:gd name="connsiteY5969" fmla="*/ 404647 h 3912503"/>
              <a:gd name="connsiteX5970" fmla="*/ 4318895 w 12192528"/>
              <a:gd name="connsiteY5970" fmla="*/ 413700 h 3912503"/>
              <a:gd name="connsiteX5971" fmla="*/ 4288364 w 12192528"/>
              <a:gd name="connsiteY5971" fmla="*/ 411063 h 3912503"/>
              <a:gd name="connsiteX5972" fmla="*/ 4209796 w 12192528"/>
              <a:gd name="connsiteY5972" fmla="*/ 433139 h 3912503"/>
              <a:gd name="connsiteX5973" fmla="*/ 4182186 w 12192528"/>
              <a:gd name="connsiteY5973" fmla="*/ 435013 h 3912503"/>
              <a:gd name="connsiteX5974" fmla="*/ 4180598 w 12192528"/>
              <a:gd name="connsiteY5974" fmla="*/ 442445 h 3912503"/>
              <a:gd name="connsiteX5975" fmla="*/ 4072834 w 12192528"/>
              <a:gd name="connsiteY5975" fmla="*/ 473829 h 3912503"/>
              <a:gd name="connsiteX5976" fmla="*/ 3956843 w 12192528"/>
              <a:gd name="connsiteY5976" fmla="*/ 507340 h 3912503"/>
              <a:gd name="connsiteX5977" fmla="*/ 3950202 w 12192528"/>
              <a:gd name="connsiteY5977" fmla="*/ 502035 h 3912503"/>
              <a:gd name="connsiteX5978" fmla="*/ 3859436 w 12192528"/>
              <a:gd name="connsiteY5978" fmla="*/ 544822 h 3912503"/>
              <a:gd name="connsiteX5979" fmla="*/ 3804762 w 12192528"/>
              <a:gd name="connsiteY5979" fmla="*/ 564231 h 3912503"/>
              <a:gd name="connsiteX5980" fmla="*/ 3807686 w 12192528"/>
              <a:gd name="connsiteY5980" fmla="*/ 568741 h 3912503"/>
              <a:gd name="connsiteX5981" fmla="*/ 3755933 w 12192528"/>
              <a:gd name="connsiteY5981" fmla="*/ 592660 h 3912503"/>
              <a:gd name="connsiteX5982" fmla="*/ 3736552 w 12192528"/>
              <a:gd name="connsiteY5982" fmla="*/ 592406 h 3912503"/>
              <a:gd name="connsiteX5983" fmla="*/ 3754850 w 12192528"/>
              <a:gd name="connsiteY5983" fmla="*/ 561339 h 3912503"/>
              <a:gd name="connsiteX5984" fmla="*/ 3662496 w 12192528"/>
              <a:gd name="connsiteY5984" fmla="*/ 611559 h 3912503"/>
              <a:gd name="connsiteX5985" fmla="*/ 3666213 w 12192528"/>
              <a:gd name="connsiteY5985" fmla="*/ 612354 h 3912503"/>
              <a:gd name="connsiteX5986" fmla="*/ 3674442 w 12192528"/>
              <a:gd name="connsiteY5986" fmla="*/ 610225 h 3912503"/>
              <a:gd name="connsiteX5987" fmla="*/ 3665420 w 12192528"/>
              <a:gd name="connsiteY5987" fmla="*/ 616071 h 3912503"/>
              <a:gd name="connsiteX5988" fmla="*/ 3639146 w 12192528"/>
              <a:gd name="connsiteY5988" fmla="*/ 629888 h 3912503"/>
              <a:gd name="connsiteX5989" fmla="*/ 3633841 w 12192528"/>
              <a:gd name="connsiteY5989" fmla="*/ 636527 h 3912503"/>
              <a:gd name="connsiteX5990" fmla="*/ 3630124 w 12192528"/>
              <a:gd name="connsiteY5990" fmla="*/ 635732 h 3912503"/>
              <a:gd name="connsiteX5991" fmla="*/ 3626407 w 12192528"/>
              <a:gd name="connsiteY5991" fmla="*/ 634938 h 3912503"/>
              <a:gd name="connsiteX5992" fmla="*/ 3630918 w 12192528"/>
              <a:gd name="connsiteY5992" fmla="*/ 632017 h 3912503"/>
              <a:gd name="connsiteX5993" fmla="*/ 3628535 w 12192528"/>
              <a:gd name="connsiteY5993" fmla="*/ 643165 h 3912503"/>
              <a:gd name="connsiteX5994" fmla="*/ 3622436 w 12192528"/>
              <a:gd name="connsiteY5994" fmla="*/ 653521 h 3912503"/>
              <a:gd name="connsiteX5995" fmla="*/ 3641816 w 12192528"/>
              <a:gd name="connsiteY5995" fmla="*/ 653775 h 3912503"/>
              <a:gd name="connsiteX5996" fmla="*/ 3608649 w 12192528"/>
              <a:gd name="connsiteY5996" fmla="*/ 681665 h 3912503"/>
              <a:gd name="connsiteX5997" fmla="*/ 3571460 w 12192528"/>
              <a:gd name="connsiteY5997" fmla="*/ 702765 h 3912503"/>
              <a:gd name="connsiteX5998" fmla="*/ 3599694 w 12192528"/>
              <a:gd name="connsiteY5998" fmla="*/ 702765 h 3912503"/>
              <a:gd name="connsiteX5999" fmla="*/ 3599694 w 12192528"/>
              <a:gd name="connsiteY5999" fmla="*/ 768577 h 3912503"/>
              <a:gd name="connsiteX6000" fmla="*/ 3602684 w 12192528"/>
              <a:gd name="connsiteY6000" fmla="*/ 819432 h 3912503"/>
              <a:gd name="connsiteX6001" fmla="*/ 3707349 w 12192528"/>
              <a:gd name="connsiteY6001" fmla="*/ 870286 h 3912503"/>
              <a:gd name="connsiteX6002" fmla="*/ 3782110 w 12192528"/>
              <a:gd name="connsiteY6002" fmla="*/ 879260 h 3912503"/>
              <a:gd name="connsiteX6003" fmla="*/ 3799180 w 12192528"/>
              <a:gd name="connsiteY6003" fmla="*/ 895651 h 3912503"/>
              <a:gd name="connsiteX6004" fmla="*/ 3865654 w 12192528"/>
              <a:gd name="connsiteY6004" fmla="*/ 862751 h 3912503"/>
              <a:gd name="connsiteX6005" fmla="*/ 3868834 w 12192528"/>
              <a:gd name="connsiteY6005" fmla="*/ 855329 h 3912503"/>
              <a:gd name="connsiteX6006" fmla="*/ 3933595 w 12192528"/>
              <a:gd name="connsiteY6006" fmla="*/ 825041 h 3912503"/>
              <a:gd name="connsiteX6007" fmla="*/ 3942951 w 12192528"/>
              <a:gd name="connsiteY6007" fmla="*/ 831176 h 3912503"/>
              <a:gd name="connsiteX6008" fmla="*/ 3986740 w 12192528"/>
              <a:gd name="connsiteY6008" fmla="*/ 813795 h 3912503"/>
              <a:gd name="connsiteX6009" fmla="*/ 4089483 w 12192528"/>
              <a:gd name="connsiteY6009" fmla="*/ 782669 h 3912503"/>
              <a:gd name="connsiteX6010" fmla="*/ 4092578 w 12192528"/>
              <a:gd name="connsiteY6010" fmla="*/ 782146 h 3912503"/>
              <a:gd name="connsiteX6011" fmla="*/ 4093388 w 12192528"/>
              <a:gd name="connsiteY6011" fmla="*/ 777777 h 3912503"/>
              <a:gd name="connsiteX6012" fmla="*/ 4093677 w 12192528"/>
              <a:gd name="connsiteY6012" fmla="*/ 774896 h 3912503"/>
              <a:gd name="connsiteX6013" fmla="*/ 4094543 w 12192528"/>
              <a:gd name="connsiteY6013" fmla="*/ 767984 h 3912503"/>
              <a:gd name="connsiteX6014" fmla="*/ 4108962 w 12192528"/>
              <a:gd name="connsiteY6014" fmla="*/ 756751 h 3912503"/>
              <a:gd name="connsiteX6015" fmla="*/ 4118191 w 12192528"/>
              <a:gd name="connsiteY6015" fmla="*/ 756463 h 3912503"/>
              <a:gd name="connsiteX6016" fmla="*/ 4136359 w 12192528"/>
              <a:gd name="connsiteY6016" fmla="*/ 760495 h 3912503"/>
              <a:gd name="connsiteX6017" fmla="*/ 4141261 w 12192528"/>
              <a:gd name="connsiteY6017" fmla="*/ 763087 h 3912503"/>
              <a:gd name="connsiteX6018" fmla="*/ 4146741 w 12192528"/>
              <a:gd name="connsiteY6018" fmla="*/ 767696 h 3912503"/>
              <a:gd name="connsiteX6019" fmla="*/ 4150202 w 12192528"/>
              <a:gd name="connsiteY6019" fmla="*/ 772304 h 3912503"/>
              <a:gd name="connsiteX6020" fmla="*/ 4154239 w 12192528"/>
              <a:gd name="connsiteY6020" fmla="*/ 784977 h 3912503"/>
              <a:gd name="connsiteX6021" fmla="*/ 4157123 w 12192528"/>
              <a:gd name="connsiteY6021" fmla="*/ 792754 h 3912503"/>
              <a:gd name="connsiteX6022" fmla="*/ 4157123 w 12192528"/>
              <a:gd name="connsiteY6022" fmla="*/ 796210 h 3912503"/>
              <a:gd name="connsiteX6023" fmla="*/ 4153662 w 12192528"/>
              <a:gd name="connsiteY6023" fmla="*/ 803123 h 3912503"/>
              <a:gd name="connsiteX6024" fmla="*/ 4145876 w 12192528"/>
              <a:gd name="connsiteY6024" fmla="*/ 813492 h 3912503"/>
              <a:gd name="connsiteX6025" fmla="*/ 4143857 w 12192528"/>
              <a:gd name="connsiteY6025" fmla="*/ 817524 h 3912503"/>
              <a:gd name="connsiteX6026" fmla="*/ 4140397 w 12192528"/>
              <a:gd name="connsiteY6026" fmla="*/ 818964 h 3912503"/>
              <a:gd name="connsiteX6027" fmla="*/ 4133763 w 12192528"/>
              <a:gd name="connsiteY6027" fmla="*/ 820981 h 3912503"/>
              <a:gd name="connsiteX6028" fmla="*/ 4131456 w 12192528"/>
              <a:gd name="connsiteY6028" fmla="*/ 822132 h 3912503"/>
              <a:gd name="connsiteX6029" fmla="*/ 4122228 w 12192528"/>
              <a:gd name="connsiteY6029" fmla="*/ 823284 h 3912503"/>
              <a:gd name="connsiteX6030" fmla="*/ 4120209 w 12192528"/>
              <a:gd name="connsiteY6030" fmla="*/ 823860 h 3912503"/>
              <a:gd name="connsiteX6031" fmla="*/ 4105114 w 12192528"/>
              <a:gd name="connsiteY6031" fmla="*/ 814305 h 3912503"/>
              <a:gd name="connsiteX6032" fmla="*/ 4091413 w 12192528"/>
              <a:gd name="connsiteY6032" fmla="*/ 830179 h 3912503"/>
              <a:gd name="connsiteX6033" fmla="*/ 4216017 w 12192528"/>
              <a:gd name="connsiteY6033" fmla="*/ 797194 h 3912503"/>
              <a:gd name="connsiteX6034" fmla="*/ 4221512 w 12192528"/>
              <a:gd name="connsiteY6034" fmla="*/ 780703 h 3912503"/>
              <a:gd name="connsiteX6035" fmla="*/ 4245332 w 12192528"/>
              <a:gd name="connsiteY6035" fmla="*/ 736721 h 3912503"/>
              <a:gd name="connsiteX6036" fmla="*/ 4404977 w 12192528"/>
              <a:gd name="connsiteY6036" fmla="*/ 697323 h 3912503"/>
              <a:gd name="connsiteX6037" fmla="*/ 4470970 w 12192528"/>
              <a:gd name="connsiteY6037" fmla="*/ 683428 h 3912503"/>
              <a:gd name="connsiteX6038" fmla="*/ 4469697 w 12192528"/>
              <a:gd name="connsiteY6038" fmla="*/ 681056 h 3912503"/>
              <a:gd name="connsiteX6039" fmla="*/ 4467817 w 12192528"/>
              <a:gd name="connsiteY6039" fmla="*/ 676499 h 3912503"/>
              <a:gd name="connsiteX6040" fmla="*/ 4467550 w 12192528"/>
              <a:gd name="connsiteY6040" fmla="*/ 671943 h 3912503"/>
              <a:gd name="connsiteX6041" fmla="*/ 4468357 w 12192528"/>
              <a:gd name="connsiteY6041" fmla="*/ 668459 h 3912503"/>
              <a:gd name="connsiteX6042" fmla="*/ 4469697 w 12192528"/>
              <a:gd name="connsiteY6042" fmla="*/ 661221 h 3912503"/>
              <a:gd name="connsiteX6043" fmla="*/ 4469964 w 12192528"/>
              <a:gd name="connsiteY6043" fmla="*/ 658542 h 3912503"/>
              <a:gd name="connsiteX6044" fmla="*/ 4470770 w 12192528"/>
              <a:gd name="connsiteY6044" fmla="*/ 652109 h 3912503"/>
              <a:gd name="connsiteX6045" fmla="*/ 4484189 w 12192528"/>
              <a:gd name="connsiteY6045" fmla="*/ 641656 h 3912503"/>
              <a:gd name="connsiteX6046" fmla="*/ 4492776 w 12192528"/>
              <a:gd name="connsiteY6046" fmla="*/ 641388 h 3912503"/>
              <a:gd name="connsiteX6047" fmla="*/ 4509684 w 12192528"/>
              <a:gd name="connsiteY6047" fmla="*/ 645140 h 3912503"/>
              <a:gd name="connsiteX6048" fmla="*/ 4514246 w 12192528"/>
              <a:gd name="connsiteY6048" fmla="*/ 647553 h 3912503"/>
              <a:gd name="connsiteX6049" fmla="*/ 4519346 w 12192528"/>
              <a:gd name="connsiteY6049" fmla="*/ 651840 h 3912503"/>
              <a:gd name="connsiteX6050" fmla="*/ 4522565 w 12192528"/>
              <a:gd name="connsiteY6050" fmla="*/ 656129 h 3912503"/>
              <a:gd name="connsiteX6051" fmla="*/ 4526323 w 12192528"/>
              <a:gd name="connsiteY6051" fmla="*/ 667922 h 3912503"/>
              <a:gd name="connsiteX6052" fmla="*/ 4527649 w 12192528"/>
              <a:gd name="connsiteY6052" fmla="*/ 671496 h 3912503"/>
              <a:gd name="connsiteX6053" fmla="*/ 4565998 w 12192528"/>
              <a:gd name="connsiteY6053" fmla="*/ 663422 h 3912503"/>
              <a:gd name="connsiteX6054" fmla="*/ 4703654 w 12192528"/>
              <a:gd name="connsiteY6054" fmla="*/ 644181 h 3912503"/>
              <a:gd name="connsiteX6055" fmla="*/ 4733360 w 12192528"/>
              <a:gd name="connsiteY6055" fmla="*/ 643593 h 3912503"/>
              <a:gd name="connsiteX6056" fmla="*/ 4726599 w 12192528"/>
              <a:gd name="connsiteY6056" fmla="*/ 637387 h 3912503"/>
              <a:gd name="connsiteX6057" fmla="*/ 4717876 w 12192528"/>
              <a:gd name="connsiteY6057" fmla="*/ 630537 h 3912503"/>
              <a:gd name="connsiteX6058" fmla="*/ 4729714 w 12192528"/>
              <a:gd name="connsiteY6058" fmla="*/ 623065 h 3912503"/>
              <a:gd name="connsiteX6059" fmla="*/ 4731581 w 12192528"/>
              <a:gd name="connsiteY6059" fmla="*/ 623065 h 3912503"/>
              <a:gd name="connsiteX6060" fmla="*/ 4743419 w 12192528"/>
              <a:gd name="connsiteY6060" fmla="*/ 601896 h 3912503"/>
              <a:gd name="connsiteX6061" fmla="*/ 4744664 w 12192528"/>
              <a:gd name="connsiteY6061" fmla="*/ 572631 h 3912503"/>
              <a:gd name="connsiteX6062" fmla="*/ 4755257 w 12192528"/>
              <a:gd name="connsiteY6062" fmla="*/ 531535 h 3912503"/>
              <a:gd name="connsiteX6063" fmla="*/ 4764600 w 12192528"/>
              <a:gd name="connsiteY6063" fmla="*/ 520327 h 3912503"/>
              <a:gd name="connsiteX6064" fmla="*/ 4790142 w 12192528"/>
              <a:gd name="connsiteY6064" fmla="*/ 487949 h 3912503"/>
              <a:gd name="connsiteX6065" fmla="*/ 4805092 w 12192528"/>
              <a:gd name="connsiteY6065" fmla="*/ 482345 h 3912503"/>
              <a:gd name="connsiteX6066" fmla="*/ 4866768 w 12192528"/>
              <a:gd name="connsiteY6066" fmla="*/ 464288 h 3912503"/>
              <a:gd name="connsiteX6067" fmla="*/ 4866768 w 12192528"/>
              <a:gd name="connsiteY6067" fmla="*/ 450590 h 3912503"/>
              <a:gd name="connsiteX6068" fmla="*/ 4850570 w 12192528"/>
              <a:gd name="connsiteY6068" fmla="*/ 448722 h 3912503"/>
              <a:gd name="connsiteX6069" fmla="*/ 4839355 w 12192528"/>
              <a:gd name="connsiteY6069" fmla="*/ 456194 h 3912503"/>
              <a:gd name="connsiteX6070" fmla="*/ 4828764 w 12192528"/>
              <a:gd name="connsiteY6070" fmla="*/ 457439 h 3912503"/>
              <a:gd name="connsiteX6071" fmla="*/ 4830634 w 12192528"/>
              <a:gd name="connsiteY6071" fmla="*/ 446231 h 3912503"/>
              <a:gd name="connsiteX6072" fmla="*/ 4839355 w 12192528"/>
              <a:gd name="connsiteY6072" fmla="*/ 438137 h 3912503"/>
              <a:gd name="connsiteX6073" fmla="*/ 4842469 w 12192528"/>
              <a:gd name="connsiteY6073" fmla="*/ 418835 h 3912503"/>
              <a:gd name="connsiteX6074" fmla="*/ 4825649 w 12192528"/>
              <a:gd name="connsiteY6074" fmla="*/ 422570 h 3912503"/>
              <a:gd name="connsiteX6075" fmla="*/ 4812567 w 12192528"/>
              <a:gd name="connsiteY6075" fmla="*/ 433155 h 3912503"/>
              <a:gd name="connsiteX6076" fmla="*/ 4800108 w 12192528"/>
              <a:gd name="connsiteY6076" fmla="*/ 425061 h 3912503"/>
              <a:gd name="connsiteX6077" fmla="*/ 4813814 w 12192528"/>
              <a:gd name="connsiteY6077" fmla="*/ 389570 h 3912503"/>
              <a:gd name="connsiteX6078" fmla="*/ 4813814 w 12192528"/>
              <a:gd name="connsiteY6078" fmla="*/ 355324 h 3912503"/>
              <a:gd name="connsiteX6079" fmla="*/ 4801354 w 12192528"/>
              <a:gd name="connsiteY6079" fmla="*/ 341626 h 3912503"/>
              <a:gd name="connsiteX6080" fmla="*/ 4797617 w 12192528"/>
              <a:gd name="connsiteY6080" fmla="*/ 334776 h 3912503"/>
              <a:gd name="connsiteX6081" fmla="*/ 4804469 w 12192528"/>
              <a:gd name="connsiteY6081" fmla="*/ 331040 h 3912503"/>
              <a:gd name="connsiteX6082" fmla="*/ 4817552 w 12192528"/>
              <a:gd name="connsiteY6082" fmla="*/ 318587 h 3912503"/>
              <a:gd name="connsiteX6083" fmla="*/ 4833750 w 12192528"/>
              <a:gd name="connsiteY6083" fmla="*/ 290567 h 3912503"/>
              <a:gd name="connsiteX6084" fmla="*/ 4834373 w 12192528"/>
              <a:gd name="connsiteY6084" fmla="*/ 275624 h 3912503"/>
              <a:gd name="connsiteX6085" fmla="*/ 4829387 w 12192528"/>
              <a:gd name="connsiteY6085" fmla="*/ 265661 h 3912503"/>
              <a:gd name="connsiteX6086" fmla="*/ 4839979 w 12192528"/>
              <a:gd name="connsiteY6086" fmla="*/ 258812 h 3912503"/>
              <a:gd name="connsiteX6087" fmla="*/ 4848700 w 12192528"/>
              <a:gd name="connsiteY6087" fmla="*/ 257567 h 3912503"/>
              <a:gd name="connsiteX6088" fmla="*/ 4859290 w 12192528"/>
              <a:gd name="connsiteY6088" fmla="*/ 232039 h 3912503"/>
              <a:gd name="connsiteX6089" fmla="*/ 4856174 w 12192528"/>
              <a:gd name="connsiteY6089" fmla="*/ 227057 h 3912503"/>
              <a:gd name="connsiteX6090" fmla="*/ 4856798 w 12192528"/>
              <a:gd name="connsiteY6090" fmla="*/ 215849 h 3912503"/>
              <a:gd name="connsiteX6091" fmla="*/ 4866768 w 12192528"/>
              <a:gd name="connsiteY6091" fmla="*/ 218340 h 3912503"/>
              <a:gd name="connsiteX6092" fmla="*/ 4872995 w 12192528"/>
              <a:gd name="connsiteY6092" fmla="*/ 226435 h 3912503"/>
              <a:gd name="connsiteX6093" fmla="*/ 4885455 w 12192528"/>
              <a:gd name="connsiteY6093" fmla="*/ 228302 h 3912503"/>
              <a:gd name="connsiteX6094" fmla="*/ 4923454 w 12192528"/>
              <a:gd name="connsiteY6094" fmla="*/ 218340 h 3912503"/>
              <a:gd name="connsiteX6095" fmla="*/ 4970801 w 12192528"/>
              <a:gd name="connsiteY6095" fmla="*/ 215227 h 3912503"/>
              <a:gd name="connsiteX6096" fmla="*/ 6682830 w 12192528"/>
              <a:gd name="connsiteY6096" fmla="*/ 167741 h 3912503"/>
              <a:gd name="connsiteX6097" fmla="*/ 6699324 w 12192528"/>
              <a:gd name="connsiteY6097" fmla="*/ 183068 h 3912503"/>
              <a:gd name="connsiteX6098" fmla="*/ 6702627 w 12192528"/>
              <a:gd name="connsiteY6098" fmla="*/ 189090 h 3912503"/>
              <a:gd name="connsiteX6099" fmla="*/ 6713070 w 12192528"/>
              <a:gd name="connsiteY6099" fmla="*/ 202227 h 3912503"/>
              <a:gd name="connsiteX6100" fmla="*/ 6721318 w 12192528"/>
              <a:gd name="connsiteY6100" fmla="*/ 207154 h 3912503"/>
              <a:gd name="connsiteX6101" fmla="*/ 6729016 w 12192528"/>
              <a:gd name="connsiteY6101" fmla="*/ 229051 h 3912503"/>
              <a:gd name="connsiteX6102" fmla="*/ 6724067 w 12192528"/>
              <a:gd name="connsiteY6102" fmla="*/ 247662 h 3912503"/>
              <a:gd name="connsiteX6103" fmla="*/ 6708670 w 12192528"/>
              <a:gd name="connsiteY6103" fmla="*/ 259705 h 3912503"/>
              <a:gd name="connsiteX6104" fmla="*/ 6707023 w 12192528"/>
              <a:gd name="connsiteY6104" fmla="*/ 261895 h 3912503"/>
              <a:gd name="connsiteX6105" fmla="*/ 6696028 w 12192528"/>
              <a:gd name="connsiteY6105" fmla="*/ 261895 h 3912503"/>
              <a:gd name="connsiteX6106" fmla="*/ 6683927 w 12192528"/>
              <a:gd name="connsiteY6106" fmla="*/ 255873 h 3912503"/>
              <a:gd name="connsiteX6107" fmla="*/ 6675673 w 12192528"/>
              <a:gd name="connsiteY6107" fmla="*/ 246020 h 3912503"/>
              <a:gd name="connsiteX6108" fmla="*/ 6669635 w 12192528"/>
              <a:gd name="connsiteY6108" fmla="*/ 231240 h 3912503"/>
              <a:gd name="connsiteX6109" fmla="*/ 6661928 w 12192528"/>
              <a:gd name="connsiteY6109" fmla="*/ 217008 h 3912503"/>
              <a:gd name="connsiteX6110" fmla="*/ 6649829 w 12192528"/>
              <a:gd name="connsiteY6110" fmla="*/ 204964 h 3912503"/>
              <a:gd name="connsiteX6111" fmla="*/ 6649829 w 12192528"/>
              <a:gd name="connsiteY6111" fmla="*/ 185258 h 3912503"/>
              <a:gd name="connsiteX6112" fmla="*/ 6656429 w 12192528"/>
              <a:gd name="connsiteY6112" fmla="*/ 177594 h 3912503"/>
              <a:gd name="connsiteX6113" fmla="*/ 6668525 w 12192528"/>
              <a:gd name="connsiteY6113" fmla="*/ 169931 h 3912503"/>
              <a:gd name="connsiteX6114" fmla="*/ 6682830 w 12192528"/>
              <a:gd name="connsiteY6114" fmla="*/ 167741 h 3912503"/>
              <a:gd name="connsiteX6115" fmla="*/ 6015172 w 12192528"/>
              <a:gd name="connsiteY6115" fmla="*/ 165947 h 3912503"/>
              <a:gd name="connsiteX6116" fmla="*/ 6029467 w 12192528"/>
              <a:gd name="connsiteY6116" fmla="*/ 168137 h 3912503"/>
              <a:gd name="connsiteX6117" fmla="*/ 6041566 w 12192528"/>
              <a:gd name="connsiteY6117" fmla="*/ 175800 h 3912503"/>
              <a:gd name="connsiteX6118" fmla="*/ 6048165 w 12192528"/>
              <a:gd name="connsiteY6118" fmla="*/ 183464 h 3912503"/>
              <a:gd name="connsiteX6119" fmla="*/ 6048165 w 12192528"/>
              <a:gd name="connsiteY6119" fmla="*/ 203170 h 3912503"/>
              <a:gd name="connsiteX6120" fmla="*/ 6036067 w 12192528"/>
              <a:gd name="connsiteY6120" fmla="*/ 215214 h 3912503"/>
              <a:gd name="connsiteX6121" fmla="*/ 6028368 w 12192528"/>
              <a:gd name="connsiteY6121" fmla="*/ 229446 h 3912503"/>
              <a:gd name="connsiteX6122" fmla="*/ 6022320 w 12192528"/>
              <a:gd name="connsiteY6122" fmla="*/ 244226 h 3912503"/>
              <a:gd name="connsiteX6123" fmla="*/ 6014073 w 12192528"/>
              <a:gd name="connsiteY6123" fmla="*/ 254079 h 3912503"/>
              <a:gd name="connsiteX6124" fmla="*/ 6001974 w 12192528"/>
              <a:gd name="connsiteY6124" fmla="*/ 260101 h 3912503"/>
              <a:gd name="connsiteX6125" fmla="*/ 5990976 w 12192528"/>
              <a:gd name="connsiteY6125" fmla="*/ 260101 h 3912503"/>
              <a:gd name="connsiteX6126" fmla="*/ 5989329 w 12192528"/>
              <a:gd name="connsiteY6126" fmla="*/ 257911 h 3912503"/>
              <a:gd name="connsiteX6127" fmla="*/ 5973930 w 12192528"/>
              <a:gd name="connsiteY6127" fmla="*/ 245868 h 3912503"/>
              <a:gd name="connsiteX6128" fmla="*/ 5968982 w 12192528"/>
              <a:gd name="connsiteY6128" fmla="*/ 227257 h 3912503"/>
              <a:gd name="connsiteX6129" fmla="*/ 5976681 w 12192528"/>
              <a:gd name="connsiteY6129" fmla="*/ 205360 h 3912503"/>
              <a:gd name="connsiteX6130" fmla="*/ 5984929 w 12192528"/>
              <a:gd name="connsiteY6130" fmla="*/ 200433 h 3912503"/>
              <a:gd name="connsiteX6131" fmla="*/ 5995378 w 12192528"/>
              <a:gd name="connsiteY6131" fmla="*/ 187296 h 3912503"/>
              <a:gd name="connsiteX6132" fmla="*/ 5998676 w 12192528"/>
              <a:gd name="connsiteY6132" fmla="*/ 181274 h 3912503"/>
              <a:gd name="connsiteX6133" fmla="*/ 6015172 w 12192528"/>
              <a:gd name="connsiteY6133" fmla="*/ 165947 h 3912503"/>
              <a:gd name="connsiteX6134" fmla="*/ 3712302 w 12192528"/>
              <a:gd name="connsiteY6134" fmla="*/ 142724 h 3912503"/>
              <a:gd name="connsiteX6135" fmla="*/ 3725052 w 12192528"/>
              <a:gd name="connsiteY6135" fmla="*/ 143061 h 3912503"/>
              <a:gd name="connsiteX6136" fmla="*/ 3737417 w 12192528"/>
              <a:gd name="connsiteY6136" fmla="*/ 143447 h 3912503"/>
              <a:gd name="connsiteX6137" fmla="*/ 3756734 w 12192528"/>
              <a:gd name="connsiteY6137" fmla="*/ 158496 h 3912503"/>
              <a:gd name="connsiteX6138" fmla="*/ 3757894 w 12192528"/>
              <a:gd name="connsiteY6138" fmla="*/ 167757 h 3912503"/>
              <a:gd name="connsiteX6139" fmla="*/ 3758280 w 12192528"/>
              <a:gd name="connsiteY6139" fmla="*/ 171616 h 3912503"/>
              <a:gd name="connsiteX6140" fmla="*/ 3760212 w 12192528"/>
              <a:gd name="connsiteY6140" fmla="*/ 182035 h 3912503"/>
              <a:gd name="connsiteX6141" fmla="*/ 3761371 w 12192528"/>
              <a:gd name="connsiteY6141" fmla="*/ 187052 h 3912503"/>
              <a:gd name="connsiteX6142" fmla="*/ 3760985 w 12192528"/>
              <a:gd name="connsiteY6142" fmla="*/ 193611 h 3912503"/>
              <a:gd name="connsiteX6143" fmla="*/ 3758280 w 12192528"/>
              <a:gd name="connsiteY6143" fmla="*/ 200172 h 3912503"/>
              <a:gd name="connsiteX6144" fmla="*/ 3749780 w 12192528"/>
              <a:gd name="connsiteY6144" fmla="*/ 215992 h 3912503"/>
              <a:gd name="connsiteX6145" fmla="*/ 3722347 w 12192528"/>
              <a:gd name="connsiteY6145" fmla="*/ 233357 h 3912503"/>
              <a:gd name="connsiteX6146" fmla="*/ 3719643 w 12192528"/>
              <a:gd name="connsiteY6146" fmla="*/ 232585 h 3912503"/>
              <a:gd name="connsiteX6147" fmla="*/ 3707279 w 12192528"/>
              <a:gd name="connsiteY6147" fmla="*/ 231042 h 3912503"/>
              <a:gd name="connsiteX6148" fmla="*/ 3704189 w 12192528"/>
              <a:gd name="connsiteY6148" fmla="*/ 229498 h 3912503"/>
              <a:gd name="connsiteX6149" fmla="*/ 3695302 w 12192528"/>
              <a:gd name="connsiteY6149" fmla="*/ 226796 h 3912503"/>
              <a:gd name="connsiteX6150" fmla="*/ 3690665 w 12192528"/>
              <a:gd name="connsiteY6150" fmla="*/ 224868 h 3912503"/>
              <a:gd name="connsiteX6151" fmla="*/ 3687961 w 12192528"/>
              <a:gd name="connsiteY6151" fmla="*/ 219465 h 3912503"/>
              <a:gd name="connsiteX6152" fmla="*/ 3677529 w 12192528"/>
              <a:gd name="connsiteY6152" fmla="*/ 205573 h 3912503"/>
              <a:gd name="connsiteX6153" fmla="*/ 3672893 w 12192528"/>
              <a:gd name="connsiteY6153" fmla="*/ 196313 h 3912503"/>
              <a:gd name="connsiteX6154" fmla="*/ 3672893 w 12192528"/>
              <a:gd name="connsiteY6154" fmla="*/ 191682 h 3912503"/>
              <a:gd name="connsiteX6155" fmla="*/ 3676756 w 12192528"/>
              <a:gd name="connsiteY6155" fmla="*/ 181263 h 3912503"/>
              <a:gd name="connsiteX6156" fmla="*/ 3682165 w 12192528"/>
              <a:gd name="connsiteY6156" fmla="*/ 164285 h 3912503"/>
              <a:gd name="connsiteX6157" fmla="*/ 3686802 w 12192528"/>
              <a:gd name="connsiteY6157" fmla="*/ 158110 h 3912503"/>
              <a:gd name="connsiteX6158" fmla="*/ 3694143 w 12192528"/>
              <a:gd name="connsiteY6158" fmla="*/ 151937 h 3912503"/>
              <a:gd name="connsiteX6159" fmla="*/ 3700711 w 12192528"/>
              <a:gd name="connsiteY6159" fmla="*/ 148464 h 3912503"/>
              <a:gd name="connsiteX6160" fmla="*/ 3712302 w 12192528"/>
              <a:gd name="connsiteY6160" fmla="*/ 142724 h 3912503"/>
              <a:gd name="connsiteX6161" fmla="*/ 6884850 w 12192528"/>
              <a:gd name="connsiteY6161" fmla="*/ 103907 h 3912503"/>
              <a:gd name="connsiteX6162" fmla="*/ 6889099 w 12192528"/>
              <a:gd name="connsiteY6162" fmla="*/ 106030 h 3912503"/>
              <a:gd name="connsiteX6163" fmla="*/ 6901367 w 12192528"/>
              <a:gd name="connsiteY6163" fmla="*/ 111689 h 3912503"/>
              <a:gd name="connsiteX6164" fmla="*/ 6903727 w 12192528"/>
              <a:gd name="connsiteY6164" fmla="*/ 113340 h 3912503"/>
              <a:gd name="connsiteX6165" fmla="*/ 6914110 w 12192528"/>
              <a:gd name="connsiteY6165" fmla="*/ 125839 h 3912503"/>
              <a:gd name="connsiteX6166" fmla="*/ 6920479 w 12192528"/>
              <a:gd name="connsiteY6166" fmla="*/ 147064 h 3912503"/>
              <a:gd name="connsiteX6167" fmla="*/ 6923548 w 12192528"/>
              <a:gd name="connsiteY6167" fmla="*/ 154375 h 3912503"/>
              <a:gd name="connsiteX6168" fmla="*/ 6922838 w 12192528"/>
              <a:gd name="connsiteY6168" fmla="*/ 164751 h 3912503"/>
              <a:gd name="connsiteX6169" fmla="*/ 6921895 w 12192528"/>
              <a:gd name="connsiteY6169" fmla="*/ 173477 h 3912503"/>
              <a:gd name="connsiteX6170" fmla="*/ 6922129 w 12192528"/>
              <a:gd name="connsiteY6170" fmla="*/ 177015 h 3912503"/>
              <a:gd name="connsiteX6171" fmla="*/ 6908212 w 12192528"/>
              <a:gd name="connsiteY6171" fmla="*/ 193051 h 3912503"/>
              <a:gd name="connsiteX6172" fmla="*/ 6894999 w 12192528"/>
              <a:gd name="connsiteY6172" fmla="*/ 200833 h 3912503"/>
              <a:gd name="connsiteX6173" fmla="*/ 6885085 w 12192528"/>
              <a:gd name="connsiteY6173" fmla="*/ 213804 h 3912503"/>
              <a:gd name="connsiteX6174" fmla="*/ 6886502 w 12192528"/>
              <a:gd name="connsiteY6174" fmla="*/ 216399 h 3912503"/>
              <a:gd name="connsiteX6175" fmla="*/ 6900424 w 12192528"/>
              <a:gd name="connsiteY6175" fmla="*/ 232907 h 3912503"/>
              <a:gd name="connsiteX6176" fmla="*/ 6902316 w 12192528"/>
              <a:gd name="connsiteY6176" fmla="*/ 236679 h 3912503"/>
              <a:gd name="connsiteX6177" fmla="*/ 6904198 w 12192528"/>
              <a:gd name="connsiteY6177" fmla="*/ 248471 h 3912503"/>
              <a:gd name="connsiteX6178" fmla="*/ 6907504 w 12192528"/>
              <a:gd name="connsiteY6178" fmla="*/ 262150 h 3912503"/>
              <a:gd name="connsiteX6179" fmla="*/ 6907265 w 12192528"/>
              <a:gd name="connsiteY6179" fmla="*/ 267809 h 3912503"/>
              <a:gd name="connsiteX6180" fmla="*/ 6894763 w 12192528"/>
              <a:gd name="connsiteY6180" fmla="*/ 298232 h 3912503"/>
              <a:gd name="connsiteX6181" fmla="*/ 6892401 w 12192528"/>
              <a:gd name="connsiteY6181" fmla="*/ 300118 h 3912503"/>
              <a:gd name="connsiteX6182" fmla="*/ 6878010 w 12192528"/>
              <a:gd name="connsiteY6182" fmla="*/ 306957 h 3912503"/>
              <a:gd name="connsiteX6183" fmla="*/ 6871873 w 12192528"/>
              <a:gd name="connsiteY6183" fmla="*/ 308844 h 3912503"/>
              <a:gd name="connsiteX6184" fmla="*/ 6861493 w 12192528"/>
              <a:gd name="connsiteY6184" fmla="*/ 311202 h 3912503"/>
              <a:gd name="connsiteX6185" fmla="*/ 6853707 w 12192528"/>
              <a:gd name="connsiteY6185" fmla="*/ 318041 h 3912503"/>
              <a:gd name="connsiteX6186" fmla="*/ 6850168 w 12192528"/>
              <a:gd name="connsiteY6186" fmla="*/ 319309 h 3912503"/>
              <a:gd name="connsiteX6187" fmla="*/ 6848045 w 12192528"/>
              <a:gd name="connsiteY6187" fmla="*/ 316155 h 3912503"/>
              <a:gd name="connsiteX6188" fmla="*/ 6847333 w 12192528"/>
              <a:gd name="connsiteY6188" fmla="*/ 313324 h 3912503"/>
              <a:gd name="connsiteX6189" fmla="*/ 6845214 w 12192528"/>
              <a:gd name="connsiteY6189" fmla="*/ 310023 h 3912503"/>
              <a:gd name="connsiteX6190" fmla="*/ 6842145 w 12192528"/>
              <a:gd name="connsiteY6190" fmla="*/ 312146 h 3912503"/>
              <a:gd name="connsiteX6191" fmla="*/ 6835065 w 12192528"/>
              <a:gd name="connsiteY6191" fmla="*/ 310966 h 3912503"/>
              <a:gd name="connsiteX6192" fmla="*/ 6833651 w 12192528"/>
              <a:gd name="connsiteY6192" fmla="*/ 307901 h 3912503"/>
              <a:gd name="connsiteX6193" fmla="*/ 6829403 w 12192528"/>
              <a:gd name="connsiteY6193" fmla="*/ 306250 h 3912503"/>
              <a:gd name="connsiteX6194" fmla="*/ 6827752 w 12192528"/>
              <a:gd name="connsiteY6194" fmla="*/ 310259 h 3912503"/>
              <a:gd name="connsiteX6195" fmla="*/ 6828150 w 12192528"/>
              <a:gd name="connsiteY6195" fmla="*/ 313826 h 3912503"/>
              <a:gd name="connsiteX6196" fmla="*/ 6809711 w 12192528"/>
              <a:gd name="connsiteY6196" fmla="*/ 295485 h 3912503"/>
              <a:gd name="connsiteX6197" fmla="*/ 6810763 w 12192528"/>
              <a:gd name="connsiteY6197" fmla="*/ 293987 h 3912503"/>
              <a:gd name="connsiteX6198" fmla="*/ 6808642 w 12192528"/>
              <a:gd name="connsiteY6198" fmla="*/ 289506 h 3912503"/>
              <a:gd name="connsiteX6199" fmla="*/ 6804393 w 12192528"/>
              <a:gd name="connsiteY6199" fmla="*/ 287619 h 3912503"/>
              <a:gd name="connsiteX6200" fmla="*/ 6801564 w 12192528"/>
              <a:gd name="connsiteY6200" fmla="*/ 281959 h 3912503"/>
              <a:gd name="connsiteX6201" fmla="*/ 6792363 w 12192528"/>
              <a:gd name="connsiteY6201" fmla="*/ 263800 h 3912503"/>
              <a:gd name="connsiteX6202" fmla="*/ 6789059 w 12192528"/>
              <a:gd name="connsiteY6202" fmla="*/ 261206 h 3912503"/>
              <a:gd name="connsiteX6203" fmla="*/ 6793540 w 12192528"/>
              <a:gd name="connsiteY6203" fmla="*/ 258376 h 3912503"/>
              <a:gd name="connsiteX6204" fmla="*/ 6794252 w 12192528"/>
              <a:gd name="connsiteY6204" fmla="*/ 258376 h 3912503"/>
              <a:gd name="connsiteX6205" fmla="*/ 6798732 w 12192528"/>
              <a:gd name="connsiteY6205" fmla="*/ 250358 h 3912503"/>
              <a:gd name="connsiteX6206" fmla="*/ 6799205 w 12192528"/>
              <a:gd name="connsiteY6206" fmla="*/ 239274 h 3912503"/>
              <a:gd name="connsiteX6207" fmla="*/ 6803216 w 12192528"/>
              <a:gd name="connsiteY6207" fmla="*/ 223709 h 3912503"/>
              <a:gd name="connsiteX6208" fmla="*/ 6806755 w 12192528"/>
              <a:gd name="connsiteY6208" fmla="*/ 219464 h 3912503"/>
              <a:gd name="connsiteX6209" fmla="*/ 6816431 w 12192528"/>
              <a:gd name="connsiteY6209" fmla="*/ 207201 h 3912503"/>
              <a:gd name="connsiteX6210" fmla="*/ 6822093 w 12192528"/>
              <a:gd name="connsiteY6210" fmla="*/ 205078 h 3912503"/>
              <a:gd name="connsiteX6211" fmla="*/ 6845450 w 12192528"/>
              <a:gd name="connsiteY6211" fmla="*/ 198239 h 3912503"/>
              <a:gd name="connsiteX6212" fmla="*/ 6845450 w 12192528"/>
              <a:gd name="connsiteY6212" fmla="*/ 193051 h 3912503"/>
              <a:gd name="connsiteX6213" fmla="*/ 6839315 w 12192528"/>
              <a:gd name="connsiteY6213" fmla="*/ 192344 h 3912503"/>
              <a:gd name="connsiteX6214" fmla="*/ 6835065 w 12192528"/>
              <a:gd name="connsiteY6214" fmla="*/ 195173 h 3912503"/>
              <a:gd name="connsiteX6215" fmla="*/ 6831057 w 12192528"/>
              <a:gd name="connsiteY6215" fmla="*/ 195646 h 3912503"/>
              <a:gd name="connsiteX6216" fmla="*/ 6831765 w 12192528"/>
              <a:gd name="connsiteY6216" fmla="*/ 191401 h 3912503"/>
              <a:gd name="connsiteX6217" fmla="*/ 6835065 w 12192528"/>
              <a:gd name="connsiteY6217" fmla="*/ 188334 h 3912503"/>
              <a:gd name="connsiteX6218" fmla="*/ 6836248 w 12192528"/>
              <a:gd name="connsiteY6218" fmla="*/ 181024 h 3912503"/>
              <a:gd name="connsiteX6219" fmla="*/ 6829876 w 12192528"/>
              <a:gd name="connsiteY6219" fmla="*/ 182438 h 3912503"/>
              <a:gd name="connsiteX6220" fmla="*/ 6824924 w 12192528"/>
              <a:gd name="connsiteY6220" fmla="*/ 186448 h 3912503"/>
              <a:gd name="connsiteX6221" fmla="*/ 6820199 w 12192528"/>
              <a:gd name="connsiteY6221" fmla="*/ 183382 h 3912503"/>
              <a:gd name="connsiteX6222" fmla="*/ 6825396 w 12192528"/>
              <a:gd name="connsiteY6222" fmla="*/ 169939 h 3912503"/>
              <a:gd name="connsiteX6223" fmla="*/ 6825396 w 12192528"/>
              <a:gd name="connsiteY6223" fmla="*/ 156969 h 3912503"/>
              <a:gd name="connsiteX6224" fmla="*/ 6820679 w 12192528"/>
              <a:gd name="connsiteY6224" fmla="*/ 151781 h 3912503"/>
              <a:gd name="connsiteX6225" fmla="*/ 6819261 w 12192528"/>
              <a:gd name="connsiteY6225" fmla="*/ 149186 h 3912503"/>
              <a:gd name="connsiteX6226" fmla="*/ 6821857 w 12192528"/>
              <a:gd name="connsiteY6226" fmla="*/ 147772 h 3912503"/>
              <a:gd name="connsiteX6227" fmla="*/ 6826811 w 12192528"/>
              <a:gd name="connsiteY6227" fmla="*/ 143054 h 3912503"/>
              <a:gd name="connsiteX6228" fmla="*/ 6832944 w 12192528"/>
              <a:gd name="connsiteY6228" fmla="*/ 132442 h 3912503"/>
              <a:gd name="connsiteX6229" fmla="*/ 6833182 w 12192528"/>
              <a:gd name="connsiteY6229" fmla="*/ 126783 h 3912503"/>
              <a:gd name="connsiteX6230" fmla="*/ 6831296 w 12192528"/>
              <a:gd name="connsiteY6230" fmla="*/ 123009 h 3912503"/>
              <a:gd name="connsiteX6231" fmla="*/ 6835306 w 12192528"/>
              <a:gd name="connsiteY6231" fmla="*/ 120416 h 3912503"/>
              <a:gd name="connsiteX6232" fmla="*/ 6838609 w 12192528"/>
              <a:gd name="connsiteY6232" fmla="*/ 119943 h 3912503"/>
              <a:gd name="connsiteX6233" fmla="*/ 6842617 w 12192528"/>
              <a:gd name="connsiteY6233" fmla="*/ 110275 h 3912503"/>
              <a:gd name="connsiteX6234" fmla="*/ 6841438 w 12192528"/>
              <a:gd name="connsiteY6234" fmla="*/ 108388 h 3912503"/>
              <a:gd name="connsiteX6235" fmla="*/ 6841677 w 12192528"/>
              <a:gd name="connsiteY6235" fmla="*/ 104143 h 3912503"/>
              <a:gd name="connsiteX6236" fmla="*/ 6845450 w 12192528"/>
              <a:gd name="connsiteY6236" fmla="*/ 105086 h 3912503"/>
              <a:gd name="connsiteX6237" fmla="*/ 6847809 w 12192528"/>
              <a:gd name="connsiteY6237" fmla="*/ 108152 h 3912503"/>
              <a:gd name="connsiteX6238" fmla="*/ 6852528 w 12192528"/>
              <a:gd name="connsiteY6238" fmla="*/ 108859 h 3912503"/>
              <a:gd name="connsiteX6239" fmla="*/ 6866919 w 12192528"/>
              <a:gd name="connsiteY6239" fmla="*/ 105086 h 3912503"/>
              <a:gd name="connsiteX6240" fmla="*/ 6884850 w 12192528"/>
              <a:gd name="connsiteY6240" fmla="*/ 103907 h 3912503"/>
              <a:gd name="connsiteX6241" fmla="*/ 5644234 w 12192528"/>
              <a:gd name="connsiteY6241" fmla="*/ 691 h 3912503"/>
              <a:gd name="connsiteX6242" fmla="*/ 5656985 w 12192528"/>
              <a:gd name="connsiteY6242" fmla="*/ 1028 h 3912503"/>
              <a:gd name="connsiteX6243" fmla="*/ 5669348 w 12192528"/>
              <a:gd name="connsiteY6243" fmla="*/ 1414 h 3912503"/>
              <a:gd name="connsiteX6244" fmla="*/ 5688667 w 12192528"/>
              <a:gd name="connsiteY6244" fmla="*/ 16464 h 3912503"/>
              <a:gd name="connsiteX6245" fmla="*/ 5689828 w 12192528"/>
              <a:gd name="connsiteY6245" fmla="*/ 25725 h 3912503"/>
              <a:gd name="connsiteX6246" fmla="*/ 5690214 w 12192528"/>
              <a:gd name="connsiteY6246" fmla="*/ 29584 h 3912503"/>
              <a:gd name="connsiteX6247" fmla="*/ 5692147 w 12192528"/>
              <a:gd name="connsiteY6247" fmla="*/ 40002 h 3912503"/>
              <a:gd name="connsiteX6248" fmla="*/ 5693305 w 12192528"/>
              <a:gd name="connsiteY6248" fmla="*/ 45019 h 3912503"/>
              <a:gd name="connsiteX6249" fmla="*/ 5692918 w 12192528"/>
              <a:gd name="connsiteY6249" fmla="*/ 51579 h 3912503"/>
              <a:gd name="connsiteX6250" fmla="*/ 5690214 w 12192528"/>
              <a:gd name="connsiteY6250" fmla="*/ 58139 h 3912503"/>
              <a:gd name="connsiteX6251" fmla="*/ 5681714 w 12192528"/>
              <a:gd name="connsiteY6251" fmla="*/ 73959 h 3912503"/>
              <a:gd name="connsiteX6252" fmla="*/ 5654282 w 12192528"/>
              <a:gd name="connsiteY6252" fmla="*/ 91324 h 3912503"/>
              <a:gd name="connsiteX6253" fmla="*/ 5651574 w 12192528"/>
              <a:gd name="connsiteY6253" fmla="*/ 90553 h 3912503"/>
              <a:gd name="connsiteX6254" fmla="*/ 5639212 w 12192528"/>
              <a:gd name="connsiteY6254" fmla="*/ 89009 h 3912503"/>
              <a:gd name="connsiteX6255" fmla="*/ 5636124 w 12192528"/>
              <a:gd name="connsiteY6255" fmla="*/ 87465 h 3912503"/>
              <a:gd name="connsiteX6256" fmla="*/ 5627235 w 12192528"/>
              <a:gd name="connsiteY6256" fmla="*/ 84764 h 3912503"/>
              <a:gd name="connsiteX6257" fmla="*/ 5622600 w 12192528"/>
              <a:gd name="connsiteY6257" fmla="*/ 82834 h 3912503"/>
              <a:gd name="connsiteX6258" fmla="*/ 5619896 w 12192528"/>
              <a:gd name="connsiteY6258" fmla="*/ 77433 h 3912503"/>
              <a:gd name="connsiteX6259" fmla="*/ 5609463 w 12192528"/>
              <a:gd name="connsiteY6259" fmla="*/ 63541 h 3912503"/>
              <a:gd name="connsiteX6260" fmla="*/ 5604825 w 12192528"/>
              <a:gd name="connsiteY6260" fmla="*/ 54280 h 3912503"/>
              <a:gd name="connsiteX6261" fmla="*/ 5604825 w 12192528"/>
              <a:gd name="connsiteY6261" fmla="*/ 49649 h 3912503"/>
              <a:gd name="connsiteX6262" fmla="*/ 5608691 w 12192528"/>
              <a:gd name="connsiteY6262" fmla="*/ 39231 h 3912503"/>
              <a:gd name="connsiteX6263" fmla="*/ 5614099 w 12192528"/>
              <a:gd name="connsiteY6263" fmla="*/ 22253 h 3912503"/>
              <a:gd name="connsiteX6264" fmla="*/ 5618735 w 12192528"/>
              <a:gd name="connsiteY6264" fmla="*/ 16078 h 3912503"/>
              <a:gd name="connsiteX6265" fmla="*/ 5626076 w 12192528"/>
              <a:gd name="connsiteY6265" fmla="*/ 9904 h 3912503"/>
              <a:gd name="connsiteX6266" fmla="*/ 5632644 w 12192528"/>
              <a:gd name="connsiteY6266" fmla="*/ 6431 h 3912503"/>
              <a:gd name="connsiteX6267" fmla="*/ 5644234 w 12192528"/>
              <a:gd name="connsiteY6267" fmla="*/ 691 h 391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Lst>
            <a:rect l="l" t="t" r="r" b="b"/>
            <a:pathLst>
              <a:path w="12192528" h="3912503">
                <a:moveTo>
                  <a:pt x="2510807" y="3014103"/>
                </a:moveTo>
                <a:lnTo>
                  <a:pt x="2506134" y="3036693"/>
                </a:lnTo>
                <a:lnTo>
                  <a:pt x="2513999" y="3045911"/>
                </a:lnTo>
                <a:lnTo>
                  <a:pt x="2535353" y="3078914"/>
                </a:lnTo>
                <a:lnTo>
                  <a:pt x="2542807" y="3052570"/>
                </a:lnTo>
                <a:lnTo>
                  <a:pt x="2535357" y="3048255"/>
                </a:lnTo>
                <a:cubicBezTo>
                  <a:pt x="2535357" y="3048255"/>
                  <a:pt x="2535357" y="3037663"/>
                  <a:pt x="2528294" y="3034130"/>
                </a:cubicBezTo>
                <a:close/>
                <a:moveTo>
                  <a:pt x="2519082" y="2974106"/>
                </a:moveTo>
                <a:lnTo>
                  <a:pt x="2518351" y="2977637"/>
                </a:lnTo>
                <a:lnTo>
                  <a:pt x="2521233" y="2977637"/>
                </a:lnTo>
                <a:cubicBezTo>
                  <a:pt x="2524763" y="2977637"/>
                  <a:pt x="2524763" y="2977637"/>
                  <a:pt x="2524763" y="2977637"/>
                </a:cubicBezTo>
                <a:cubicBezTo>
                  <a:pt x="2521233" y="2974106"/>
                  <a:pt x="2521233" y="2974106"/>
                  <a:pt x="2521233" y="2974106"/>
                </a:cubicBezTo>
                <a:close/>
                <a:moveTo>
                  <a:pt x="2531825" y="2963514"/>
                </a:moveTo>
                <a:cubicBezTo>
                  <a:pt x="2528294" y="2959983"/>
                  <a:pt x="2524763" y="2959983"/>
                  <a:pt x="2524763" y="2963515"/>
                </a:cubicBezTo>
                <a:cubicBezTo>
                  <a:pt x="2524763" y="2963515"/>
                  <a:pt x="2524763" y="2967045"/>
                  <a:pt x="2528294" y="2970576"/>
                </a:cubicBezTo>
                <a:cubicBezTo>
                  <a:pt x="2528294" y="2970576"/>
                  <a:pt x="2528294" y="2970576"/>
                  <a:pt x="2531825" y="2970576"/>
                </a:cubicBezTo>
                <a:cubicBezTo>
                  <a:pt x="2535357" y="2974106"/>
                  <a:pt x="2535357" y="2974106"/>
                  <a:pt x="2535357" y="2974106"/>
                </a:cubicBezTo>
                <a:cubicBezTo>
                  <a:pt x="2517702" y="2967045"/>
                  <a:pt x="2531825" y="2977638"/>
                  <a:pt x="2538887" y="2988230"/>
                </a:cubicBezTo>
                <a:cubicBezTo>
                  <a:pt x="2535357" y="2984700"/>
                  <a:pt x="2535357" y="2984700"/>
                  <a:pt x="2535357" y="2984700"/>
                </a:cubicBezTo>
                <a:cubicBezTo>
                  <a:pt x="2535357" y="2984700"/>
                  <a:pt x="2535357" y="2988230"/>
                  <a:pt x="2535357" y="2988230"/>
                </a:cubicBezTo>
                <a:cubicBezTo>
                  <a:pt x="2535357" y="2988230"/>
                  <a:pt x="2535357" y="2988230"/>
                  <a:pt x="2535357" y="2991761"/>
                </a:cubicBezTo>
                <a:cubicBezTo>
                  <a:pt x="2538887" y="2991761"/>
                  <a:pt x="2538887" y="2991761"/>
                  <a:pt x="2538887" y="2991761"/>
                </a:cubicBezTo>
                <a:cubicBezTo>
                  <a:pt x="2542418" y="2995293"/>
                  <a:pt x="2542418" y="2995293"/>
                  <a:pt x="2542418" y="2995293"/>
                </a:cubicBezTo>
                <a:cubicBezTo>
                  <a:pt x="2538887" y="2995292"/>
                  <a:pt x="2538887" y="2995292"/>
                  <a:pt x="2538887" y="2995292"/>
                </a:cubicBezTo>
                <a:cubicBezTo>
                  <a:pt x="2538887" y="2995292"/>
                  <a:pt x="2538887" y="2998823"/>
                  <a:pt x="2542418" y="2998823"/>
                </a:cubicBezTo>
                <a:cubicBezTo>
                  <a:pt x="2542418" y="3002354"/>
                  <a:pt x="2542418" y="3002354"/>
                  <a:pt x="2542418" y="3002354"/>
                </a:cubicBezTo>
                <a:cubicBezTo>
                  <a:pt x="2537121" y="3000589"/>
                  <a:pt x="2533591" y="2997940"/>
                  <a:pt x="2530060" y="2993968"/>
                </a:cubicBezTo>
                <a:lnTo>
                  <a:pt x="2518211" y="2978311"/>
                </a:lnTo>
                <a:lnTo>
                  <a:pt x="2515439" y="2991716"/>
                </a:lnTo>
                <a:lnTo>
                  <a:pt x="2542418" y="3016478"/>
                </a:lnTo>
                <a:cubicBezTo>
                  <a:pt x="2538887" y="3016478"/>
                  <a:pt x="2538887" y="3030601"/>
                  <a:pt x="2545948" y="3027070"/>
                </a:cubicBezTo>
                <a:cubicBezTo>
                  <a:pt x="2544182" y="3023539"/>
                  <a:pt x="2545066" y="3022656"/>
                  <a:pt x="2546831" y="3023539"/>
                </a:cubicBezTo>
                <a:lnTo>
                  <a:pt x="2549810" y="3026943"/>
                </a:lnTo>
                <a:lnTo>
                  <a:pt x="2551500" y="3015281"/>
                </a:lnTo>
                <a:lnTo>
                  <a:pt x="2545948" y="3005885"/>
                </a:lnTo>
                <a:cubicBezTo>
                  <a:pt x="2549480" y="3005885"/>
                  <a:pt x="2549480" y="3009415"/>
                  <a:pt x="2549480" y="3009415"/>
                </a:cubicBezTo>
                <a:lnTo>
                  <a:pt x="2552834" y="3009415"/>
                </a:lnTo>
                <a:lnTo>
                  <a:pt x="2553523" y="3006398"/>
                </a:lnTo>
                <a:lnTo>
                  <a:pt x="2549479" y="3002354"/>
                </a:lnTo>
                <a:lnTo>
                  <a:pt x="2554265" y="3003152"/>
                </a:lnTo>
                <a:lnTo>
                  <a:pt x="2554330" y="3002866"/>
                </a:lnTo>
                <a:lnTo>
                  <a:pt x="2549479" y="2998823"/>
                </a:lnTo>
                <a:cubicBezTo>
                  <a:pt x="2549480" y="2995292"/>
                  <a:pt x="2549480" y="2995292"/>
                  <a:pt x="2549480" y="2995292"/>
                </a:cubicBezTo>
                <a:cubicBezTo>
                  <a:pt x="2553010" y="2998823"/>
                  <a:pt x="2553010" y="2995292"/>
                  <a:pt x="2553010" y="2995292"/>
                </a:cubicBezTo>
                <a:cubicBezTo>
                  <a:pt x="2549479" y="2991761"/>
                  <a:pt x="2549479" y="2991761"/>
                  <a:pt x="2545948" y="2991761"/>
                </a:cubicBezTo>
                <a:cubicBezTo>
                  <a:pt x="2545948" y="2988231"/>
                  <a:pt x="2545948" y="2988231"/>
                  <a:pt x="2542418" y="2988230"/>
                </a:cubicBezTo>
                <a:cubicBezTo>
                  <a:pt x="2538888" y="2981168"/>
                  <a:pt x="2538888" y="2981168"/>
                  <a:pt x="2535357" y="2974106"/>
                </a:cubicBezTo>
                <a:cubicBezTo>
                  <a:pt x="2538887" y="2977637"/>
                  <a:pt x="2538887" y="2977637"/>
                  <a:pt x="2538887" y="2977637"/>
                </a:cubicBezTo>
                <a:cubicBezTo>
                  <a:pt x="2542418" y="2981168"/>
                  <a:pt x="2545948" y="2981168"/>
                  <a:pt x="2545948" y="2981168"/>
                </a:cubicBezTo>
                <a:cubicBezTo>
                  <a:pt x="2545948" y="2977638"/>
                  <a:pt x="2542418" y="2974106"/>
                  <a:pt x="2538887" y="2970576"/>
                </a:cubicBezTo>
                <a:cubicBezTo>
                  <a:pt x="2535357" y="2967045"/>
                  <a:pt x="2535357" y="2967045"/>
                  <a:pt x="2535357" y="2967045"/>
                </a:cubicBezTo>
                <a:cubicBezTo>
                  <a:pt x="2531825" y="2963514"/>
                  <a:pt x="2531825" y="2963514"/>
                  <a:pt x="2531825" y="2963514"/>
                </a:cubicBezTo>
                <a:close/>
                <a:moveTo>
                  <a:pt x="2449742" y="2948294"/>
                </a:moveTo>
                <a:lnTo>
                  <a:pt x="2445878" y="2966063"/>
                </a:lnTo>
                <a:lnTo>
                  <a:pt x="2469317" y="2993537"/>
                </a:lnTo>
                <a:lnTo>
                  <a:pt x="2473421" y="2971781"/>
                </a:lnTo>
                <a:close/>
                <a:moveTo>
                  <a:pt x="2456830" y="2915684"/>
                </a:moveTo>
                <a:lnTo>
                  <a:pt x="2453087" y="2932903"/>
                </a:lnTo>
                <a:lnTo>
                  <a:pt x="2455030" y="2933943"/>
                </a:lnTo>
                <a:cubicBezTo>
                  <a:pt x="2458560" y="2935268"/>
                  <a:pt x="2462973" y="2937032"/>
                  <a:pt x="2468270" y="2945860"/>
                </a:cubicBezTo>
                <a:cubicBezTo>
                  <a:pt x="2471801" y="2949390"/>
                  <a:pt x="2471801" y="2949390"/>
                  <a:pt x="2471801" y="2949390"/>
                </a:cubicBezTo>
                <a:cubicBezTo>
                  <a:pt x="2471801" y="2949390"/>
                  <a:pt x="2475332" y="2949390"/>
                  <a:pt x="2475332" y="2949390"/>
                </a:cubicBezTo>
                <a:lnTo>
                  <a:pt x="2478823" y="2953145"/>
                </a:lnTo>
                <a:lnTo>
                  <a:pt x="2484965" y="2934308"/>
                </a:lnTo>
                <a:lnTo>
                  <a:pt x="2482394" y="2931736"/>
                </a:lnTo>
                <a:cubicBezTo>
                  <a:pt x="2482394" y="2931736"/>
                  <a:pt x="2478862" y="2931736"/>
                  <a:pt x="2478862" y="2931736"/>
                </a:cubicBezTo>
                <a:cubicBezTo>
                  <a:pt x="2478862" y="2935269"/>
                  <a:pt x="2478862" y="2935269"/>
                  <a:pt x="2478862" y="2935269"/>
                </a:cubicBezTo>
                <a:cubicBezTo>
                  <a:pt x="2464739" y="2910552"/>
                  <a:pt x="2471802" y="2928205"/>
                  <a:pt x="2464739" y="2928205"/>
                </a:cubicBezTo>
                <a:close/>
                <a:moveTo>
                  <a:pt x="2572729" y="2890351"/>
                </a:moveTo>
                <a:lnTo>
                  <a:pt x="2568625" y="2896904"/>
                </a:lnTo>
                <a:lnTo>
                  <a:pt x="2561658" y="2901764"/>
                </a:lnTo>
                <a:lnTo>
                  <a:pt x="2574279" y="2915546"/>
                </a:lnTo>
                <a:lnTo>
                  <a:pt x="2578625" y="2896529"/>
                </a:lnTo>
                <a:close/>
                <a:moveTo>
                  <a:pt x="2432229" y="2885596"/>
                </a:moveTo>
                <a:lnTo>
                  <a:pt x="2432229" y="2901744"/>
                </a:lnTo>
                <a:lnTo>
                  <a:pt x="2435981" y="2889536"/>
                </a:lnTo>
                <a:close/>
                <a:moveTo>
                  <a:pt x="2486379" y="2802027"/>
                </a:moveTo>
                <a:lnTo>
                  <a:pt x="2480897" y="2818990"/>
                </a:lnTo>
                <a:lnTo>
                  <a:pt x="2508874" y="2844128"/>
                </a:lnTo>
                <a:lnTo>
                  <a:pt x="2512927" y="2848554"/>
                </a:lnTo>
                <a:lnTo>
                  <a:pt x="2517957" y="2833126"/>
                </a:lnTo>
                <a:lnTo>
                  <a:pt x="2492986" y="2808159"/>
                </a:lnTo>
                <a:close/>
                <a:moveTo>
                  <a:pt x="2449419" y="2767715"/>
                </a:moveTo>
                <a:lnTo>
                  <a:pt x="2443467" y="2785357"/>
                </a:lnTo>
                <a:lnTo>
                  <a:pt x="2462694" y="2802635"/>
                </a:lnTo>
                <a:lnTo>
                  <a:pt x="2468097" y="2785054"/>
                </a:lnTo>
                <a:close/>
                <a:moveTo>
                  <a:pt x="6486903" y="2406960"/>
                </a:moveTo>
                <a:lnTo>
                  <a:pt x="6485566" y="2407394"/>
                </a:lnTo>
                <a:cubicBezTo>
                  <a:pt x="6485520" y="2412890"/>
                  <a:pt x="6484359" y="2420576"/>
                  <a:pt x="6482501" y="2428943"/>
                </a:cubicBezTo>
                <a:lnTo>
                  <a:pt x="6481551" y="2432315"/>
                </a:lnTo>
                <a:lnTo>
                  <a:pt x="6508570" y="2462044"/>
                </a:lnTo>
                <a:lnTo>
                  <a:pt x="6597990" y="2584858"/>
                </a:lnTo>
                <a:lnTo>
                  <a:pt x="6600360" y="2577216"/>
                </a:lnTo>
                <a:lnTo>
                  <a:pt x="6550342" y="2497195"/>
                </a:lnTo>
                <a:close/>
                <a:moveTo>
                  <a:pt x="2517903" y="2334609"/>
                </a:moveTo>
                <a:lnTo>
                  <a:pt x="2457879" y="2448890"/>
                </a:lnTo>
                <a:lnTo>
                  <a:pt x="2480550" y="2467845"/>
                </a:lnTo>
                <a:lnTo>
                  <a:pt x="2515576" y="2396968"/>
                </a:lnTo>
                <a:lnTo>
                  <a:pt x="2518387" y="2391936"/>
                </a:lnTo>
                <a:lnTo>
                  <a:pt x="2522273" y="2348348"/>
                </a:lnTo>
                <a:close/>
                <a:moveTo>
                  <a:pt x="2384705" y="2265102"/>
                </a:moveTo>
                <a:lnTo>
                  <a:pt x="2392293" y="2272671"/>
                </a:lnTo>
                <a:lnTo>
                  <a:pt x="2393144" y="2269923"/>
                </a:lnTo>
                <a:close/>
                <a:moveTo>
                  <a:pt x="2364072" y="2244070"/>
                </a:moveTo>
                <a:lnTo>
                  <a:pt x="2364257" y="2244708"/>
                </a:lnTo>
                <a:lnTo>
                  <a:pt x="2382010" y="2262413"/>
                </a:lnTo>
                <a:lnTo>
                  <a:pt x="2380465" y="2256233"/>
                </a:lnTo>
                <a:cubicBezTo>
                  <a:pt x="2369184" y="2250589"/>
                  <a:pt x="2364248" y="2242835"/>
                  <a:pt x="2364072" y="2244070"/>
                </a:cubicBezTo>
                <a:close/>
                <a:moveTo>
                  <a:pt x="2432229" y="2216904"/>
                </a:moveTo>
                <a:lnTo>
                  <a:pt x="2432229" y="2239484"/>
                </a:lnTo>
                <a:lnTo>
                  <a:pt x="2441391" y="2233552"/>
                </a:lnTo>
                <a:cubicBezTo>
                  <a:pt x="2445643" y="2230000"/>
                  <a:pt x="2449007" y="2225700"/>
                  <a:pt x="2450502" y="2219717"/>
                </a:cubicBezTo>
                <a:close/>
                <a:moveTo>
                  <a:pt x="2321299" y="2208707"/>
                </a:moveTo>
                <a:lnTo>
                  <a:pt x="2334415" y="2218207"/>
                </a:lnTo>
                <a:lnTo>
                  <a:pt x="2335342" y="2218629"/>
                </a:lnTo>
                <a:lnTo>
                  <a:pt x="2336859" y="2219978"/>
                </a:lnTo>
                <a:lnTo>
                  <a:pt x="2339815" y="2222119"/>
                </a:lnTo>
                <a:lnTo>
                  <a:pt x="2340100" y="2221801"/>
                </a:lnTo>
                <a:cubicBezTo>
                  <a:pt x="2339571" y="2220744"/>
                  <a:pt x="2338161" y="2218629"/>
                  <a:pt x="2335342" y="2214868"/>
                </a:cubicBezTo>
                <a:cubicBezTo>
                  <a:pt x="2337221" y="2216748"/>
                  <a:pt x="2340042" y="2218629"/>
                  <a:pt x="2341922" y="2219098"/>
                </a:cubicBezTo>
                <a:lnTo>
                  <a:pt x="2342837" y="2214981"/>
                </a:lnTo>
                <a:lnTo>
                  <a:pt x="2342625" y="2214800"/>
                </a:lnTo>
                <a:close/>
                <a:moveTo>
                  <a:pt x="2277892" y="2177266"/>
                </a:moveTo>
                <a:lnTo>
                  <a:pt x="2295327" y="2189897"/>
                </a:lnTo>
                <a:lnTo>
                  <a:pt x="2293979" y="2188547"/>
                </a:lnTo>
                <a:cubicBezTo>
                  <a:pt x="2293979" y="2184787"/>
                  <a:pt x="2286459" y="2181026"/>
                  <a:pt x="2278937" y="2177266"/>
                </a:cubicBezTo>
                <a:close/>
                <a:moveTo>
                  <a:pt x="2260137" y="2158465"/>
                </a:moveTo>
                <a:lnTo>
                  <a:pt x="2256690" y="2161910"/>
                </a:lnTo>
                <a:lnTo>
                  <a:pt x="2268044" y="2170134"/>
                </a:lnTo>
                <a:lnTo>
                  <a:pt x="2263897" y="2165986"/>
                </a:lnTo>
                <a:cubicBezTo>
                  <a:pt x="2263897" y="2165986"/>
                  <a:pt x="2263897" y="2162225"/>
                  <a:pt x="2263897" y="2162225"/>
                </a:cubicBezTo>
                <a:cubicBezTo>
                  <a:pt x="2260137" y="2158465"/>
                  <a:pt x="2260137" y="2158465"/>
                  <a:pt x="2260137" y="2158465"/>
                </a:cubicBezTo>
                <a:close/>
                <a:moveTo>
                  <a:pt x="1806005" y="1911781"/>
                </a:moveTo>
                <a:lnTo>
                  <a:pt x="1923829" y="1963794"/>
                </a:lnTo>
                <a:cubicBezTo>
                  <a:pt x="1951084" y="1977109"/>
                  <a:pt x="1977084" y="1990994"/>
                  <a:pt x="2005592" y="2003732"/>
                </a:cubicBezTo>
                <a:cubicBezTo>
                  <a:pt x="2008615" y="2005383"/>
                  <a:pt x="2011608" y="2007802"/>
                  <a:pt x="2015415" y="2009096"/>
                </a:cubicBezTo>
                <a:cubicBezTo>
                  <a:pt x="2019220" y="2010389"/>
                  <a:pt x="2023836" y="2010557"/>
                  <a:pt x="2030104" y="2007701"/>
                </a:cubicBezTo>
                <a:cubicBezTo>
                  <a:pt x="2009402" y="1992164"/>
                  <a:pt x="1985427" y="1981897"/>
                  <a:pt x="1964414" y="1968577"/>
                </a:cubicBezTo>
                <a:lnTo>
                  <a:pt x="1957414" y="1962856"/>
                </a:lnTo>
                <a:lnTo>
                  <a:pt x="1910425" y="1944412"/>
                </a:lnTo>
                <a:close/>
                <a:moveTo>
                  <a:pt x="6387577" y="1904496"/>
                </a:moveTo>
                <a:lnTo>
                  <a:pt x="6391362" y="1908599"/>
                </a:lnTo>
                <a:lnTo>
                  <a:pt x="6391223" y="1908522"/>
                </a:lnTo>
                <a:cubicBezTo>
                  <a:pt x="6391223" y="1908522"/>
                  <a:pt x="6391223" y="1908522"/>
                  <a:pt x="6387577" y="1904496"/>
                </a:cubicBezTo>
                <a:close/>
                <a:moveTo>
                  <a:pt x="6683345" y="1896966"/>
                </a:moveTo>
                <a:lnTo>
                  <a:pt x="6683478" y="1896966"/>
                </a:lnTo>
                <a:cubicBezTo>
                  <a:pt x="6683478" y="1896966"/>
                  <a:pt x="6683478" y="1896966"/>
                  <a:pt x="6687890" y="1901380"/>
                </a:cubicBezTo>
                <a:close/>
                <a:moveTo>
                  <a:pt x="7558704" y="1872258"/>
                </a:moveTo>
                <a:cubicBezTo>
                  <a:pt x="7550544" y="1881625"/>
                  <a:pt x="7549556" y="1878584"/>
                  <a:pt x="7549763" y="1874039"/>
                </a:cubicBezTo>
                <a:lnTo>
                  <a:pt x="7549824" y="1873138"/>
                </a:lnTo>
                <a:lnTo>
                  <a:pt x="7530685" y="1895241"/>
                </a:lnTo>
                <a:lnTo>
                  <a:pt x="7515538" y="1911018"/>
                </a:lnTo>
                <a:lnTo>
                  <a:pt x="7510169" y="1917677"/>
                </a:lnTo>
                <a:cubicBezTo>
                  <a:pt x="7501665" y="1927712"/>
                  <a:pt x="7492820" y="1938421"/>
                  <a:pt x="7496161" y="1941816"/>
                </a:cubicBezTo>
                <a:cubicBezTo>
                  <a:pt x="7508427" y="1924400"/>
                  <a:pt x="7493425" y="1947183"/>
                  <a:pt x="7483893" y="1959233"/>
                </a:cubicBezTo>
                <a:cubicBezTo>
                  <a:pt x="7483893" y="1959233"/>
                  <a:pt x="7483893" y="1959233"/>
                  <a:pt x="7482580" y="1955180"/>
                </a:cubicBezTo>
                <a:cubicBezTo>
                  <a:pt x="7486633" y="1953865"/>
                  <a:pt x="7486633" y="1953865"/>
                  <a:pt x="7486633" y="1953865"/>
                </a:cubicBezTo>
                <a:cubicBezTo>
                  <a:pt x="7489372" y="1948498"/>
                  <a:pt x="7489372" y="1948498"/>
                  <a:pt x="7485319" y="1949812"/>
                </a:cubicBezTo>
                <a:cubicBezTo>
                  <a:pt x="7485319" y="1949812"/>
                  <a:pt x="7485319" y="1949812"/>
                  <a:pt x="7481265" y="1951127"/>
                </a:cubicBezTo>
                <a:cubicBezTo>
                  <a:pt x="7478526" y="1956494"/>
                  <a:pt x="7478526" y="1956494"/>
                  <a:pt x="7478526" y="1956494"/>
                </a:cubicBezTo>
                <a:cubicBezTo>
                  <a:pt x="7475788" y="1961862"/>
                  <a:pt x="7477103" y="1965916"/>
                  <a:pt x="7482470" y="1968653"/>
                </a:cubicBezTo>
                <a:cubicBezTo>
                  <a:pt x="7479731" y="1974021"/>
                  <a:pt x="7476994" y="1979388"/>
                  <a:pt x="7472939" y="1980703"/>
                </a:cubicBezTo>
                <a:cubicBezTo>
                  <a:pt x="7468886" y="1982017"/>
                  <a:pt x="7468886" y="1982017"/>
                  <a:pt x="7464836" y="1983332"/>
                </a:cubicBezTo>
                <a:cubicBezTo>
                  <a:pt x="7464836" y="1983332"/>
                  <a:pt x="7464836" y="1983332"/>
                  <a:pt x="7463521" y="1979278"/>
                </a:cubicBezTo>
                <a:cubicBezTo>
                  <a:pt x="7459469" y="1980593"/>
                  <a:pt x="7460784" y="1984647"/>
                  <a:pt x="7460784" y="1984647"/>
                </a:cubicBezTo>
                <a:cubicBezTo>
                  <a:pt x="7460784" y="1984647"/>
                  <a:pt x="7462098" y="1988699"/>
                  <a:pt x="7462098" y="1988699"/>
                </a:cubicBezTo>
                <a:cubicBezTo>
                  <a:pt x="7463411" y="1992751"/>
                  <a:pt x="7459359" y="1994067"/>
                  <a:pt x="7460673" y="1998119"/>
                </a:cubicBezTo>
                <a:cubicBezTo>
                  <a:pt x="7456621" y="1999434"/>
                  <a:pt x="7453884" y="2004801"/>
                  <a:pt x="7453884" y="2004801"/>
                </a:cubicBezTo>
                <a:cubicBezTo>
                  <a:pt x="7453884" y="2004801"/>
                  <a:pt x="7453884" y="2004801"/>
                  <a:pt x="7449831" y="2006115"/>
                </a:cubicBezTo>
                <a:cubicBezTo>
                  <a:pt x="7451145" y="2010169"/>
                  <a:pt x="7451145" y="2010169"/>
                  <a:pt x="7451145" y="2010169"/>
                </a:cubicBezTo>
                <a:cubicBezTo>
                  <a:pt x="7451145" y="2010169"/>
                  <a:pt x="7447090" y="2011483"/>
                  <a:pt x="7448407" y="2015537"/>
                </a:cubicBezTo>
                <a:cubicBezTo>
                  <a:pt x="7442270" y="2024244"/>
                  <a:pt x="7436468" y="2033967"/>
                  <a:pt x="7429991" y="2043345"/>
                </a:cubicBezTo>
                <a:lnTo>
                  <a:pt x="7418385" y="2056664"/>
                </a:lnTo>
                <a:lnTo>
                  <a:pt x="7420687" y="2060518"/>
                </a:lnTo>
                <a:lnTo>
                  <a:pt x="7452457" y="2014222"/>
                </a:lnTo>
                <a:cubicBezTo>
                  <a:pt x="7456513" y="2012907"/>
                  <a:pt x="7456513" y="2012907"/>
                  <a:pt x="7456513" y="2012907"/>
                </a:cubicBezTo>
                <a:cubicBezTo>
                  <a:pt x="7460565" y="2011592"/>
                  <a:pt x="7459248" y="2007540"/>
                  <a:pt x="7459248" y="2007540"/>
                </a:cubicBezTo>
                <a:cubicBezTo>
                  <a:pt x="7463301" y="2006224"/>
                  <a:pt x="7466042" y="2000858"/>
                  <a:pt x="7468781" y="1995491"/>
                </a:cubicBezTo>
                <a:cubicBezTo>
                  <a:pt x="7468781" y="1995491"/>
                  <a:pt x="7468781" y="1995491"/>
                  <a:pt x="7471517" y="1990123"/>
                </a:cubicBezTo>
                <a:cubicBezTo>
                  <a:pt x="7475568" y="1988808"/>
                  <a:pt x="7478308" y="1983440"/>
                  <a:pt x="7481044" y="1978074"/>
                </a:cubicBezTo>
                <a:cubicBezTo>
                  <a:pt x="7485099" y="1976760"/>
                  <a:pt x="7487837" y="1971392"/>
                  <a:pt x="7490573" y="1966024"/>
                </a:cubicBezTo>
                <a:cubicBezTo>
                  <a:pt x="7498681" y="1963395"/>
                  <a:pt x="7505580" y="1943240"/>
                  <a:pt x="7520475" y="1933930"/>
                </a:cubicBezTo>
                <a:cubicBezTo>
                  <a:pt x="7521900" y="1924508"/>
                  <a:pt x="7540959" y="1900410"/>
                  <a:pt x="7549174" y="1884309"/>
                </a:cubicBezTo>
                <a:cubicBezTo>
                  <a:pt x="7549174" y="1884309"/>
                  <a:pt x="7562758" y="1870944"/>
                  <a:pt x="7558704" y="1872258"/>
                </a:cubicBezTo>
                <a:close/>
                <a:moveTo>
                  <a:pt x="12165957" y="1871550"/>
                </a:moveTo>
                <a:cubicBezTo>
                  <a:pt x="12165957" y="1871550"/>
                  <a:pt x="12167907" y="1871404"/>
                  <a:pt x="12168053" y="1873355"/>
                </a:cubicBezTo>
                <a:lnTo>
                  <a:pt x="12165737" y="1871806"/>
                </a:lnTo>
                <a:close/>
                <a:moveTo>
                  <a:pt x="6762917" y="1866072"/>
                </a:moveTo>
                <a:cubicBezTo>
                  <a:pt x="6762917" y="1879314"/>
                  <a:pt x="6793810" y="1896966"/>
                  <a:pt x="6802634" y="1914619"/>
                </a:cubicBezTo>
                <a:cubicBezTo>
                  <a:pt x="6807051" y="1914619"/>
                  <a:pt x="6807051" y="1923447"/>
                  <a:pt x="6807051" y="1927860"/>
                </a:cubicBezTo>
                <a:cubicBezTo>
                  <a:pt x="6820290" y="1943306"/>
                  <a:pt x="6835737" y="1960960"/>
                  <a:pt x="6851182" y="1979717"/>
                </a:cubicBezTo>
                <a:lnTo>
                  <a:pt x="6865411" y="1998570"/>
                </a:lnTo>
                <a:lnTo>
                  <a:pt x="6870007" y="1990438"/>
                </a:lnTo>
                <a:close/>
                <a:moveTo>
                  <a:pt x="7317611" y="1860873"/>
                </a:moveTo>
                <a:lnTo>
                  <a:pt x="7309038" y="1873482"/>
                </a:lnTo>
                <a:lnTo>
                  <a:pt x="7311432" y="1877493"/>
                </a:lnTo>
                <a:lnTo>
                  <a:pt x="7316350" y="1870800"/>
                </a:lnTo>
                <a:cubicBezTo>
                  <a:pt x="7319584" y="1866952"/>
                  <a:pt x="7320954" y="1864268"/>
                  <a:pt x="7317611" y="1860873"/>
                </a:cubicBezTo>
                <a:close/>
                <a:moveTo>
                  <a:pt x="7125079" y="1842742"/>
                </a:moveTo>
                <a:lnTo>
                  <a:pt x="7086451" y="1894894"/>
                </a:lnTo>
                <a:lnTo>
                  <a:pt x="7106515" y="1918953"/>
                </a:lnTo>
                <a:lnTo>
                  <a:pt x="7138061" y="1926276"/>
                </a:lnTo>
                <a:lnTo>
                  <a:pt x="7138720" y="1926547"/>
                </a:lnTo>
                <a:lnTo>
                  <a:pt x="7162290" y="1889122"/>
                </a:lnTo>
                <a:lnTo>
                  <a:pt x="7144802" y="1864606"/>
                </a:lnTo>
                <a:close/>
                <a:moveTo>
                  <a:pt x="6687890" y="1839408"/>
                </a:moveTo>
                <a:lnTo>
                  <a:pt x="6692305" y="1844006"/>
                </a:lnTo>
                <a:cubicBezTo>
                  <a:pt x="6692305" y="1839593"/>
                  <a:pt x="6687890" y="1839593"/>
                  <a:pt x="6687890" y="1839593"/>
                </a:cubicBezTo>
                <a:close/>
                <a:moveTo>
                  <a:pt x="12090228" y="1834540"/>
                </a:moveTo>
                <a:lnTo>
                  <a:pt x="12098715" y="1837342"/>
                </a:lnTo>
                <a:lnTo>
                  <a:pt x="12095912" y="1835591"/>
                </a:lnTo>
                <a:lnTo>
                  <a:pt x="12096620" y="1835537"/>
                </a:lnTo>
                <a:cubicBezTo>
                  <a:pt x="12098715" y="1837342"/>
                  <a:pt x="12098715" y="1837342"/>
                  <a:pt x="12100664" y="1837197"/>
                </a:cubicBezTo>
                <a:lnTo>
                  <a:pt x="12100572" y="1835963"/>
                </a:lnTo>
                <a:lnTo>
                  <a:pt x="12095360" y="1835245"/>
                </a:lnTo>
                <a:lnTo>
                  <a:pt x="12095912" y="1835591"/>
                </a:lnTo>
                <a:lnTo>
                  <a:pt x="12094671" y="1835684"/>
                </a:lnTo>
                <a:lnTo>
                  <a:pt x="12093935" y="1835051"/>
                </a:lnTo>
                <a:close/>
                <a:moveTo>
                  <a:pt x="7388777" y="1817888"/>
                </a:moveTo>
                <a:lnTo>
                  <a:pt x="7389364" y="1819685"/>
                </a:lnTo>
                <a:cubicBezTo>
                  <a:pt x="7389364" y="1819685"/>
                  <a:pt x="7389364" y="1819685"/>
                  <a:pt x="7385312" y="1821000"/>
                </a:cubicBezTo>
                <a:close/>
                <a:moveTo>
                  <a:pt x="12054147" y="1807180"/>
                </a:moveTo>
                <a:lnTo>
                  <a:pt x="12087545" y="1821519"/>
                </a:lnTo>
                <a:lnTo>
                  <a:pt x="12075262" y="1815310"/>
                </a:lnTo>
                <a:close/>
                <a:moveTo>
                  <a:pt x="6084899" y="1795170"/>
                </a:moveTo>
                <a:cubicBezTo>
                  <a:pt x="6084899" y="1795170"/>
                  <a:pt x="6088497" y="1795170"/>
                  <a:pt x="6088499" y="1798773"/>
                </a:cubicBezTo>
                <a:lnTo>
                  <a:pt x="6084459" y="1795609"/>
                </a:lnTo>
                <a:close/>
                <a:moveTo>
                  <a:pt x="7688591" y="1792592"/>
                </a:moveTo>
                <a:cubicBezTo>
                  <a:pt x="7688591" y="1792592"/>
                  <a:pt x="7688591" y="1792592"/>
                  <a:pt x="7692335" y="1793440"/>
                </a:cubicBezTo>
                <a:lnTo>
                  <a:pt x="7683586" y="1800869"/>
                </a:lnTo>
                <a:close/>
                <a:moveTo>
                  <a:pt x="2048700" y="1788029"/>
                </a:moveTo>
                <a:lnTo>
                  <a:pt x="2048819" y="1788402"/>
                </a:lnTo>
                <a:cubicBezTo>
                  <a:pt x="2048015" y="1791083"/>
                  <a:pt x="2048819" y="1794031"/>
                  <a:pt x="2051503" y="1795639"/>
                </a:cubicBezTo>
                <a:cubicBezTo>
                  <a:pt x="2051503" y="1796712"/>
                  <a:pt x="2051503" y="1797783"/>
                  <a:pt x="2051503" y="1798856"/>
                </a:cubicBezTo>
                <a:cubicBezTo>
                  <a:pt x="2049088" y="1800196"/>
                  <a:pt x="2048015" y="1801804"/>
                  <a:pt x="2048283" y="1805288"/>
                </a:cubicBezTo>
                <a:lnTo>
                  <a:pt x="2047583" y="1806221"/>
                </a:lnTo>
                <a:lnTo>
                  <a:pt x="2059337" y="1810342"/>
                </a:lnTo>
                <a:lnTo>
                  <a:pt x="2138697" y="1846190"/>
                </a:lnTo>
                <a:lnTo>
                  <a:pt x="2139327" y="1831392"/>
                </a:lnTo>
                <a:lnTo>
                  <a:pt x="2092710" y="1805853"/>
                </a:lnTo>
                <a:close/>
                <a:moveTo>
                  <a:pt x="11996731" y="1784154"/>
                </a:moveTo>
                <a:lnTo>
                  <a:pt x="11996698" y="1784156"/>
                </a:lnTo>
                <a:lnTo>
                  <a:pt x="11996732" y="1784167"/>
                </a:lnTo>
                <a:close/>
                <a:moveTo>
                  <a:pt x="12013946" y="1778453"/>
                </a:moveTo>
                <a:lnTo>
                  <a:pt x="12015932" y="1778795"/>
                </a:lnTo>
                <a:cubicBezTo>
                  <a:pt x="12015932" y="1778795"/>
                  <a:pt x="12015932" y="1778795"/>
                  <a:pt x="12013982" y="1778940"/>
                </a:cubicBezTo>
                <a:close/>
                <a:moveTo>
                  <a:pt x="12017736" y="1776698"/>
                </a:moveTo>
                <a:cubicBezTo>
                  <a:pt x="12017736" y="1776698"/>
                  <a:pt x="12017736" y="1776698"/>
                  <a:pt x="12015787" y="1776845"/>
                </a:cubicBezTo>
                <a:cubicBezTo>
                  <a:pt x="12015787" y="1776845"/>
                  <a:pt x="12013837" y="1776990"/>
                  <a:pt x="12013837" y="1776990"/>
                </a:cubicBezTo>
                <a:lnTo>
                  <a:pt x="12013946" y="1778453"/>
                </a:lnTo>
                <a:lnTo>
                  <a:pt x="12011961" y="1778111"/>
                </a:lnTo>
                <a:cubicBezTo>
                  <a:pt x="12010987" y="1778184"/>
                  <a:pt x="12010011" y="1778257"/>
                  <a:pt x="12007988" y="1777427"/>
                </a:cubicBezTo>
                <a:cubicBezTo>
                  <a:pt x="12002288" y="1779815"/>
                  <a:pt x="12014274" y="1782842"/>
                  <a:pt x="12014566" y="1786744"/>
                </a:cubicBezTo>
                <a:cubicBezTo>
                  <a:pt x="12004528" y="1783570"/>
                  <a:pt x="12002724" y="1785667"/>
                  <a:pt x="11998680" y="1784009"/>
                </a:cubicBezTo>
                <a:lnTo>
                  <a:pt x="11998165" y="1784607"/>
                </a:lnTo>
                <a:lnTo>
                  <a:pt x="12010121" y="1788279"/>
                </a:lnTo>
                <a:lnTo>
                  <a:pt x="12033342" y="1798248"/>
                </a:lnTo>
                <a:lnTo>
                  <a:pt x="12034264" y="1794590"/>
                </a:lnTo>
                <a:cubicBezTo>
                  <a:pt x="12035690" y="1793993"/>
                  <a:pt x="12037640" y="1793847"/>
                  <a:pt x="12038540" y="1792798"/>
                </a:cubicBezTo>
                <a:cubicBezTo>
                  <a:pt x="12036300" y="1789043"/>
                  <a:pt x="12032255" y="1787382"/>
                  <a:pt x="12028066" y="1783772"/>
                </a:cubicBezTo>
                <a:cubicBezTo>
                  <a:pt x="12030159" y="1785579"/>
                  <a:pt x="12032108" y="1785432"/>
                  <a:pt x="12032108" y="1785432"/>
                </a:cubicBezTo>
                <a:cubicBezTo>
                  <a:pt x="12034204" y="1787238"/>
                  <a:pt x="12034204" y="1787238"/>
                  <a:pt x="12036153" y="1787092"/>
                </a:cubicBezTo>
                <a:cubicBezTo>
                  <a:pt x="12036008" y="1785141"/>
                  <a:pt x="12034059" y="1785287"/>
                  <a:pt x="12034059" y="1785287"/>
                </a:cubicBezTo>
                <a:cubicBezTo>
                  <a:pt x="12031963" y="1783482"/>
                  <a:pt x="12030015" y="1783627"/>
                  <a:pt x="12030015" y="1783627"/>
                </a:cubicBezTo>
                <a:cubicBezTo>
                  <a:pt x="12030015" y="1783627"/>
                  <a:pt x="12027919" y="1781822"/>
                  <a:pt x="12027919" y="1781822"/>
                </a:cubicBezTo>
                <a:cubicBezTo>
                  <a:pt x="12023875" y="1780163"/>
                  <a:pt x="12019831" y="1778503"/>
                  <a:pt x="12017736" y="1776698"/>
                </a:cubicBezTo>
                <a:close/>
                <a:moveTo>
                  <a:pt x="11964996" y="1773837"/>
                </a:moveTo>
                <a:lnTo>
                  <a:pt x="11964022" y="1774121"/>
                </a:lnTo>
                <a:lnTo>
                  <a:pt x="11976922" y="1778082"/>
                </a:lnTo>
                <a:lnTo>
                  <a:pt x="11971844" y="1775715"/>
                </a:lnTo>
                <a:cubicBezTo>
                  <a:pt x="11969194" y="1774688"/>
                  <a:pt x="11966876" y="1774002"/>
                  <a:pt x="11964996" y="1773837"/>
                </a:cubicBezTo>
                <a:close/>
                <a:moveTo>
                  <a:pt x="6227322" y="1770443"/>
                </a:moveTo>
                <a:lnTo>
                  <a:pt x="6236335" y="1773951"/>
                </a:lnTo>
                <a:cubicBezTo>
                  <a:pt x="6236335" y="1773951"/>
                  <a:pt x="6236335" y="1773951"/>
                  <a:pt x="6236145" y="1777787"/>
                </a:cubicBezTo>
                <a:close/>
                <a:moveTo>
                  <a:pt x="11878662" y="1751785"/>
                </a:moveTo>
                <a:lnTo>
                  <a:pt x="11880358" y="1752404"/>
                </a:lnTo>
                <a:lnTo>
                  <a:pt x="11918602" y="1760172"/>
                </a:lnTo>
                <a:lnTo>
                  <a:pt x="11943146" y="1767710"/>
                </a:lnTo>
                <a:lnTo>
                  <a:pt x="11940718" y="1765782"/>
                </a:lnTo>
                <a:cubicBezTo>
                  <a:pt x="11935383" y="1763238"/>
                  <a:pt x="11928341" y="1760822"/>
                  <a:pt x="11920326" y="1758478"/>
                </a:cubicBezTo>
                <a:cubicBezTo>
                  <a:pt x="11904294" y="1753791"/>
                  <a:pt x="11888554" y="1753008"/>
                  <a:pt x="11878662" y="1751785"/>
                </a:cubicBezTo>
                <a:close/>
                <a:moveTo>
                  <a:pt x="1609129" y="1746640"/>
                </a:moveTo>
                <a:lnTo>
                  <a:pt x="1609949" y="1751761"/>
                </a:lnTo>
                <a:cubicBezTo>
                  <a:pt x="1608298" y="1756477"/>
                  <a:pt x="1610893" y="1761194"/>
                  <a:pt x="1613252" y="1765439"/>
                </a:cubicBezTo>
                <a:cubicBezTo>
                  <a:pt x="1614197" y="1767562"/>
                  <a:pt x="1614668" y="1768976"/>
                  <a:pt x="1613017" y="1771098"/>
                </a:cubicBezTo>
                <a:lnTo>
                  <a:pt x="1608010" y="1783280"/>
                </a:lnTo>
                <a:lnTo>
                  <a:pt x="1689613" y="1801924"/>
                </a:lnTo>
                <a:cubicBezTo>
                  <a:pt x="1859023" y="1847839"/>
                  <a:pt x="2021360" y="1913584"/>
                  <a:pt x="2173650" y="1996780"/>
                </a:cubicBezTo>
                <a:cubicBezTo>
                  <a:pt x="2166130" y="1996780"/>
                  <a:pt x="2162369" y="1993019"/>
                  <a:pt x="2162369" y="1996780"/>
                </a:cubicBezTo>
                <a:cubicBezTo>
                  <a:pt x="2188691" y="2019337"/>
                  <a:pt x="2196213" y="2015578"/>
                  <a:pt x="2222534" y="2026858"/>
                </a:cubicBezTo>
                <a:cubicBezTo>
                  <a:pt x="2245095" y="2038139"/>
                  <a:pt x="2271417" y="2053179"/>
                  <a:pt x="2293979" y="2068220"/>
                </a:cubicBezTo>
                <a:lnTo>
                  <a:pt x="2308990" y="2080669"/>
                </a:lnTo>
                <a:lnTo>
                  <a:pt x="2306757" y="2028676"/>
                </a:lnTo>
                <a:lnTo>
                  <a:pt x="2295859" y="2019337"/>
                </a:lnTo>
                <a:lnTo>
                  <a:pt x="2283527" y="2008767"/>
                </a:lnTo>
                <a:lnTo>
                  <a:pt x="2272442" y="2018504"/>
                </a:lnTo>
                <a:cubicBezTo>
                  <a:pt x="2269278" y="2020804"/>
                  <a:pt x="2266257" y="2022097"/>
                  <a:pt x="2263812" y="2021594"/>
                </a:cubicBezTo>
                <a:cubicBezTo>
                  <a:pt x="2261367" y="2021091"/>
                  <a:pt x="2259497" y="2018791"/>
                  <a:pt x="2258634" y="2013903"/>
                </a:cubicBezTo>
                <a:cubicBezTo>
                  <a:pt x="2258634" y="2011603"/>
                  <a:pt x="2258059" y="2009303"/>
                  <a:pt x="2256909" y="2007003"/>
                </a:cubicBezTo>
                <a:cubicBezTo>
                  <a:pt x="2255757" y="2004128"/>
                  <a:pt x="2255757" y="1999527"/>
                  <a:pt x="2251730" y="1998952"/>
                </a:cubicBezTo>
                <a:cubicBezTo>
                  <a:pt x="2248278" y="1998952"/>
                  <a:pt x="2245976" y="2001827"/>
                  <a:pt x="2244251" y="2004128"/>
                </a:cubicBezTo>
                <a:cubicBezTo>
                  <a:pt x="2235620" y="2013903"/>
                  <a:pt x="2232169" y="2013328"/>
                  <a:pt x="2226990" y="2001252"/>
                </a:cubicBezTo>
                <a:cubicBezTo>
                  <a:pt x="2225840" y="1998377"/>
                  <a:pt x="2225265" y="1996076"/>
                  <a:pt x="2223539" y="1993776"/>
                </a:cubicBezTo>
                <a:cubicBezTo>
                  <a:pt x="2221237" y="1990326"/>
                  <a:pt x="2218936" y="1987450"/>
                  <a:pt x="2213182" y="1989750"/>
                </a:cubicBezTo>
                <a:cubicBezTo>
                  <a:pt x="2208004" y="1992626"/>
                  <a:pt x="2208004" y="1994926"/>
                  <a:pt x="2209155" y="1999527"/>
                </a:cubicBezTo>
                <a:lnTo>
                  <a:pt x="2210123" y="2008224"/>
                </a:lnTo>
                <a:lnTo>
                  <a:pt x="2165155" y="1963502"/>
                </a:lnTo>
                <a:lnTo>
                  <a:pt x="2165173" y="1963476"/>
                </a:lnTo>
                <a:lnTo>
                  <a:pt x="1990538" y="1873132"/>
                </a:lnTo>
                <a:cubicBezTo>
                  <a:pt x="1913351" y="1838592"/>
                  <a:pt x="1833882" y="1808324"/>
                  <a:pt x="1752365" y="1782645"/>
                </a:cubicBezTo>
                <a:close/>
                <a:moveTo>
                  <a:pt x="5950882" y="1716792"/>
                </a:moveTo>
                <a:lnTo>
                  <a:pt x="5966086" y="1723104"/>
                </a:lnTo>
                <a:lnTo>
                  <a:pt x="5961177" y="1719502"/>
                </a:lnTo>
                <a:lnTo>
                  <a:pt x="5962488" y="1719502"/>
                </a:lnTo>
                <a:cubicBezTo>
                  <a:pt x="5966086" y="1723104"/>
                  <a:pt x="5966086" y="1723104"/>
                  <a:pt x="5969686" y="1723104"/>
                </a:cubicBezTo>
                <a:lnTo>
                  <a:pt x="5969686" y="1720825"/>
                </a:lnTo>
                <a:lnTo>
                  <a:pt x="5960211" y="1718792"/>
                </a:lnTo>
                <a:lnTo>
                  <a:pt x="5961177" y="1719502"/>
                </a:lnTo>
                <a:lnTo>
                  <a:pt x="5958886" y="1719502"/>
                </a:lnTo>
                <a:lnTo>
                  <a:pt x="5957622" y="1718238"/>
                </a:lnTo>
                <a:close/>
                <a:moveTo>
                  <a:pt x="5981767" y="1713021"/>
                </a:moveTo>
                <a:lnTo>
                  <a:pt x="5986017" y="1722354"/>
                </a:lnTo>
                <a:lnTo>
                  <a:pt x="5998490" y="1726708"/>
                </a:lnTo>
                <a:cubicBezTo>
                  <a:pt x="5994890" y="1726708"/>
                  <a:pt x="5994890" y="1726708"/>
                  <a:pt x="5994890" y="1726708"/>
                </a:cubicBezTo>
                <a:cubicBezTo>
                  <a:pt x="5994890" y="1726708"/>
                  <a:pt x="5998490" y="1730312"/>
                  <a:pt x="6002090" y="1730312"/>
                </a:cubicBezTo>
                <a:cubicBezTo>
                  <a:pt x="6002089" y="1733914"/>
                  <a:pt x="6005690" y="1733914"/>
                  <a:pt x="6005690" y="1733914"/>
                </a:cubicBezTo>
                <a:lnTo>
                  <a:pt x="6084459" y="1795609"/>
                </a:lnTo>
                <a:lnTo>
                  <a:pt x="6081297" y="1798773"/>
                </a:lnTo>
                <a:cubicBezTo>
                  <a:pt x="6081297" y="1798773"/>
                  <a:pt x="6084899" y="1798773"/>
                  <a:pt x="6084899" y="1798773"/>
                </a:cubicBezTo>
                <a:cubicBezTo>
                  <a:pt x="6084899" y="1798773"/>
                  <a:pt x="6084899" y="1798773"/>
                  <a:pt x="6088499" y="1798773"/>
                </a:cubicBezTo>
                <a:cubicBezTo>
                  <a:pt x="6088499" y="1802377"/>
                  <a:pt x="6092099" y="1802377"/>
                  <a:pt x="6092099" y="1802377"/>
                </a:cubicBezTo>
                <a:cubicBezTo>
                  <a:pt x="6088497" y="1805980"/>
                  <a:pt x="6099297" y="1813187"/>
                  <a:pt x="6110101" y="1820392"/>
                </a:cubicBezTo>
                <a:cubicBezTo>
                  <a:pt x="6113702" y="1816790"/>
                  <a:pt x="6106500" y="1813187"/>
                  <a:pt x="6106500" y="1813187"/>
                </a:cubicBezTo>
                <a:cubicBezTo>
                  <a:pt x="6110101" y="1813187"/>
                  <a:pt x="6110101" y="1813187"/>
                  <a:pt x="6110101" y="1813187"/>
                </a:cubicBezTo>
                <a:cubicBezTo>
                  <a:pt x="6113702" y="1813187"/>
                  <a:pt x="6113702" y="1813187"/>
                  <a:pt x="6113702" y="1813187"/>
                </a:cubicBezTo>
                <a:cubicBezTo>
                  <a:pt x="6113702" y="1813187"/>
                  <a:pt x="6110100" y="1809582"/>
                  <a:pt x="6110100" y="1809582"/>
                </a:cubicBezTo>
                <a:cubicBezTo>
                  <a:pt x="6120901" y="1816790"/>
                  <a:pt x="6120901" y="1813187"/>
                  <a:pt x="6135303" y="1823997"/>
                </a:cubicBezTo>
                <a:cubicBezTo>
                  <a:pt x="6131704" y="1823997"/>
                  <a:pt x="6131704" y="1823997"/>
                  <a:pt x="6131704" y="1823997"/>
                </a:cubicBezTo>
                <a:cubicBezTo>
                  <a:pt x="6131704" y="1823997"/>
                  <a:pt x="6131704" y="1823997"/>
                  <a:pt x="6128102" y="1820392"/>
                </a:cubicBezTo>
                <a:cubicBezTo>
                  <a:pt x="6124502" y="1820392"/>
                  <a:pt x="6124502" y="1820392"/>
                  <a:pt x="6124502" y="1820392"/>
                </a:cubicBezTo>
                <a:cubicBezTo>
                  <a:pt x="6124501" y="1823997"/>
                  <a:pt x="6128102" y="1827599"/>
                  <a:pt x="6131704" y="1827599"/>
                </a:cubicBezTo>
                <a:cubicBezTo>
                  <a:pt x="6131704" y="1827599"/>
                  <a:pt x="6131704" y="1831202"/>
                  <a:pt x="6135303" y="1831202"/>
                </a:cubicBezTo>
                <a:cubicBezTo>
                  <a:pt x="6135303" y="1838409"/>
                  <a:pt x="6146103" y="1849219"/>
                  <a:pt x="6160505" y="1863632"/>
                </a:cubicBezTo>
                <a:cubicBezTo>
                  <a:pt x="6167705" y="1869036"/>
                  <a:pt x="6175807" y="1874442"/>
                  <a:pt x="6183458" y="1878945"/>
                </a:cubicBezTo>
                <a:lnTo>
                  <a:pt x="6191929" y="1883091"/>
                </a:lnTo>
                <a:lnTo>
                  <a:pt x="6210114" y="1883530"/>
                </a:lnTo>
                <a:cubicBezTo>
                  <a:pt x="6219879" y="1886373"/>
                  <a:pt x="6228192" y="1891650"/>
                  <a:pt x="6234671" y="1898946"/>
                </a:cubicBezTo>
                <a:lnTo>
                  <a:pt x="6254560" y="1918972"/>
                </a:lnTo>
                <a:lnTo>
                  <a:pt x="6255725" y="1919992"/>
                </a:lnTo>
                <a:lnTo>
                  <a:pt x="6269546" y="1912573"/>
                </a:lnTo>
                <a:lnTo>
                  <a:pt x="6207310" y="1863632"/>
                </a:lnTo>
                <a:cubicBezTo>
                  <a:pt x="6192908" y="1849219"/>
                  <a:pt x="6167706" y="1827599"/>
                  <a:pt x="6138904" y="1809582"/>
                </a:cubicBezTo>
                <a:cubicBezTo>
                  <a:pt x="6113702" y="1787964"/>
                  <a:pt x="6084897" y="1773550"/>
                  <a:pt x="6066897" y="1766344"/>
                </a:cubicBezTo>
                <a:cubicBezTo>
                  <a:pt x="6048895" y="1751931"/>
                  <a:pt x="6027292" y="1737518"/>
                  <a:pt x="6009290" y="1730312"/>
                </a:cubicBezTo>
                <a:cubicBezTo>
                  <a:pt x="6009290" y="1730312"/>
                  <a:pt x="6009289" y="1726708"/>
                  <a:pt x="6005690" y="1726708"/>
                </a:cubicBezTo>
                <a:cubicBezTo>
                  <a:pt x="6002089" y="1723104"/>
                  <a:pt x="6002089" y="1723104"/>
                  <a:pt x="5998488" y="1723104"/>
                </a:cubicBezTo>
                <a:close/>
                <a:moveTo>
                  <a:pt x="2245258" y="1710274"/>
                </a:moveTo>
                <a:lnTo>
                  <a:pt x="2244276" y="1710488"/>
                </a:lnTo>
                <a:lnTo>
                  <a:pt x="2252305" y="1715011"/>
                </a:lnTo>
                <a:lnTo>
                  <a:pt x="2252305" y="1713724"/>
                </a:lnTo>
                <a:cubicBezTo>
                  <a:pt x="2250292" y="1711999"/>
                  <a:pt x="2247847" y="1710705"/>
                  <a:pt x="2245258" y="1710274"/>
                </a:cubicBezTo>
                <a:close/>
                <a:moveTo>
                  <a:pt x="1421019" y="1706832"/>
                </a:moveTo>
                <a:lnTo>
                  <a:pt x="1427065" y="1710443"/>
                </a:lnTo>
                <a:cubicBezTo>
                  <a:pt x="1433664" y="1716465"/>
                  <a:pt x="1433114" y="1724676"/>
                  <a:pt x="1434763" y="1732340"/>
                </a:cubicBezTo>
                <a:lnTo>
                  <a:pt x="1432681" y="1740171"/>
                </a:lnTo>
                <a:lnTo>
                  <a:pt x="1501179" y="1759551"/>
                </a:lnTo>
                <a:lnTo>
                  <a:pt x="1504479" y="1753647"/>
                </a:lnTo>
                <a:cubicBezTo>
                  <a:pt x="1501884" y="1749402"/>
                  <a:pt x="1502592" y="1746100"/>
                  <a:pt x="1504952" y="1742564"/>
                </a:cubicBezTo>
                <a:cubicBezTo>
                  <a:pt x="1508019" y="1737846"/>
                  <a:pt x="1510378" y="1732894"/>
                  <a:pt x="1508963" y="1726998"/>
                </a:cubicBezTo>
                <a:cubicBezTo>
                  <a:pt x="1508254" y="1724404"/>
                  <a:pt x="1510851" y="1723225"/>
                  <a:pt x="1512501" y="1722753"/>
                </a:cubicBezTo>
                <a:lnTo>
                  <a:pt x="1512766" y="1722417"/>
                </a:lnTo>
                <a:lnTo>
                  <a:pt x="1501911" y="1719688"/>
                </a:lnTo>
                <a:close/>
                <a:moveTo>
                  <a:pt x="11144220" y="1705043"/>
                </a:moveTo>
                <a:lnTo>
                  <a:pt x="11141306" y="1706782"/>
                </a:lnTo>
                <a:lnTo>
                  <a:pt x="11144473" y="1705342"/>
                </a:lnTo>
                <a:close/>
                <a:moveTo>
                  <a:pt x="11137441" y="1697014"/>
                </a:moveTo>
                <a:lnTo>
                  <a:pt x="11137260" y="1697085"/>
                </a:lnTo>
                <a:lnTo>
                  <a:pt x="11136611" y="1707194"/>
                </a:lnTo>
                <a:lnTo>
                  <a:pt x="11136908" y="1707576"/>
                </a:lnTo>
                <a:lnTo>
                  <a:pt x="11143525" y="1704219"/>
                </a:lnTo>
                <a:close/>
                <a:moveTo>
                  <a:pt x="12178406" y="1692372"/>
                </a:moveTo>
                <a:cubicBezTo>
                  <a:pt x="12179943" y="1692858"/>
                  <a:pt x="12181824" y="1693918"/>
                  <a:pt x="12183109" y="1695023"/>
                </a:cubicBezTo>
                <a:lnTo>
                  <a:pt x="12178245" y="1692420"/>
                </a:lnTo>
                <a:close/>
                <a:moveTo>
                  <a:pt x="1622627" y="1686357"/>
                </a:moveTo>
                <a:lnTo>
                  <a:pt x="1613961" y="1696340"/>
                </a:lnTo>
                <a:cubicBezTo>
                  <a:pt x="1610422" y="1700349"/>
                  <a:pt x="1605938" y="1702944"/>
                  <a:pt x="1600748" y="1704123"/>
                </a:cubicBezTo>
                <a:lnTo>
                  <a:pt x="1596731" y="1707749"/>
                </a:lnTo>
                <a:lnTo>
                  <a:pt x="1686132" y="1733403"/>
                </a:lnTo>
                <a:cubicBezTo>
                  <a:pt x="1728044" y="1747015"/>
                  <a:pt x="1769516" y="1762139"/>
                  <a:pt x="1810501" y="1778922"/>
                </a:cubicBezTo>
                <a:cubicBezTo>
                  <a:pt x="1860464" y="1799218"/>
                  <a:pt x="1902620" y="1832005"/>
                  <a:pt x="1957266" y="1839810"/>
                </a:cubicBezTo>
                <a:cubicBezTo>
                  <a:pt x="1971318" y="1841371"/>
                  <a:pt x="1988491" y="1849176"/>
                  <a:pt x="1993177" y="1827319"/>
                </a:cubicBezTo>
                <a:cubicBezTo>
                  <a:pt x="1999422" y="1805463"/>
                  <a:pt x="1979124" y="1808585"/>
                  <a:pt x="1966633" y="1802340"/>
                </a:cubicBezTo>
                <a:cubicBezTo>
                  <a:pt x="1951021" y="1797656"/>
                  <a:pt x="1930723" y="1794535"/>
                  <a:pt x="1921355" y="1772676"/>
                </a:cubicBezTo>
                <a:lnTo>
                  <a:pt x="1991274" y="1786660"/>
                </a:lnTo>
                <a:lnTo>
                  <a:pt x="1992194" y="1781702"/>
                </a:lnTo>
                <a:cubicBezTo>
                  <a:pt x="1993267" y="1781434"/>
                  <a:pt x="1993535" y="1779826"/>
                  <a:pt x="1992462" y="1779022"/>
                </a:cubicBezTo>
                <a:cubicBezTo>
                  <a:pt x="1988973" y="1776074"/>
                  <a:pt x="1992731" y="1774733"/>
                  <a:pt x="1993267" y="1772589"/>
                </a:cubicBezTo>
                <a:lnTo>
                  <a:pt x="1998419" y="1767666"/>
                </a:lnTo>
                <a:lnTo>
                  <a:pt x="1983807" y="1761749"/>
                </a:lnTo>
                <a:cubicBezTo>
                  <a:pt x="1933845" y="1742624"/>
                  <a:pt x="1883590" y="1724377"/>
                  <a:pt x="1832994" y="1707228"/>
                </a:cubicBezTo>
                <a:lnTo>
                  <a:pt x="1808113" y="1699426"/>
                </a:lnTo>
                <a:lnTo>
                  <a:pt x="1809135" y="1700286"/>
                </a:lnTo>
                <a:cubicBezTo>
                  <a:pt x="1809672" y="1702163"/>
                  <a:pt x="1811014" y="1703234"/>
                  <a:pt x="1812355" y="1704575"/>
                </a:cubicBezTo>
                <a:cubicBezTo>
                  <a:pt x="1815845" y="1707791"/>
                  <a:pt x="1817455" y="1711543"/>
                  <a:pt x="1816112" y="1716367"/>
                </a:cubicBezTo>
                <a:lnTo>
                  <a:pt x="1818669" y="1723261"/>
                </a:lnTo>
                <a:lnTo>
                  <a:pt x="1835482" y="1728964"/>
                </a:lnTo>
                <a:cubicBezTo>
                  <a:pt x="1844849" y="1732086"/>
                  <a:pt x="1863587" y="1730525"/>
                  <a:pt x="1858903" y="1746137"/>
                </a:cubicBezTo>
                <a:cubicBezTo>
                  <a:pt x="1854218" y="1761749"/>
                  <a:pt x="1837044" y="1757065"/>
                  <a:pt x="1826115" y="1752381"/>
                </a:cubicBezTo>
                <a:lnTo>
                  <a:pt x="1807151" y="1745258"/>
                </a:lnTo>
                <a:lnTo>
                  <a:pt x="1806452" y="1746655"/>
                </a:lnTo>
                <a:cubicBezTo>
                  <a:pt x="1806452" y="1749335"/>
                  <a:pt x="1805378" y="1749871"/>
                  <a:pt x="1803231" y="1747995"/>
                </a:cubicBezTo>
                <a:cubicBezTo>
                  <a:pt x="1800010" y="1745315"/>
                  <a:pt x="1797863" y="1745315"/>
                  <a:pt x="1797058" y="1749871"/>
                </a:cubicBezTo>
                <a:cubicBezTo>
                  <a:pt x="1796791" y="1750943"/>
                  <a:pt x="1795985" y="1752284"/>
                  <a:pt x="1794911" y="1750943"/>
                </a:cubicBezTo>
                <a:cubicBezTo>
                  <a:pt x="1791423" y="1747459"/>
                  <a:pt x="1789008" y="1749603"/>
                  <a:pt x="1786324" y="1752016"/>
                </a:cubicBezTo>
                <a:cubicBezTo>
                  <a:pt x="1786055" y="1752552"/>
                  <a:pt x="1784981" y="1752552"/>
                  <a:pt x="1784445" y="1752552"/>
                </a:cubicBezTo>
                <a:cubicBezTo>
                  <a:pt x="1778004" y="1748800"/>
                  <a:pt x="1771832" y="1744511"/>
                  <a:pt x="1765391" y="1740491"/>
                </a:cubicBezTo>
                <a:cubicBezTo>
                  <a:pt x="1762439" y="1738614"/>
                  <a:pt x="1760828" y="1733521"/>
                  <a:pt x="1759487" y="1729502"/>
                </a:cubicBezTo>
                <a:lnTo>
                  <a:pt x="1758441" y="1726965"/>
                </a:lnTo>
                <a:lnTo>
                  <a:pt x="1744535" y="1721742"/>
                </a:lnTo>
                <a:cubicBezTo>
                  <a:pt x="1717212" y="1711399"/>
                  <a:pt x="1689498" y="1701641"/>
                  <a:pt x="1660614" y="1694616"/>
                </a:cubicBezTo>
                <a:close/>
                <a:moveTo>
                  <a:pt x="2222100" y="1683103"/>
                </a:moveTo>
                <a:cubicBezTo>
                  <a:pt x="2219367" y="1684109"/>
                  <a:pt x="2216634" y="1686122"/>
                  <a:pt x="2214332" y="1687847"/>
                </a:cubicBezTo>
                <a:lnTo>
                  <a:pt x="2210127" y="1691249"/>
                </a:lnTo>
                <a:lnTo>
                  <a:pt x="2227208" y="1700872"/>
                </a:lnTo>
                <a:lnTo>
                  <a:pt x="2229867" y="1684397"/>
                </a:lnTo>
                <a:cubicBezTo>
                  <a:pt x="2227566" y="1682096"/>
                  <a:pt x="2224833" y="1682096"/>
                  <a:pt x="2222100" y="1683103"/>
                </a:cubicBezTo>
                <a:close/>
                <a:moveTo>
                  <a:pt x="1135797" y="1682585"/>
                </a:moveTo>
                <a:lnTo>
                  <a:pt x="1135657" y="1684620"/>
                </a:lnTo>
                <a:lnTo>
                  <a:pt x="1198655" y="1689272"/>
                </a:lnTo>
                <a:cubicBezTo>
                  <a:pt x="1237636" y="1694478"/>
                  <a:pt x="1276225" y="1701732"/>
                  <a:pt x="1314555" y="1710285"/>
                </a:cubicBezTo>
                <a:lnTo>
                  <a:pt x="1369793" y="1724206"/>
                </a:lnTo>
                <a:lnTo>
                  <a:pt x="1367679" y="1720297"/>
                </a:lnTo>
                <a:cubicBezTo>
                  <a:pt x="1365479" y="1715370"/>
                  <a:pt x="1361080" y="1710991"/>
                  <a:pt x="1355581" y="1708253"/>
                </a:cubicBezTo>
                <a:lnTo>
                  <a:pt x="1355581" y="1697458"/>
                </a:lnTo>
                <a:lnTo>
                  <a:pt x="1240593" y="1686150"/>
                </a:lnTo>
                <a:close/>
                <a:moveTo>
                  <a:pt x="7847880" y="1663016"/>
                </a:moveTo>
                <a:lnTo>
                  <a:pt x="7847780" y="1663140"/>
                </a:lnTo>
                <a:cubicBezTo>
                  <a:pt x="7847780" y="1663140"/>
                  <a:pt x="7847780" y="1663140"/>
                  <a:pt x="7843187" y="1666040"/>
                </a:cubicBezTo>
                <a:close/>
                <a:moveTo>
                  <a:pt x="5888368" y="1661582"/>
                </a:moveTo>
                <a:lnTo>
                  <a:pt x="5947745" y="1692506"/>
                </a:lnTo>
                <a:lnTo>
                  <a:pt x="5926033" y="1679415"/>
                </a:lnTo>
                <a:close/>
                <a:moveTo>
                  <a:pt x="12125881" y="1659984"/>
                </a:moveTo>
                <a:lnTo>
                  <a:pt x="12127684" y="1660723"/>
                </a:lnTo>
                <a:cubicBezTo>
                  <a:pt x="12130072" y="1660545"/>
                  <a:pt x="12130072" y="1660545"/>
                  <a:pt x="12130072" y="1660545"/>
                </a:cubicBezTo>
                <a:cubicBezTo>
                  <a:pt x="12130072" y="1660545"/>
                  <a:pt x="12130072" y="1660545"/>
                  <a:pt x="12132641" y="1662755"/>
                </a:cubicBezTo>
                <a:cubicBezTo>
                  <a:pt x="12130253" y="1662933"/>
                  <a:pt x="12127684" y="1660723"/>
                  <a:pt x="12127862" y="1663113"/>
                </a:cubicBezTo>
                <a:close/>
                <a:moveTo>
                  <a:pt x="12121197" y="1657374"/>
                </a:moveTo>
                <a:lnTo>
                  <a:pt x="12125479" y="1659349"/>
                </a:lnTo>
                <a:lnTo>
                  <a:pt x="12125881" y="1659984"/>
                </a:lnTo>
                <a:lnTo>
                  <a:pt x="12122726" y="1658691"/>
                </a:lnTo>
                <a:close/>
                <a:moveTo>
                  <a:pt x="12108878" y="1652983"/>
                </a:moveTo>
                <a:lnTo>
                  <a:pt x="12112781" y="1654212"/>
                </a:lnTo>
                <a:lnTo>
                  <a:pt x="12112811" y="1654627"/>
                </a:lnTo>
                <a:close/>
                <a:moveTo>
                  <a:pt x="12112633" y="1652237"/>
                </a:moveTo>
                <a:cubicBezTo>
                  <a:pt x="12115201" y="1654448"/>
                  <a:pt x="12117768" y="1656659"/>
                  <a:pt x="12120159" y="1656480"/>
                </a:cubicBezTo>
                <a:lnTo>
                  <a:pt x="12121197" y="1657374"/>
                </a:lnTo>
                <a:lnTo>
                  <a:pt x="12117701" y="1655763"/>
                </a:lnTo>
                <a:lnTo>
                  <a:pt x="12112781" y="1654212"/>
                </a:lnTo>
                <a:close/>
                <a:moveTo>
                  <a:pt x="1624616" y="1644976"/>
                </a:moveTo>
                <a:lnTo>
                  <a:pt x="1626230" y="1650353"/>
                </a:lnTo>
                <a:cubicBezTo>
                  <a:pt x="1625522" y="1653655"/>
                  <a:pt x="1627410" y="1655778"/>
                  <a:pt x="1629298" y="1657664"/>
                </a:cubicBezTo>
                <a:lnTo>
                  <a:pt x="1628882" y="1663751"/>
                </a:lnTo>
                <a:lnTo>
                  <a:pt x="1705819" y="1684982"/>
                </a:lnTo>
                <a:lnTo>
                  <a:pt x="1760201" y="1703428"/>
                </a:lnTo>
                <a:lnTo>
                  <a:pt x="1760561" y="1700555"/>
                </a:lnTo>
                <a:cubicBezTo>
                  <a:pt x="1762439" y="1693318"/>
                  <a:pt x="1770758" y="1695461"/>
                  <a:pt x="1773979" y="1690101"/>
                </a:cubicBezTo>
                <a:lnTo>
                  <a:pt x="1777976" y="1689976"/>
                </a:lnTo>
                <a:lnTo>
                  <a:pt x="1680131" y="1659294"/>
                </a:lnTo>
                <a:close/>
                <a:moveTo>
                  <a:pt x="6077418" y="1643024"/>
                </a:moveTo>
                <a:cubicBezTo>
                  <a:pt x="6072819" y="1658175"/>
                  <a:pt x="6110433" y="1675422"/>
                  <a:pt x="6132888" y="1688071"/>
                </a:cubicBezTo>
                <a:cubicBezTo>
                  <a:pt x="6145556" y="1704081"/>
                  <a:pt x="6162206" y="1717403"/>
                  <a:pt x="6180271" y="1731276"/>
                </a:cubicBezTo>
                <a:lnTo>
                  <a:pt x="6227322" y="1770443"/>
                </a:lnTo>
                <a:lnTo>
                  <a:pt x="6225014" y="1769544"/>
                </a:lnTo>
                <a:cubicBezTo>
                  <a:pt x="6220986" y="1773189"/>
                  <a:pt x="6224632" y="1777215"/>
                  <a:pt x="6228472" y="1777405"/>
                </a:cubicBezTo>
                <a:cubicBezTo>
                  <a:pt x="6228280" y="1781240"/>
                  <a:pt x="6228280" y="1781240"/>
                  <a:pt x="6228280" y="1781240"/>
                </a:cubicBezTo>
                <a:cubicBezTo>
                  <a:pt x="6187211" y="1756132"/>
                  <a:pt x="6138847" y="1722972"/>
                  <a:pt x="6105644" y="1694409"/>
                </a:cubicBezTo>
                <a:cubicBezTo>
                  <a:pt x="6079353" y="1681569"/>
                  <a:pt x="6049414" y="1664703"/>
                  <a:pt x="6026392" y="1663561"/>
                </a:cubicBezTo>
                <a:cubicBezTo>
                  <a:pt x="6115823" y="1721829"/>
                  <a:pt x="6182993" y="1763613"/>
                  <a:pt x="6238079" y="1816331"/>
                </a:cubicBezTo>
                <a:cubicBezTo>
                  <a:pt x="6260532" y="1828981"/>
                  <a:pt x="6290279" y="1849683"/>
                  <a:pt x="6304866" y="1865786"/>
                </a:cubicBezTo>
                <a:cubicBezTo>
                  <a:pt x="6285871" y="1860999"/>
                  <a:pt x="6300459" y="1877102"/>
                  <a:pt x="6292593" y="1880557"/>
                </a:cubicBezTo>
                <a:cubicBezTo>
                  <a:pt x="6299887" y="1888607"/>
                  <a:pt x="6303915" y="1884962"/>
                  <a:pt x="6315047" y="1893205"/>
                </a:cubicBezTo>
                <a:cubicBezTo>
                  <a:pt x="6329825" y="1905474"/>
                  <a:pt x="6300459" y="1877102"/>
                  <a:pt x="6319265" y="1885724"/>
                </a:cubicBezTo>
                <a:cubicBezTo>
                  <a:pt x="6359953" y="1918504"/>
                  <a:pt x="6385291" y="1950521"/>
                  <a:pt x="6430009" y="1979655"/>
                </a:cubicBezTo>
                <a:cubicBezTo>
                  <a:pt x="6436730" y="1999215"/>
                  <a:pt x="6458803" y="2019535"/>
                  <a:pt x="6477035" y="2039664"/>
                </a:cubicBezTo>
                <a:cubicBezTo>
                  <a:pt x="6499109" y="2059985"/>
                  <a:pt x="6521184" y="2080306"/>
                  <a:pt x="6535581" y="2100244"/>
                </a:cubicBezTo>
                <a:cubicBezTo>
                  <a:pt x="6520993" y="2084140"/>
                  <a:pt x="6516964" y="2087786"/>
                  <a:pt x="6513318" y="2083760"/>
                </a:cubicBezTo>
                <a:cubicBezTo>
                  <a:pt x="6516774" y="2091621"/>
                  <a:pt x="6512936" y="2091430"/>
                  <a:pt x="6512745" y="2095266"/>
                </a:cubicBezTo>
                <a:cubicBezTo>
                  <a:pt x="6534819" y="2115587"/>
                  <a:pt x="6534438" y="2123257"/>
                  <a:pt x="6552673" y="2143387"/>
                </a:cubicBezTo>
                <a:cubicBezTo>
                  <a:pt x="6556511" y="2143577"/>
                  <a:pt x="6560346" y="2143768"/>
                  <a:pt x="6563994" y="2147795"/>
                </a:cubicBezTo>
                <a:cubicBezTo>
                  <a:pt x="6568213" y="2140314"/>
                  <a:pt x="6561109" y="2128427"/>
                  <a:pt x="6572430" y="2132834"/>
                </a:cubicBezTo>
                <a:cubicBezTo>
                  <a:pt x="6590476" y="2156798"/>
                  <a:pt x="6601227" y="2172712"/>
                  <a:pt x="6619461" y="2192841"/>
                </a:cubicBezTo>
                <a:cubicBezTo>
                  <a:pt x="6634049" y="2208946"/>
                  <a:pt x="6648445" y="2228884"/>
                  <a:pt x="6677813" y="2257257"/>
                </a:cubicBezTo>
                <a:cubicBezTo>
                  <a:pt x="6677813" y="2257257"/>
                  <a:pt x="6681840" y="2253612"/>
                  <a:pt x="6685487" y="2257638"/>
                </a:cubicBezTo>
                <a:lnTo>
                  <a:pt x="6691580" y="2266907"/>
                </a:lnTo>
                <a:lnTo>
                  <a:pt x="6688771" y="2223084"/>
                </a:lnTo>
                <a:lnTo>
                  <a:pt x="6667332" y="2197141"/>
                </a:lnTo>
                <a:cubicBezTo>
                  <a:pt x="6655527" y="2183097"/>
                  <a:pt x="6643722" y="2169054"/>
                  <a:pt x="6629230" y="2151033"/>
                </a:cubicBezTo>
                <a:cubicBezTo>
                  <a:pt x="6618099" y="2142791"/>
                  <a:pt x="6610613" y="2138574"/>
                  <a:pt x="6603321" y="2130522"/>
                </a:cubicBezTo>
                <a:cubicBezTo>
                  <a:pt x="6570686" y="2090452"/>
                  <a:pt x="6534218" y="2050193"/>
                  <a:pt x="6493720" y="2013579"/>
                </a:cubicBezTo>
                <a:cubicBezTo>
                  <a:pt x="6475391" y="1995366"/>
                  <a:pt x="6457011" y="1978113"/>
                  <a:pt x="6439138" y="1960405"/>
                </a:cubicBezTo>
                <a:lnTo>
                  <a:pt x="6391362" y="1908599"/>
                </a:lnTo>
                <a:lnTo>
                  <a:pt x="6398708" y="1912738"/>
                </a:lnTo>
                <a:cubicBezTo>
                  <a:pt x="6398898" y="1908903"/>
                  <a:pt x="6399090" y="1905068"/>
                  <a:pt x="6391604" y="1900852"/>
                </a:cubicBezTo>
                <a:cubicBezTo>
                  <a:pt x="6391604" y="1900852"/>
                  <a:pt x="6387957" y="1896825"/>
                  <a:pt x="6387957" y="1896825"/>
                </a:cubicBezTo>
                <a:cubicBezTo>
                  <a:pt x="6388146" y="1892990"/>
                  <a:pt x="6391986" y="1893180"/>
                  <a:pt x="6391795" y="1897015"/>
                </a:cubicBezTo>
                <a:cubicBezTo>
                  <a:pt x="6421351" y="1921553"/>
                  <a:pt x="6457632" y="1965648"/>
                  <a:pt x="6494674" y="1994401"/>
                </a:cubicBezTo>
                <a:cubicBezTo>
                  <a:pt x="6502534" y="1990946"/>
                  <a:pt x="6506183" y="1994973"/>
                  <a:pt x="6499078" y="1983085"/>
                </a:cubicBezTo>
                <a:cubicBezTo>
                  <a:pt x="6491407" y="1982705"/>
                  <a:pt x="6480466" y="1970626"/>
                  <a:pt x="6469523" y="1958548"/>
                </a:cubicBezTo>
                <a:cubicBezTo>
                  <a:pt x="6477580" y="1951258"/>
                  <a:pt x="6443805" y="1934202"/>
                  <a:pt x="6425379" y="1917908"/>
                </a:cubicBezTo>
                <a:cubicBezTo>
                  <a:pt x="6377588" y="1873242"/>
                  <a:pt x="6330176" y="1820903"/>
                  <a:pt x="6274519" y="1779691"/>
                </a:cubicBezTo>
                <a:cubicBezTo>
                  <a:pt x="6267035" y="1775475"/>
                  <a:pt x="6263198" y="1775284"/>
                  <a:pt x="6255714" y="1771068"/>
                </a:cubicBezTo>
                <a:cubicBezTo>
                  <a:pt x="6237097" y="1758609"/>
                  <a:pt x="6204085" y="1726211"/>
                  <a:pt x="6188925" y="1721613"/>
                </a:cubicBezTo>
                <a:cubicBezTo>
                  <a:pt x="6192952" y="1717968"/>
                  <a:pt x="6193143" y="1714133"/>
                  <a:pt x="6181821" y="1709726"/>
                </a:cubicBezTo>
                <a:cubicBezTo>
                  <a:pt x="6178174" y="1705700"/>
                  <a:pt x="6148046" y="1692669"/>
                  <a:pt x="6148237" y="1688833"/>
                </a:cubicBezTo>
                <a:cubicBezTo>
                  <a:pt x="6151884" y="1692860"/>
                  <a:pt x="6152074" y="1689024"/>
                  <a:pt x="6155911" y="1689215"/>
                </a:cubicBezTo>
                <a:cubicBezTo>
                  <a:pt x="6126165" y="1668514"/>
                  <a:pt x="6107357" y="1659891"/>
                  <a:pt x="6077418" y="1643024"/>
                </a:cubicBezTo>
                <a:close/>
                <a:moveTo>
                  <a:pt x="11329355" y="1626097"/>
                </a:moveTo>
                <a:lnTo>
                  <a:pt x="11300277" y="1635142"/>
                </a:lnTo>
                <a:lnTo>
                  <a:pt x="11306517" y="1642970"/>
                </a:lnTo>
                <a:lnTo>
                  <a:pt x="11307007" y="1642790"/>
                </a:lnTo>
                <a:cubicBezTo>
                  <a:pt x="11313997" y="1639865"/>
                  <a:pt x="11323554" y="1639150"/>
                  <a:pt x="11330543" y="1636224"/>
                </a:cubicBezTo>
                <a:lnTo>
                  <a:pt x="11344214" y="1630503"/>
                </a:lnTo>
                <a:close/>
                <a:moveTo>
                  <a:pt x="5013373" y="1622666"/>
                </a:moveTo>
                <a:cubicBezTo>
                  <a:pt x="5006147" y="1622404"/>
                  <a:pt x="5000395" y="1621471"/>
                  <a:pt x="4995051" y="1629235"/>
                </a:cubicBezTo>
                <a:cubicBezTo>
                  <a:pt x="4997468" y="1642344"/>
                  <a:pt x="5009907" y="1638456"/>
                  <a:pt x="5017133" y="1638717"/>
                </a:cubicBezTo>
                <a:cubicBezTo>
                  <a:pt x="5170450" y="1639939"/>
                  <a:pt x="5319373" y="1662704"/>
                  <a:pt x="5467232" y="1694834"/>
                </a:cubicBezTo>
                <a:cubicBezTo>
                  <a:pt x="5472986" y="1695766"/>
                  <a:pt x="5478740" y="1696699"/>
                  <a:pt x="5484494" y="1697630"/>
                </a:cubicBezTo>
                <a:cubicBezTo>
                  <a:pt x="5492389" y="1699363"/>
                  <a:pt x="5498010" y="1703908"/>
                  <a:pt x="5493337" y="1713144"/>
                </a:cubicBezTo>
                <a:cubicBezTo>
                  <a:pt x="5491473" y="1724651"/>
                  <a:pt x="5485049" y="1722248"/>
                  <a:pt x="5477153" y="1720514"/>
                </a:cubicBezTo>
                <a:cubicBezTo>
                  <a:pt x="5448150" y="1712409"/>
                  <a:pt x="5418811" y="1706009"/>
                  <a:pt x="5389251" y="1700765"/>
                </a:cubicBezTo>
                <a:lnTo>
                  <a:pt x="5356133" y="1696011"/>
                </a:lnTo>
                <a:lnTo>
                  <a:pt x="5497172" y="1734144"/>
                </a:lnTo>
                <a:cubicBezTo>
                  <a:pt x="5722278" y="1810318"/>
                  <a:pt x="5928830" y="1926731"/>
                  <a:pt x="6108276" y="2074822"/>
                </a:cubicBezTo>
                <a:lnTo>
                  <a:pt x="6146858" y="2109890"/>
                </a:lnTo>
                <a:lnTo>
                  <a:pt x="6149367" y="2111743"/>
                </a:lnTo>
                <a:lnTo>
                  <a:pt x="6176331" y="2127293"/>
                </a:lnTo>
                <a:lnTo>
                  <a:pt x="6241887" y="2190772"/>
                </a:lnTo>
                <a:lnTo>
                  <a:pt x="6350117" y="2287711"/>
                </a:lnTo>
                <a:lnTo>
                  <a:pt x="6461731" y="2410512"/>
                </a:lnTo>
                <a:lnTo>
                  <a:pt x="6471242" y="2384680"/>
                </a:lnTo>
                <a:lnTo>
                  <a:pt x="6448551" y="2352402"/>
                </a:lnTo>
                <a:lnTo>
                  <a:pt x="6317077" y="2211359"/>
                </a:lnTo>
                <a:cubicBezTo>
                  <a:pt x="6289752" y="2185974"/>
                  <a:pt x="6264442" y="2158094"/>
                  <a:pt x="6238422" y="2132113"/>
                </a:cubicBezTo>
                <a:cubicBezTo>
                  <a:pt x="6235927" y="2130096"/>
                  <a:pt x="6232453" y="2128527"/>
                  <a:pt x="6230286" y="2126362"/>
                </a:cubicBezTo>
                <a:lnTo>
                  <a:pt x="6230166" y="2122666"/>
                </a:lnTo>
                <a:lnTo>
                  <a:pt x="6185979" y="2083352"/>
                </a:lnTo>
                <a:lnTo>
                  <a:pt x="6231235" y="2116002"/>
                </a:lnTo>
                <a:lnTo>
                  <a:pt x="6238420" y="2110045"/>
                </a:lnTo>
                <a:cubicBezTo>
                  <a:pt x="6241817" y="2109286"/>
                  <a:pt x="6245645" y="2109906"/>
                  <a:pt x="6249447" y="2111328"/>
                </a:cubicBezTo>
                <a:cubicBezTo>
                  <a:pt x="6266545" y="2117726"/>
                  <a:pt x="6280920" y="2128520"/>
                  <a:pt x="6291377" y="2141096"/>
                </a:cubicBezTo>
                <a:cubicBezTo>
                  <a:pt x="6324765" y="2176331"/>
                  <a:pt x="6360616" y="2210050"/>
                  <a:pt x="6394627" y="2245789"/>
                </a:cubicBezTo>
                <a:lnTo>
                  <a:pt x="6436562" y="2293242"/>
                </a:lnTo>
                <a:lnTo>
                  <a:pt x="6437768" y="2294418"/>
                </a:lnTo>
                <a:lnTo>
                  <a:pt x="6440279" y="2297454"/>
                </a:lnTo>
                <a:lnTo>
                  <a:pt x="6443729" y="2301354"/>
                </a:lnTo>
                <a:lnTo>
                  <a:pt x="6444971" y="2303119"/>
                </a:lnTo>
                <a:lnTo>
                  <a:pt x="6483937" y="2350194"/>
                </a:lnTo>
                <a:lnTo>
                  <a:pt x="6488663" y="2337349"/>
                </a:lnTo>
                <a:lnTo>
                  <a:pt x="6433933" y="2261706"/>
                </a:lnTo>
                <a:lnTo>
                  <a:pt x="6285011" y="2099996"/>
                </a:lnTo>
                <a:lnTo>
                  <a:pt x="6267052" y="2081952"/>
                </a:lnTo>
                <a:cubicBezTo>
                  <a:pt x="6262499" y="2077809"/>
                  <a:pt x="6257211" y="2073999"/>
                  <a:pt x="6252693" y="2068951"/>
                </a:cubicBezTo>
                <a:lnTo>
                  <a:pt x="6251057" y="2065525"/>
                </a:lnTo>
                <a:lnTo>
                  <a:pt x="6061716" y="1909575"/>
                </a:lnTo>
                <a:cubicBezTo>
                  <a:pt x="5991321" y="1859387"/>
                  <a:pt x="5916639" y="1813562"/>
                  <a:pt x="5837514" y="1772266"/>
                </a:cubicBezTo>
                <a:lnTo>
                  <a:pt x="5717199" y="1719450"/>
                </a:lnTo>
                <a:lnTo>
                  <a:pt x="5584900" y="1679208"/>
                </a:lnTo>
                <a:cubicBezTo>
                  <a:pt x="5537180" y="1666082"/>
                  <a:pt x="5488942" y="1654747"/>
                  <a:pt x="5440035" y="1646823"/>
                </a:cubicBezTo>
                <a:cubicBezTo>
                  <a:pt x="5414210" y="1640822"/>
                  <a:pt x="5391457" y="1629868"/>
                  <a:pt x="5365518" y="1647015"/>
                </a:cubicBezTo>
                <a:cubicBezTo>
                  <a:pt x="5350677" y="1657328"/>
                  <a:pt x="5329263" y="1649316"/>
                  <a:pt x="5310532" y="1647190"/>
                </a:cubicBezTo>
                <a:cubicBezTo>
                  <a:pt x="5212050" y="1629873"/>
                  <a:pt x="5112378" y="1625532"/>
                  <a:pt x="5013373" y="1622666"/>
                </a:cubicBezTo>
                <a:close/>
                <a:moveTo>
                  <a:pt x="5786006" y="1611402"/>
                </a:moveTo>
                <a:lnTo>
                  <a:pt x="5786068" y="1611427"/>
                </a:lnTo>
                <a:lnTo>
                  <a:pt x="5786068" y="1611402"/>
                </a:lnTo>
                <a:close/>
                <a:moveTo>
                  <a:pt x="1093926" y="1607896"/>
                </a:moveTo>
                <a:cubicBezTo>
                  <a:pt x="1030229" y="1605725"/>
                  <a:pt x="966215" y="1606799"/>
                  <a:pt x="901810" y="1611873"/>
                </a:cubicBezTo>
                <a:lnTo>
                  <a:pt x="840924" y="1618840"/>
                </a:lnTo>
                <a:lnTo>
                  <a:pt x="843366" y="1626503"/>
                </a:lnTo>
                <a:cubicBezTo>
                  <a:pt x="842445" y="1629572"/>
                  <a:pt x="843366" y="1632945"/>
                  <a:pt x="846438" y="1634787"/>
                </a:cubicBezTo>
                <a:cubicBezTo>
                  <a:pt x="846438" y="1636012"/>
                  <a:pt x="846438" y="1637239"/>
                  <a:pt x="846438" y="1638466"/>
                </a:cubicBezTo>
                <a:cubicBezTo>
                  <a:pt x="843673" y="1640000"/>
                  <a:pt x="842445" y="1641841"/>
                  <a:pt x="842751" y="1645828"/>
                </a:cubicBezTo>
                <a:lnTo>
                  <a:pt x="842591" y="1646042"/>
                </a:lnTo>
                <a:lnTo>
                  <a:pt x="923277" y="1638023"/>
                </a:lnTo>
                <a:cubicBezTo>
                  <a:pt x="1047793" y="1630217"/>
                  <a:pt x="1172700" y="1632168"/>
                  <a:pt x="1298386" y="1647780"/>
                </a:cubicBezTo>
                <a:cubicBezTo>
                  <a:pt x="1342493" y="1653635"/>
                  <a:pt x="1386308" y="1660563"/>
                  <a:pt x="1429781" y="1668711"/>
                </a:cubicBezTo>
                <a:lnTo>
                  <a:pt x="1539651" y="1692705"/>
                </a:lnTo>
                <a:lnTo>
                  <a:pt x="1540816" y="1691624"/>
                </a:lnTo>
                <a:cubicBezTo>
                  <a:pt x="1542939" y="1689501"/>
                  <a:pt x="1544119" y="1686671"/>
                  <a:pt x="1541996" y="1684313"/>
                </a:cubicBezTo>
                <a:cubicBezTo>
                  <a:pt x="1540108" y="1682427"/>
                  <a:pt x="1537513" y="1684313"/>
                  <a:pt x="1535625" y="1685728"/>
                </a:cubicBezTo>
                <a:cubicBezTo>
                  <a:pt x="1533974" y="1686907"/>
                  <a:pt x="1532793" y="1689030"/>
                  <a:pt x="1530670" y="1689737"/>
                </a:cubicBezTo>
                <a:cubicBezTo>
                  <a:pt x="1527602" y="1690916"/>
                  <a:pt x="1525715" y="1690445"/>
                  <a:pt x="1525950" y="1686671"/>
                </a:cubicBezTo>
                <a:cubicBezTo>
                  <a:pt x="1526187" y="1681483"/>
                  <a:pt x="1528311" y="1677238"/>
                  <a:pt x="1531142" y="1673229"/>
                </a:cubicBezTo>
                <a:lnTo>
                  <a:pt x="1531142" y="1666469"/>
                </a:lnTo>
                <a:lnTo>
                  <a:pt x="1472889" y="1653805"/>
                </a:lnTo>
                <a:cubicBezTo>
                  <a:pt x="1347446" y="1629558"/>
                  <a:pt x="1221320" y="1612238"/>
                  <a:pt x="1093926" y="1607896"/>
                </a:cubicBezTo>
                <a:close/>
                <a:moveTo>
                  <a:pt x="11301516" y="1604577"/>
                </a:moveTo>
                <a:lnTo>
                  <a:pt x="11301162" y="1604783"/>
                </a:lnTo>
                <a:lnTo>
                  <a:pt x="11281366" y="1611416"/>
                </a:lnTo>
                <a:lnTo>
                  <a:pt x="11292353" y="1625201"/>
                </a:lnTo>
                <a:lnTo>
                  <a:pt x="11315108" y="1618298"/>
                </a:lnTo>
                <a:close/>
                <a:moveTo>
                  <a:pt x="5818474" y="1603296"/>
                </a:moveTo>
                <a:lnTo>
                  <a:pt x="5822072" y="1604196"/>
                </a:lnTo>
                <a:cubicBezTo>
                  <a:pt x="5822072" y="1604196"/>
                  <a:pt x="5822072" y="1604196"/>
                  <a:pt x="5818474" y="1604197"/>
                </a:cubicBezTo>
                <a:close/>
                <a:moveTo>
                  <a:pt x="11443269" y="1601367"/>
                </a:moveTo>
                <a:cubicBezTo>
                  <a:pt x="11443269" y="1601367"/>
                  <a:pt x="11440879" y="1601545"/>
                  <a:pt x="11438669" y="1604113"/>
                </a:cubicBezTo>
                <a:cubicBezTo>
                  <a:pt x="11433890" y="1604470"/>
                  <a:pt x="11431500" y="1604649"/>
                  <a:pt x="11429110" y="1604828"/>
                </a:cubicBezTo>
                <a:cubicBezTo>
                  <a:pt x="11431322" y="1602260"/>
                  <a:pt x="11433712" y="1602081"/>
                  <a:pt x="11436101" y="1601902"/>
                </a:cubicBezTo>
                <a:cubicBezTo>
                  <a:pt x="11436101" y="1601902"/>
                  <a:pt x="11436101" y="1601902"/>
                  <a:pt x="11438490" y="1601724"/>
                </a:cubicBezTo>
                <a:cubicBezTo>
                  <a:pt x="11440879" y="1601545"/>
                  <a:pt x="11440879" y="1601545"/>
                  <a:pt x="11440879" y="1601545"/>
                </a:cubicBezTo>
                <a:close/>
                <a:moveTo>
                  <a:pt x="3850133" y="1600633"/>
                </a:moveTo>
                <a:cubicBezTo>
                  <a:pt x="3850133" y="1600633"/>
                  <a:pt x="3850133" y="1600633"/>
                  <a:pt x="3853369" y="1602700"/>
                </a:cubicBezTo>
                <a:lnTo>
                  <a:pt x="3842616" y="1606720"/>
                </a:lnTo>
                <a:close/>
                <a:moveTo>
                  <a:pt x="5807670" y="1600592"/>
                </a:moveTo>
                <a:cubicBezTo>
                  <a:pt x="5796870" y="1604197"/>
                  <a:pt x="5818472" y="1611402"/>
                  <a:pt x="5818474" y="1618609"/>
                </a:cubicBezTo>
                <a:cubicBezTo>
                  <a:pt x="5800471" y="1611402"/>
                  <a:pt x="5796870" y="1615007"/>
                  <a:pt x="5789670" y="1611403"/>
                </a:cubicBezTo>
                <a:lnTo>
                  <a:pt x="5788641" y="1612432"/>
                </a:lnTo>
                <a:lnTo>
                  <a:pt x="5810097" y="1620819"/>
                </a:lnTo>
                <a:lnTo>
                  <a:pt x="5851378" y="1642319"/>
                </a:lnTo>
                <a:lnTo>
                  <a:pt x="5853574" y="1635726"/>
                </a:lnTo>
                <a:cubicBezTo>
                  <a:pt x="5856276" y="1634825"/>
                  <a:pt x="5859876" y="1634824"/>
                  <a:pt x="5861676" y="1633022"/>
                </a:cubicBezTo>
                <a:cubicBezTo>
                  <a:pt x="5858075" y="1625817"/>
                  <a:pt x="5850875" y="1622212"/>
                  <a:pt x="5843675" y="1615007"/>
                </a:cubicBezTo>
                <a:cubicBezTo>
                  <a:pt x="5847273" y="1618609"/>
                  <a:pt x="5850874" y="1618609"/>
                  <a:pt x="5850874" y="1618609"/>
                </a:cubicBezTo>
                <a:cubicBezTo>
                  <a:pt x="5854476" y="1622213"/>
                  <a:pt x="5854476" y="1622213"/>
                  <a:pt x="5858075" y="1622213"/>
                </a:cubicBezTo>
                <a:cubicBezTo>
                  <a:pt x="5858075" y="1618609"/>
                  <a:pt x="5854475" y="1618609"/>
                  <a:pt x="5854475" y="1618609"/>
                </a:cubicBezTo>
                <a:cubicBezTo>
                  <a:pt x="5850875" y="1615007"/>
                  <a:pt x="5847277" y="1615007"/>
                  <a:pt x="5847277" y="1615007"/>
                </a:cubicBezTo>
                <a:cubicBezTo>
                  <a:pt x="5847277" y="1615007"/>
                  <a:pt x="5843675" y="1611403"/>
                  <a:pt x="5843675" y="1611403"/>
                </a:cubicBezTo>
                <a:cubicBezTo>
                  <a:pt x="5836475" y="1607800"/>
                  <a:pt x="5829273" y="1604197"/>
                  <a:pt x="5825672" y="1600593"/>
                </a:cubicBezTo>
                <a:cubicBezTo>
                  <a:pt x="5825672" y="1600593"/>
                  <a:pt x="5825672" y="1600593"/>
                  <a:pt x="5822072" y="1600593"/>
                </a:cubicBezTo>
                <a:cubicBezTo>
                  <a:pt x="5822072" y="1600593"/>
                  <a:pt x="5818474" y="1600593"/>
                  <a:pt x="5818474" y="1600593"/>
                </a:cubicBezTo>
                <a:lnTo>
                  <a:pt x="5818474" y="1603296"/>
                </a:lnTo>
                <a:lnTo>
                  <a:pt x="5814872" y="1602395"/>
                </a:lnTo>
                <a:cubicBezTo>
                  <a:pt x="5813073" y="1602395"/>
                  <a:pt x="5811270" y="1602395"/>
                  <a:pt x="5807670" y="1600592"/>
                </a:cubicBezTo>
                <a:close/>
                <a:moveTo>
                  <a:pt x="12017190" y="1596902"/>
                </a:moveTo>
                <a:cubicBezTo>
                  <a:pt x="12017190" y="1596902"/>
                  <a:pt x="12017190" y="1596902"/>
                  <a:pt x="12014802" y="1597080"/>
                </a:cubicBezTo>
                <a:cubicBezTo>
                  <a:pt x="12012412" y="1597258"/>
                  <a:pt x="12012412" y="1597258"/>
                  <a:pt x="12012412" y="1597258"/>
                </a:cubicBezTo>
                <a:lnTo>
                  <a:pt x="12011728" y="1596978"/>
                </a:lnTo>
                <a:close/>
                <a:moveTo>
                  <a:pt x="5729195" y="1588094"/>
                </a:moveTo>
                <a:lnTo>
                  <a:pt x="5727368" y="1588484"/>
                </a:lnTo>
                <a:lnTo>
                  <a:pt x="5750519" y="1597531"/>
                </a:lnTo>
                <a:lnTo>
                  <a:pt x="5741513" y="1592486"/>
                </a:lnTo>
                <a:cubicBezTo>
                  <a:pt x="5736788" y="1590233"/>
                  <a:pt x="5732626" y="1588657"/>
                  <a:pt x="5729195" y="1588094"/>
                </a:cubicBezTo>
                <a:close/>
                <a:moveTo>
                  <a:pt x="6445161" y="1583619"/>
                </a:moveTo>
                <a:cubicBezTo>
                  <a:pt x="6458401" y="1592444"/>
                  <a:pt x="6449574" y="1592446"/>
                  <a:pt x="6458402" y="1601272"/>
                </a:cubicBezTo>
                <a:cubicBezTo>
                  <a:pt x="6467224" y="1605686"/>
                  <a:pt x="6453988" y="1592446"/>
                  <a:pt x="6467224" y="1596859"/>
                </a:cubicBezTo>
                <a:cubicBezTo>
                  <a:pt x="6476055" y="1610098"/>
                  <a:pt x="6489293" y="1614513"/>
                  <a:pt x="6493708" y="1623339"/>
                </a:cubicBezTo>
                <a:cubicBezTo>
                  <a:pt x="6489293" y="1618926"/>
                  <a:pt x="6484877" y="1614513"/>
                  <a:pt x="6480468" y="1614513"/>
                </a:cubicBezTo>
                <a:cubicBezTo>
                  <a:pt x="6502530" y="1632165"/>
                  <a:pt x="6529013" y="1654232"/>
                  <a:pt x="6559906" y="1676299"/>
                </a:cubicBezTo>
                <a:cubicBezTo>
                  <a:pt x="6590799" y="1698366"/>
                  <a:pt x="6621689" y="1720433"/>
                  <a:pt x="6648172" y="1738086"/>
                </a:cubicBezTo>
                <a:cubicBezTo>
                  <a:pt x="6643759" y="1738086"/>
                  <a:pt x="6643759" y="1742499"/>
                  <a:pt x="6648172" y="1746913"/>
                </a:cubicBezTo>
                <a:cubicBezTo>
                  <a:pt x="6674652" y="1768979"/>
                  <a:pt x="6696717" y="1786632"/>
                  <a:pt x="6718784" y="1813113"/>
                </a:cubicBezTo>
                <a:cubicBezTo>
                  <a:pt x="6727610" y="1808699"/>
                  <a:pt x="6736436" y="1830765"/>
                  <a:pt x="6745263" y="1839593"/>
                </a:cubicBezTo>
                <a:cubicBezTo>
                  <a:pt x="6749678" y="1844006"/>
                  <a:pt x="6754092" y="1839593"/>
                  <a:pt x="6758503" y="1848420"/>
                </a:cubicBezTo>
                <a:cubicBezTo>
                  <a:pt x="6762917" y="1848420"/>
                  <a:pt x="6767331" y="1861660"/>
                  <a:pt x="6776157" y="1870486"/>
                </a:cubicBezTo>
                <a:cubicBezTo>
                  <a:pt x="6789396" y="1883726"/>
                  <a:pt x="6807051" y="1896966"/>
                  <a:pt x="6820290" y="1910206"/>
                </a:cubicBezTo>
                <a:cubicBezTo>
                  <a:pt x="6837943" y="1927860"/>
                  <a:pt x="6842356" y="1927860"/>
                  <a:pt x="6860009" y="1949926"/>
                </a:cubicBezTo>
                <a:lnTo>
                  <a:pt x="6881151" y="1971614"/>
                </a:lnTo>
                <a:lnTo>
                  <a:pt x="6931108" y="1901353"/>
                </a:lnTo>
                <a:lnTo>
                  <a:pt x="6873248" y="1857246"/>
                </a:lnTo>
                <a:cubicBezTo>
                  <a:pt x="6824703" y="1826353"/>
                  <a:pt x="6780571" y="1795460"/>
                  <a:pt x="6736436" y="1764566"/>
                </a:cubicBezTo>
                <a:cubicBezTo>
                  <a:pt x="6736436" y="1755738"/>
                  <a:pt x="6740851" y="1755739"/>
                  <a:pt x="6749678" y="1755739"/>
                </a:cubicBezTo>
                <a:cubicBezTo>
                  <a:pt x="6709956" y="1733672"/>
                  <a:pt x="6683479" y="1716019"/>
                  <a:pt x="6652584" y="1702780"/>
                </a:cubicBezTo>
                <a:cubicBezTo>
                  <a:pt x="6621689" y="1685126"/>
                  <a:pt x="6590799" y="1671886"/>
                  <a:pt x="6551080" y="1645405"/>
                </a:cubicBezTo>
                <a:cubicBezTo>
                  <a:pt x="6555492" y="1649819"/>
                  <a:pt x="6555492" y="1649819"/>
                  <a:pt x="6555490" y="1645405"/>
                </a:cubicBezTo>
                <a:cubicBezTo>
                  <a:pt x="6555490" y="1645405"/>
                  <a:pt x="6555492" y="1640991"/>
                  <a:pt x="6551080" y="1636580"/>
                </a:cubicBezTo>
                <a:cubicBezTo>
                  <a:pt x="6551080" y="1632165"/>
                  <a:pt x="6551080" y="1632165"/>
                  <a:pt x="6551080" y="1632165"/>
                </a:cubicBezTo>
                <a:cubicBezTo>
                  <a:pt x="6542255" y="1627752"/>
                  <a:pt x="6533424" y="1618926"/>
                  <a:pt x="6529013" y="1623339"/>
                </a:cubicBezTo>
                <a:cubicBezTo>
                  <a:pt x="6529013" y="1618926"/>
                  <a:pt x="6524602" y="1614513"/>
                  <a:pt x="6520186" y="1614513"/>
                </a:cubicBezTo>
                <a:cubicBezTo>
                  <a:pt x="6515773" y="1610098"/>
                  <a:pt x="6515773" y="1614513"/>
                  <a:pt x="6515773" y="1614513"/>
                </a:cubicBezTo>
                <a:cubicBezTo>
                  <a:pt x="6515773" y="1618926"/>
                  <a:pt x="6515773" y="1618926"/>
                  <a:pt x="6515773" y="1618926"/>
                </a:cubicBezTo>
                <a:cubicBezTo>
                  <a:pt x="6493708" y="1601272"/>
                  <a:pt x="6480469" y="1601272"/>
                  <a:pt x="6458402" y="1583619"/>
                </a:cubicBezTo>
                <a:cubicBezTo>
                  <a:pt x="6458402" y="1596859"/>
                  <a:pt x="6449574" y="1583619"/>
                  <a:pt x="6445161" y="1583619"/>
                </a:cubicBezTo>
                <a:close/>
                <a:moveTo>
                  <a:pt x="1284334" y="1582209"/>
                </a:moveTo>
                <a:cubicBezTo>
                  <a:pt x="1284335" y="1599384"/>
                  <a:pt x="1298386" y="1596260"/>
                  <a:pt x="1307754" y="1597821"/>
                </a:cubicBezTo>
                <a:lnTo>
                  <a:pt x="1535475" y="1641297"/>
                </a:lnTo>
                <a:lnTo>
                  <a:pt x="1538692" y="1635732"/>
                </a:lnTo>
                <a:cubicBezTo>
                  <a:pt x="1541288" y="1633609"/>
                  <a:pt x="1541524" y="1631958"/>
                  <a:pt x="1538928" y="1630072"/>
                </a:cubicBezTo>
                <a:cubicBezTo>
                  <a:pt x="1537513" y="1629128"/>
                  <a:pt x="1536569" y="1628186"/>
                  <a:pt x="1537040" y="1626299"/>
                </a:cubicBezTo>
                <a:cubicBezTo>
                  <a:pt x="1537513" y="1623705"/>
                  <a:pt x="1539401" y="1624176"/>
                  <a:pt x="1541051" y="1623705"/>
                </a:cubicBezTo>
                <a:lnTo>
                  <a:pt x="1541754" y="1623604"/>
                </a:lnTo>
                <a:lnTo>
                  <a:pt x="1524925" y="1619264"/>
                </a:lnTo>
                <a:cubicBezTo>
                  <a:pt x="1472767" y="1607384"/>
                  <a:pt x="1420169" y="1597041"/>
                  <a:pt x="1367084" y="1588454"/>
                </a:cubicBezTo>
                <a:cubicBezTo>
                  <a:pt x="1340542" y="1585331"/>
                  <a:pt x="1312438" y="1577525"/>
                  <a:pt x="1284334" y="1582209"/>
                </a:cubicBezTo>
                <a:close/>
                <a:moveTo>
                  <a:pt x="11263868" y="1571431"/>
                </a:moveTo>
                <a:lnTo>
                  <a:pt x="11253650" y="1575897"/>
                </a:lnTo>
                <a:lnTo>
                  <a:pt x="11253252" y="1576142"/>
                </a:lnTo>
                <a:lnTo>
                  <a:pt x="11254953" y="1578278"/>
                </a:lnTo>
                <a:lnTo>
                  <a:pt x="11256793" y="1577764"/>
                </a:lnTo>
                <a:cubicBezTo>
                  <a:pt x="11258773" y="1576116"/>
                  <a:pt x="11261027" y="1574144"/>
                  <a:pt x="11265806" y="1573787"/>
                </a:cubicBezTo>
                <a:lnTo>
                  <a:pt x="11266135" y="1573407"/>
                </a:lnTo>
                <a:close/>
                <a:moveTo>
                  <a:pt x="11625824" y="1568495"/>
                </a:moveTo>
                <a:cubicBezTo>
                  <a:pt x="11626002" y="1570885"/>
                  <a:pt x="11626002" y="1570885"/>
                  <a:pt x="11626002" y="1570885"/>
                </a:cubicBezTo>
                <a:cubicBezTo>
                  <a:pt x="11623613" y="1571063"/>
                  <a:pt x="11623613" y="1571063"/>
                  <a:pt x="11623613" y="1571063"/>
                </a:cubicBezTo>
                <a:cubicBezTo>
                  <a:pt x="11626002" y="1570885"/>
                  <a:pt x="11625824" y="1568495"/>
                  <a:pt x="11625824" y="1568495"/>
                </a:cubicBezTo>
                <a:close/>
                <a:moveTo>
                  <a:pt x="2526989" y="1561572"/>
                </a:moveTo>
                <a:cubicBezTo>
                  <a:pt x="2530161" y="1561608"/>
                  <a:pt x="2533189" y="1562400"/>
                  <a:pt x="2535640" y="1565856"/>
                </a:cubicBezTo>
                <a:cubicBezTo>
                  <a:pt x="2536504" y="1567008"/>
                  <a:pt x="2538235" y="1568448"/>
                  <a:pt x="2540542" y="1568448"/>
                </a:cubicBezTo>
                <a:cubicBezTo>
                  <a:pt x="2543714" y="1568160"/>
                  <a:pt x="2545445" y="1569889"/>
                  <a:pt x="2546021" y="1573057"/>
                </a:cubicBezTo>
                <a:cubicBezTo>
                  <a:pt x="2546598" y="1575073"/>
                  <a:pt x="2548040" y="1576225"/>
                  <a:pt x="2549482" y="1577665"/>
                </a:cubicBezTo>
                <a:cubicBezTo>
                  <a:pt x="2553231" y="1581121"/>
                  <a:pt x="2554962" y="1585154"/>
                  <a:pt x="2553520" y="1590338"/>
                </a:cubicBezTo>
                <a:cubicBezTo>
                  <a:pt x="2552655" y="1593218"/>
                  <a:pt x="2553520" y="1596387"/>
                  <a:pt x="2556404" y="1598115"/>
                </a:cubicBezTo>
                <a:cubicBezTo>
                  <a:pt x="2556404" y="1599266"/>
                  <a:pt x="2556404" y="1600419"/>
                  <a:pt x="2556404" y="1601571"/>
                </a:cubicBezTo>
                <a:cubicBezTo>
                  <a:pt x="2553808" y="1603011"/>
                  <a:pt x="2552655" y="1604739"/>
                  <a:pt x="2552942" y="1608483"/>
                </a:cubicBezTo>
                <a:cubicBezTo>
                  <a:pt x="2553231" y="1613668"/>
                  <a:pt x="2550924" y="1617700"/>
                  <a:pt x="2545156" y="1618853"/>
                </a:cubicBezTo>
                <a:cubicBezTo>
                  <a:pt x="2542561" y="1619140"/>
                  <a:pt x="2543138" y="1621156"/>
                  <a:pt x="2543138" y="1622885"/>
                </a:cubicBezTo>
                <a:cubicBezTo>
                  <a:pt x="2543138" y="1625765"/>
                  <a:pt x="2541984" y="1626341"/>
                  <a:pt x="2539677" y="1624324"/>
                </a:cubicBezTo>
                <a:cubicBezTo>
                  <a:pt x="2536216" y="1621445"/>
                  <a:pt x="2533909" y="1621445"/>
                  <a:pt x="2533044" y="1626341"/>
                </a:cubicBezTo>
                <a:cubicBezTo>
                  <a:pt x="2532756" y="1627493"/>
                  <a:pt x="2531891" y="1628934"/>
                  <a:pt x="2530737" y="1627493"/>
                </a:cubicBezTo>
                <a:cubicBezTo>
                  <a:pt x="2526988" y="1623748"/>
                  <a:pt x="2524393" y="1626053"/>
                  <a:pt x="2521509" y="1628645"/>
                </a:cubicBezTo>
                <a:cubicBezTo>
                  <a:pt x="2521220" y="1629221"/>
                  <a:pt x="2520067" y="1629221"/>
                  <a:pt x="2519489" y="1629221"/>
                </a:cubicBezTo>
                <a:cubicBezTo>
                  <a:pt x="2512568" y="1625189"/>
                  <a:pt x="2505935" y="1620580"/>
                  <a:pt x="2499014" y="1616260"/>
                </a:cubicBezTo>
                <a:cubicBezTo>
                  <a:pt x="2495841" y="1614244"/>
                  <a:pt x="2494112" y="1608772"/>
                  <a:pt x="2492670" y="1604452"/>
                </a:cubicBezTo>
                <a:cubicBezTo>
                  <a:pt x="2492093" y="1602723"/>
                  <a:pt x="2492381" y="1600995"/>
                  <a:pt x="2490651" y="1599555"/>
                </a:cubicBezTo>
                <a:cubicBezTo>
                  <a:pt x="2488920" y="1598115"/>
                  <a:pt x="2489209" y="1596387"/>
                  <a:pt x="2490362" y="1594658"/>
                </a:cubicBezTo>
                <a:cubicBezTo>
                  <a:pt x="2490939" y="1593506"/>
                  <a:pt x="2492093" y="1592066"/>
                  <a:pt x="2491228" y="1590914"/>
                </a:cubicBezTo>
                <a:cubicBezTo>
                  <a:pt x="2488344" y="1587458"/>
                  <a:pt x="2488055" y="1584865"/>
                  <a:pt x="2492670" y="1583138"/>
                </a:cubicBezTo>
                <a:cubicBezTo>
                  <a:pt x="2493823" y="1582849"/>
                  <a:pt x="2494112" y="1581121"/>
                  <a:pt x="2492958" y="1580257"/>
                </a:cubicBezTo>
                <a:cubicBezTo>
                  <a:pt x="2489209" y="1577089"/>
                  <a:pt x="2493246" y="1575649"/>
                  <a:pt x="2493823" y="1573344"/>
                </a:cubicBezTo>
                <a:cubicBezTo>
                  <a:pt x="2495841" y="1565568"/>
                  <a:pt x="2504782" y="1567872"/>
                  <a:pt x="2508243" y="1562111"/>
                </a:cubicBezTo>
                <a:cubicBezTo>
                  <a:pt x="2509397" y="1560096"/>
                  <a:pt x="2514876" y="1561535"/>
                  <a:pt x="2517471" y="1561824"/>
                </a:cubicBezTo>
                <a:cubicBezTo>
                  <a:pt x="2520500" y="1562256"/>
                  <a:pt x="2523816" y="1561536"/>
                  <a:pt x="2526989" y="1561572"/>
                </a:cubicBezTo>
                <a:close/>
                <a:moveTo>
                  <a:pt x="11737946" y="1557710"/>
                </a:moveTo>
                <a:cubicBezTo>
                  <a:pt x="11737946" y="1557710"/>
                  <a:pt x="11737946" y="1557710"/>
                  <a:pt x="11735556" y="1557889"/>
                </a:cubicBezTo>
                <a:lnTo>
                  <a:pt x="11735549" y="1557776"/>
                </a:lnTo>
                <a:close/>
                <a:moveTo>
                  <a:pt x="11740157" y="1555142"/>
                </a:moveTo>
                <a:lnTo>
                  <a:pt x="11740023" y="1555298"/>
                </a:lnTo>
                <a:lnTo>
                  <a:pt x="11737766" y="1555321"/>
                </a:lnTo>
                <a:cubicBezTo>
                  <a:pt x="11737766" y="1555321"/>
                  <a:pt x="11737766" y="1555321"/>
                  <a:pt x="11740157" y="1555142"/>
                </a:cubicBezTo>
                <a:close/>
                <a:moveTo>
                  <a:pt x="11245767" y="1554323"/>
                </a:moveTo>
                <a:lnTo>
                  <a:pt x="11236367" y="1558672"/>
                </a:lnTo>
                <a:lnTo>
                  <a:pt x="11242962" y="1564701"/>
                </a:lnTo>
                <a:lnTo>
                  <a:pt x="11252069" y="1561090"/>
                </a:lnTo>
                <a:close/>
                <a:moveTo>
                  <a:pt x="11702451" y="1548951"/>
                </a:moveTo>
                <a:cubicBezTo>
                  <a:pt x="11709708" y="1549609"/>
                  <a:pt x="11717011" y="1550866"/>
                  <a:pt x="11723074" y="1551613"/>
                </a:cubicBezTo>
                <a:cubicBezTo>
                  <a:pt x="11720684" y="1551792"/>
                  <a:pt x="11720684" y="1551792"/>
                  <a:pt x="11720863" y="1554182"/>
                </a:cubicBezTo>
                <a:cubicBezTo>
                  <a:pt x="11720863" y="1554182"/>
                  <a:pt x="11723253" y="1554003"/>
                  <a:pt x="11723253" y="1554003"/>
                </a:cubicBezTo>
                <a:cubicBezTo>
                  <a:pt x="11732987" y="1555678"/>
                  <a:pt x="11732987" y="1555678"/>
                  <a:pt x="11732987" y="1555678"/>
                </a:cubicBezTo>
                <a:cubicBezTo>
                  <a:pt x="11735379" y="1555499"/>
                  <a:pt x="11735379" y="1555499"/>
                  <a:pt x="11735379" y="1555499"/>
                </a:cubicBezTo>
                <a:lnTo>
                  <a:pt x="11735549" y="1557776"/>
                </a:lnTo>
                <a:lnTo>
                  <a:pt x="11731613" y="1557883"/>
                </a:lnTo>
                <a:cubicBezTo>
                  <a:pt x="11727537" y="1559089"/>
                  <a:pt x="11728700" y="1562606"/>
                  <a:pt x="11721399" y="1561350"/>
                </a:cubicBezTo>
                <a:cubicBezTo>
                  <a:pt x="11721218" y="1558961"/>
                  <a:pt x="11721218" y="1558961"/>
                  <a:pt x="11718831" y="1559139"/>
                </a:cubicBezTo>
                <a:cubicBezTo>
                  <a:pt x="11716442" y="1559318"/>
                  <a:pt x="11716442" y="1559318"/>
                  <a:pt x="11716442" y="1559318"/>
                </a:cubicBezTo>
                <a:cubicBezTo>
                  <a:pt x="11716263" y="1556929"/>
                  <a:pt x="11716263" y="1556929"/>
                  <a:pt x="11713872" y="1557107"/>
                </a:cubicBezTo>
                <a:cubicBezTo>
                  <a:pt x="11713872" y="1557107"/>
                  <a:pt x="11713872" y="1557107"/>
                  <a:pt x="11711484" y="1557285"/>
                </a:cubicBezTo>
                <a:cubicBezTo>
                  <a:pt x="11711662" y="1559675"/>
                  <a:pt x="11714052" y="1559497"/>
                  <a:pt x="11711662" y="1559675"/>
                </a:cubicBezTo>
                <a:cubicBezTo>
                  <a:pt x="11704495" y="1560212"/>
                  <a:pt x="11697146" y="1558358"/>
                  <a:pt x="11692726" y="1563494"/>
                </a:cubicBezTo>
                <a:cubicBezTo>
                  <a:pt x="11694936" y="1560926"/>
                  <a:pt x="11694936" y="1560926"/>
                  <a:pt x="11692548" y="1561105"/>
                </a:cubicBezTo>
                <a:cubicBezTo>
                  <a:pt x="11689979" y="1558893"/>
                  <a:pt x="11687768" y="1561461"/>
                  <a:pt x="11687768" y="1561461"/>
                </a:cubicBezTo>
                <a:cubicBezTo>
                  <a:pt x="11687768" y="1561461"/>
                  <a:pt x="11687768" y="1561461"/>
                  <a:pt x="11685380" y="1561641"/>
                </a:cubicBezTo>
                <a:cubicBezTo>
                  <a:pt x="11677854" y="1557398"/>
                  <a:pt x="11671221" y="1565101"/>
                  <a:pt x="11661307" y="1561037"/>
                </a:cubicBezTo>
                <a:cubicBezTo>
                  <a:pt x="11661485" y="1563427"/>
                  <a:pt x="11661485" y="1563427"/>
                  <a:pt x="11661485" y="1563427"/>
                </a:cubicBezTo>
                <a:cubicBezTo>
                  <a:pt x="11661307" y="1561037"/>
                  <a:pt x="11658917" y="1561215"/>
                  <a:pt x="11658917" y="1561215"/>
                </a:cubicBezTo>
                <a:cubicBezTo>
                  <a:pt x="11656527" y="1561395"/>
                  <a:pt x="11656527" y="1561395"/>
                  <a:pt x="11656706" y="1563784"/>
                </a:cubicBezTo>
                <a:cubicBezTo>
                  <a:pt x="11649538" y="1564320"/>
                  <a:pt x="11642371" y="1564856"/>
                  <a:pt x="11642371" y="1564856"/>
                </a:cubicBezTo>
                <a:cubicBezTo>
                  <a:pt x="11635201" y="1565391"/>
                  <a:pt x="11647328" y="1566888"/>
                  <a:pt x="11635381" y="1567781"/>
                </a:cubicBezTo>
                <a:cubicBezTo>
                  <a:pt x="11637591" y="1565213"/>
                  <a:pt x="11635024" y="1563003"/>
                  <a:pt x="11632813" y="1565571"/>
                </a:cubicBezTo>
                <a:cubicBezTo>
                  <a:pt x="11630602" y="1568138"/>
                  <a:pt x="11642727" y="1569634"/>
                  <a:pt x="11630780" y="1570527"/>
                </a:cubicBezTo>
                <a:cubicBezTo>
                  <a:pt x="11630780" y="1570527"/>
                  <a:pt x="11630780" y="1570527"/>
                  <a:pt x="11630602" y="1568138"/>
                </a:cubicBezTo>
                <a:cubicBezTo>
                  <a:pt x="11630602" y="1568138"/>
                  <a:pt x="11630602" y="1568138"/>
                  <a:pt x="11628212" y="1568317"/>
                </a:cubicBezTo>
                <a:cubicBezTo>
                  <a:pt x="11628212" y="1568317"/>
                  <a:pt x="11625824" y="1568495"/>
                  <a:pt x="11625824" y="1568495"/>
                </a:cubicBezTo>
                <a:cubicBezTo>
                  <a:pt x="11623434" y="1568674"/>
                  <a:pt x="11623434" y="1568674"/>
                  <a:pt x="11623434" y="1568674"/>
                </a:cubicBezTo>
                <a:cubicBezTo>
                  <a:pt x="11621044" y="1568853"/>
                  <a:pt x="11621044" y="1568853"/>
                  <a:pt x="11621044" y="1568853"/>
                </a:cubicBezTo>
                <a:cubicBezTo>
                  <a:pt x="11620866" y="1566464"/>
                  <a:pt x="11618476" y="1566642"/>
                  <a:pt x="11616087" y="1566821"/>
                </a:cubicBezTo>
                <a:cubicBezTo>
                  <a:pt x="11616265" y="1569210"/>
                  <a:pt x="11613876" y="1569388"/>
                  <a:pt x="11611487" y="1569568"/>
                </a:cubicBezTo>
                <a:cubicBezTo>
                  <a:pt x="11608919" y="1567357"/>
                  <a:pt x="11601750" y="1567893"/>
                  <a:pt x="11596972" y="1568250"/>
                </a:cubicBezTo>
                <a:cubicBezTo>
                  <a:pt x="11616087" y="1566821"/>
                  <a:pt x="11623256" y="1566285"/>
                  <a:pt x="11639802" y="1562645"/>
                </a:cubicBezTo>
                <a:cubicBezTo>
                  <a:pt x="11637056" y="1558045"/>
                  <a:pt x="11646434" y="1554941"/>
                  <a:pt x="11658381" y="1554048"/>
                </a:cubicBezTo>
                <a:cubicBezTo>
                  <a:pt x="11670328" y="1553155"/>
                  <a:pt x="11682275" y="1552262"/>
                  <a:pt x="11682097" y="1549872"/>
                </a:cubicBezTo>
                <a:cubicBezTo>
                  <a:pt x="11687980" y="1548230"/>
                  <a:pt x="11695193" y="1548292"/>
                  <a:pt x="11702451" y="1548951"/>
                </a:cubicBezTo>
                <a:close/>
                <a:moveTo>
                  <a:pt x="5573650" y="1535735"/>
                </a:moveTo>
                <a:lnTo>
                  <a:pt x="5576678" y="1537105"/>
                </a:lnTo>
                <a:lnTo>
                  <a:pt x="5645856" y="1556624"/>
                </a:lnTo>
                <a:lnTo>
                  <a:pt x="5689903" y="1573840"/>
                </a:lnTo>
                <a:lnTo>
                  <a:pt x="5685709" y="1569965"/>
                </a:lnTo>
                <a:cubicBezTo>
                  <a:pt x="5676259" y="1564560"/>
                  <a:pt x="5663657" y="1559156"/>
                  <a:pt x="5649256" y="1553750"/>
                </a:cubicBezTo>
                <a:cubicBezTo>
                  <a:pt x="5620452" y="1542940"/>
                  <a:pt x="5591650" y="1539338"/>
                  <a:pt x="5573650" y="1535735"/>
                </a:cubicBezTo>
                <a:close/>
                <a:moveTo>
                  <a:pt x="11310914" y="1534374"/>
                </a:moveTo>
                <a:cubicBezTo>
                  <a:pt x="11311093" y="1536762"/>
                  <a:pt x="11303925" y="1537298"/>
                  <a:pt x="11303925" y="1537298"/>
                </a:cubicBezTo>
                <a:cubicBezTo>
                  <a:pt x="11308525" y="1534552"/>
                  <a:pt x="11306136" y="1534730"/>
                  <a:pt x="11303746" y="1534909"/>
                </a:cubicBezTo>
                <a:cubicBezTo>
                  <a:pt x="11301714" y="1539866"/>
                  <a:pt x="11292156" y="1540581"/>
                  <a:pt x="11285346" y="1545895"/>
                </a:cubicBezTo>
                <a:cubicBezTo>
                  <a:pt x="11285346" y="1545895"/>
                  <a:pt x="11282958" y="1546074"/>
                  <a:pt x="11280568" y="1546253"/>
                </a:cubicBezTo>
                <a:cubicBezTo>
                  <a:pt x="11280568" y="1546253"/>
                  <a:pt x="11278178" y="1546432"/>
                  <a:pt x="11278178" y="1546432"/>
                </a:cubicBezTo>
                <a:cubicBezTo>
                  <a:pt x="11275788" y="1546610"/>
                  <a:pt x="11275788" y="1546610"/>
                  <a:pt x="11275788" y="1546610"/>
                </a:cubicBezTo>
                <a:lnTo>
                  <a:pt x="11275815" y="1546961"/>
                </a:lnTo>
                <a:lnTo>
                  <a:pt x="11280366" y="1552208"/>
                </a:lnTo>
                <a:lnTo>
                  <a:pt x="11292184" y="1548989"/>
                </a:lnTo>
                <a:cubicBezTo>
                  <a:pt x="11298666" y="1547302"/>
                  <a:pt x="11303356" y="1545751"/>
                  <a:pt x="11299683" y="1544824"/>
                </a:cubicBezTo>
                <a:cubicBezTo>
                  <a:pt x="11302073" y="1544646"/>
                  <a:pt x="11302073" y="1544646"/>
                  <a:pt x="11302073" y="1544646"/>
                </a:cubicBezTo>
                <a:cubicBezTo>
                  <a:pt x="11304462" y="1544466"/>
                  <a:pt x="11304462" y="1544466"/>
                  <a:pt x="11304462" y="1544466"/>
                </a:cubicBezTo>
                <a:cubicBezTo>
                  <a:pt x="11304282" y="1542077"/>
                  <a:pt x="11304282" y="1542077"/>
                  <a:pt x="11304282" y="1542077"/>
                </a:cubicBezTo>
                <a:cubicBezTo>
                  <a:pt x="11301892" y="1542256"/>
                  <a:pt x="11301892" y="1542256"/>
                  <a:pt x="11301892" y="1542256"/>
                </a:cubicBezTo>
                <a:cubicBezTo>
                  <a:pt x="11299146" y="1537655"/>
                  <a:pt x="11308883" y="1539330"/>
                  <a:pt x="11311272" y="1539152"/>
                </a:cubicBezTo>
                <a:cubicBezTo>
                  <a:pt x="11306315" y="1537120"/>
                  <a:pt x="11320294" y="1531269"/>
                  <a:pt x="11310914" y="1534374"/>
                </a:cubicBezTo>
                <a:close/>
                <a:moveTo>
                  <a:pt x="4043942" y="1532803"/>
                </a:moveTo>
                <a:lnTo>
                  <a:pt x="4043807" y="1532885"/>
                </a:lnTo>
                <a:cubicBezTo>
                  <a:pt x="4043807" y="1532885"/>
                  <a:pt x="4043807" y="1532885"/>
                  <a:pt x="4038502" y="1534055"/>
                </a:cubicBezTo>
                <a:close/>
                <a:moveTo>
                  <a:pt x="1520195" y="1516692"/>
                </a:moveTo>
                <a:lnTo>
                  <a:pt x="1521010" y="1523208"/>
                </a:lnTo>
                <a:cubicBezTo>
                  <a:pt x="1519364" y="1524442"/>
                  <a:pt x="1519776" y="1526906"/>
                  <a:pt x="1521421" y="1527317"/>
                </a:cubicBezTo>
                <a:cubicBezTo>
                  <a:pt x="1528005" y="1529784"/>
                  <a:pt x="1527594" y="1533482"/>
                  <a:pt x="1523479" y="1538413"/>
                </a:cubicBezTo>
                <a:cubicBezTo>
                  <a:pt x="1522244" y="1540056"/>
                  <a:pt x="1523891" y="1542112"/>
                  <a:pt x="1524713" y="1543756"/>
                </a:cubicBezTo>
                <a:cubicBezTo>
                  <a:pt x="1526358" y="1546221"/>
                  <a:pt x="1526771" y="1548688"/>
                  <a:pt x="1524301" y="1550742"/>
                </a:cubicBezTo>
                <a:cubicBezTo>
                  <a:pt x="1521833" y="1552797"/>
                  <a:pt x="1522244" y="1555262"/>
                  <a:pt x="1521421" y="1557728"/>
                </a:cubicBezTo>
                <a:lnTo>
                  <a:pt x="1520621" y="1559216"/>
                </a:lnTo>
                <a:lnTo>
                  <a:pt x="1557567" y="1566598"/>
                </a:lnTo>
                <a:cubicBezTo>
                  <a:pt x="1729311" y="1596260"/>
                  <a:pt x="1893251" y="1647780"/>
                  <a:pt x="2044700" y="1732086"/>
                </a:cubicBezTo>
                <a:cubicBezTo>
                  <a:pt x="2058753" y="1739891"/>
                  <a:pt x="2074365" y="1743015"/>
                  <a:pt x="2072803" y="1764871"/>
                </a:cubicBezTo>
                <a:cubicBezTo>
                  <a:pt x="2071244" y="1771117"/>
                  <a:pt x="2077489" y="1775801"/>
                  <a:pt x="2083734" y="1777361"/>
                </a:cubicBezTo>
                <a:lnTo>
                  <a:pt x="2144160" y="1808500"/>
                </a:lnTo>
                <a:lnTo>
                  <a:pt x="2149319" y="1788482"/>
                </a:lnTo>
                <a:cubicBezTo>
                  <a:pt x="2147592" y="1782156"/>
                  <a:pt x="2153921" y="1779281"/>
                  <a:pt x="2157949" y="1778131"/>
                </a:cubicBezTo>
                <a:lnTo>
                  <a:pt x="2166424" y="1772423"/>
                </a:lnTo>
                <a:lnTo>
                  <a:pt x="2143844" y="1758236"/>
                </a:lnTo>
                <a:cubicBezTo>
                  <a:pt x="2073975" y="1716474"/>
                  <a:pt x="2002544" y="1677443"/>
                  <a:pt x="1927600" y="1644658"/>
                </a:cubicBezTo>
                <a:cubicBezTo>
                  <a:pt x="1805036" y="1591576"/>
                  <a:pt x="1679740" y="1550594"/>
                  <a:pt x="1551712" y="1522103"/>
                </a:cubicBezTo>
                <a:close/>
                <a:moveTo>
                  <a:pt x="11205212" y="1510774"/>
                </a:moveTo>
                <a:lnTo>
                  <a:pt x="11189992" y="1516273"/>
                </a:lnTo>
                <a:lnTo>
                  <a:pt x="11195545" y="1521349"/>
                </a:lnTo>
                <a:lnTo>
                  <a:pt x="11209758" y="1515656"/>
                </a:lnTo>
                <a:close/>
                <a:moveTo>
                  <a:pt x="2143439" y="1497950"/>
                </a:moveTo>
                <a:cubicBezTo>
                  <a:pt x="2146062" y="1497745"/>
                  <a:pt x="2148429" y="1497950"/>
                  <a:pt x="2149252" y="1499389"/>
                </a:cubicBezTo>
                <a:cubicBezTo>
                  <a:pt x="2154189" y="1507608"/>
                  <a:pt x="2166945" y="1504319"/>
                  <a:pt x="2169825" y="1515415"/>
                </a:cubicBezTo>
                <a:cubicBezTo>
                  <a:pt x="2170647" y="1518702"/>
                  <a:pt x="2176408" y="1520758"/>
                  <a:pt x="2171059" y="1525279"/>
                </a:cubicBezTo>
                <a:cubicBezTo>
                  <a:pt x="2169413" y="1526512"/>
                  <a:pt x="2169825" y="1528976"/>
                  <a:pt x="2171470" y="1529387"/>
                </a:cubicBezTo>
                <a:cubicBezTo>
                  <a:pt x="2178054" y="1531853"/>
                  <a:pt x="2177643" y="1535552"/>
                  <a:pt x="2173528" y="1540483"/>
                </a:cubicBezTo>
                <a:cubicBezTo>
                  <a:pt x="2172294" y="1542127"/>
                  <a:pt x="2173940" y="1544182"/>
                  <a:pt x="2174763" y="1545825"/>
                </a:cubicBezTo>
                <a:cubicBezTo>
                  <a:pt x="2176408" y="1548292"/>
                  <a:pt x="2176821" y="1550757"/>
                  <a:pt x="2174351" y="1552813"/>
                </a:cubicBezTo>
                <a:cubicBezTo>
                  <a:pt x="2171883" y="1554866"/>
                  <a:pt x="2172294" y="1557332"/>
                  <a:pt x="2171470" y="1559798"/>
                </a:cubicBezTo>
                <a:cubicBezTo>
                  <a:pt x="2169413" y="1565962"/>
                  <a:pt x="2166945" y="1573770"/>
                  <a:pt x="2162418" y="1576648"/>
                </a:cubicBezTo>
                <a:cubicBezTo>
                  <a:pt x="2152543" y="1582811"/>
                  <a:pt x="2143078" y="1589387"/>
                  <a:pt x="2133204" y="1595140"/>
                </a:cubicBezTo>
                <a:cubicBezTo>
                  <a:pt x="2132381" y="1595140"/>
                  <a:pt x="2130735" y="1595140"/>
                  <a:pt x="2130324" y="1594318"/>
                </a:cubicBezTo>
                <a:cubicBezTo>
                  <a:pt x="2126208" y="1590619"/>
                  <a:pt x="2122506" y="1587331"/>
                  <a:pt x="2117156" y="1592673"/>
                </a:cubicBezTo>
                <a:cubicBezTo>
                  <a:pt x="2115511" y="1594729"/>
                  <a:pt x="2114276" y="1592673"/>
                  <a:pt x="2113865" y="1591030"/>
                </a:cubicBezTo>
                <a:cubicBezTo>
                  <a:pt x="2112631" y="1584044"/>
                  <a:pt x="2109338" y="1584044"/>
                  <a:pt x="2104400" y="1588154"/>
                </a:cubicBezTo>
                <a:lnTo>
                  <a:pt x="2103158" y="1587637"/>
                </a:lnTo>
                <a:lnTo>
                  <a:pt x="2101436" y="1591844"/>
                </a:lnTo>
                <a:cubicBezTo>
                  <a:pt x="2100655" y="1595343"/>
                  <a:pt x="2098312" y="1596897"/>
                  <a:pt x="2095578" y="1598841"/>
                </a:cubicBezTo>
                <a:cubicBezTo>
                  <a:pt x="2092845" y="1600785"/>
                  <a:pt x="2088940" y="1600396"/>
                  <a:pt x="2086989" y="1603117"/>
                </a:cubicBezTo>
                <a:cubicBezTo>
                  <a:pt x="2084254" y="1603117"/>
                  <a:pt x="2081912" y="1603117"/>
                  <a:pt x="2079179" y="1603117"/>
                </a:cubicBezTo>
                <a:cubicBezTo>
                  <a:pt x="2079179" y="1601950"/>
                  <a:pt x="2078788" y="1601562"/>
                  <a:pt x="2078008" y="1601562"/>
                </a:cubicBezTo>
                <a:cubicBezTo>
                  <a:pt x="2072150" y="1601562"/>
                  <a:pt x="2069027" y="1597675"/>
                  <a:pt x="2067074" y="1593010"/>
                </a:cubicBezTo>
                <a:cubicBezTo>
                  <a:pt x="2065122" y="1588734"/>
                  <a:pt x="2062779" y="1584846"/>
                  <a:pt x="2063559" y="1579794"/>
                </a:cubicBezTo>
                <a:cubicBezTo>
                  <a:pt x="2064731" y="1574351"/>
                  <a:pt x="2064341" y="1568520"/>
                  <a:pt x="2069027" y="1564244"/>
                </a:cubicBezTo>
                <a:cubicBezTo>
                  <a:pt x="2070588" y="1562690"/>
                  <a:pt x="2072150" y="1561523"/>
                  <a:pt x="2074883" y="1560746"/>
                </a:cubicBezTo>
                <a:lnTo>
                  <a:pt x="2080535" y="1553638"/>
                </a:lnTo>
                <a:lnTo>
                  <a:pt x="2080535" y="1550757"/>
                </a:lnTo>
                <a:cubicBezTo>
                  <a:pt x="2084649" y="1548292"/>
                  <a:pt x="2085884" y="1543771"/>
                  <a:pt x="2084649" y="1539662"/>
                </a:cubicBezTo>
                <a:cubicBezTo>
                  <a:pt x="2082592" y="1532264"/>
                  <a:pt x="2085062" y="1526512"/>
                  <a:pt x="2090411" y="1521580"/>
                </a:cubicBezTo>
                <a:cubicBezTo>
                  <a:pt x="2092467" y="1519525"/>
                  <a:pt x="2094525" y="1517880"/>
                  <a:pt x="2095348" y="1515005"/>
                </a:cubicBezTo>
                <a:cubicBezTo>
                  <a:pt x="2096171" y="1510484"/>
                  <a:pt x="2098640" y="1508019"/>
                  <a:pt x="2103166" y="1508430"/>
                </a:cubicBezTo>
                <a:cubicBezTo>
                  <a:pt x="2106458" y="1508430"/>
                  <a:pt x="2108927" y="1506374"/>
                  <a:pt x="2110161" y="1504730"/>
                </a:cubicBezTo>
                <a:cubicBezTo>
                  <a:pt x="2113658" y="1499799"/>
                  <a:pt x="2117979" y="1498669"/>
                  <a:pt x="2122505" y="1498618"/>
                </a:cubicBezTo>
                <a:cubicBezTo>
                  <a:pt x="2127032" y="1498567"/>
                  <a:pt x="2131764" y="1499595"/>
                  <a:pt x="2136083" y="1498978"/>
                </a:cubicBezTo>
                <a:cubicBezTo>
                  <a:pt x="2137935" y="1498773"/>
                  <a:pt x="2140816" y="1498156"/>
                  <a:pt x="2143439" y="1497950"/>
                </a:cubicBezTo>
                <a:close/>
                <a:moveTo>
                  <a:pt x="7618397" y="1490081"/>
                </a:moveTo>
                <a:lnTo>
                  <a:pt x="7613886" y="1492291"/>
                </a:lnTo>
                <a:lnTo>
                  <a:pt x="7614345" y="1491396"/>
                </a:lnTo>
                <a:cubicBezTo>
                  <a:pt x="7614345" y="1491396"/>
                  <a:pt x="7614345" y="1491396"/>
                  <a:pt x="7618397" y="1490081"/>
                </a:cubicBezTo>
                <a:close/>
                <a:moveTo>
                  <a:pt x="1224994" y="1479214"/>
                </a:moveTo>
                <a:lnTo>
                  <a:pt x="1226764" y="1480150"/>
                </a:lnTo>
                <a:cubicBezTo>
                  <a:pt x="1229907" y="1479865"/>
                  <a:pt x="1231623" y="1481578"/>
                  <a:pt x="1232193" y="1484717"/>
                </a:cubicBezTo>
                <a:cubicBezTo>
                  <a:pt x="1232765" y="1486716"/>
                  <a:pt x="1234195" y="1487857"/>
                  <a:pt x="1235623" y="1489284"/>
                </a:cubicBezTo>
                <a:cubicBezTo>
                  <a:pt x="1239339" y="1492710"/>
                  <a:pt x="1241054" y="1496705"/>
                  <a:pt x="1239625" y="1501843"/>
                </a:cubicBezTo>
                <a:lnTo>
                  <a:pt x="1242000" y="1508249"/>
                </a:lnTo>
                <a:lnTo>
                  <a:pt x="1256767" y="1509734"/>
                </a:lnTo>
                <a:cubicBezTo>
                  <a:pt x="1290482" y="1514443"/>
                  <a:pt x="1323953" y="1520249"/>
                  <a:pt x="1357327" y="1526591"/>
                </a:cubicBezTo>
                <a:lnTo>
                  <a:pt x="1433068" y="1541724"/>
                </a:lnTo>
                <a:lnTo>
                  <a:pt x="1434600" y="1537592"/>
                </a:lnTo>
                <a:cubicBezTo>
                  <a:pt x="1432543" y="1530195"/>
                  <a:pt x="1435012" y="1524442"/>
                  <a:pt x="1440361" y="1519510"/>
                </a:cubicBezTo>
                <a:cubicBezTo>
                  <a:pt x="1442418" y="1517454"/>
                  <a:pt x="1444476" y="1515811"/>
                  <a:pt x="1445299" y="1512935"/>
                </a:cubicBezTo>
                <a:cubicBezTo>
                  <a:pt x="1446122" y="1508414"/>
                  <a:pt x="1448590" y="1505948"/>
                  <a:pt x="1453117" y="1506359"/>
                </a:cubicBezTo>
                <a:lnTo>
                  <a:pt x="1454806" y="1505466"/>
                </a:lnTo>
                <a:lnTo>
                  <a:pt x="1357619" y="1488781"/>
                </a:lnTo>
                <a:close/>
                <a:moveTo>
                  <a:pt x="6132368" y="1467768"/>
                </a:moveTo>
                <a:cubicBezTo>
                  <a:pt x="6135126" y="1468871"/>
                  <a:pt x="6138437" y="1471079"/>
                  <a:pt x="6140641" y="1473285"/>
                </a:cubicBezTo>
                <a:lnTo>
                  <a:pt x="6132066" y="1467836"/>
                </a:lnTo>
                <a:close/>
                <a:moveTo>
                  <a:pt x="34570" y="1458927"/>
                </a:moveTo>
                <a:lnTo>
                  <a:pt x="35069" y="1459045"/>
                </a:lnTo>
                <a:lnTo>
                  <a:pt x="34801" y="1459311"/>
                </a:lnTo>
                <a:close/>
                <a:moveTo>
                  <a:pt x="562" y="1449881"/>
                </a:moveTo>
                <a:lnTo>
                  <a:pt x="817" y="1450873"/>
                </a:lnTo>
                <a:cubicBezTo>
                  <a:pt x="2995" y="1454138"/>
                  <a:pt x="3648" y="1457185"/>
                  <a:pt x="1252" y="1461103"/>
                </a:cubicBezTo>
                <a:cubicBezTo>
                  <a:pt x="-1361" y="1465239"/>
                  <a:pt x="163" y="1467633"/>
                  <a:pt x="5390" y="1468503"/>
                </a:cubicBezTo>
                <a:cubicBezTo>
                  <a:pt x="5607" y="1468503"/>
                  <a:pt x="5825" y="1468503"/>
                  <a:pt x="6044" y="1468503"/>
                </a:cubicBezTo>
                <a:cubicBezTo>
                  <a:pt x="8003" y="1468721"/>
                  <a:pt x="9963" y="1469156"/>
                  <a:pt x="10180" y="1471115"/>
                </a:cubicBezTo>
                <a:cubicBezTo>
                  <a:pt x="10616" y="1473074"/>
                  <a:pt x="8221" y="1472856"/>
                  <a:pt x="7132" y="1473509"/>
                </a:cubicBezTo>
                <a:lnTo>
                  <a:pt x="562" y="1486475"/>
                </a:lnTo>
                <a:close/>
                <a:moveTo>
                  <a:pt x="1794068" y="1432985"/>
                </a:moveTo>
                <a:lnTo>
                  <a:pt x="1794536" y="1433095"/>
                </a:lnTo>
                <a:lnTo>
                  <a:pt x="1794285" y="1433345"/>
                </a:lnTo>
                <a:close/>
                <a:moveTo>
                  <a:pt x="4645364" y="1403800"/>
                </a:moveTo>
                <a:lnTo>
                  <a:pt x="4645041" y="1404106"/>
                </a:lnTo>
                <a:cubicBezTo>
                  <a:pt x="4644118" y="1404657"/>
                  <a:pt x="4642792" y="1404949"/>
                  <a:pt x="4641173" y="1403915"/>
                </a:cubicBezTo>
                <a:close/>
                <a:moveTo>
                  <a:pt x="6040339" y="1401066"/>
                </a:moveTo>
                <a:lnTo>
                  <a:pt x="6043550" y="1402671"/>
                </a:lnTo>
                <a:cubicBezTo>
                  <a:pt x="6047963" y="1402671"/>
                  <a:pt x="6047963" y="1402671"/>
                  <a:pt x="6047963" y="1402671"/>
                </a:cubicBezTo>
                <a:cubicBezTo>
                  <a:pt x="6047963" y="1402671"/>
                  <a:pt x="6047963" y="1402671"/>
                  <a:pt x="6052377" y="1407085"/>
                </a:cubicBezTo>
                <a:cubicBezTo>
                  <a:pt x="6047964" y="1407085"/>
                  <a:pt x="6043550" y="1402671"/>
                  <a:pt x="6043549" y="1407085"/>
                </a:cubicBezTo>
                <a:close/>
                <a:moveTo>
                  <a:pt x="6032096" y="1395631"/>
                </a:moveTo>
                <a:lnTo>
                  <a:pt x="6039690" y="1399844"/>
                </a:lnTo>
                <a:lnTo>
                  <a:pt x="6040339" y="1401066"/>
                </a:lnTo>
                <a:lnTo>
                  <a:pt x="6034725" y="1398258"/>
                </a:lnTo>
                <a:close/>
                <a:moveTo>
                  <a:pt x="4827373" y="1390663"/>
                </a:moveTo>
                <a:cubicBezTo>
                  <a:pt x="4771991" y="1391752"/>
                  <a:pt x="4721012" y="1400214"/>
                  <a:pt x="4672101" y="1405439"/>
                </a:cubicBezTo>
                <a:cubicBezTo>
                  <a:pt x="4667830" y="1404990"/>
                  <a:pt x="4662750" y="1404025"/>
                  <a:pt x="4657412" y="1403463"/>
                </a:cubicBezTo>
                <a:lnTo>
                  <a:pt x="4645364" y="1403800"/>
                </a:lnTo>
                <a:lnTo>
                  <a:pt x="4646478" y="1402745"/>
                </a:lnTo>
                <a:cubicBezTo>
                  <a:pt x="4648097" y="1403779"/>
                  <a:pt x="4649423" y="1403487"/>
                  <a:pt x="4649939" y="1402678"/>
                </a:cubicBezTo>
                <a:lnTo>
                  <a:pt x="4649338" y="1401305"/>
                </a:lnTo>
                <a:lnTo>
                  <a:pt x="4492082" y="1420776"/>
                </a:lnTo>
                <a:lnTo>
                  <a:pt x="4490306" y="1426064"/>
                </a:lnTo>
                <a:cubicBezTo>
                  <a:pt x="4444633" y="1433356"/>
                  <a:pt x="4418109" y="1439206"/>
                  <a:pt x="4372435" y="1446498"/>
                </a:cubicBezTo>
                <a:cubicBezTo>
                  <a:pt x="4359757" y="1452076"/>
                  <a:pt x="4352384" y="1456484"/>
                  <a:pt x="4341774" y="1458823"/>
                </a:cubicBezTo>
                <a:cubicBezTo>
                  <a:pt x="4290795" y="1467285"/>
                  <a:pt x="4237748" y="1478986"/>
                  <a:pt x="4185869" y="1495990"/>
                </a:cubicBezTo>
                <a:cubicBezTo>
                  <a:pt x="4160961" y="1502874"/>
                  <a:pt x="4136865" y="1510274"/>
                  <a:pt x="4112623" y="1517012"/>
                </a:cubicBezTo>
                <a:lnTo>
                  <a:pt x="4043942" y="1532803"/>
                </a:lnTo>
                <a:lnTo>
                  <a:pt x="4051181" y="1528477"/>
                </a:lnTo>
                <a:cubicBezTo>
                  <a:pt x="4047945" y="1526410"/>
                  <a:pt x="4044709" y="1524342"/>
                  <a:pt x="4037335" y="1528749"/>
                </a:cubicBezTo>
                <a:cubicBezTo>
                  <a:pt x="4037335" y="1528749"/>
                  <a:pt x="4032030" y="1529920"/>
                  <a:pt x="4032030" y="1529920"/>
                </a:cubicBezTo>
                <a:cubicBezTo>
                  <a:pt x="4028794" y="1527852"/>
                  <a:pt x="4030863" y="1524614"/>
                  <a:pt x="4034099" y="1526682"/>
                </a:cubicBezTo>
                <a:cubicBezTo>
                  <a:pt x="4070065" y="1513187"/>
                  <a:pt x="4126348" y="1503554"/>
                  <a:pt x="4169688" y="1485651"/>
                </a:cubicBezTo>
                <a:cubicBezTo>
                  <a:pt x="4170588" y="1477109"/>
                  <a:pt x="4175894" y="1475939"/>
                  <a:pt x="4162048" y="1476211"/>
                </a:cubicBezTo>
                <a:cubicBezTo>
                  <a:pt x="4157911" y="1482687"/>
                  <a:pt x="4141996" y="1486197"/>
                  <a:pt x="4126083" y="1489706"/>
                </a:cubicBezTo>
                <a:cubicBezTo>
                  <a:pt x="4123748" y="1479095"/>
                  <a:pt x="4092186" y="1499964"/>
                  <a:pt x="4068898" y="1507881"/>
                </a:cubicBezTo>
                <a:cubicBezTo>
                  <a:pt x="4006408" y="1527226"/>
                  <a:pt x="3937445" y="1542436"/>
                  <a:pt x="3874055" y="1570324"/>
                </a:cubicBezTo>
                <a:cubicBezTo>
                  <a:pt x="3866682" y="1574732"/>
                  <a:pt x="3864614" y="1577969"/>
                  <a:pt x="3857240" y="1582377"/>
                </a:cubicBezTo>
                <a:cubicBezTo>
                  <a:pt x="3837188" y="1592361"/>
                  <a:pt x="3792682" y="1604960"/>
                  <a:pt x="3781170" y="1615843"/>
                </a:cubicBezTo>
                <a:cubicBezTo>
                  <a:pt x="3780004" y="1610538"/>
                  <a:pt x="3776768" y="1608470"/>
                  <a:pt x="3767325" y="1616114"/>
                </a:cubicBezTo>
                <a:cubicBezTo>
                  <a:pt x="3762021" y="1617284"/>
                  <a:pt x="3735763" y="1636983"/>
                  <a:pt x="3732527" y="1634915"/>
                </a:cubicBezTo>
                <a:cubicBezTo>
                  <a:pt x="3737831" y="1633745"/>
                  <a:pt x="3734595" y="1631678"/>
                  <a:pt x="3736664" y="1628439"/>
                </a:cubicBezTo>
                <a:cubicBezTo>
                  <a:pt x="3703935" y="1644003"/>
                  <a:pt x="3687119" y="1656056"/>
                  <a:pt x="3657624" y="1673686"/>
                </a:cubicBezTo>
                <a:cubicBezTo>
                  <a:pt x="3668500" y="1685195"/>
                  <a:pt x="3702131" y="1661089"/>
                  <a:pt x="3724251" y="1647866"/>
                </a:cubicBezTo>
                <a:cubicBezTo>
                  <a:pt x="3744436" y="1644805"/>
                  <a:pt x="3764262" y="1636956"/>
                  <a:pt x="3785269" y="1628150"/>
                </a:cubicBezTo>
                <a:lnTo>
                  <a:pt x="3842616" y="1606720"/>
                </a:lnTo>
                <a:lnTo>
                  <a:pt x="3840691" y="1608278"/>
                </a:lnTo>
                <a:cubicBezTo>
                  <a:pt x="3841857" y="1613583"/>
                  <a:pt x="3847162" y="1612414"/>
                  <a:pt x="3849231" y="1609175"/>
                </a:cubicBezTo>
                <a:cubicBezTo>
                  <a:pt x="3852467" y="1611244"/>
                  <a:pt x="3852467" y="1611244"/>
                  <a:pt x="3852467" y="1611244"/>
                </a:cubicBezTo>
                <a:cubicBezTo>
                  <a:pt x="3810294" y="1634452"/>
                  <a:pt x="3757514" y="1660000"/>
                  <a:pt x="3716243" y="1674665"/>
                </a:cubicBezTo>
                <a:cubicBezTo>
                  <a:pt x="3692053" y="1691126"/>
                  <a:pt x="3662559" y="1708756"/>
                  <a:pt x="3650148" y="1728182"/>
                </a:cubicBezTo>
                <a:cubicBezTo>
                  <a:pt x="3745101" y="1679426"/>
                  <a:pt x="3814698" y="1641824"/>
                  <a:pt x="3887797" y="1620139"/>
                </a:cubicBezTo>
                <a:cubicBezTo>
                  <a:pt x="3909918" y="1606917"/>
                  <a:pt x="3942647" y="1591353"/>
                  <a:pt x="3963866" y="1586674"/>
                </a:cubicBezTo>
                <a:cubicBezTo>
                  <a:pt x="3950287" y="1600795"/>
                  <a:pt x="3971505" y="1596116"/>
                  <a:pt x="3970604" y="1604658"/>
                </a:cubicBezTo>
                <a:cubicBezTo>
                  <a:pt x="3981213" y="1602318"/>
                  <a:pt x="3980046" y="1597012"/>
                  <a:pt x="3992724" y="1591434"/>
                </a:cubicBezTo>
                <a:cubicBezTo>
                  <a:pt x="4010707" y="1584688"/>
                  <a:pt x="3971505" y="1596116"/>
                  <a:pt x="3988320" y="1584062"/>
                </a:cubicBezTo>
                <a:cubicBezTo>
                  <a:pt x="4036965" y="1564990"/>
                  <a:pt x="4077333" y="1558867"/>
                  <a:pt x="4124811" y="1534489"/>
                </a:cubicBezTo>
                <a:cubicBezTo>
                  <a:pt x="4145129" y="1538352"/>
                  <a:pt x="4173721" y="1529264"/>
                  <a:pt x="4200245" y="1523415"/>
                </a:cubicBezTo>
                <a:cubicBezTo>
                  <a:pt x="4228838" y="1514327"/>
                  <a:pt x="4257431" y="1505239"/>
                  <a:pt x="4281883" y="1502627"/>
                </a:cubicBezTo>
                <a:cubicBezTo>
                  <a:pt x="4260666" y="1507307"/>
                  <a:pt x="4261832" y="1512612"/>
                  <a:pt x="4256528" y="1513783"/>
                </a:cubicBezTo>
                <a:cubicBezTo>
                  <a:pt x="4265069" y="1514680"/>
                  <a:pt x="4263000" y="1517917"/>
                  <a:pt x="4266236" y="1519986"/>
                </a:cubicBezTo>
                <a:cubicBezTo>
                  <a:pt x="4294830" y="1510898"/>
                  <a:pt x="4301302" y="1515033"/>
                  <a:pt x="4327824" y="1509183"/>
                </a:cubicBezTo>
                <a:cubicBezTo>
                  <a:pt x="4329893" y="1505946"/>
                  <a:pt x="4331961" y="1502708"/>
                  <a:pt x="4337267" y="1501538"/>
                </a:cubicBezTo>
                <a:cubicBezTo>
                  <a:pt x="4332864" y="1494166"/>
                  <a:pt x="4319019" y="1494438"/>
                  <a:pt x="4328461" y="1486792"/>
                </a:cubicBezTo>
                <a:cubicBezTo>
                  <a:pt x="4358220" y="1483010"/>
                  <a:pt x="4377370" y="1481567"/>
                  <a:pt x="4403894" y="1475718"/>
                </a:cubicBezTo>
                <a:cubicBezTo>
                  <a:pt x="4425113" y="1471038"/>
                  <a:pt x="4449568" y="1468425"/>
                  <a:pt x="4488769" y="1456999"/>
                </a:cubicBezTo>
                <a:cubicBezTo>
                  <a:pt x="4488769" y="1456999"/>
                  <a:pt x="4487603" y="1451693"/>
                  <a:pt x="4492907" y="1450523"/>
                </a:cubicBezTo>
                <a:cubicBezTo>
                  <a:pt x="4525902" y="1448808"/>
                  <a:pt x="4517363" y="1447912"/>
                  <a:pt x="4545052" y="1447366"/>
                </a:cubicBezTo>
                <a:cubicBezTo>
                  <a:pt x="4555663" y="1445026"/>
                  <a:pt x="4566272" y="1442687"/>
                  <a:pt x="4582186" y="1439177"/>
                </a:cubicBezTo>
                <a:cubicBezTo>
                  <a:pt x="4647276" y="1444291"/>
                  <a:pt x="4709765" y="1424945"/>
                  <a:pt x="4787533" y="1424481"/>
                </a:cubicBezTo>
                <a:cubicBezTo>
                  <a:pt x="4789604" y="1421244"/>
                  <a:pt x="4803450" y="1420972"/>
                  <a:pt x="4814058" y="1418633"/>
                </a:cubicBezTo>
                <a:cubicBezTo>
                  <a:pt x="4815225" y="1423938"/>
                  <a:pt x="4836443" y="1419257"/>
                  <a:pt x="4834375" y="1422495"/>
                </a:cubicBezTo>
                <a:cubicBezTo>
                  <a:pt x="4821696" y="1428073"/>
                  <a:pt x="4799312" y="1427447"/>
                  <a:pt x="4801647" y="1438057"/>
                </a:cubicBezTo>
                <a:cubicBezTo>
                  <a:pt x="4846418" y="1439309"/>
                  <a:pt x="4867636" y="1434629"/>
                  <a:pt x="4888857" y="1429949"/>
                </a:cubicBezTo>
                <a:cubicBezTo>
                  <a:pt x="4904770" y="1426439"/>
                  <a:pt x="4873842" y="1424915"/>
                  <a:pt x="4872675" y="1419611"/>
                </a:cubicBezTo>
                <a:cubicBezTo>
                  <a:pt x="4872675" y="1419611"/>
                  <a:pt x="4883285" y="1417270"/>
                  <a:pt x="4882118" y="1411966"/>
                </a:cubicBezTo>
                <a:cubicBezTo>
                  <a:pt x="4884187" y="1408728"/>
                  <a:pt x="4855328" y="1403967"/>
                  <a:pt x="4888324" y="1402253"/>
                </a:cubicBezTo>
                <a:cubicBezTo>
                  <a:pt x="4891559" y="1404320"/>
                  <a:pt x="4891559" y="1404320"/>
                  <a:pt x="4891559" y="1404320"/>
                </a:cubicBezTo>
                <a:cubicBezTo>
                  <a:pt x="4886255" y="1405491"/>
                  <a:pt x="4886255" y="1405491"/>
                  <a:pt x="4886255" y="1405491"/>
                </a:cubicBezTo>
                <a:cubicBezTo>
                  <a:pt x="4886255" y="1405491"/>
                  <a:pt x="4886255" y="1405491"/>
                  <a:pt x="4889490" y="1407558"/>
                </a:cubicBezTo>
                <a:cubicBezTo>
                  <a:pt x="4889490" y="1407558"/>
                  <a:pt x="4892727" y="1409625"/>
                  <a:pt x="4892727" y="1409625"/>
                </a:cubicBezTo>
                <a:cubicBezTo>
                  <a:pt x="4894796" y="1406388"/>
                  <a:pt x="4898033" y="1408456"/>
                  <a:pt x="4898033" y="1408456"/>
                </a:cubicBezTo>
                <a:cubicBezTo>
                  <a:pt x="4900100" y="1405217"/>
                  <a:pt x="4900100" y="1405217"/>
                  <a:pt x="4900100" y="1405217"/>
                </a:cubicBezTo>
                <a:cubicBezTo>
                  <a:pt x="4895962" y="1411694"/>
                  <a:pt x="4928960" y="1409979"/>
                  <a:pt x="4925723" y="1407911"/>
                </a:cubicBezTo>
                <a:cubicBezTo>
                  <a:pt x="4922487" y="1405843"/>
                  <a:pt x="4922487" y="1405843"/>
                  <a:pt x="4922487" y="1405843"/>
                </a:cubicBezTo>
                <a:cubicBezTo>
                  <a:pt x="4922487" y="1405843"/>
                  <a:pt x="4925723" y="1407911"/>
                  <a:pt x="4931029" y="1406740"/>
                </a:cubicBezTo>
                <a:cubicBezTo>
                  <a:pt x="4931029" y="1406740"/>
                  <a:pt x="4936333" y="1405571"/>
                  <a:pt x="4936333" y="1405571"/>
                </a:cubicBezTo>
                <a:cubicBezTo>
                  <a:pt x="4936333" y="1405571"/>
                  <a:pt x="4938400" y="1402333"/>
                  <a:pt x="4933097" y="1403503"/>
                </a:cubicBezTo>
                <a:cubicBezTo>
                  <a:pt x="4933097" y="1403503"/>
                  <a:pt x="4929860" y="1401436"/>
                  <a:pt x="4929860" y="1401436"/>
                </a:cubicBezTo>
                <a:cubicBezTo>
                  <a:pt x="4952247" y="1402061"/>
                  <a:pt x="5017069" y="1393327"/>
                  <a:pt x="5035319" y="1400428"/>
                </a:cubicBezTo>
                <a:cubicBezTo>
                  <a:pt x="5017335" y="1407174"/>
                  <a:pt x="5001421" y="1410686"/>
                  <a:pt x="5003757" y="1421295"/>
                </a:cubicBezTo>
                <a:cubicBezTo>
                  <a:pt x="5009061" y="1420125"/>
                  <a:pt x="5031447" y="1420751"/>
                  <a:pt x="5019937" y="1431633"/>
                </a:cubicBezTo>
                <a:cubicBezTo>
                  <a:pt x="5042322" y="1432260"/>
                  <a:pt x="5059404" y="1434055"/>
                  <a:pt x="5076486" y="1435850"/>
                </a:cubicBezTo>
                <a:cubicBezTo>
                  <a:pt x="5078555" y="1432613"/>
                  <a:pt x="5066777" y="1429647"/>
                  <a:pt x="5077387" y="1427307"/>
                </a:cubicBezTo>
                <a:cubicBezTo>
                  <a:pt x="5095634" y="1434408"/>
                  <a:pt x="5111551" y="1430898"/>
                  <a:pt x="5135105" y="1436828"/>
                </a:cubicBezTo>
                <a:cubicBezTo>
                  <a:pt x="5163696" y="1427741"/>
                  <a:pt x="5185180" y="1436909"/>
                  <a:pt x="5236425" y="1442296"/>
                </a:cubicBezTo>
                <a:cubicBezTo>
                  <a:pt x="5232286" y="1448771"/>
                  <a:pt x="5240829" y="1449670"/>
                  <a:pt x="5238761" y="1452907"/>
                </a:cubicBezTo>
                <a:cubicBezTo>
                  <a:pt x="5281464" y="1457396"/>
                  <a:pt x="5320029" y="1468360"/>
                  <a:pt x="5360662" y="1476084"/>
                </a:cubicBezTo>
                <a:cubicBezTo>
                  <a:pt x="5399231" y="1487050"/>
                  <a:pt x="5437796" y="1498013"/>
                  <a:pt x="5468724" y="1499537"/>
                </a:cubicBezTo>
                <a:cubicBezTo>
                  <a:pt x="5451641" y="1497740"/>
                  <a:pt x="5467555" y="1494231"/>
                  <a:pt x="5476098" y="1495129"/>
                </a:cubicBezTo>
                <a:cubicBezTo>
                  <a:pt x="5485804" y="1501332"/>
                  <a:pt x="5508191" y="1501957"/>
                  <a:pt x="5500817" y="1506365"/>
                </a:cubicBezTo>
                <a:cubicBezTo>
                  <a:pt x="5532913" y="1513193"/>
                  <a:pt x="5544686" y="1516158"/>
                  <a:pt x="5580018" y="1525055"/>
                </a:cubicBezTo>
                <a:cubicBezTo>
                  <a:pt x="5589726" y="1531258"/>
                  <a:pt x="5596198" y="1535394"/>
                  <a:pt x="5605907" y="1541597"/>
                </a:cubicBezTo>
                <a:cubicBezTo>
                  <a:pt x="5619753" y="1541324"/>
                  <a:pt x="5638000" y="1548424"/>
                  <a:pt x="5656251" y="1555525"/>
                </a:cubicBezTo>
                <a:cubicBezTo>
                  <a:pt x="5672428" y="1565863"/>
                  <a:pt x="5687443" y="1570897"/>
                  <a:pt x="5698051" y="1568557"/>
                </a:cubicBezTo>
                <a:cubicBezTo>
                  <a:pt x="5698051" y="1568557"/>
                  <a:pt x="5698051" y="1568557"/>
                  <a:pt x="5700120" y="1565319"/>
                </a:cubicBezTo>
                <a:cubicBezTo>
                  <a:pt x="5693649" y="1561183"/>
                  <a:pt x="5690413" y="1559116"/>
                  <a:pt x="5683939" y="1554980"/>
                </a:cubicBezTo>
                <a:cubicBezTo>
                  <a:pt x="5667760" y="1544641"/>
                  <a:pt x="5649511" y="1537542"/>
                  <a:pt x="5629194" y="1533678"/>
                </a:cubicBezTo>
                <a:cubicBezTo>
                  <a:pt x="5599168" y="1523612"/>
                  <a:pt x="5569143" y="1513547"/>
                  <a:pt x="5543521" y="1510854"/>
                </a:cubicBezTo>
                <a:cubicBezTo>
                  <a:pt x="5540285" y="1508785"/>
                  <a:pt x="5528508" y="1505821"/>
                  <a:pt x="5527341" y="1500515"/>
                </a:cubicBezTo>
                <a:cubicBezTo>
                  <a:pt x="5467555" y="1494231"/>
                  <a:pt x="5440501" y="1472384"/>
                  <a:pt x="5386922" y="1456387"/>
                </a:cubicBezTo>
                <a:cubicBezTo>
                  <a:pt x="5324167" y="1461883"/>
                  <a:pt x="5262949" y="1436447"/>
                  <a:pt x="5172236" y="1428639"/>
                </a:cubicBezTo>
                <a:cubicBezTo>
                  <a:pt x="5179611" y="1424231"/>
                  <a:pt x="5161362" y="1417130"/>
                  <a:pt x="5163429" y="1413892"/>
                </a:cubicBezTo>
                <a:cubicBezTo>
                  <a:pt x="5146348" y="1412097"/>
                  <a:pt x="5129268" y="1410302"/>
                  <a:pt x="5112186" y="1408507"/>
                </a:cubicBezTo>
                <a:cubicBezTo>
                  <a:pt x="5117489" y="1407337"/>
                  <a:pt x="5117489" y="1407337"/>
                  <a:pt x="5117489" y="1407337"/>
                </a:cubicBezTo>
                <a:cubicBezTo>
                  <a:pt x="5122797" y="1406166"/>
                  <a:pt x="5122797" y="1406166"/>
                  <a:pt x="5122797" y="1406166"/>
                </a:cubicBezTo>
                <a:cubicBezTo>
                  <a:pt x="5119559" y="1404099"/>
                  <a:pt x="5116323" y="1402032"/>
                  <a:pt x="5113087" y="1399963"/>
                </a:cubicBezTo>
                <a:cubicBezTo>
                  <a:pt x="5107782" y="1401134"/>
                  <a:pt x="5107782" y="1401134"/>
                  <a:pt x="5107782" y="1401134"/>
                </a:cubicBezTo>
                <a:cubicBezTo>
                  <a:pt x="5107782" y="1401134"/>
                  <a:pt x="5107782" y="1401134"/>
                  <a:pt x="5105715" y="1404371"/>
                </a:cubicBezTo>
                <a:cubicBezTo>
                  <a:pt x="5098075" y="1394931"/>
                  <a:pt x="5061843" y="1394577"/>
                  <a:pt x="5017069" y="1393327"/>
                </a:cubicBezTo>
                <a:cubicBezTo>
                  <a:pt x="4972299" y="1392076"/>
                  <a:pt x="4916918" y="1393166"/>
                  <a:pt x="4872144" y="1391914"/>
                </a:cubicBezTo>
                <a:cubicBezTo>
                  <a:pt x="4855061" y="1390119"/>
                  <a:pt x="4841217" y="1390391"/>
                  <a:pt x="4827373" y="1390663"/>
                </a:cubicBezTo>
                <a:close/>
                <a:moveTo>
                  <a:pt x="6010071" y="1385873"/>
                </a:moveTo>
                <a:lnTo>
                  <a:pt x="6017070" y="1388666"/>
                </a:lnTo>
                <a:lnTo>
                  <a:pt x="6017071" y="1389431"/>
                </a:lnTo>
                <a:close/>
                <a:moveTo>
                  <a:pt x="6017071" y="1385018"/>
                </a:moveTo>
                <a:cubicBezTo>
                  <a:pt x="6021485" y="1389430"/>
                  <a:pt x="6025895" y="1393844"/>
                  <a:pt x="6030310" y="1393844"/>
                </a:cubicBezTo>
                <a:lnTo>
                  <a:pt x="6032096" y="1395631"/>
                </a:lnTo>
                <a:lnTo>
                  <a:pt x="6025895" y="1392190"/>
                </a:lnTo>
                <a:lnTo>
                  <a:pt x="6017070" y="1388666"/>
                </a:lnTo>
                <a:close/>
                <a:moveTo>
                  <a:pt x="6102027" y="1366261"/>
                </a:moveTo>
                <a:cubicBezTo>
                  <a:pt x="6103130" y="1367365"/>
                  <a:pt x="6103130" y="1369571"/>
                  <a:pt x="6100923" y="1371777"/>
                </a:cubicBezTo>
                <a:cubicBezTo>
                  <a:pt x="6100923" y="1367365"/>
                  <a:pt x="6100923" y="1367365"/>
                  <a:pt x="6096509" y="1367364"/>
                </a:cubicBezTo>
                <a:cubicBezTo>
                  <a:pt x="6098715" y="1365158"/>
                  <a:pt x="6100922" y="1365158"/>
                  <a:pt x="6102027" y="1366261"/>
                </a:cubicBezTo>
                <a:close/>
                <a:moveTo>
                  <a:pt x="8033215" y="1346577"/>
                </a:moveTo>
                <a:lnTo>
                  <a:pt x="8031841" y="1350007"/>
                </a:lnTo>
                <a:lnTo>
                  <a:pt x="8037040" y="1346609"/>
                </a:lnTo>
                <a:close/>
                <a:moveTo>
                  <a:pt x="169856" y="1343418"/>
                </a:moveTo>
                <a:cubicBezTo>
                  <a:pt x="172479" y="1343212"/>
                  <a:pt x="174845" y="1343418"/>
                  <a:pt x="175669" y="1344856"/>
                </a:cubicBezTo>
                <a:cubicBezTo>
                  <a:pt x="180607" y="1353075"/>
                  <a:pt x="193362" y="1349787"/>
                  <a:pt x="196243" y="1360883"/>
                </a:cubicBezTo>
                <a:cubicBezTo>
                  <a:pt x="197065" y="1364171"/>
                  <a:pt x="202825" y="1366225"/>
                  <a:pt x="197477" y="1370746"/>
                </a:cubicBezTo>
                <a:cubicBezTo>
                  <a:pt x="195831" y="1371979"/>
                  <a:pt x="196243" y="1374444"/>
                  <a:pt x="197887" y="1374854"/>
                </a:cubicBezTo>
                <a:cubicBezTo>
                  <a:pt x="204472" y="1377321"/>
                  <a:pt x="204061" y="1381020"/>
                  <a:pt x="199945" y="1385950"/>
                </a:cubicBezTo>
                <a:cubicBezTo>
                  <a:pt x="198710" y="1387595"/>
                  <a:pt x="200357" y="1389649"/>
                  <a:pt x="201180" y="1391293"/>
                </a:cubicBezTo>
                <a:cubicBezTo>
                  <a:pt x="202825" y="1393759"/>
                  <a:pt x="203237" y="1396225"/>
                  <a:pt x="200768" y="1398280"/>
                </a:cubicBezTo>
                <a:cubicBezTo>
                  <a:pt x="198299" y="1400334"/>
                  <a:pt x="198710" y="1402799"/>
                  <a:pt x="197887" y="1405266"/>
                </a:cubicBezTo>
                <a:cubicBezTo>
                  <a:pt x="195831" y="1411429"/>
                  <a:pt x="193362" y="1419238"/>
                  <a:pt x="188836" y="1422115"/>
                </a:cubicBezTo>
                <a:cubicBezTo>
                  <a:pt x="178960" y="1428279"/>
                  <a:pt x="169496" y="1434854"/>
                  <a:pt x="159620" y="1440607"/>
                </a:cubicBezTo>
                <a:cubicBezTo>
                  <a:pt x="158798" y="1440607"/>
                  <a:pt x="157152" y="1440607"/>
                  <a:pt x="156741" y="1439785"/>
                </a:cubicBezTo>
                <a:cubicBezTo>
                  <a:pt x="152626" y="1436086"/>
                  <a:pt x="148923" y="1432800"/>
                  <a:pt x="143574" y="1438141"/>
                </a:cubicBezTo>
                <a:cubicBezTo>
                  <a:pt x="141928" y="1440196"/>
                  <a:pt x="140693" y="1438141"/>
                  <a:pt x="140282" y="1436497"/>
                </a:cubicBezTo>
                <a:cubicBezTo>
                  <a:pt x="139047" y="1429512"/>
                  <a:pt x="135755" y="1429512"/>
                  <a:pt x="130817" y="1433622"/>
                </a:cubicBezTo>
                <a:cubicBezTo>
                  <a:pt x="127526" y="1436497"/>
                  <a:pt x="125880" y="1435676"/>
                  <a:pt x="125880" y="1431566"/>
                </a:cubicBezTo>
                <a:cubicBezTo>
                  <a:pt x="125880" y="1429101"/>
                  <a:pt x="126703" y="1426223"/>
                  <a:pt x="122999" y="1425812"/>
                </a:cubicBezTo>
                <a:cubicBezTo>
                  <a:pt x="114770" y="1424169"/>
                  <a:pt x="111479" y="1418416"/>
                  <a:pt x="111889" y="1411019"/>
                </a:cubicBezTo>
                <a:cubicBezTo>
                  <a:pt x="112300" y="1405677"/>
                  <a:pt x="110656" y="1403210"/>
                  <a:pt x="106952" y="1401156"/>
                </a:cubicBezTo>
                <a:cubicBezTo>
                  <a:pt x="106952" y="1399512"/>
                  <a:pt x="106952" y="1397870"/>
                  <a:pt x="106952" y="1396225"/>
                </a:cubicBezTo>
                <a:cubicBezTo>
                  <a:pt x="111067" y="1393759"/>
                  <a:pt x="112300" y="1389238"/>
                  <a:pt x="111067" y="1385129"/>
                </a:cubicBezTo>
                <a:cubicBezTo>
                  <a:pt x="109010" y="1377732"/>
                  <a:pt x="111479" y="1371979"/>
                  <a:pt x="116828" y="1367047"/>
                </a:cubicBezTo>
                <a:cubicBezTo>
                  <a:pt x="118885" y="1364993"/>
                  <a:pt x="120942" y="1363348"/>
                  <a:pt x="121765" y="1360473"/>
                </a:cubicBezTo>
                <a:cubicBezTo>
                  <a:pt x="122588" y="1355952"/>
                  <a:pt x="125057" y="1353486"/>
                  <a:pt x="129583" y="1353897"/>
                </a:cubicBezTo>
                <a:cubicBezTo>
                  <a:pt x="132875" y="1353897"/>
                  <a:pt x="135344" y="1351843"/>
                  <a:pt x="136579" y="1350198"/>
                </a:cubicBezTo>
                <a:cubicBezTo>
                  <a:pt x="140076" y="1345266"/>
                  <a:pt x="144397" y="1344136"/>
                  <a:pt x="148923" y="1344085"/>
                </a:cubicBezTo>
                <a:cubicBezTo>
                  <a:pt x="153449" y="1344034"/>
                  <a:pt x="158182" y="1345062"/>
                  <a:pt x="162501" y="1344445"/>
                </a:cubicBezTo>
                <a:cubicBezTo>
                  <a:pt x="164352" y="1344240"/>
                  <a:pt x="167233" y="1343623"/>
                  <a:pt x="169856" y="1343418"/>
                </a:cubicBezTo>
                <a:close/>
                <a:moveTo>
                  <a:pt x="977648" y="1343134"/>
                </a:moveTo>
                <a:cubicBezTo>
                  <a:pt x="981026" y="1343173"/>
                  <a:pt x="984251" y="1344016"/>
                  <a:pt x="986861" y="1347698"/>
                </a:cubicBezTo>
                <a:cubicBezTo>
                  <a:pt x="987782" y="1348924"/>
                  <a:pt x="989626" y="1350458"/>
                  <a:pt x="992081" y="1350458"/>
                </a:cubicBezTo>
                <a:cubicBezTo>
                  <a:pt x="995461" y="1350151"/>
                  <a:pt x="997304" y="1351993"/>
                  <a:pt x="997918" y="1355367"/>
                </a:cubicBezTo>
                <a:cubicBezTo>
                  <a:pt x="998532" y="1357513"/>
                  <a:pt x="1000068" y="1358740"/>
                  <a:pt x="1001603" y="1360274"/>
                </a:cubicBezTo>
                <a:cubicBezTo>
                  <a:pt x="1005596" y="1363953"/>
                  <a:pt x="1007438" y="1368248"/>
                  <a:pt x="1005903" y="1373770"/>
                </a:cubicBezTo>
                <a:cubicBezTo>
                  <a:pt x="1004983" y="1376837"/>
                  <a:pt x="1005903" y="1380211"/>
                  <a:pt x="1008974" y="1382053"/>
                </a:cubicBezTo>
                <a:cubicBezTo>
                  <a:pt x="1008974" y="1383278"/>
                  <a:pt x="1008974" y="1384505"/>
                  <a:pt x="1008974" y="1385733"/>
                </a:cubicBezTo>
                <a:cubicBezTo>
                  <a:pt x="1006211" y="1387266"/>
                  <a:pt x="1004983" y="1389107"/>
                  <a:pt x="1005288" y="1393094"/>
                </a:cubicBezTo>
                <a:cubicBezTo>
                  <a:pt x="1005596" y="1398615"/>
                  <a:pt x="1003139" y="1402910"/>
                  <a:pt x="996996" y="1404138"/>
                </a:cubicBezTo>
                <a:cubicBezTo>
                  <a:pt x="994233" y="1404444"/>
                  <a:pt x="994847" y="1406591"/>
                  <a:pt x="994847" y="1408431"/>
                </a:cubicBezTo>
                <a:cubicBezTo>
                  <a:pt x="994847" y="1411499"/>
                  <a:pt x="993617" y="1412112"/>
                  <a:pt x="991161" y="1409964"/>
                </a:cubicBezTo>
                <a:cubicBezTo>
                  <a:pt x="987474" y="1406898"/>
                  <a:pt x="985019" y="1406898"/>
                  <a:pt x="984097" y="1412112"/>
                </a:cubicBezTo>
                <a:cubicBezTo>
                  <a:pt x="983789" y="1413338"/>
                  <a:pt x="982869" y="1414873"/>
                  <a:pt x="981639" y="1413338"/>
                </a:cubicBezTo>
                <a:cubicBezTo>
                  <a:pt x="977647" y="1409351"/>
                  <a:pt x="974883" y="1411806"/>
                  <a:pt x="971812" y="1414566"/>
                </a:cubicBezTo>
                <a:cubicBezTo>
                  <a:pt x="971505" y="1415180"/>
                  <a:pt x="970276" y="1415180"/>
                  <a:pt x="969662" y="1415180"/>
                </a:cubicBezTo>
                <a:cubicBezTo>
                  <a:pt x="962291" y="1410886"/>
                  <a:pt x="955227" y="1405977"/>
                  <a:pt x="947856" y="1401375"/>
                </a:cubicBezTo>
                <a:cubicBezTo>
                  <a:pt x="944477" y="1399228"/>
                  <a:pt x="942636" y="1393402"/>
                  <a:pt x="941100" y="1388800"/>
                </a:cubicBezTo>
                <a:cubicBezTo>
                  <a:pt x="940484" y="1386960"/>
                  <a:pt x="940792" y="1385119"/>
                  <a:pt x="938949" y="1383586"/>
                </a:cubicBezTo>
                <a:cubicBezTo>
                  <a:pt x="937106" y="1382053"/>
                  <a:pt x="937413" y="1380211"/>
                  <a:pt x="938642" y="1378371"/>
                </a:cubicBezTo>
                <a:cubicBezTo>
                  <a:pt x="939257" y="1377144"/>
                  <a:pt x="940484" y="1375611"/>
                  <a:pt x="939564" y="1374384"/>
                </a:cubicBezTo>
                <a:cubicBezTo>
                  <a:pt x="936493" y="1370703"/>
                  <a:pt x="936185" y="1367942"/>
                  <a:pt x="941100" y="1366101"/>
                </a:cubicBezTo>
                <a:cubicBezTo>
                  <a:pt x="942328" y="1365795"/>
                  <a:pt x="942636" y="1363953"/>
                  <a:pt x="941406" y="1363034"/>
                </a:cubicBezTo>
                <a:cubicBezTo>
                  <a:pt x="937413" y="1359660"/>
                  <a:pt x="941714" y="1358127"/>
                  <a:pt x="942328" y="1355672"/>
                </a:cubicBezTo>
                <a:cubicBezTo>
                  <a:pt x="944477" y="1347391"/>
                  <a:pt x="953999" y="1349845"/>
                  <a:pt x="957685" y="1343709"/>
                </a:cubicBezTo>
                <a:cubicBezTo>
                  <a:pt x="958913" y="1341562"/>
                  <a:pt x="964748" y="1343096"/>
                  <a:pt x="967513" y="1343404"/>
                </a:cubicBezTo>
                <a:cubicBezTo>
                  <a:pt x="970737" y="1343864"/>
                  <a:pt x="974270" y="1343096"/>
                  <a:pt x="977648" y="1343134"/>
                </a:cubicBezTo>
                <a:close/>
                <a:moveTo>
                  <a:pt x="8369829" y="1337567"/>
                </a:moveTo>
                <a:lnTo>
                  <a:pt x="8369629" y="1337966"/>
                </a:lnTo>
                <a:cubicBezTo>
                  <a:pt x="8368950" y="1338797"/>
                  <a:pt x="8367801" y="1339523"/>
                  <a:pt x="8365928" y="1339098"/>
                </a:cubicBezTo>
                <a:close/>
                <a:moveTo>
                  <a:pt x="1901444" y="1325150"/>
                </a:moveTo>
                <a:cubicBezTo>
                  <a:pt x="1905695" y="1325102"/>
                  <a:pt x="1910138" y="1326067"/>
                  <a:pt x="1914194" y="1325488"/>
                </a:cubicBezTo>
                <a:cubicBezTo>
                  <a:pt x="1917671" y="1325102"/>
                  <a:pt x="1925012" y="1323172"/>
                  <a:pt x="1926558" y="1325873"/>
                </a:cubicBezTo>
                <a:cubicBezTo>
                  <a:pt x="1931194" y="1333591"/>
                  <a:pt x="1943172" y="1330503"/>
                  <a:pt x="1945877" y="1340922"/>
                </a:cubicBezTo>
                <a:cubicBezTo>
                  <a:pt x="1946648" y="1344009"/>
                  <a:pt x="1952058" y="1345939"/>
                  <a:pt x="1947036" y="1350184"/>
                </a:cubicBezTo>
                <a:cubicBezTo>
                  <a:pt x="1945490" y="1351342"/>
                  <a:pt x="1945877" y="1353656"/>
                  <a:pt x="1947421" y="1354042"/>
                </a:cubicBezTo>
                <a:cubicBezTo>
                  <a:pt x="1953604" y="1356357"/>
                  <a:pt x="1953218" y="1359831"/>
                  <a:pt x="1949353" y="1364460"/>
                </a:cubicBezTo>
                <a:cubicBezTo>
                  <a:pt x="1948194" y="1366004"/>
                  <a:pt x="1949740" y="1367934"/>
                  <a:pt x="1950513" y="1369477"/>
                </a:cubicBezTo>
                <a:cubicBezTo>
                  <a:pt x="1952058" y="1371793"/>
                  <a:pt x="1952445" y="1374108"/>
                  <a:pt x="1950126" y="1376038"/>
                </a:cubicBezTo>
                <a:cubicBezTo>
                  <a:pt x="1947808" y="1377966"/>
                  <a:pt x="1948194" y="1380282"/>
                  <a:pt x="1947421" y="1382597"/>
                </a:cubicBezTo>
                <a:cubicBezTo>
                  <a:pt x="1945490" y="1388385"/>
                  <a:pt x="1943172" y="1395717"/>
                  <a:pt x="1938921" y="1398419"/>
                </a:cubicBezTo>
                <a:cubicBezTo>
                  <a:pt x="1929649" y="1404206"/>
                  <a:pt x="1920762" y="1410381"/>
                  <a:pt x="1911489" y="1415783"/>
                </a:cubicBezTo>
                <a:cubicBezTo>
                  <a:pt x="1910717" y="1415783"/>
                  <a:pt x="1909171" y="1415783"/>
                  <a:pt x="1908785" y="1415011"/>
                </a:cubicBezTo>
                <a:cubicBezTo>
                  <a:pt x="1904921" y="1411537"/>
                  <a:pt x="1901444" y="1408451"/>
                  <a:pt x="1896421" y="1413467"/>
                </a:cubicBezTo>
                <a:cubicBezTo>
                  <a:pt x="1894876" y="1415397"/>
                  <a:pt x="1893716" y="1413467"/>
                  <a:pt x="1893330" y="1411923"/>
                </a:cubicBezTo>
                <a:cubicBezTo>
                  <a:pt x="1892171" y="1405364"/>
                  <a:pt x="1889080" y="1405364"/>
                  <a:pt x="1884443" y="1409223"/>
                </a:cubicBezTo>
                <a:cubicBezTo>
                  <a:pt x="1881353" y="1411923"/>
                  <a:pt x="1879807" y="1411153"/>
                  <a:pt x="1879807" y="1407294"/>
                </a:cubicBezTo>
                <a:cubicBezTo>
                  <a:pt x="1879807" y="1404978"/>
                  <a:pt x="1880580" y="1402277"/>
                  <a:pt x="1877102" y="1401891"/>
                </a:cubicBezTo>
                <a:cubicBezTo>
                  <a:pt x="1869375" y="1400347"/>
                  <a:pt x="1866284" y="1394945"/>
                  <a:pt x="1866670" y="1387999"/>
                </a:cubicBezTo>
                <a:cubicBezTo>
                  <a:pt x="1867056" y="1382983"/>
                  <a:pt x="1865512" y="1380668"/>
                  <a:pt x="1862034" y="1378738"/>
                </a:cubicBezTo>
                <a:cubicBezTo>
                  <a:pt x="1862034" y="1377194"/>
                  <a:pt x="1862034" y="1375652"/>
                  <a:pt x="1862034" y="1374108"/>
                </a:cubicBezTo>
                <a:cubicBezTo>
                  <a:pt x="1865897" y="1371793"/>
                  <a:pt x="1867056" y="1367548"/>
                  <a:pt x="1865897" y="1363690"/>
                </a:cubicBezTo>
                <a:cubicBezTo>
                  <a:pt x="1863966" y="1356743"/>
                  <a:pt x="1866284" y="1351342"/>
                  <a:pt x="1871307" y="1346711"/>
                </a:cubicBezTo>
                <a:cubicBezTo>
                  <a:pt x="1873239" y="1344781"/>
                  <a:pt x="1875170" y="1343237"/>
                  <a:pt x="1875943" y="1340537"/>
                </a:cubicBezTo>
                <a:cubicBezTo>
                  <a:pt x="1876716" y="1336292"/>
                  <a:pt x="1879034" y="1333977"/>
                  <a:pt x="1883284" y="1334362"/>
                </a:cubicBezTo>
                <a:cubicBezTo>
                  <a:pt x="1886375" y="1334362"/>
                  <a:pt x="1888694" y="1332433"/>
                  <a:pt x="1889853" y="1330889"/>
                </a:cubicBezTo>
                <a:cubicBezTo>
                  <a:pt x="1893137" y="1326259"/>
                  <a:pt x="1897194" y="1325198"/>
                  <a:pt x="1901444" y="1325150"/>
                </a:cubicBezTo>
                <a:close/>
                <a:moveTo>
                  <a:pt x="2679609" y="1324257"/>
                </a:moveTo>
                <a:cubicBezTo>
                  <a:pt x="2682781" y="1324293"/>
                  <a:pt x="2685809" y="1325085"/>
                  <a:pt x="2688260" y="1328541"/>
                </a:cubicBezTo>
                <a:cubicBezTo>
                  <a:pt x="2689125" y="1329693"/>
                  <a:pt x="2690856" y="1331133"/>
                  <a:pt x="2693162" y="1331133"/>
                </a:cubicBezTo>
                <a:cubicBezTo>
                  <a:pt x="2696335" y="1330845"/>
                  <a:pt x="2698066" y="1332574"/>
                  <a:pt x="2698642" y="1335742"/>
                </a:cubicBezTo>
                <a:cubicBezTo>
                  <a:pt x="2699219" y="1337758"/>
                  <a:pt x="2700661" y="1338910"/>
                  <a:pt x="2702103" y="1340350"/>
                </a:cubicBezTo>
                <a:cubicBezTo>
                  <a:pt x="2705852" y="1343806"/>
                  <a:pt x="2707582" y="1347839"/>
                  <a:pt x="2706140" y="1353023"/>
                </a:cubicBezTo>
                <a:cubicBezTo>
                  <a:pt x="2705275" y="1355904"/>
                  <a:pt x="2706140" y="1359072"/>
                  <a:pt x="2709024" y="1360800"/>
                </a:cubicBezTo>
                <a:cubicBezTo>
                  <a:pt x="2709024" y="1361951"/>
                  <a:pt x="2709024" y="1363104"/>
                  <a:pt x="2709024" y="1364256"/>
                </a:cubicBezTo>
                <a:cubicBezTo>
                  <a:pt x="2706429" y="1365696"/>
                  <a:pt x="2705275" y="1367424"/>
                  <a:pt x="2705563" y="1371169"/>
                </a:cubicBezTo>
                <a:cubicBezTo>
                  <a:pt x="2705852" y="1376353"/>
                  <a:pt x="2703545" y="1380386"/>
                  <a:pt x="2697777" y="1381538"/>
                </a:cubicBezTo>
                <a:cubicBezTo>
                  <a:pt x="2695182" y="1381825"/>
                  <a:pt x="2695759" y="1383841"/>
                  <a:pt x="2695759" y="1385570"/>
                </a:cubicBezTo>
                <a:cubicBezTo>
                  <a:pt x="2695759" y="1388450"/>
                  <a:pt x="2694604" y="1389027"/>
                  <a:pt x="2692298" y="1387010"/>
                </a:cubicBezTo>
                <a:cubicBezTo>
                  <a:pt x="2688836" y="1384130"/>
                  <a:pt x="2686530" y="1384130"/>
                  <a:pt x="2685665" y="1389027"/>
                </a:cubicBezTo>
                <a:cubicBezTo>
                  <a:pt x="2685376" y="1390178"/>
                  <a:pt x="2684512" y="1391619"/>
                  <a:pt x="2683357" y="1390178"/>
                </a:cubicBezTo>
                <a:cubicBezTo>
                  <a:pt x="2679608" y="1386433"/>
                  <a:pt x="2677013" y="1388738"/>
                  <a:pt x="2674129" y="1391330"/>
                </a:cubicBezTo>
                <a:cubicBezTo>
                  <a:pt x="2673840" y="1391906"/>
                  <a:pt x="2672687" y="1391906"/>
                  <a:pt x="2672110" y="1391906"/>
                </a:cubicBezTo>
                <a:cubicBezTo>
                  <a:pt x="2665189" y="1387874"/>
                  <a:pt x="2658556" y="1383265"/>
                  <a:pt x="2651635" y="1378945"/>
                </a:cubicBezTo>
                <a:cubicBezTo>
                  <a:pt x="2648462" y="1376929"/>
                  <a:pt x="2646733" y="1371457"/>
                  <a:pt x="2645291" y="1367137"/>
                </a:cubicBezTo>
                <a:cubicBezTo>
                  <a:pt x="2644713" y="1365408"/>
                  <a:pt x="2645002" y="1363680"/>
                  <a:pt x="2643271" y="1362240"/>
                </a:cubicBezTo>
                <a:cubicBezTo>
                  <a:pt x="2641541" y="1360800"/>
                  <a:pt x="2641829" y="1359072"/>
                  <a:pt x="2642983" y="1357343"/>
                </a:cubicBezTo>
                <a:cubicBezTo>
                  <a:pt x="2643560" y="1356191"/>
                  <a:pt x="2644713" y="1354751"/>
                  <a:pt x="2643849" y="1353599"/>
                </a:cubicBezTo>
                <a:cubicBezTo>
                  <a:pt x="2640965" y="1350143"/>
                  <a:pt x="2640676" y="1347550"/>
                  <a:pt x="2645291" y="1345823"/>
                </a:cubicBezTo>
                <a:cubicBezTo>
                  <a:pt x="2646444" y="1345534"/>
                  <a:pt x="2646733" y="1343806"/>
                  <a:pt x="2645578" y="1342942"/>
                </a:cubicBezTo>
                <a:cubicBezTo>
                  <a:pt x="2641829" y="1339774"/>
                  <a:pt x="2645867" y="1338334"/>
                  <a:pt x="2646444" y="1336030"/>
                </a:cubicBezTo>
                <a:cubicBezTo>
                  <a:pt x="2648462" y="1328253"/>
                  <a:pt x="2657403" y="1330557"/>
                  <a:pt x="2660864" y="1324797"/>
                </a:cubicBezTo>
                <a:cubicBezTo>
                  <a:pt x="2662017" y="1322781"/>
                  <a:pt x="2667496" y="1324220"/>
                  <a:pt x="2670092" y="1324509"/>
                </a:cubicBezTo>
                <a:cubicBezTo>
                  <a:pt x="2673120" y="1324941"/>
                  <a:pt x="2676437" y="1324221"/>
                  <a:pt x="2679609" y="1324257"/>
                </a:cubicBezTo>
                <a:close/>
                <a:moveTo>
                  <a:pt x="466848" y="1320313"/>
                </a:moveTo>
                <a:cubicBezTo>
                  <a:pt x="469992" y="1320348"/>
                  <a:pt x="472992" y="1321133"/>
                  <a:pt x="475421" y="1324559"/>
                </a:cubicBezTo>
                <a:cubicBezTo>
                  <a:pt x="476280" y="1325701"/>
                  <a:pt x="477994" y="1327128"/>
                  <a:pt x="480282" y="1327128"/>
                </a:cubicBezTo>
                <a:cubicBezTo>
                  <a:pt x="483424" y="1326842"/>
                  <a:pt x="485140" y="1328556"/>
                  <a:pt x="485711" y="1331694"/>
                </a:cubicBezTo>
                <a:cubicBezTo>
                  <a:pt x="486283" y="1333693"/>
                  <a:pt x="487712" y="1334834"/>
                  <a:pt x="489140" y="1336262"/>
                </a:cubicBezTo>
                <a:cubicBezTo>
                  <a:pt x="492857" y="1339687"/>
                  <a:pt x="494572" y="1343683"/>
                  <a:pt x="493142" y="1348821"/>
                </a:cubicBezTo>
                <a:cubicBezTo>
                  <a:pt x="492285" y="1351675"/>
                  <a:pt x="493142" y="1354816"/>
                  <a:pt x="496000" y="1356528"/>
                </a:cubicBezTo>
                <a:cubicBezTo>
                  <a:pt x="496000" y="1357670"/>
                  <a:pt x="496000" y="1358812"/>
                  <a:pt x="496000" y="1359953"/>
                </a:cubicBezTo>
                <a:cubicBezTo>
                  <a:pt x="493428" y="1361380"/>
                  <a:pt x="492285" y="1363094"/>
                  <a:pt x="492571" y="1366804"/>
                </a:cubicBezTo>
                <a:cubicBezTo>
                  <a:pt x="492857" y="1371942"/>
                  <a:pt x="490571" y="1375938"/>
                  <a:pt x="484854" y="1377080"/>
                </a:cubicBezTo>
                <a:cubicBezTo>
                  <a:pt x="482282" y="1377365"/>
                  <a:pt x="482854" y="1379362"/>
                  <a:pt x="482854" y="1381076"/>
                </a:cubicBezTo>
                <a:cubicBezTo>
                  <a:pt x="482854" y="1383930"/>
                  <a:pt x="481710" y="1384501"/>
                  <a:pt x="479423" y="1382503"/>
                </a:cubicBezTo>
                <a:cubicBezTo>
                  <a:pt x="475993" y="1379649"/>
                  <a:pt x="473707" y="1379649"/>
                  <a:pt x="472849" y="1384501"/>
                </a:cubicBezTo>
                <a:cubicBezTo>
                  <a:pt x="472565" y="1385643"/>
                  <a:pt x="471707" y="1387071"/>
                  <a:pt x="470563" y="1385643"/>
                </a:cubicBezTo>
                <a:cubicBezTo>
                  <a:pt x="466848" y="1381932"/>
                  <a:pt x="464276" y="1384216"/>
                  <a:pt x="461418" y="1386785"/>
                </a:cubicBezTo>
                <a:cubicBezTo>
                  <a:pt x="461131" y="1387356"/>
                  <a:pt x="459988" y="1387356"/>
                  <a:pt x="459417" y="1387356"/>
                </a:cubicBezTo>
                <a:cubicBezTo>
                  <a:pt x="452557" y="1383360"/>
                  <a:pt x="445984" y="1378793"/>
                  <a:pt x="439125" y="1374512"/>
                </a:cubicBezTo>
                <a:cubicBezTo>
                  <a:pt x="435981" y="1372513"/>
                  <a:pt x="434266" y="1367090"/>
                  <a:pt x="432837" y="1362809"/>
                </a:cubicBezTo>
                <a:cubicBezTo>
                  <a:pt x="432266" y="1361096"/>
                  <a:pt x="432551" y="1359383"/>
                  <a:pt x="430836" y="1357955"/>
                </a:cubicBezTo>
                <a:cubicBezTo>
                  <a:pt x="429121" y="1356528"/>
                  <a:pt x="429407" y="1354816"/>
                  <a:pt x="430551" y="1353102"/>
                </a:cubicBezTo>
                <a:cubicBezTo>
                  <a:pt x="431123" y="1351961"/>
                  <a:pt x="432266" y="1350534"/>
                  <a:pt x="431408" y="1349392"/>
                </a:cubicBezTo>
                <a:cubicBezTo>
                  <a:pt x="428550" y="1345967"/>
                  <a:pt x="428264" y="1343397"/>
                  <a:pt x="432837" y="1341685"/>
                </a:cubicBezTo>
                <a:cubicBezTo>
                  <a:pt x="433981" y="1341399"/>
                  <a:pt x="434266" y="1339687"/>
                  <a:pt x="433123" y="1338832"/>
                </a:cubicBezTo>
                <a:cubicBezTo>
                  <a:pt x="429407" y="1335691"/>
                  <a:pt x="433409" y="1334264"/>
                  <a:pt x="433981" y="1331981"/>
                </a:cubicBezTo>
                <a:cubicBezTo>
                  <a:pt x="435981" y="1324274"/>
                  <a:pt x="444841" y="1326557"/>
                  <a:pt x="448271" y="1320848"/>
                </a:cubicBezTo>
                <a:cubicBezTo>
                  <a:pt x="449415" y="1318850"/>
                  <a:pt x="454845" y="1320278"/>
                  <a:pt x="457416" y="1320563"/>
                </a:cubicBezTo>
                <a:cubicBezTo>
                  <a:pt x="460417" y="1320990"/>
                  <a:pt x="463704" y="1320277"/>
                  <a:pt x="466848" y="1320313"/>
                </a:cubicBezTo>
                <a:close/>
                <a:moveTo>
                  <a:pt x="12191438" y="1309133"/>
                </a:moveTo>
                <a:lnTo>
                  <a:pt x="12192528" y="1309308"/>
                </a:lnTo>
                <a:lnTo>
                  <a:pt x="12192528" y="1309531"/>
                </a:lnTo>
                <a:close/>
                <a:moveTo>
                  <a:pt x="2199973" y="1302827"/>
                </a:moveTo>
                <a:cubicBezTo>
                  <a:pt x="2202925" y="1302860"/>
                  <a:pt x="2205742" y="1303598"/>
                  <a:pt x="2208023" y="1306814"/>
                </a:cubicBezTo>
                <a:cubicBezTo>
                  <a:pt x="2208829" y="1307886"/>
                  <a:pt x="2210439" y="1309227"/>
                  <a:pt x="2212587" y="1309227"/>
                </a:cubicBezTo>
                <a:cubicBezTo>
                  <a:pt x="2215538" y="1308959"/>
                  <a:pt x="2217149" y="1310567"/>
                  <a:pt x="2217685" y="1313514"/>
                </a:cubicBezTo>
                <a:cubicBezTo>
                  <a:pt x="2218222" y="1315391"/>
                  <a:pt x="2219564" y="1316463"/>
                  <a:pt x="2220905" y="1317803"/>
                </a:cubicBezTo>
                <a:cubicBezTo>
                  <a:pt x="2224395" y="1321019"/>
                  <a:pt x="2226005" y="1324771"/>
                  <a:pt x="2224662" y="1329596"/>
                </a:cubicBezTo>
                <a:cubicBezTo>
                  <a:pt x="2223858" y="1332277"/>
                  <a:pt x="2224662" y="1335225"/>
                  <a:pt x="2227346" y="1336833"/>
                </a:cubicBezTo>
                <a:cubicBezTo>
                  <a:pt x="2227346" y="1337906"/>
                  <a:pt x="2227346" y="1338977"/>
                  <a:pt x="2227346" y="1340049"/>
                </a:cubicBezTo>
                <a:cubicBezTo>
                  <a:pt x="2224931" y="1341390"/>
                  <a:pt x="2223858" y="1342998"/>
                  <a:pt x="2224126" y="1346482"/>
                </a:cubicBezTo>
                <a:cubicBezTo>
                  <a:pt x="2224395" y="1351307"/>
                  <a:pt x="2222247" y="1355059"/>
                  <a:pt x="2216880" y="1356131"/>
                </a:cubicBezTo>
                <a:cubicBezTo>
                  <a:pt x="2214465" y="1356399"/>
                  <a:pt x="2215001" y="1358275"/>
                  <a:pt x="2215001" y="1359883"/>
                </a:cubicBezTo>
                <a:cubicBezTo>
                  <a:pt x="2215001" y="1362564"/>
                  <a:pt x="2213928" y="1363099"/>
                  <a:pt x="2211781" y="1361223"/>
                </a:cubicBezTo>
                <a:cubicBezTo>
                  <a:pt x="2208560" y="1358544"/>
                  <a:pt x="2206413" y="1358544"/>
                  <a:pt x="2205608" y="1363099"/>
                </a:cubicBezTo>
                <a:cubicBezTo>
                  <a:pt x="2205341" y="1364172"/>
                  <a:pt x="2204535" y="1365512"/>
                  <a:pt x="2203461" y="1364172"/>
                </a:cubicBezTo>
                <a:cubicBezTo>
                  <a:pt x="2199973" y="1360688"/>
                  <a:pt x="2197558" y="1362831"/>
                  <a:pt x="2194874" y="1365244"/>
                </a:cubicBezTo>
                <a:cubicBezTo>
                  <a:pt x="2194605" y="1365780"/>
                  <a:pt x="2193531" y="1365780"/>
                  <a:pt x="2192995" y="1365780"/>
                </a:cubicBezTo>
                <a:cubicBezTo>
                  <a:pt x="2186554" y="1362028"/>
                  <a:pt x="2180382" y="1357739"/>
                  <a:pt x="2173941" y="1353719"/>
                </a:cubicBezTo>
                <a:cubicBezTo>
                  <a:pt x="2170989" y="1351842"/>
                  <a:pt x="2169378" y="1346750"/>
                  <a:pt x="2168037" y="1342730"/>
                </a:cubicBezTo>
                <a:cubicBezTo>
                  <a:pt x="2167500" y="1341122"/>
                  <a:pt x="2167768" y="1339514"/>
                  <a:pt x="2166158" y="1338173"/>
                </a:cubicBezTo>
                <a:cubicBezTo>
                  <a:pt x="2164547" y="1336833"/>
                  <a:pt x="2164816" y="1335225"/>
                  <a:pt x="2165890" y="1333617"/>
                </a:cubicBezTo>
                <a:cubicBezTo>
                  <a:pt x="2166427" y="1332544"/>
                  <a:pt x="2167500" y="1331204"/>
                  <a:pt x="2166695" y="1330133"/>
                </a:cubicBezTo>
                <a:cubicBezTo>
                  <a:pt x="2164011" y="1326916"/>
                  <a:pt x="2163743" y="1324504"/>
                  <a:pt x="2168037" y="1322895"/>
                </a:cubicBezTo>
                <a:cubicBezTo>
                  <a:pt x="2169111" y="1322628"/>
                  <a:pt x="2169378" y="1321019"/>
                  <a:pt x="2168305" y="1320216"/>
                </a:cubicBezTo>
                <a:cubicBezTo>
                  <a:pt x="2164816" y="1317267"/>
                  <a:pt x="2168574" y="1315927"/>
                  <a:pt x="2169111" y="1313783"/>
                </a:cubicBezTo>
                <a:cubicBezTo>
                  <a:pt x="2170989" y="1306546"/>
                  <a:pt x="2179308" y="1308690"/>
                  <a:pt x="2182529" y="1303330"/>
                </a:cubicBezTo>
                <a:cubicBezTo>
                  <a:pt x="2183603" y="1301454"/>
                  <a:pt x="2188701" y="1302794"/>
                  <a:pt x="2191116" y="1303062"/>
                </a:cubicBezTo>
                <a:cubicBezTo>
                  <a:pt x="2193934" y="1303464"/>
                  <a:pt x="2197021" y="1302793"/>
                  <a:pt x="2199973" y="1302827"/>
                </a:cubicBezTo>
                <a:close/>
                <a:moveTo>
                  <a:pt x="8123738" y="1295917"/>
                </a:moveTo>
                <a:lnTo>
                  <a:pt x="8118487" y="1298762"/>
                </a:lnTo>
                <a:cubicBezTo>
                  <a:pt x="8110368" y="1303075"/>
                  <a:pt x="8102756" y="1307224"/>
                  <a:pt x="8096071" y="1311213"/>
                </a:cubicBezTo>
                <a:lnTo>
                  <a:pt x="8089514" y="1315681"/>
                </a:lnTo>
                <a:close/>
                <a:moveTo>
                  <a:pt x="5839320" y="1269662"/>
                </a:moveTo>
                <a:lnTo>
                  <a:pt x="5849364" y="1270271"/>
                </a:lnTo>
                <a:cubicBezTo>
                  <a:pt x="5849364" y="1270271"/>
                  <a:pt x="5849364" y="1270271"/>
                  <a:pt x="5844952" y="1270271"/>
                </a:cubicBezTo>
                <a:cubicBezTo>
                  <a:pt x="5840538" y="1270271"/>
                  <a:pt x="5840538" y="1270271"/>
                  <a:pt x="5840538" y="1270271"/>
                </a:cubicBezTo>
                <a:close/>
                <a:moveTo>
                  <a:pt x="8260284" y="1261482"/>
                </a:moveTo>
                <a:cubicBezTo>
                  <a:pt x="8099248" y="1330563"/>
                  <a:pt x="7953433" y="1430147"/>
                  <a:pt x="7803694" y="1518508"/>
                </a:cubicBezTo>
                <a:lnTo>
                  <a:pt x="7802681" y="1516829"/>
                </a:lnTo>
                <a:lnTo>
                  <a:pt x="7767484" y="1549228"/>
                </a:lnTo>
                <a:cubicBezTo>
                  <a:pt x="7732212" y="1578584"/>
                  <a:pt x="7702306" y="1610681"/>
                  <a:pt x="7676563" y="1627987"/>
                </a:cubicBezTo>
                <a:cubicBezTo>
                  <a:pt x="7681934" y="1630726"/>
                  <a:pt x="7677881" y="1632040"/>
                  <a:pt x="7671090" y="1638722"/>
                </a:cubicBezTo>
                <a:cubicBezTo>
                  <a:pt x="7673829" y="1633355"/>
                  <a:pt x="7672512" y="1629302"/>
                  <a:pt x="7669773" y="1634671"/>
                </a:cubicBezTo>
                <a:cubicBezTo>
                  <a:pt x="7667038" y="1640038"/>
                  <a:pt x="7620918" y="1677390"/>
                  <a:pt x="7630342" y="1678814"/>
                </a:cubicBezTo>
                <a:cubicBezTo>
                  <a:pt x="7614021" y="1697545"/>
                  <a:pt x="7604598" y="1696122"/>
                  <a:pt x="7604598" y="1696122"/>
                </a:cubicBezTo>
                <a:cubicBezTo>
                  <a:pt x="7592331" y="1713538"/>
                  <a:pt x="7605913" y="1700174"/>
                  <a:pt x="7611280" y="1702913"/>
                </a:cubicBezTo>
                <a:cubicBezTo>
                  <a:pt x="7594959" y="1721645"/>
                  <a:pt x="7594959" y="1721645"/>
                  <a:pt x="7594959" y="1721645"/>
                </a:cubicBezTo>
                <a:cubicBezTo>
                  <a:pt x="7599122" y="1706856"/>
                  <a:pt x="7585540" y="1720220"/>
                  <a:pt x="7581487" y="1721535"/>
                </a:cubicBezTo>
                <a:cubicBezTo>
                  <a:pt x="7571848" y="1747057"/>
                  <a:pt x="7531208" y="1773676"/>
                  <a:pt x="7507986" y="1812562"/>
                </a:cubicBezTo>
                <a:cubicBezTo>
                  <a:pt x="7503933" y="1813876"/>
                  <a:pt x="7505250" y="1817929"/>
                  <a:pt x="7501198" y="1819243"/>
                </a:cubicBezTo>
                <a:cubicBezTo>
                  <a:pt x="7497145" y="1820559"/>
                  <a:pt x="7498458" y="1824612"/>
                  <a:pt x="7498458" y="1824612"/>
                </a:cubicBezTo>
                <a:cubicBezTo>
                  <a:pt x="7495720" y="1829979"/>
                  <a:pt x="7499773" y="1828664"/>
                  <a:pt x="7502513" y="1823297"/>
                </a:cubicBezTo>
                <a:cubicBezTo>
                  <a:pt x="7502513" y="1823297"/>
                  <a:pt x="7502513" y="1823297"/>
                  <a:pt x="7506564" y="1821982"/>
                </a:cubicBezTo>
                <a:cubicBezTo>
                  <a:pt x="7475241" y="1863498"/>
                  <a:pt x="7453549" y="1879491"/>
                  <a:pt x="7426279" y="1919691"/>
                </a:cubicBezTo>
                <a:cubicBezTo>
                  <a:pt x="7420913" y="1916953"/>
                  <a:pt x="7418174" y="1922321"/>
                  <a:pt x="7412805" y="1919582"/>
                </a:cubicBezTo>
                <a:lnTo>
                  <a:pt x="7371706" y="1978466"/>
                </a:lnTo>
                <a:lnTo>
                  <a:pt x="7377643" y="1988410"/>
                </a:lnTo>
                <a:lnTo>
                  <a:pt x="7408533" y="1947843"/>
                </a:lnTo>
                <a:cubicBezTo>
                  <a:pt x="7412586" y="1946529"/>
                  <a:pt x="7423432" y="1938532"/>
                  <a:pt x="7423432" y="1938532"/>
                </a:cubicBezTo>
                <a:cubicBezTo>
                  <a:pt x="7442490" y="1914433"/>
                  <a:pt x="7460234" y="1886281"/>
                  <a:pt x="7476552" y="1867550"/>
                </a:cubicBezTo>
                <a:cubicBezTo>
                  <a:pt x="7480604" y="1866235"/>
                  <a:pt x="7477866" y="1871603"/>
                  <a:pt x="7484657" y="1864921"/>
                </a:cubicBezTo>
                <a:cubicBezTo>
                  <a:pt x="7480604" y="1866235"/>
                  <a:pt x="7483346" y="1860870"/>
                  <a:pt x="7482028" y="1856816"/>
                </a:cubicBezTo>
                <a:cubicBezTo>
                  <a:pt x="7507878" y="1826035"/>
                  <a:pt x="7536357" y="1803360"/>
                  <a:pt x="7559467" y="1777947"/>
                </a:cubicBezTo>
                <a:cubicBezTo>
                  <a:pt x="7556729" y="1783314"/>
                  <a:pt x="7552677" y="1784629"/>
                  <a:pt x="7549940" y="1789996"/>
                </a:cubicBezTo>
                <a:cubicBezTo>
                  <a:pt x="7534932" y="1812780"/>
                  <a:pt x="7518612" y="1831512"/>
                  <a:pt x="7525405" y="1824830"/>
                </a:cubicBezTo>
                <a:cubicBezTo>
                  <a:pt x="7509084" y="1843561"/>
                  <a:pt x="7491340" y="1871712"/>
                  <a:pt x="7479071" y="1889129"/>
                </a:cubicBezTo>
                <a:cubicBezTo>
                  <a:pt x="7476335" y="1894497"/>
                  <a:pt x="7476335" y="1894497"/>
                  <a:pt x="7472282" y="1895812"/>
                </a:cubicBezTo>
                <a:cubicBezTo>
                  <a:pt x="7473705" y="1886390"/>
                  <a:pt x="7466808" y="1906546"/>
                  <a:pt x="7464177" y="1898440"/>
                </a:cubicBezTo>
                <a:cubicBezTo>
                  <a:pt x="7458702" y="1909175"/>
                  <a:pt x="7453223" y="1919910"/>
                  <a:pt x="7450485" y="1925278"/>
                </a:cubicBezTo>
                <a:cubicBezTo>
                  <a:pt x="7440958" y="1937326"/>
                  <a:pt x="7434165" y="1944009"/>
                  <a:pt x="7428687" y="1954743"/>
                </a:cubicBezTo>
                <a:cubicBezTo>
                  <a:pt x="7412360" y="1973474"/>
                  <a:pt x="7391997" y="1993521"/>
                  <a:pt x="7385207" y="2000202"/>
                </a:cubicBezTo>
                <a:cubicBezTo>
                  <a:pt x="7387232" y="1999545"/>
                  <a:pt x="7387561" y="2000558"/>
                  <a:pt x="7387380" y="2001736"/>
                </a:cubicBezTo>
                <a:lnTo>
                  <a:pt x="7386735" y="2003634"/>
                </a:lnTo>
                <a:lnTo>
                  <a:pt x="7396409" y="2019844"/>
                </a:lnTo>
                <a:lnTo>
                  <a:pt x="7462534" y="1934806"/>
                </a:lnTo>
                <a:cubicBezTo>
                  <a:pt x="7469327" y="1928125"/>
                  <a:pt x="7484221" y="1918813"/>
                  <a:pt x="7481591" y="1910708"/>
                </a:cubicBezTo>
                <a:cubicBezTo>
                  <a:pt x="7481591" y="1910708"/>
                  <a:pt x="7481591" y="1910708"/>
                  <a:pt x="7485646" y="1909393"/>
                </a:cubicBezTo>
                <a:cubicBezTo>
                  <a:pt x="7489697" y="1908079"/>
                  <a:pt x="7492435" y="1902712"/>
                  <a:pt x="7496487" y="1901397"/>
                </a:cubicBezTo>
                <a:cubicBezTo>
                  <a:pt x="7496487" y="1901397"/>
                  <a:pt x="7499228" y="1896029"/>
                  <a:pt x="7499228" y="1896029"/>
                </a:cubicBezTo>
                <a:cubicBezTo>
                  <a:pt x="7499228" y="1896029"/>
                  <a:pt x="7495175" y="1897344"/>
                  <a:pt x="7495175" y="1897344"/>
                </a:cubicBezTo>
                <a:cubicBezTo>
                  <a:pt x="7511494" y="1878613"/>
                  <a:pt x="7527814" y="1859882"/>
                  <a:pt x="7544135" y="1841151"/>
                </a:cubicBezTo>
                <a:cubicBezTo>
                  <a:pt x="7583568" y="1797006"/>
                  <a:pt x="7583568" y="1797006"/>
                  <a:pt x="7583568" y="1797006"/>
                </a:cubicBezTo>
                <a:lnTo>
                  <a:pt x="7585733" y="1794876"/>
                </a:lnTo>
                <a:lnTo>
                  <a:pt x="7586554" y="1793880"/>
                </a:lnTo>
                <a:lnTo>
                  <a:pt x="7661003" y="1718541"/>
                </a:lnTo>
                <a:lnTo>
                  <a:pt x="7661013" y="1718136"/>
                </a:lnTo>
                <a:lnTo>
                  <a:pt x="7670454" y="1708976"/>
                </a:lnTo>
                <a:lnTo>
                  <a:pt x="7788388" y="1589632"/>
                </a:lnTo>
                <a:cubicBezTo>
                  <a:pt x="7932218" y="1460136"/>
                  <a:pt x="8087344" y="1349920"/>
                  <a:pt x="8260284" y="1261482"/>
                </a:cubicBezTo>
                <a:close/>
                <a:moveTo>
                  <a:pt x="12104980" y="1249920"/>
                </a:moveTo>
                <a:lnTo>
                  <a:pt x="12105097" y="1250254"/>
                </a:lnTo>
                <a:lnTo>
                  <a:pt x="12104628" y="1250151"/>
                </a:lnTo>
                <a:close/>
                <a:moveTo>
                  <a:pt x="8417266" y="1232514"/>
                </a:moveTo>
                <a:lnTo>
                  <a:pt x="8411559" y="1234786"/>
                </a:lnTo>
                <a:lnTo>
                  <a:pt x="8410022" y="1237798"/>
                </a:lnTo>
                <a:cubicBezTo>
                  <a:pt x="8414074" y="1236484"/>
                  <a:pt x="8418129" y="1235169"/>
                  <a:pt x="8418129" y="1235169"/>
                </a:cubicBezTo>
                <a:close/>
                <a:moveTo>
                  <a:pt x="2911864" y="1232309"/>
                </a:moveTo>
                <a:cubicBezTo>
                  <a:pt x="2898331" y="1241075"/>
                  <a:pt x="2871803" y="1274270"/>
                  <a:pt x="2863322" y="1295774"/>
                </a:cubicBezTo>
                <a:lnTo>
                  <a:pt x="2850587" y="1310351"/>
                </a:lnTo>
                <a:lnTo>
                  <a:pt x="2852691" y="1311805"/>
                </a:lnTo>
                <a:cubicBezTo>
                  <a:pt x="2857783" y="1313768"/>
                  <a:pt x="2862737" y="1314142"/>
                  <a:pt x="2867409" y="1313020"/>
                </a:cubicBezTo>
                <a:cubicBezTo>
                  <a:pt x="2876754" y="1310776"/>
                  <a:pt x="2884978" y="1302549"/>
                  <a:pt x="2890959" y="1289088"/>
                </a:cubicBezTo>
                <a:cubicBezTo>
                  <a:pt x="2896940" y="1274132"/>
                  <a:pt x="2899930" y="1259174"/>
                  <a:pt x="2905911" y="1244216"/>
                </a:cubicBezTo>
                <a:lnTo>
                  <a:pt x="2911933" y="1233374"/>
                </a:lnTo>
                <a:close/>
                <a:moveTo>
                  <a:pt x="2155643" y="1216915"/>
                </a:moveTo>
                <a:cubicBezTo>
                  <a:pt x="2158788" y="1216951"/>
                  <a:pt x="2161788" y="1217736"/>
                  <a:pt x="2164217" y="1221161"/>
                </a:cubicBezTo>
                <a:cubicBezTo>
                  <a:pt x="2165075" y="1222303"/>
                  <a:pt x="2166790" y="1223730"/>
                  <a:pt x="2169076" y="1223730"/>
                </a:cubicBezTo>
                <a:cubicBezTo>
                  <a:pt x="2172220" y="1223445"/>
                  <a:pt x="2173936" y="1225158"/>
                  <a:pt x="2174507" y="1228297"/>
                </a:cubicBezTo>
                <a:cubicBezTo>
                  <a:pt x="2175078" y="1230296"/>
                  <a:pt x="2176507" y="1231437"/>
                  <a:pt x="2177936" y="1232864"/>
                </a:cubicBezTo>
                <a:cubicBezTo>
                  <a:pt x="2181651" y="1236290"/>
                  <a:pt x="2183367" y="1240285"/>
                  <a:pt x="2181937" y="1245423"/>
                </a:cubicBezTo>
                <a:cubicBezTo>
                  <a:pt x="2181080" y="1248278"/>
                  <a:pt x="2181937" y="1251418"/>
                  <a:pt x="2184795" y="1253130"/>
                </a:cubicBezTo>
                <a:cubicBezTo>
                  <a:pt x="2184795" y="1254273"/>
                  <a:pt x="2184795" y="1255413"/>
                  <a:pt x="2184795" y="1256556"/>
                </a:cubicBezTo>
                <a:cubicBezTo>
                  <a:pt x="2182223" y="1257983"/>
                  <a:pt x="2181080" y="1259696"/>
                  <a:pt x="2181366" y="1263406"/>
                </a:cubicBezTo>
                <a:cubicBezTo>
                  <a:pt x="2181651" y="1268545"/>
                  <a:pt x="2179365" y="1272540"/>
                  <a:pt x="2173649" y="1273682"/>
                </a:cubicBezTo>
                <a:cubicBezTo>
                  <a:pt x="2171077" y="1273967"/>
                  <a:pt x="2171648" y="1275965"/>
                  <a:pt x="2171648" y="1277678"/>
                </a:cubicBezTo>
                <a:cubicBezTo>
                  <a:pt x="2171648" y="1280533"/>
                  <a:pt x="2170505" y="1281103"/>
                  <a:pt x="2168219" y="1279105"/>
                </a:cubicBezTo>
                <a:cubicBezTo>
                  <a:pt x="2164789" y="1276252"/>
                  <a:pt x="2162502" y="1276252"/>
                  <a:pt x="2161645" y="1281103"/>
                </a:cubicBezTo>
                <a:cubicBezTo>
                  <a:pt x="2161359" y="1282245"/>
                  <a:pt x="2160502" y="1283673"/>
                  <a:pt x="2159358" y="1282245"/>
                </a:cubicBezTo>
                <a:cubicBezTo>
                  <a:pt x="2155644" y="1278535"/>
                  <a:pt x="2153072" y="1280818"/>
                  <a:pt x="2150213" y="1283387"/>
                </a:cubicBezTo>
                <a:cubicBezTo>
                  <a:pt x="2149927" y="1283958"/>
                  <a:pt x="2148783" y="1283958"/>
                  <a:pt x="2148211" y="1283958"/>
                </a:cubicBezTo>
                <a:cubicBezTo>
                  <a:pt x="2141353" y="1279962"/>
                  <a:pt x="2134780" y="1275394"/>
                  <a:pt x="2127919" y="1271113"/>
                </a:cubicBezTo>
                <a:cubicBezTo>
                  <a:pt x="2124777" y="1269114"/>
                  <a:pt x="2123061" y="1263691"/>
                  <a:pt x="2121633" y="1259410"/>
                </a:cubicBezTo>
                <a:cubicBezTo>
                  <a:pt x="2121061" y="1257698"/>
                  <a:pt x="2121346" y="1255985"/>
                  <a:pt x="2119632" y="1254558"/>
                </a:cubicBezTo>
                <a:cubicBezTo>
                  <a:pt x="2117916" y="1253130"/>
                  <a:pt x="2118203" y="1251418"/>
                  <a:pt x="2119346" y="1249705"/>
                </a:cubicBezTo>
                <a:cubicBezTo>
                  <a:pt x="2119918" y="1248564"/>
                  <a:pt x="2121061" y="1247135"/>
                  <a:pt x="2120203" y="1245995"/>
                </a:cubicBezTo>
                <a:cubicBezTo>
                  <a:pt x="2117345" y="1242570"/>
                  <a:pt x="2117060" y="1240000"/>
                  <a:pt x="2121633" y="1238288"/>
                </a:cubicBezTo>
                <a:cubicBezTo>
                  <a:pt x="2122776" y="1238002"/>
                  <a:pt x="2123061" y="1236290"/>
                  <a:pt x="2121918" y="1235433"/>
                </a:cubicBezTo>
                <a:cubicBezTo>
                  <a:pt x="2118203" y="1232294"/>
                  <a:pt x="2122205" y="1230866"/>
                  <a:pt x="2122776" y="1228582"/>
                </a:cubicBezTo>
                <a:cubicBezTo>
                  <a:pt x="2124777" y="1220875"/>
                  <a:pt x="2133636" y="1223159"/>
                  <a:pt x="2137066" y="1217450"/>
                </a:cubicBezTo>
                <a:cubicBezTo>
                  <a:pt x="2138209" y="1215452"/>
                  <a:pt x="2143639" y="1216880"/>
                  <a:pt x="2146211" y="1217165"/>
                </a:cubicBezTo>
                <a:cubicBezTo>
                  <a:pt x="2149212" y="1217593"/>
                  <a:pt x="2152500" y="1216880"/>
                  <a:pt x="2155643" y="1216915"/>
                </a:cubicBezTo>
                <a:close/>
                <a:moveTo>
                  <a:pt x="8275194" y="1215563"/>
                </a:moveTo>
                <a:lnTo>
                  <a:pt x="8263740" y="1220296"/>
                </a:lnTo>
                <a:cubicBezTo>
                  <a:pt x="8254207" y="1224787"/>
                  <a:pt x="8243763" y="1230134"/>
                  <a:pt x="8233022" y="1235857"/>
                </a:cubicBezTo>
                <a:lnTo>
                  <a:pt x="8211486" y="1247811"/>
                </a:lnTo>
                <a:close/>
                <a:moveTo>
                  <a:pt x="7487079" y="1209056"/>
                </a:moveTo>
                <a:lnTo>
                  <a:pt x="7486867" y="1209417"/>
                </a:lnTo>
                <a:lnTo>
                  <a:pt x="7486613" y="1209167"/>
                </a:lnTo>
                <a:close/>
                <a:moveTo>
                  <a:pt x="1563784" y="1205899"/>
                </a:moveTo>
                <a:lnTo>
                  <a:pt x="1563518" y="1206342"/>
                </a:lnTo>
                <a:lnTo>
                  <a:pt x="1563209" y="1206035"/>
                </a:lnTo>
                <a:close/>
                <a:moveTo>
                  <a:pt x="4781344" y="1199658"/>
                </a:moveTo>
                <a:cubicBezTo>
                  <a:pt x="4781344" y="1199658"/>
                  <a:pt x="4781344" y="1199658"/>
                  <a:pt x="4785755" y="1199658"/>
                </a:cubicBezTo>
                <a:cubicBezTo>
                  <a:pt x="4790168" y="1199658"/>
                  <a:pt x="4790168" y="1199658"/>
                  <a:pt x="4790168" y="1199658"/>
                </a:cubicBezTo>
                <a:lnTo>
                  <a:pt x="4794583" y="1199658"/>
                </a:lnTo>
                <a:cubicBezTo>
                  <a:pt x="4794583" y="1199658"/>
                  <a:pt x="4790168" y="1199658"/>
                  <a:pt x="4785755" y="1204071"/>
                </a:cubicBezTo>
                <a:cubicBezTo>
                  <a:pt x="4776928" y="1204071"/>
                  <a:pt x="4772515" y="1204071"/>
                  <a:pt x="4768102" y="1204071"/>
                </a:cubicBezTo>
                <a:cubicBezTo>
                  <a:pt x="4772515" y="1199658"/>
                  <a:pt x="4776928" y="1199658"/>
                  <a:pt x="4781344" y="1199658"/>
                </a:cubicBezTo>
                <a:close/>
                <a:moveTo>
                  <a:pt x="62800" y="1178205"/>
                </a:moveTo>
                <a:cubicBezTo>
                  <a:pt x="66542" y="1179032"/>
                  <a:pt x="69869" y="1179861"/>
                  <a:pt x="73611" y="1179861"/>
                </a:cubicBezTo>
                <a:cubicBezTo>
                  <a:pt x="77354" y="1179861"/>
                  <a:pt x="81096" y="1182346"/>
                  <a:pt x="82760" y="1185657"/>
                </a:cubicBezTo>
                <a:cubicBezTo>
                  <a:pt x="84006" y="1188554"/>
                  <a:pt x="85254" y="1190212"/>
                  <a:pt x="87750" y="1191452"/>
                </a:cubicBezTo>
                <a:cubicBezTo>
                  <a:pt x="87750" y="1196420"/>
                  <a:pt x="87750" y="1201388"/>
                  <a:pt x="87750" y="1206355"/>
                </a:cubicBezTo>
                <a:cubicBezTo>
                  <a:pt x="83591" y="1208426"/>
                  <a:pt x="80265" y="1211737"/>
                  <a:pt x="78601" y="1215463"/>
                </a:cubicBezTo>
                <a:cubicBezTo>
                  <a:pt x="76522" y="1218775"/>
                  <a:pt x="74859" y="1222500"/>
                  <a:pt x="72779" y="1226227"/>
                </a:cubicBezTo>
                <a:cubicBezTo>
                  <a:pt x="70700" y="1229539"/>
                  <a:pt x="68621" y="1233264"/>
                  <a:pt x="68205" y="1237405"/>
                </a:cubicBezTo>
                <a:cubicBezTo>
                  <a:pt x="67373" y="1241130"/>
                  <a:pt x="64879" y="1242786"/>
                  <a:pt x="61967" y="1244856"/>
                </a:cubicBezTo>
                <a:cubicBezTo>
                  <a:pt x="59056" y="1246926"/>
                  <a:pt x="54897" y="1246511"/>
                  <a:pt x="52820" y="1249409"/>
                </a:cubicBezTo>
                <a:cubicBezTo>
                  <a:pt x="49908" y="1249409"/>
                  <a:pt x="47413" y="1249409"/>
                  <a:pt x="44502" y="1249409"/>
                </a:cubicBezTo>
                <a:cubicBezTo>
                  <a:pt x="44502" y="1248167"/>
                  <a:pt x="44087" y="1247754"/>
                  <a:pt x="43255" y="1247754"/>
                </a:cubicBezTo>
                <a:cubicBezTo>
                  <a:pt x="37016" y="1247754"/>
                  <a:pt x="33690" y="1243614"/>
                  <a:pt x="31611" y="1238645"/>
                </a:cubicBezTo>
                <a:cubicBezTo>
                  <a:pt x="29532" y="1234093"/>
                  <a:pt x="27037" y="1229952"/>
                  <a:pt x="27868" y="1224571"/>
                </a:cubicBezTo>
                <a:cubicBezTo>
                  <a:pt x="29116" y="1218775"/>
                  <a:pt x="28700" y="1212565"/>
                  <a:pt x="33690" y="1208011"/>
                </a:cubicBezTo>
                <a:cubicBezTo>
                  <a:pt x="35353" y="1206355"/>
                  <a:pt x="37016" y="1205114"/>
                  <a:pt x="39927" y="1204286"/>
                </a:cubicBezTo>
                <a:cubicBezTo>
                  <a:pt x="44087" y="1203043"/>
                  <a:pt x="49076" y="1200973"/>
                  <a:pt x="47829" y="1194350"/>
                </a:cubicBezTo>
                <a:cubicBezTo>
                  <a:pt x="47413" y="1191866"/>
                  <a:pt x="49908" y="1191039"/>
                  <a:pt x="50324" y="1189796"/>
                </a:cubicBezTo>
                <a:cubicBezTo>
                  <a:pt x="52403" y="1183173"/>
                  <a:pt x="57393" y="1180275"/>
                  <a:pt x="62800" y="1178205"/>
                </a:cubicBezTo>
                <a:close/>
                <a:moveTo>
                  <a:pt x="1179814" y="1173359"/>
                </a:moveTo>
                <a:cubicBezTo>
                  <a:pt x="1183192" y="1173398"/>
                  <a:pt x="1186417" y="1174241"/>
                  <a:pt x="1189028" y="1177922"/>
                </a:cubicBezTo>
                <a:cubicBezTo>
                  <a:pt x="1189948" y="1179150"/>
                  <a:pt x="1191792" y="1180682"/>
                  <a:pt x="1194248" y="1180682"/>
                </a:cubicBezTo>
                <a:cubicBezTo>
                  <a:pt x="1197627" y="1180376"/>
                  <a:pt x="1199470" y="1182217"/>
                  <a:pt x="1200083" y="1185592"/>
                </a:cubicBezTo>
                <a:cubicBezTo>
                  <a:pt x="1200698" y="1187738"/>
                  <a:pt x="1202234" y="1188965"/>
                  <a:pt x="1203769" y="1190499"/>
                </a:cubicBezTo>
                <a:cubicBezTo>
                  <a:pt x="1207762" y="1194179"/>
                  <a:pt x="1209604" y="1198474"/>
                  <a:pt x="1208069" y="1203994"/>
                </a:cubicBezTo>
                <a:cubicBezTo>
                  <a:pt x="1207149" y="1207063"/>
                  <a:pt x="1208069" y="1210436"/>
                  <a:pt x="1211140" y="1212278"/>
                </a:cubicBezTo>
                <a:cubicBezTo>
                  <a:pt x="1211140" y="1213504"/>
                  <a:pt x="1211140" y="1214730"/>
                  <a:pt x="1211140" y="1215957"/>
                </a:cubicBezTo>
                <a:cubicBezTo>
                  <a:pt x="1208377" y="1217491"/>
                  <a:pt x="1207149" y="1219332"/>
                  <a:pt x="1207454" y="1223319"/>
                </a:cubicBezTo>
                <a:cubicBezTo>
                  <a:pt x="1207762" y="1228840"/>
                  <a:pt x="1205305" y="1233135"/>
                  <a:pt x="1199162" y="1234362"/>
                </a:cubicBezTo>
                <a:cubicBezTo>
                  <a:pt x="1196399" y="1234669"/>
                  <a:pt x="1197013" y="1236816"/>
                  <a:pt x="1197013" y="1238656"/>
                </a:cubicBezTo>
                <a:cubicBezTo>
                  <a:pt x="1197013" y="1241724"/>
                  <a:pt x="1195784" y="1242338"/>
                  <a:pt x="1193327" y="1240190"/>
                </a:cubicBezTo>
                <a:cubicBezTo>
                  <a:pt x="1189642" y="1237123"/>
                  <a:pt x="1187185" y="1237123"/>
                  <a:pt x="1186263" y="1242338"/>
                </a:cubicBezTo>
                <a:cubicBezTo>
                  <a:pt x="1185957" y="1243563"/>
                  <a:pt x="1185036" y="1245098"/>
                  <a:pt x="1183805" y="1243563"/>
                </a:cubicBezTo>
                <a:cubicBezTo>
                  <a:pt x="1179814" y="1239576"/>
                  <a:pt x="1177049" y="1242030"/>
                  <a:pt x="1173978" y="1244790"/>
                </a:cubicBezTo>
                <a:cubicBezTo>
                  <a:pt x="1173671" y="1245405"/>
                  <a:pt x="1172442" y="1245405"/>
                  <a:pt x="1171828" y="1245405"/>
                </a:cubicBezTo>
                <a:cubicBezTo>
                  <a:pt x="1164457" y="1241111"/>
                  <a:pt x="1157393" y="1236202"/>
                  <a:pt x="1150022" y="1231601"/>
                </a:cubicBezTo>
                <a:cubicBezTo>
                  <a:pt x="1146643" y="1229454"/>
                  <a:pt x="1144802" y="1223627"/>
                  <a:pt x="1143266" y="1219025"/>
                </a:cubicBezTo>
                <a:cubicBezTo>
                  <a:pt x="1142652" y="1217185"/>
                  <a:pt x="1142958" y="1215344"/>
                  <a:pt x="1141116" y="1213810"/>
                </a:cubicBezTo>
                <a:cubicBezTo>
                  <a:pt x="1139273" y="1212278"/>
                  <a:pt x="1139580" y="1210436"/>
                  <a:pt x="1140808" y="1208596"/>
                </a:cubicBezTo>
                <a:cubicBezTo>
                  <a:pt x="1141423" y="1207369"/>
                  <a:pt x="1142652" y="1205836"/>
                  <a:pt x="1141731" y="1204609"/>
                </a:cubicBezTo>
                <a:cubicBezTo>
                  <a:pt x="1138659" y="1200928"/>
                  <a:pt x="1138351" y="1198167"/>
                  <a:pt x="1143266" y="1196327"/>
                </a:cubicBezTo>
                <a:cubicBezTo>
                  <a:pt x="1144494" y="1196020"/>
                  <a:pt x="1144802" y="1194179"/>
                  <a:pt x="1143572" y="1193259"/>
                </a:cubicBezTo>
                <a:cubicBezTo>
                  <a:pt x="1139580" y="1189885"/>
                  <a:pt x="1143880" y="1188352"/>
                  <a:pt x="1144494" y="1185897"/>
                </a:cubicBezTo>
                <a:cubicBezTo>
                  <a:pt x="1146643" y="1177616"/>
                  <a:pt x="1156165" y="1180069"/>
                  <a:pt x="1159851" y="1173934"/>
                </a:cubicBezTo>
                <a:cubicBezTo>
                  <a:pt x="1161079" y="1171787"/>
                  <a:pt x="1166915" y="1173321"/>
                  <a:pt x="1169678" y="1173629"/>
                </a:cubicBezTo>
                <a:cubicBezTo>
                  <a:pt x="1172904" y="1174088"/>
                  <a:pt x="1176436" y="1173321"/>
                  <a:pt x="1179814" y="1173359"/>
                </a:cubicBezTo>
                <a:close/>
                <a:moveTo>
                  <a:pt x="1820575" y="1169389"/>
                </a:moveTo>
                <a:cubicBezTo>
                  <a:pt x="1824089" y="1170167"/>
                  <a:pt x="1827213" y="1170944"/>
                  <a:pt x="1830727" y="1170944"/>
                </a:cubicBezTo>
                <a:cubicBezTo>
                  <a:pt x="1834242" y="1170944"/>
                  <a:pt x="1837755" y="1173277"/>
                  <a:pt x="1839318" y="1176386"/>
                </a:cubicBezTo>
                <a:cubicBezTo>
                  <a:pt x="1840488" y="1179107"/>
                  <a:pt x="1841660" y="1180663"/>
                  <a:pt x="1844003" y="1181828"/>
                </a:cubicBezTo>
                <a:cubicBezTo>
                  <a:pt x="1844003" y="1186493"/>
                  <a:pt x="1844003" y="1191158"/>
                  <a:pt x="1844003" y="1195823"/>
                </a:cubicBezTo>
                <a:cubicBezTo>
                  <a:pt x="1840098" y="1197767"/>
                  <a:pt x="1836975" y="1200876"/>
                  <a:pt x="1835413" y="1204374"/>
                </a:cubicBezTo>
                <a:cubicBezTo>
                  <a:pt x="1833460" y="1207484"/>
                  <a:pt x="1831899" y="1210983"/>
                  <a:pt x="1829946" y="1214481"/>
                </a:cubicBezTo>
                <a:cubicBezTo>
                  <a:pt x="1827994" y="1217591"/>
                  <a:pt x="1826041" y="1221090"/>
                  <a:pt x="1825651" y="1224977"/>
                </a:cubicBezTo>
                <a:cubicBezTo>
                  <a:pt x="1824870" y="1228476"/>
                  <a:pt x="1822528" y="1230030"/>
                  <a:pt x="1819793" y="1231974"/>
                </a:cubicBezTo>
                <a:cubicBezTo>
                  <a:pt x="1817060" y="1233918"/>
                  <a:pt x="1813155" y="1233529"/>
                  <a:pt x="1811204" y="1236250"/>
                </a:cubicBezTo>
                <a:cubicBezTo>
                  <a:pt x="1808470" y="1236250"/>
                  <a:pt x="1806127" y="1236250"/>
                  <a:pt x="1803394" y="1236250"/>
                </a:cubicBezTo>
                <a:cubicBezTo>
                  <a:pt x="1803394" y="1235083"/>
                  <a:pt x="1803003" y="1234695"/>
                  <a:pt x="1802223" y="1234695"/>
                </a:cubicBezTo>
                <a:cubicBezTo>
                  <a:pt x="1796365" y="1234695"/>
                  <a:pt x="1793242" y="1230808"/>
                  <a:pt x="1791289" y="1226143"/>
                </a:cubicBezTo>
                <a:cubicBezTo>
                  <a:pt x="1789337" y="1221867"/>
                  <a:pt x="1786994" y="1217980"/>
                  <a:pt x="1787775" y="1212927"/>
                </a:cubicBezTo>
                <a:cubicBezTo>
                  <a:pt x="1788947" y="1207484"/>
                  <a:pt x="1788556" y="1201653"/>
                  <a:pt x="1793242" y="1197377"/>
                </a:cubicBezTo>
                <a:cubicBezTo>
                  <a:pt x="1794803" y="1195823"/>
                  <a:pt x="1796365" y="1194656"/>
                  <a:pt x="1799098" y="1193879"/>
                </a:cubicBezTo>
                <a:cubicBezTo>
                  <a:pt x="1803003" y="1192713"/>
                  <a:pt x="1807689" y="1190769"/>
                  <a:pt x="1806518" y="1184549"/>
                </a:cubicBezTo>
                <a:cubicBezTo>
                  <a:pt x="1806127" y="1182217"/>
                  <a:pt x="1808470" y="1181440"/>
                  <a:pt x="1808861" y="1180274"/>
                </a:cubicBezTo>
                <a:cubicBezTo>
                  <a:pt x="1810812" y="1174054"/>
                  <a:pt x="1815498" y="1171333"/>
                  <a:pt x="1820575" y="1169389"/>
                </a:cubicBezTo>
                <a:close/>
                <a:moveTo>
                  <a:pt x="5134407" y="1164351"/>
                </a:moveTo>
                <a:cubicBezTo>
                  <a:pt x="5134407" y="1168764"/>
                  <a:pt x="5134407" y="1168764"/>
                  <a:pt x="5134407" y="1168764"/>
                </a:cubicBezTo>
                <a:cubicBezTo>
                  <a:pt x="5129996" y="1168764"/>
                  <a:pt x="5129996" y="1168764"/>
                  <a:pt x="5129996" y="1168764"/>
                </a:cubicBezTo>
                <a:cubicBezTo>
                  <a:pt x="5134407" y="1168764"/>
                  <a:pt x="5134407" y="1164351"/>
                  <a:pt x="5134407" y="1164351"/>
                </a:cubicBezTo>
                <a:close/>
                <a:moveTo>
                  <a:pt x="12023158" y="1160424"/>
                </a:moveTo>
                <a:cubicBezTo>
                  <a:pt x="12027774" y="1164026"/>
                  <a:pt x="12032422" y="1162875"/>
                  <a:pt x="12036966" y="1160536"/>
                </a:cubicBezTo>
                <a:cubicBezTo>
                  <a:pt x="12039057" y="1159506"/>
                  <a:pt x="12040606" y="1159122"/>
                  <a:pt x="12042462" y="1161385"/>
                </a:cubicBezTo>
                <a:cubicBezTo>
                  <a:pt x="12044604" y="1164468"/>
                  <a:pt x="12048077" y="1164336"/>
                  <a:pt x="12051450" y="1163473"/>
                </a:cubicBezTo>
                <a:cubicBezTo>
                  <a:pt x="12054276" y="1162801"/>
                  <a:pt x="12057281" y="1161759"/>
                  <a:pt x="12060108" y="1161087"/>
                </a:cubicBezTo>
                <a:cubicBezTo>
                  <a:pt x="12061477" y="1160842"/>
                  <a:pt x="12062644" y="1160896"/>
                  <a:pt x="12063348" y="1161436"/>
                </a:cubicBezTo>
                <a:cubicBezTo>
                  <a:pt x="12064052" y="1161976"/>
                  <a:pt x="12064292" y="1163002"/>
                  <a:pt x="12063810" y="1164700"/>
                </a:cubicBezTo>
                <a:cubicBezTo>
                  <a:pt x="12063454" y="1165434"/>
                  <a:pt x="12063280" y="1166260"/>
                  <a:pt x="12063291" y="1167174"/>
                </a:cubicBezTo>
                <a:cubicBezTo>
                  <a:pt x="12063213" y="1168271"/>
                  <a:pt x="12062499" y="1169743"/>
                  <a:pt x="12063698" y="1170551"/>
                </a:cubicBezTo>
                <a:cubicBezTo>
                  <a:pt x="12064802" y="1171086"/>
                  <a:pt x="12065984" y="1170524"/>
                  <a:pt x="12066893" y="1170057"/>
                </a:cubicBezTo>
                <a:cubicBezTo>
                  <a:pt x="12071170" y="1168269"/>
                  <a:pt x="12072183" y="1168988"/>
                  <a:pt x="12071966" y="1173653"/>
                </a:cubicBezTo>
                <a:cubicBezTo>
                  <a:pt x="12071888" y="1174751"/>
                  <a:pt x="12071715" y="1175576"/>
                  <a:pt x="12071910" y="1176580"/>
                </a:cubicBezTo>
                <a:cubicBezTo>
                  <a:pt x="12072111" y="1178039"/>
                  <a:pt x="12072401" y="1179316"/>
                  <a:pt x="12074597" y="1179474"/>
                </a:cubicBezTo>
                <a:cubicBezTo>
                  <a:pt x="12076699" y="1179357"/>
                  <a:pt x="12077056" y="1178621"/>
                  <a:pt x="12077401" y="1176972"/>
                </a:cubicBezTo>
                <a:lnTo>
                  <a:pt x="12078441" y="1174040"/>
                </a:lnTo>
                <a:lnTo>
                  <a:pt x="12085882" y="1195317"/>
                </a:lnTo>
                <a:lnTo>
                  <a:pt x="12084493" y="1196085"/>
                </a:lnTo>
                <a:cubicBezTo>
                  <a:pt x="12083321" y="1197562"/>
                  <a:pt x="12083339" y="1198933"/>
                  <a:pt x="12084454" y="1200383"/>
                </a:cubicBezTo>
                <a:cubicBezTo>
                  <a:pt x="12085291" y="1201470"/>
                  <a:pt x="12086215" y="1202374"/>
                  <a:pt x="12087051" y="1203460"/>
                </a:cubicBezTo>
                <a:cubicBezTo>
                  <a:pt x="12088445" y="1205272"/>
                  <a:pt x="12088557" y="1206916"/>
                  <a:pt x="12087118" y="1208945"/>
                </a:cubicBezTo>
                <a:cubicBezTo>
                  <a:pt x="12082804" y="1215029"/>
                  <a:pt x="12082965" y="1220786"/>
                  <a:pt x="12087424" y="1226585"/>
                </a:cubicBezTo>
                <a:cubicBezTo>
                  <a:pt x="12088077" y="1227583"/>
                  <a:pt x="12090189" y="1228381"/>
                  <a:pt x="12089018" y="1229857"/>
                </a:cubicBezTo>
                <a:cubicBezTo>
                  <a:pt x="12088032" y="1231422"/>
                  <a:pt x="12086197" y="1230987"/>
                  <a:pt x="12084453" y="1230367"/>
                </a:cubicBezTo>
                <a:cubicBezTo>
                  <a:pt x="12084269" y="1230279"/>
                  <a:pt x="12084084" y="1230189"/>
                  <a:pt x="12083902" y="1230099"/>
                </a:cubicBezTo>
                <a:cubicBezTo>
                  <a:pt x="12079130" y="1228693"/>
                  <a:pt x="12076859" y="1230092"/>
                  <a:pt x="12077373" y="1234656"/>
                </a:cubicBezTo>
                <a:cubicBezTo>
                  <a:pt x="12077790" y="1238948"/>
                  <a:pt x="12075990" y="1241254"/>
                  <a:pt x="12072812" y="1243120"/>
                </a:cubicBezTo>
                <a:cubicBezTo>
                  <a:pt x="12068636" y="1245638"/>
                  <a:pt x="12064923" y="1248606"/>
                  <a:pt x="12063796" y="1253739"/>
                </a:cubicBezTo>
                <a:cubicBezTo>
                  <a:pt x="12063366" y="1256029"/>
                  <a:pt x="12060897" y="1255967"/>
                  <a:pt x="12059432" y="1255710"/>
                </a:cubicBezTo>
                <a:cubicBezTo>
                  <a:pt x="12053844" y="1255045"/>
                  <a:pt x="12050122" y="1257099"/>
                  <a:pt x="12047250" y="1261612"/>
                </a:cubicBezTo>
                <a:cubicBezTo>
                  <a:pt x="12045454" y="1264376"/>
                  <a:pt x="12044082" y="1264392"/>
                  <a:pt x="12042032" y="1261126"/>
                </a:cubicBezTo>
                <a:cubicBezTo>
                  <a:pt x="12037649" y="1254229"/>
                  <a:pt x="12027112" y="1252525"/>
                  <a:pt x="12021232" y="1257622"/>
                </a:cubicBezTo>
                <a:cubicBezTo>
                  <a:pt x="12020055" y="1258642"/>
                  <a:pt x="12018516" y="1259939"/>
                  <a:pt x="12019268" y="1261668"/>
                </a:cubicBezTo>
                <a:cubicBezTo>
                  <a:pt x="12020020" y="1263395"/>
                  <a:pt x="12021592" y="1264839"/>
                  <a:pt x="12023783" y="1264540"/>
                </a:cubicBezTo>
                <a:cubicBezTo>
                  <a:pt x="12025155" y="1264523"/>
                  <a:pt x="12026704" y="1264140"/>
                  <a:pt x="12028165" y="1263940"/>
                </a:cubicBezTo>
                <a:cubicBezTo>
                  <a:pt x="12029715" y="1263556"/>
                  <a:pt x="12031087" y="1263539"/>
                  <a:pt x="12031471" y="1265090"/>
                </a:cubicBezTo>
                <a:cubicBezTo>
                  <a:pt x="12031951" y="1266912"/>
                  <a:pt x="12030680" y="1267658"/>
                  <a:pt x="12029315" y="1268131"/>
                </a:cubicBezTo>
                <a:cubicBezTo>
                  <a:pt x="12028132" y="1268694"/>
                  <a:pt x="12026670" y="1268894"/>
                  <a:pt x="12025578" y="1269272"/>
                </a:cubicBezTo>
                <a:cubicBezTo>
                  <a:pt x="12023121" y="1270124"/>
                  <a:pt x="12021129" y="1271884"/>
                  <a:pt x="12021893" y="1274526"/>
                </a:cubicBezTo>
                <a:cubicBezTo>
                  <a:pt x="12022651" y="1276712"/>
                  <a:pt x="12025388" y="1276222"/>
                  <a:pt x="12027395" y="1275833"/>
                </a:cubicBezTo>
                <a:cubicBezTo>
                  <a:pt x="12029130" y="1275538"/>
                  <a:pt x="12030852" y="1274330"/>
                  <a:pt x="12032776" y="1274581"/>
                </a:cubicBezTo>
                <a:cubicBezTo>
                  <a:pt x="12035613" y="1274822"/>
                  <a:pt x="12036906" y="1275904"/>
                  <a:pt x="12035296" y="1278756"/>
                </a:cubicBezTo>
                <a:cubicBezTo>
                  <a:pt x="12033150" y="1282713"/>
                  <a:pt x="12029889" y="1285219"/>
                  <a:pt x="12026163" y="1287275"/>
                </a:cubicBezTo>
                <a:cubicBezTo>
                  <a:pt x="12021442" y="1289980"/>
                  <a:pt x="12020186" y="1292098"/>
                  <a:pt x="12021257" y="1297388"/>
                </a:cubicBezTo>
                <a:cubicBezTo>
                  <a:pt x="12021463" y="1299305"/>
                  <a:pt x="12022311" y="1301306"/>
                  <a:pt x="12022974" y="1303219"/>
                </a:cubicBezTo>
                <a:cubicBezTo>
                  <a:pt x="12023258" y="1304037"/>
                  <a:pt x="12023910" y="1305035"/>
                  <a:pt x="12023097" y="1305777"/>
                </a:cubicBezTo>
                <a:cubicBezTo>
                  <a:pt x="12022195" y="1306702"/>
                  <a:pt x="12021186" y="1306439"/>
                  <a:pt x="12020537" y="1305898"/>
                </a:cubicBezTo>
                <a:cubicBezTo>
                  <a:pt x="12017582" y="1303556"/>
                  <a:pt x="12016133" y="1304670"/>
                  <a:pt x="12014890" y="1307702"/>
                </a:cubicBezTo>
                <a:cubicBezTo>
                  <a:pt x="12013292" y="1311468"/>
                  <a:pt x="12009650" y="1312883"/>
                  <a:pt x="12006092" y="1313656"/>
                </a:cubicBezTo>
                <a:cubicBezTo>
                  <a:pt x="12003266" y="1314329"/>
                  <a:pt x="12002458" y="1315526"/>
                  <a:pt x="12003767" y="1317979"/>
                </a:cubicBezTo>
                <a:cubicBezTo>
                  <a:pt x="12004514" y="1319251"/>
                  <a:pt x="12004893" y="1320343"/>
                  <a:pt x="12003812" y="1321635"/>
                </a:cubicBezTo>
                <a:cubicBezTo>
                  <a:pt x="12002464" y="1323480"/>
                  <a:pt x="12001170" y="1322398"/>
                  <a:pt x="11999702" y="1322141"/>
                </a:cubicBezTo>
                <a:cubicBezTo>
                  <a:pt x="11998878" y="1321968"/>
                  <a:pt x="11997958" y="1321522"/>
                  <a:pt x="11996949" y="1321259"/>
                </a:cubicBezTo>
                <a:cubicBezTo>
                  <a:pt x="11991714" y="1319401"/>
                  <a:pt x="11989272" y="1321624"/>
                  <a:pt x="11990164" y="1327281"/>
                </a:cubicBezTo>
                <a:cubicBezTo>
                  <a:pt x="11990264" y="1328011"/>
                  <a:pt x="11990454" y="1328558"/>
                  <a:pt x="11990371" y="1329198"/>
                </a:cubicBezTo>
                <a:cubicBezTo>
                  <a:pt x="11990387" y="1330569"/>
                  <a:pt x="11990040" y="1332219"/>
                  <a:pt x="11988580" y="1332419"/>
                </a:cubicBezTo>
                <a:cubicBezTo>
                  <a:pt x="11987304" y="1332709"/>
                  <a:pt x="11986373" y="1331348"/>
                  <a:pt x="11985993" y="1330255"/>
                </a:cubicBezTo>
                <a:cubicBezTo>
                  <a:pt x="11985614" y="1329163"/>
                  <a:pt x="11985419" y="1328160"/>
                  <a:pt x="11985314" y="1326972"/>
                </a:cubicBezTo>
                <a:cubicBezTo>
                  <a:pt x="11984834" y="1325150"/>
                  <a:pt x="11983910" y="1324247"/>
                  <a:pt x="11981901" y="1324636"/>
                </a:cubicBezTo>
                <a:cubicBezTo>
                  <a:pt x="11977246" y="1325330"/>
                  <a:pt x="11973204" y="1323824"/>
                  <a:pt x="11969251" y="1322134"/>
                </a:cubicBezTo>
                <a:cubicBezTo>
                  <a:pt x="11964475" y="1320270"/>
                  <a:pt x="11959958" y="1317398"/>
                  <a:pt x="11954824" y="1316270"/>
                </a:cubicBezTo>
                <a:cubicBezTo>
                  <a:pt x="11952990" y="1315834"/>
                  <a:pt x="11952605" y="1314284"/>
                  <a:pt x="11952315" y="1313008"/>
                </a:cubicBezTo>
                <a:cubicBezTo>
                  <a:pt x="11951167" y="1308817"/>
                  <a:pt x="11950204" y="1304714"/>
                  <a:pt x="11944890" y="1303954"/>
                </a:cubicBezTo>
                <a:cubicBezTo>
                  <a:pt x="11943881" y="1303692"/>
                  <a:pt x="11943685" y="1302688"/>
                  <a:pt x="11943674" y="1301774"/>
                </a:cubicBezTo>
                <a:cubicBezTo>
                  <a:pt x="11943435" y="1297115"/>
                  <a:pt x="11941550" y="1292566"/>
                  <a:pt x="11940307" y="1288101"/>
                </a:cubicBezTo>
                <a:cubicBezTo>
                  <a:pt x="11938395" y="1281267"/>
                  <a:pt x="11938590" y="1274775"/>
                  <a:pt x="11943368" y="1269142"/>
                </a:cubicBezTo>
                <a:cubicBezTo>
                  <a:pt x="11945170" y="1266836"/>
                  <a:pt x="11944500" y="1264466"/>
                  <a:pt x="11943742" y="1262282"/>
                </a:cubicBezTo>
                <a:cubicBezTo>
                  <a:pt x="11942125" y="1257181"/>
                  <a:pt x="11943202" y="1255432"/>
                  <a:pt x="11948219" y="1254459"/>
                </a:cubicBezTo>
                <a:cubicBezTo>
                  <a:pt x="11953605" y="1253664"/>
                  <a:pt x="11953605" y="1253664"/>
                  <a:pt x="11952256" y="1248012"/>
                </a:cubicBezTo>
                <a:cubicBezTo>
                  <a:pt x="11951965" y="1246735"/>
                  <a:pt x="11951770" y="1245733"/>
                  <a:pt x="11953409" y="1245164"/>
                </a:cubicBezTo>
                <a:cubicBezTo>
                  <a:pt x="11959141" y="1242721"/>
                  <a:pt x="11964505" y="1240097"/>
                  <a:pt x="11970330" y="1237926"/>
                </a:cubicBezTo>
                <a:cubicBezTo>
                  <a:pt x="11974606" y="1236140"/>
                  <a:pt x="11979083" y="1235813"/>
                  <a:pt x="11983577" y="1236857"/>
                </a:cubicBezTo>
                <a:cubicBezTo>
                  <a:pt x="11986509" y="1237371"/>
                  <a:pt x="11994688" y="1233160"/>
                  <a:pt x="11996210" y="1230492"/>
                </a:cubicBezTo>
                <a:cubicBezTo>
                  <a:pt x="11996657" y="1229572"/>
                  <a:pt x="11997013" y="1228837"/>
                  <a:pt x="11996087" y="1227934"/>
                </a:cubicBezTo>
                <a:cubicBezTo>
                  <a:pt x="11991634" y="1222592"/>
                  <a:pt x="11991282" y="1216289"/>
                  <a:pt x="11991478" y="1209796"/>
                </a:cubicBezTo>
                <a:cubicBezTo>
                  <a:pt x="11991460" y="1208425"/>
                  <a:pt x="11991538" y="1207326"/>
                  <a:pt x="11991432" y="1206140"/>
                </a:cubicBezTo>
                <a:cubicBezTo>
                  <a:pt x="11991020" y="1202305"/>
                  <a:pt x="11991349" y="1199284"/>
                  <a:pt x="11994421" y="1196231"/>
                </a:cubicBezTo>
                <a:cubicBezTo>
                  <a:pt x="11997494" y="1193179"/>
                  <a:pt x="11997255" y="1188519"/>
                  <a:pt x="11997020" y="1184317"/>
                </a:cubicBezTo>
                <a:cubicBezTo>
                  <a:pt x="11997088" y="1182305"/>
                  <a:pt x="11997255" y="1181023"/>
                  <a:pt x="11999344" y="1179993"/>
                </a:cubicBezTo>
                <a:cubicBezTo>
                  <a:pt x="12007886" y="1175504"/>
                  <a:pt x="12015495" y="1169655"/>
                  <a:pt x="12020603" y="1161002"/>
                </a:cubicBezTo>
                <a:cubicBezTo>
                  <a:pt x="12021412" y="1159804"/>
                  <a:pt x="12022047" y="1159431"/>
                  <a:pt x="12023158" y="1160424"/>
                </a:cubicBezTo>
                <a:close/>
                <a:moveTo>
                  <a:pt x="5337420" y="1159731"/>
                </a:moveTo>
                <a:lnTo>
                  <a:pt x="5341835" y="1159938"/>
                </a:lnTo>
                <a:cubicBezTo>
                  <a:pt x="5341835" y="1159938"/>
                  <a:pt x="5341835" y="1159938"/>
                  <a:pt x="5337418" y="1159938"/>
                </a:cubicBezTo>
                <a:close/>
                <a:moveTo>
                  <a:pt x="5341832" y="1155525"/>
                </a:moveTo>
                <a:cubicBezTo>
                  <a:pt x="5341832" y="1155525"/>
                  <a:pt x="5341832" y="1155525"/>
                  <a:pt x="5346247" y="1155525"/>
                </a:cubicBezTo>
                <a:lnTo>
                  <a:pt x="5345978" y="1155793"/>
                </a:lnTo>
                <a:close/>
                <a:moveTo>
                  <a:pt x="8672136" y="1148300"/>
                </a:moveTo>
                <a:cubicBezTo>
                  <a:pt x="8668085" y="1149614"/>
                  <a:pt x="8668085" y="1149614"/>
                  <a:pt x="8668085" y="1149614"/>
                </a:cubicBezTo>
                <a:cubicBezTo>
                  <a:pt x="8668085" y="1149614"/>
                  <a:pt x="8668085" y="1149614"/>
                  <a:pt x="8664032" y="1150928"/>
                </a:cubicBezTo>
                <a:cubicBezTo>
                  <a:pt x="8659978" y="1152243"/>
                  <a:pt x="8651874" y="1154872"/>
                  <a:pt x="8647820" y="1156186"/>
                </a:cubicBezTo>
                <a:lnTo>
                  <a:pt x="8638440" y="1156831"/>
                </a:lnTo>
                <a:close/>
                <a:moveTo>
                  <a:pt x="1907816" y="1140199"/>
                </a:moveTo>
                <a:cubicBezTo>
                  <a:pt x="1910960" y="1140235"/>
                  <a:pt x="1913961" y="1141020"/>
                  <a:pt x="1916390" y="1144445"/>
                </a:cubicBezTo>
                <a:cubicBezTo>
                  <a:pt x="1917248" y="1145588"/>
                  <a:pt x="1918963" y="1147015"/>
                  <a:pt x="1921251" y="1147015"/>
                </a:cubicBezTo>
                <a:cubicBezTo>
                  <a:pt x="1924393" y="1146730"/>
                  <a:pt x="1926109" y="1148443"/>
                  <a:pt x="1926680" y="1151582"/>
                </a:cubicBezTo>
                <a:cubicBezTo>
                  <a:pt x="1927252" y="1153581"/>
                  <a:pt x="1928681" y="1154721"/>
                  <a:pt x="1930109" y="1156149"/>
                </a:cubicBezTo>
                <a:cubicBezTo>
                  <a:pt x="1933826" y="1159574"/>
                  <a:pt x="1935540" y="1163570"/>
                  <a:pt x="1934110" y="1168708"/>
                </a:cubicBezTo>
                <a:cubicBezTo>
                  <a:pt x="1933254" y="1171563"/>
                  <a:pt x="1934110" y="1174703"/>
                  <a:pt x="1936969" y="1176416"/>
                </a:cubicBezTo>
                <a:cubicBezTo>
                  <a:pt x="1936969" y="1177557"/>
                  <a:pt x="1936969" y="1178699"/>
                  <a:pt x="1936969" y="1179841"/>
                </a:cubicBezTo>
                <a:cubicBezTo>
                  <a:pt x="1934397" y="1181268"/>
                  <a:pt x="1933254" y="1182980"/>
                  <a:pt x="1933539" y="1186692"/>
                </a:cubicBezTo>
                <a:cubicBezTo>
                  <a:pt x="1933826" y="1191829"/>
                  <a:pt x="1931539" y="1195825"/>
                  <a:pt x="1925823" y="1196968"/>
                </a:cubicBezTo>
                <a:cubicBezTo>
                  <a:pt x="1923251" y="1197252"/>
                  <a:pt x="1923823" y="1199250"/>
                  <a:pt x="1923823" y="1200963"/>
                </a:cubicBezTo>
                <a:cubicBezTo>
                  <a:pt x="1923823" y="1203818"/>
                  <a:pt x="1922679" y="1204388"/>
                  <a:pt x="1920392" y="1202391"/>
                </a:cubicBezTo>
                <a:cubicBezTo>
                  <a:pt x="1916962" y="1199536"/>
                  <a:pt x="1914675" y="1199536"/>
                  <a:pt x="1913818" y="1204388"/>
                </a:cubicBezTo>
                <a:cubicBezTo>
                  <a:pt x="1913534" y="1205530"/>
                  <a:pt x="1912675" y="1206958"/>
                  <a:pt x="1911532" y="1205530"/>
                </a:cubicBezTo>
                <a:cubicBezTo>
                  <a:pt x="1907817" y="1201820"/>
                  <a:pt x="1905245" y="1204103"/>
                  <a:pt x="1902387" y="1206673"/>
                </a:cubicBezTo>
                <a:cubicBezTo>
                  <a:pt x="1902100" y="1207244"/>
                  <a:pt x="1900956" y="1207244"/>
                  <a:pt x="1900386" y="1207244"/>
                </a:cubicBezTo>
                <a:cubicBezTo>
                  <a:pt x="1893526" y="1203248"/>
                  <a:pt x="1886953" y="1198680"/>
                  <a:pt x="1880094" y="1194399"/>
                </a:cubicBezTo>
                <a:cubicBezTo>
                  <a:pt x="1876950" y="1192400"/>
                  <a:pt x="1875234" y="1186976"/>
                  <a:pt x="1873806" y="1182696"/>
                </a:cubicBezTo>
                <a:cubicBezTo>
                  <a:pt x="1873234" y="1180982"/>
                  <a:pt x="1873519" y="1179270"/>
                  <a:pt x="1871805" y="1177843"/>
                </a:cubicBezTo>
                <a:cubicBezTo>
                  <a:pt x="1870089" y="1176416"/>
                  <a:pt x="1870376" y="1174703"/>
                  <a:pt x="1871520" y="1172990"/>
                </a:cubicBezTo>
                <a:cubicBezTo>
                  <a:pt x="1872091" y="1171848"/>
                  <a:pt x="1873234" y="1170421"/>
                  <a:pt x="1872377" y="1169279"/>
                </a:cubicBezTo>
                <a:cubicBezTo>
                  <a:pt x="1869518" y="1165854"/>
                  <a:pt x="1869233" y="1163285"/>
                  <a:pt x="1873806" y="1161572"/>
                </a:cubicBezTo>
                <a:cubicBezTo>
                  <a:pt x="1874950" y="1161287"/>
                  <a:pt x="1875234" y="1159574"/>
                  <a:pt x="1874091" y="1158718"/>
                </a:cubicBezTo>
                <a:cubicBezTo>
                  <a:pt x="1870376" y="1155579"/>
                  <a:pt x="1874378" y="1154152"/>
                  <a:pt x="1874950" y="1151868"/>
                </a:cubicBezTo>
                <a:cubicBezTo>
                  <a:pt x="1876950" y="1144161"/>
                  <a:pt x="1885809" y="1146443"/>
                  <a:pt x="1889240" y="1140735"/>
                </a:cubicBezTo>
                <a:cubicBezTo>
                  <a:pt x="1890383" y="1138737"/>
                  <a:pt x="1895813" y="1140165"/>
                  <a:pt x="1898384" y="1140450"/>
                </a:cubicBezTo>
                <a:cubicBezTo>
                  <a:pt x="1901386" y="1140878"/>
                  <a:pt x="1904673" y="1140164"/>
                  <a:pt x="1907816" y="1140199"/>
                </a:cubicBezTo>
                <a:close/>
                <a:moveTo>
                  <a:pt x="5240327" y="1137871"/>
                </a:moveTo>
                <a:cubicBezTo>
                  <a:pt x="5262393" y="1133457"/>
                  <a:pt x="5293288" y="1142285"/>
                  <a:pt x="5315354" y="1146697"/>
                </a:cubicBezTo>
                <a:cubicBezTo>
                  <a:pt x="5310940" y="1146697"/>
                  <a:pt x="5310940" y="1146697"/>
                  <a:pt x="5310940" y="1151112"/>
                </a:cubicBezTo>
                <a:cubicBezTo>
                  <a:pt x="5310940" y="1151112"/>
                  <a:pt x="5315354" y="1151110"/>
                  <a:pt x="5315354" y="1151110"/>
                </a:cubicBezTo>
                <a:cubicBezTo>
                  <a:pt x="5333006" y="1155525"/>
                  <a:pt x="5333006" y="1155525"/>
                  <a:pt x="5333006" y="1155525"/>
                </a:cubicBezTo>
                <a:cubicBezTo>
                  <a:pt x="5337420" y="1155525"/>
                  <a:pt x="5337420" y="1155525"/>
                  <a:pt x="5337420" y="1155525"/>
                </a:cubicBezTo>
                <a:lnTo>
                  <a:pt x="5337420" y="1159731"/>
                </a:lnTo>
                <a:lnTo>
                  <a:pt x="5330181" y="1159386"/>
                </a:lnTo>
                <a:cubicBezTo>
                  <a:pt x="5322525" y="1161041"/>
                  <a:pt x="5324179" y="1167661"/>
                  <a:pt x="5310940" y="1164351"/>
                </a:cubicBezTo>
                <a:cubicBezTo>
                  <a:pt x="5310940" y="1159938"/>
                  <a:pt x="5310940" y="1159938"/>
                  <a:pt x="5306526" y="1159938"/>
                </a:cubicBezTo>
                <a:cubicBezTo>
                  <a:pt x="5302115" y="1159938"/>
                  <a:pt x="5302115" y="1159938"/>
                  <a:pt x="5302115" y="1159938"/>
                </a:cubicBezTo>
                <a:cubicBezTo>
                  <a:pt x="5302115" y="1155525"/>
                  <a:pt x="5302115" y="1155525"/>
                  <a:pt x="5297701" y="1155525"/>
                </a:cubicBezTo>
                <a:cubicBezTo>
                  <a:pt x="5297701" y="1155525"/>
                  <a:pt x="5297701" y="1155525"/>
                  <a:pt x="5293288" y="1155525"/>
                </a:cubicBezTo>
                <a:cubicBezTo>
                  <a:pt x="5293288" y="1159938"/>
                  <a:pt x="5297701" y="1159938"/>
                  <a:pt x="5293288" y="1159938"/>
                </a:cubicBezTo>
                <a:cubicBezTo>
                  <a:pt x="5280046" y="1159938"/>
                  <a:pt x="5266807" y="1155525"/>
                  <a:pt x="5257981" y="1164351"/>
                </a:cubicBezTo>
                <a:cubicBezTo>
                  <a:pt x="5262391" y="1159938"/>
                  <a:pt x="5262391" y="1159938"/>
                  <a:pt x="5257981" y="1159938"/>
                </a:cubicBezTo>
                <a:cubicBezTo>
                  <a:pt x="5253567" y="1155525"/>
                  <a:pt x="5249152" y="1159938"/>
                  <a:pt x="5249152" y="1159938"/>
                </a:cubicBezTo>
                <a:cubicBezTo>
                  <a:pt x="5249152" y="1159938"/>
                  <a:pt x="5249152" y="1159938"/>
                  <a:pt x="5244741" y="1159938"/>
                </a:cubicBezTo>
                <a:cubicBezTo>
                  <a:pt x="5231502" y="1151110"/>
                  <a:pt x="5218261" y="1164351"/>
                  <a:pt x="5200609" y="1155525"/>
                </a:cubicBezTo>
                <a:cubicBezTo>
                  <a:pt x="5200607" y="1159938"/>
                  <a:pt x="5200607" y="1159938"/>
                  <a:pt x="5200607" y="1159938"/>
                </a:cubicBezTo>
                <a:cubicBezTo>
                  <a:pt x="5200609" y="1155525"/>
                  <a:pt x="5196195" y="1155525"/>
                  <a:pt x="5196195" y="1155525"/>
                </a:cubicBezTo>
                <a:cubicBezTo>
                  <a:pt x="5191780" y="1155525"/>
                  <a:pt x="5191780" y="1155525"/>
                  <a:pt x="5191780" y="1159939"/>
                </a:cubicBezTo>
                <a:cubicBezTo>
                  <a:pt x="5178541" y="1159938"/>
                  <a:pt x="5165301" y="1159938"/>
                  <a:pt x="5165301" y="1159938"/>
                </a:cubicBezTo>
                <a:cubicBezTo>
                  <a:pt x="5152060" y="1159938"/>
                  <a:pt x="5174127" y="1164351"/>
                  <a:pt x="5152061" y="1164351"/>
                </a:cubicBezTo>
                <a:cubicBezTo>
                  <a:pt x="5156475" y="1159938"/>
                  <a:pt x="5152060" y="1155525"/>
                  <a:pt x="5147646" y="1159938"/>
                </a:cubicBezTo>
                <a:cubicBezTo>
                  <a:pt x="5143235" y="1164351"/>
                  <a:pt x="5165301" y="1168764"/>
                  <a:pt x="5143235" y="1168764"/>
                </a:cubicBezTo>
                <a:cubicBezTo>
                  <a:pt x="5143235" y="1168764"/>
                  <a:pt x="5143235" y="1168764"/>
                  <a:pt x="5143235" y="1164351"/>
                </a:cubicBezTo>
                <a:cubicBezTo>
                  <a:pt x="5143235" y="1164351"/>
                  <a:pt x="5143235" y="1164351"/>
                  <a:pt x="5138821" y="1164351"/>
                </a:cubicBezTo>
                <a:cubicBezTo>
                  <a:pt x="5138821" y="1164351"/>
                  <a:pt x="5134407" y="1164351"/>
                  <a:pt x="5134407" y="1164351"/>
                </a:cubicBezTo>
                <a:cubicBezTo>
                  <a:pt x="5129996" y="1164352"/>
                  <a:pt x="5129996" y="1164352"/>
                  <a:pt x="5129996" y="1164352"/>
                </a:cubicBezTo>
                <a:cubicBezTo>
                  <a:pt x="5125580" y="1164351"/>
                  <a:pt x="5125580" y="1164351"/>
                  <a:pt x="5125580" y="1164351"/>
                </a:cubicBezTo>
                <a:cubicBezTo>
                  <a:pt x="5125580" y="1159938"/>
                  <a:pt x="5121167" y="1159938"/>
                  <a:pt x="5116754" y="1159938"/>
                </a:cubicBezTo>
                <a:cubicBezTo>
                  <a:pt x="5116754" y="1164351"/>
                  <a:pt x="5112341" y="1164351"/>
                  <a:pt x="5107927" y="1164351"/>
                </a:cubicBezTo>
                <a:cubicBezTo>
                  <a:pt x="5103513" y="1159938"/>
                  <a:pt x="5090274" y="1159938"/>
                  <a:pt x="5081448" y="1159938"/>
                </a:cubicBezTo>
                <a:cubicBezTo>
                  <a:pt x="5116754" y="1159938"/>
                  <a:pt x="5129996" y="1159938"/>
                  <a:pt x="5160887" y="1155525"/>
                </a:cubicBezTo>
                <a:cubicBezTo>
                  <a:pt x="5156475" y="1146697"/>
                  <a:pt x="5174127" y="1142285"/>
                  <a:pt x="5196195" y="1142285"/>
                </a:cubicBezTo>
                <a:cubicBezTo>
                  <a:pt x="5218261" y="1142286"/>
                  <a:pt x="5240327" y="1142285"/>
                  <a:pt x="5240327" y="1137871"/>
                </a:cubicBezTo>
                <a:close/>
                <a:moveTo>
                  <a:pt x="9339349" y="1125863"/>
                </a:moveTo>
                <a:cubicBezTo>
                  <a:pt x="9307690" y="1126584"/>
                  <a:pt x="9276030" y="1127304"/>
                  <a:pt x="9251014" y="1133467"/>
                </a:cubicBezTo>
                <a:cubicBezTo>
                  <a:pt x="9247269" y="1132621"/>
                  <a:pt x="9235184" y="1133827"/>
                  <a:pt x="9232286" y="1129233"/>
                </a:cubicBezTo>
                <a:cubicBezTo>
                  <a:pt x="9173917" y="1143611"/>
                  <a:pt x="9141053" y="1132241"/>
                  <a:pt x="9085225" y="1135377"/>
                </a:cubicBezTo>
                <a:cubicBezTo>
                  <a:pt x="9028059" y="1161844"/>
                  <a:pt x="8961842" y="1158692"/>
                  <a:pt x="8873864" y="1182131"/>
                </a:cubicBezTo>
                <a:cubicBezTo>
                  <a:pt x="8879304" y="1175483"/>
                  <a:pt x="8859728" y="1174997"/>
                  <a:pt x="8860575" y="1171249"/>
                </a:cubicBezTo>
                <a:cubicBezTo>
                  <a:pt x="8843898" y="1175357"/>
                  <a:pt x="8827222" y="1179466"/>
                  <a:pt x="8810544" y="1183574"/>
                </a:cubicBezTo>
                <a:cubicBezTo>
                  <a:pt x="8815136" y="1180673"/>
                  <a:pt x="8815136" y="1180673"/>
                  <a:pt x="8815136" y="1180673"/>
                </a:cubicBezTo>
                <a:cubicBezTo>
                  <a:pt x="8819730" y="1177772"/>
                  <a:pt x="8819730" y="1177772"/>
                  <a:pt x="8819730" y="1177772"/>
                </a:cubicBezTo>
                <a:cubicBezTo>
                  <a:pt x="8815984" y="1176925"/>
                  <a:pt x="8812238" y="1176078"/>
                  <a:pt x="8808493" y="1175232"/>
                </a:cubicBezTo>
                <a:cubicBezTo>
                  <a:pt x="8803900" y="1178132"/>
                  <a:pt x="8803900" y="1178132"/>
                  <a:pt x="8803900" y="1178132"/>
                </a:cubicBezTo>
                <a:cubicBezTo>
                  <a:pt x="8803900" y="1178132"/>
                  <a:pt x="8803900" y="1178132"/>
                  <a:pt x="8803052" y="1181880"/>
                </a:cubicBezTo>
                <a:cubicBezTo>
                  <a:pt x="8792663" y="1175592"/>
                  <a:pt x="8758462" y="1187556"/>
                  <a:pt x="8715921" y="1201573"/>
                </a:cubicBezTo>
                <a:cubicBezTo>
                  <a:pt x="8673382" y="1215591"/>
                  <a:pt x="8621656" y="1235410"/>
                  <a:pt x="8579116" y="1249427"/>
                </a:cubicBezTo>
                <a:cubicBezTo>
                  <a:pt x="8562440" y="1253535"/>
                  <a:pt x="8549508" y="1258489"/>
                  <a:pt x="8536577" y="1263444"/>
                </a:cubicBezTo>
                <a:cubicBezTo>
                  <a:pt x="8484850" y="1283263"/>
                  <a:pt x="8439771" y="1308524"/>
                  <a:pt x="8395536" y="1330037"/>
                </a:cubicBezTo>
                <a:cubicBezTo>
                  <a:pt x="8391366" y="1331063"/>
                  <a:pt x="8386261" y="1331879"/>
                  <a:pt x="8381050" y="1333162"/>
                </a:cubicBezTo>
                <a:lnTo>
                  <a:pt x="8369829" y="1337567"/>
                </a:lnTo>
                <a:lnTo>
                  <a:pt x="8370520" y="1336198"/>
                </a:lnTo>
                <a:cubicBezTo>
                  <a:pt x="8372394" y="1336621"/>
                  <a:pt x="8373543" y="1335896"/>
                  <a:pt x="8373754" y="1334960"/>
                </a:cubicBezTo>
                <a:lnTo>
                  <a:pt x="8372721" y="1333873"/>
                </a:lnTo>
                <a:lnTo>
                  <a:pt x="8231404" y="1405556"/>
                </a:lnTo>
                <a:lnTo>
                  <a:pt x="8231531" y="1411132"/>
                </a:lnTo>
                <a:cubicBezTo>
                  <a:pt x="8191043" y="1433492"/>
                  <a:pt x="8168077" y="1447995"/>
                  <a:pt x="8127589" y="1470355"/>
                </a:cubicBezTo>
                <a:cubicBezTo>
                  <a:pt x="8117555" y="1479904"/>
                  <a:pt x="8112116" y="1486552"/>
                  <a:pt x="8102929" y="1492353"/>
                </a:cubicBezTo>
                <a:cubicBezTo>
                  <a:pt x="8057847" y="1517613"/>
                  <a:pt x="8011920" y="1546622"/>
                  <a:pt x="7968889" y="1580223"/>
                </a:cubicBezTo>
                <a:cubicBezTo>
                  <a:pt x="7947798" y="1595151"/>
                  <a:pt x="7927642" y="1610290"/>
                  <a:pt x="7907125" y="1624855"/>
                </a:cubicBezTo>
                <a:lnTo>
                  <a:pt x="7847880" y="1663016"/>
                </a:lnTo>
                <a:lnTo>
                  <a:pt x="7853220" y="1656491"/>
                </a:lnTo>
                <a:cubicBezTo>
                  <a:pt x="7849475" y="1655644"/>
                  <a:pt x="7845730" y="1654797"/>
                  <a:pt x="7840290" y="1661445"/>
                </a:cubicBezTo>
                <a:cubicBezTo>
                  <a:pt x="7840290" y="1661445"/>
                  <a:pt x="7835695" y="1664347"/>
                  <a:pt x="7835695" y="1664347"/>
                </a:cubicBezTo>
                <a:cubicBezTo>
                  <a:pt x="7831950" y="1663500"/>
                  <a:pt x="7832798" y="1659752"/>
                  <a:pt x="7836543" y="1660599"/>
                </a:cubicBezTo>
                <a:cubicBezTo>
                  <a:pt x="7865796" y="1635700"/>
                  <a:pt x="7915469" y="1607538"/>
                  <a:pt x="7950161" y="1575989"/>
                </a:cubicBezTo>
                <a:cubicBezTo>
                  <a:pt x="7948109" y="1567649"/>
                  <a:pt x="7952703" y="1564747"/>
                  <a:pt x="7939771" y="1569703"/>
                </a:cubicBezTo>
                <a:cubicBezTo>
                  <a:pt x="7938075" y="1577197"/>
                  <a:pt x="7924297" y="1585899"/>
                  <a:pt x="7910520" y="1594601"/>
                </a:cubicBezTo>
                <a:cubicBezTo>
                  <a:pt x="7904721" y="1585413"/>
                  <a:pt x="7882114" y="1615755"/>
                  <a:pt x="7862896" y="1631105"/>
                </a:cubicBezTo>
                <a:cubicBezTo>
                  <a:pt x="7810681" y="1670508"/>
                  <a:pt x="7750973" y="1708218"/>
                  <a:pt x="7700808" y="1755965"/>
                </a:cubicBezTo>
                <a:cubicBezTo>
                  <a:pt x="7695368" y="1762613"/>
                  <a:pt x="7694519" y="1766360"/>
                  <a:pt x="7689081" y="1773008"/>
                </a:cubicBezTo>
                <a:cubicBezTo>
                  <a:pt x="7673606" y="1789206"/>
                  <a:pt x="7636018" y="1816159"/>
                  <a:pt x="7628881" y="1830304"/>
                </a:cubicBezTo>
                <a:cubicBezTo>
                  <a:pt x="7625983" y="1825709"/>
                  <a:pt x="7622238" y="1824863"/>
                  <a:pt x="7615952" y="1835257"/>
                </a:cubicBezTo>
                <a:cubicBezTo>
                  <a:pt x="7611357" y="1838159"/>
                  <a:pt x="7593343" y="1865599"/>
                  <a:pt x="7589597" y="1864752"/>
                </a:cubicBezTo>
                <a:cubicBezTo>
                  <a:pt x="7594191" y="1861851"/>
                  <a:pt x="7590445" y="1861004"/>
                  <a:pt x="7591292" y="1857256"/>
                </a:cubicBezTo>
                <a:cubicBezTo>
                  <a:pt x="7565787" y="1883003"/>
                  <a:pt x="7554060" y="1900048"/>
                  <a:pt x="7532298" y="1926641"/>
                </a:cubicBezTo>
                <a:cubicBezTo>
                  <a:pt x="7546433" y="1933777"/>
                  <a:pt x="7569889" y="1899687"/>
                  <a:pt x="7586207" y="1879742"/>
                </a:cubicBezTo>
                <a:cubicBezTo>
                  <a:pt x="7604158" y="1870012"/>
                  <a:pt x="7620143" y="1855901"/>
                  <a:pt x="7636914" y="1840489"/>
                </a:cubicBezTo>
                <a:lnTo>
                  <a:pt x="7683586" y="1800869"/>
                </a:lnTo>
                <a:lnTo>
                  <a:pt x="7682302" y="1802989"/>
                </a:lnTo>
                <a:cubicBezTo>
                  <a:pt x="7685201" y="1807583"/>
                  <a:pt x="7689794" y="1804683"/>
                  <a:pt x="7690641" y="1800935"/>
                </a:cubicBezTo>
                <a:cubicBezTo>
                  <a:pt x="7694387" y="1801781"/>
                  <a:pt x="7694387" y="1801781"/>
                  <a:pt x="7694387" y="1801781"/>
                </a:cubicBezTo>
                <a:cubicBezTo>
                  <a:pt x="7662594" y="1837925"/>
                  <a:pt x="7621616" y="1879868"/>
                  <a:pt x="7587770" y="1907669"/>
                </a:cubicBezTo>
                <a:cubicBezTo>
                  <a:pt x="7570600" y="1931362"/>
                  <a:pt x="7548843" y="1957955"/>
                  <a:pt x="7543759" y="1980440"/>
                </a:cubicBezTo>
                <a:cubicBezTo>
                  <a:pt x="7616529" y="1902354"/>
                  <a:pt x="7669236" y="1843365"/>
                  <a:pt x="7730640" y="1798159"/>
                </a:cubicBezTo>
                <a:cubicBezTo>
                  <a:pt x="7746959" y="1778215"/>
                  <a:pt x="7772466" y="1752468"/>
                  <a:pt x="7790837" y="1740866"/>
                </a:cubicBezTo>
                <a:cubicBezTo>
                  <a:pt x="7782855" y="1758757"/>
                  <a:pt x="7801228" y="1747154"/>
                  <a:pt x="7803279" y="1755496"/>
                </a:cubicBezTo>
                <a:cubicBezTo>
                  <a:pt x="7812463" y="1749694"/>
                  <a:pt x="7809565" y="1745100"/>
                  <a:pt x="7819596" y="1735551"/>
                </a:cubicBezTo>
                <a:cubicBezTo>
                  <a:pt x="7834225" y="1723101"/>
                  <a:pt x="7801228" y="1747154"/>
                  <a:pt x="7812954" y="1730108"/>
                </a:cubicBezTo>
                <a:cubicBezTo>
                  <a:pt x="7852240" y="1695660"/>
                  <a:pt x="7888135" y="1676202"/>
                  <a:pt x="7924521" y="1637158"/>
                </a:cubicBezTo>
                <a:cubicBezTo>
                  <a:pt x="7944945" y="1633897"/>
                  <a:pt x="7968755" y="1615645"/>
                  <a:pt x="7991719" y="1601142"/>
                </a:cubicBezTo>
                <a:cubicBezTo>
                  <a:pt x="8015532" y="1582891"/>
                  <a:pt x="8039343" y="1564639"/>
                  <a:pt x="8061460" y="1553883"/>
                </a:cubicBezTo>
                <a:cubicBezTo>
                  <a:pt x="8043087" y="1565486"/>
                  <a:pt x="8045985" y="1570080"/>
                  <a:pt x="8041395" y="1572980"/>
                </a:cubicBezTo>
                <a:cubicBezTo>
                  <a:pt x="8049733" y="1570926"/>
                  <a:pt x="8048884" y="1574674"/>
                  <a:pt x="8052631" y="1575521"/>
                </a:cubicBezTo>
                <a:cubicBezTo>
                  <a:pt x="8076442" y="1557270"/>
                  <a:pt x="8083935" y="1558963"/>
                  <a:pt x="8106898" y="1544460"/>
                </a:cubicBezTo>
                <a:cubicBezTo>
                  <a:pt x="8107745" y="1540712"/>
                  <a:pt x="8108594" y="1536965"/>
                  <a:pt x="8113187" y="1534063"/>
                </a:cubicBezTo>
                <a:cubicBezTo>
                  <a:pt x="8106541" y="1528622"/>
                  <a:pt x="8093611" y="1533577"/>
                  <a:pt x="8099898" y="1523181"/>
                </a:cubicBezTo>
                <a:cubicBezTo>
                  <a:pt x="8126606" y="1509524"/>
                  <a:pt x="8144131" y="1501668"/>
                  <a:pt x="8167097" y="1487164"/>
                </a:cubicBezTo>
                <a:cubicBezTo>
                  <a:pt x="8185468" y="1475561"/>
                  <a:pt x="8207585" y="1464806"/>
                  <a:pt x="8240583" y="1440752"/>
                </a:cubicBezTo>
                <a:cubicBezTo>
                  <a:pt x="8240583" y="1440752"/>
                  <a:pt x="8237685" y="1436157"/>
                  <a:pt x="8242275" y="1433257"/>
                </a:cubicBezTo>
                <a:cubicBezTo>
                  <a:pt x="8272732" y="1420446"/>
                  <a:pt x="8264395" y="1422502"/>
                  <a:pt x="8290257" y="1412591"/>
                </a:cubicBezTo>
                <a:cubicBezTo>
                  <a:pt x="8299443" y="1406790"/>
                  <a:pt x="8308627" y="1400989"/>
                  <a:pt x="8322408" y="1392286"/>
                </a:cubicBezTo>
                <a:cubicBezTo>
                  <a:pt x="8385370" y="1375007"/>
                  <a:pt x="8437584" y="1335603"/>
                  <a:pt x="8510581" y="1308775"/>
                </a:cubicBezTo>
                <a:cubicBezTo>
                  <a:pt x="8511427" y="1305029"/>
                  <a:pt x="8524359" y="1300073"/>
                  <a:pt x="8533544" y="1294272"/>
                </a:cubicBezTo>
                <a:cubicBezTo>
                  <a:pt x="8536442" y="1298866"/>
                  <a:pt x="8554814" y="1287262"/>
                  <a:pt x="8553968" y="1291010"/>
                </a:cubicBezTo>
                <a:cubicBezTo>
                  <a:pt x="8543934" y="1300560"/>
                  <a:pt x="8522664" y="1307569"/>
                  <a:pt x="8528461" y="1316757"/>
                </a:cubicBezTo>
                <a:cubicBezTo>
                  <a:pt x="8571001" y="1302739"/>
                  <a:pt x="8589373" y="1291136"/>
                  <a:pt x="8607744" y="1279533"/>
                </a:cubicBezTo>
                <a:cubicBezTo>
                  <a:pt x="8621523" y="1270831"/>
                  <a:pt x="8591914" y="1279894"/>
                  <a:pt x="8589016" y="1275299"/>
                </a:cubicBezTo>
                <a:cubicBezTo>
                  <a:pt x="8589016" y="1275299"/>
                  <a:pt x="8598202" y="1269497"/>
                  <a:pt x="8595302" y="1264905"/>
                </a:cubicBezTo>
                <a:cubicBezTo>
                  <a:pt x="8596150" y="1261157"/>
                  <a:pt x="8567389" y="1266471"/>
                  <a:pt x="8597844" y="1253661"/>
                </a:cubicBezTo>
                <a:cubicBezTo>
                  <a:pt x="8601591" y="1254508"/>
                  <a:pt x="8601591" y="1254508"/>
                  <a:pt x="8601591" y="1254508"/>
                </a:cubicBezTo>
                <a:cubicBezTo>
                  <a:pt x="8596997" y="1257408"/>
                  <a:pt x="8596997" y="1257408"/>
                  <a:pt x="8596997" y="1257408"/>
                </a:cubicBezTo>
                <a:cubicBezTo>
                  <a:pt x="8596997" y="1257408"/>
                  <a:pt x="8596997" y="1257408"/>
                  <a:pt x="8600742" y="1258256"/>
                </a:cubicBezTo>
                <a:cubicBezTo>
                  <a:pt x="8600742" y="1258256"/>
                  <a:pt x="8604489" y="1259103"/>
                  <a:pt x="8604489" y="1259103"/>
                </a:cubicBezTo>
                <a:cubicBezTo>
                  <a:pt x="8605336" y="1255355"/>
                  <a:pt x="8609082" y="1256201"/>
                  <a:pt x="8609082" y="1256201"/>
                </a:cubicBezTo>
                <a:cubicBezTo>
                  <a:pt x="8609929" y="1252454"/>
                  <a:pt x="8609929" y="1252454"/>
                  <a:pt x="8609929" y="1252454"/>
                </a:cubicBezTo>
                <a:cubicBezTo>
                  <a:pt x="8608234" y="1259949"/>
                  <a:pt x="8638691" y="1247138"/>
                  <a:pt x="8634944" y="1246291"/>
                </a:cubicBezTo>
                <a:cubicBezTo>
                  <a:pt x="8631199" y="1245445"/>
                  <a:pt x="8631199" y="1245445"/>
                  <a:pt x="8631199" y="1245445"/>
                </a:cubicBezTo>
                <a:cubicBezTo>
                  <a:pt x="8631199" y="1245445"/>
                  <a:pt x="8634944" y="1246291"/>
                  <a:pt x="8639538" y="1243391"/>
                </a:cubicBezTo>
                <a:cubicBezTo>
                  <a:pt x="8639538" y="1243391"/>
                  <a:pt x="8644130" y="1240490"/>
                  <a:pt x="8644130" y="1240490"/>
                </a:cubicBezTo>
                <a:cubicBezTo>
                  <a:pt x="8644130" y="1240490"/>
                  <a:pt x="8644978" y="1236743"/>
                  <a:pt x="8640384" y="1239644"/>
                </a:cubicBezTo>
                <a:cubicBezTo>
                  <a:pt x="8640384" y="1239644"/>
                  <a:pt x="8636638" y="1238797"/>
                  <a:pt x="8636638" y="1238797"/>
                </a:cubicBezTo>
                <a:cubicBezTo>
                  <a:pt x="8657908" y="1231788"/>
                  <a:pt x="8715921" y="1201573"/>
                  <a:pt x="8735498" y="1202060"/>
                </a:cubicBezTo>
                <a:cubicBezTo>
                  <a:pt x="8720872" y="1214510"/>
                  <a:pt x="8707093" y="1223212"/>
                  <a:pt x="8712890" y="1232399"/>
                </a:cubicBezTo>
                <a:cubicBezTo>
                  <a:pt x="8717482" y="1229499"/>
                  <a:pt x="8738752" y="1222491"/>
                  <a:pt x="8731618" y="1236633"/>
                </a:cubicBezTo>
                <a:cubicBezTo>
                  <a:pt x="8752888" y="1229626"/>
                  <a:pt x="8769566" y="1225517"/>
                  <a:pt x="8786242" y="1221409"/>
                </a:cubicBezTo>
                <a:cubicBezTo>
                  <a:pt x="8787088" y="1217662"/>
                  <a:pt x="8775005" y="1218868"/>
                  <a:pt x="8784190" y="1213068"/>
                </a:cubicBezTo>
                <a:cubicBezTo>
                  <a:pt x="8803766" y="1213554"/>
                  <a:pt x="8817545" y="1204852"/>
                  <a:pt x="8841714" y="1202437"/>
                </a:cubicBezTo>
                <a:cubicBezTo>
                  <a:pt x="8865525" y="1184185"/>
                  <a:pt x="8888846" y="1185519"/>
                  <a:pt x="8938877" y="1173195"/>
                </a:cubicBezTo>
                <a:cubicBezTo>
                  <a:pt x="8937182" y="1180690"/>
                  <a:pt x="8945521" y="1178636"/>
                  <a:pt x="8944674" y="1182384"/>
                </a:cubicBezTo>
                <a:cubicBezTo>
                  <a:pt x="8986368" y="1172114"/>
                  <a:pt x="9026365" y="1169339"/>
                  <a:pt x="9067210" y="1162817"/>
                </a:cubicBezTo>
                <a:cubicBezTo>
                  <a:pt x="9107210" y="1160042"/>
                  <a:pt x="9147207" y="1157268"/>
                  <a:pt x="9176815" y="1148205"/>
                </a:cubicBezTo>
                <a:cubicBezTo>
                  <a:pt x="9160139" y="1152312"/>
                  <a:pt x="9173917" y="1143611"/>
                  <a:pt x="9182255" y="1141557"/>
                </a:cubicBezTo>
                <a:cubicBezTo>
                  <a:pt x="9193492" y="1144096"/>
                  <a:pt x="9214762" y="1137087"/>
                  <a:pt x="9209322" y="1143737"/>
                </a:cubicBezTo>
                <a:cubicBezTo>
                  <a:pt x="9241829" y="1139267"/>
                  <a:pt x="9253912" y="1138062"/>
                  <a:pt x="9290166" y="1134440"/>
                </a:cubicBezTo>
                <a:cubicBezTo>
                  <a:pt x="9301403" y="1136979"/>
                  <a:pt x="9308894" y="1138674"/>
                  <a:pt x="9320131" y="1141213"/>
                </a:cubicBezTo>
                <a:cubicBezTo>
                  <a:pt x="9333062" y="1136259"/>
                  <a:pt x="9352638" y="1136745"/>
                  <a:pt x="9372214" y="1137231"/>
                </a:cubicBezTo>
                <a:cubicBezTo>
                  <a:pt x="9390940" y="1141466"/>
                  <a:pt x="9406770" y="1141105"/>
                  <a:pt x="9415957" y="1135303"/>
                </a:cubicBezTo>
                <a:cubicBezTo>
                  <a:pt x="9415957" y="1135303"/>
                  <a:pt x="9415957" y="1135303"/>
                  <a:pt x="9416804" y="1131556"/>
                </a:cubicBezTo>
                <a:cubicBezTo>
                  <a:pt x="9409313" y="1129862"/>
                  <a:pt x="9405567" y="1129016"/>
                  <a:pt x="9398076" y="1127322"/>
                </a:cubicBezTo>
                <a:cubicBezTo>
                  <a:pt x="9379348" y="1123087"/>
                  <a:pt x="9359772" y="1122602"/>
                  <a:pt x="9339349" y="1125863"/>
                </a:cubicBezTo>
                <a:close/>
                <a:moveTo>
                  <a:pt x="1478794" y="1120425"/>
                </a:moveTo>
                <a:cubicBezTo>
                  <a:pt x="1486407" y="1123340"/>
                  <a:pt x="1493433" y="1127421"/>
                  <a:pt x="1496361" y="1136748"/>
                </a:cubicBezTo>
                <a:cubicBezTo>
                  <a:pt x="1496947" y="1138496"/>
                  <a:pt x="1500460" y="1139663"/>
                  <a:pt x="1499875" y="1143161"/>
                </a:cubicBezTo>
                <a:cubicBezTo>
                  <a:pt x="1498118" y="1152489"/>
                  <a:pt x="1505145" y="1155403"/>
                  <a:pt x="1511002" y="1157153"/>
                </a:cubicBezTo>
                <a:cubicBezTo>
                  <a:pt x="1515101" y="1158318"/>
                  <a:pt x="1517442" y="1160066"/>
                  <a:pt x="1519785" y="1162399"/>
                </a:cubicBezTo>
                <a:cubicBezTo>
                  <a:pt x="1526813" y="1168812"/>
                  <a:pt x="1526227" y="1177556"/>
                  <a:pt x="1527983" y="1185718"/>
                </a:cubicBezTo>
                <a:cubicBezTo>
                  <a:pt x="1529155" y="1193297"/>
                  <a:pt x="1525642" y="1199125"/>
                  <a:pt x="1522713" y="1205539"/>
                </a:cubicBezTo>
                <a:cubicBezTo>
                  <a:pt x="1519785" y="1212534"/>
                  <a:pt x="1515101" y="1218364"/>
                  <a:pt x="1506317" y="1218364"/>
                </a:cubicBezTo>
                <a:cubicBezTo>
                  <a:pt x="1505145" y="1218364"/>
                  <a:pt x="1504561" y="1218948"/>
                  <a:pt x="1504561" y="1220696"/>
                </a:cubicBezTo>
                <a:cubicBezTo>
                  <a:pt x="1500460" y="1220696"/>
                  <a:pt x="1496947" y="1220696"/>
                  <a:pt x="1492848" y="1220696"/>
                </a:cubicBezTo>
                <a:cubicBezTo>
                  <a:pt x="1489919" y="1216615"/>
                  <a:pt x="1484064" y="1217199"/>
                  <a:pt x="1479965" y="1214283"/>
                </a:cubicBezTo>
                <a:cubicBezTo>
                  <a:pt x="1475866" y="1211369"/>
                  <a:pt x="1472351" y="1209037"/>
                  <a:pt x="1471180" y="1203790"/>
                </a:cubicBezTo>
                <a:cubicBezTo>
                  <a:pt x="1470594" y="1197960"/>
                  <a:pt x="1467667" y="1192714"/>
                  <a:pt x="1464738" y="1188050"/>
                </a:cubicBezTo>
                <a:cubicBezTo>
                  <a:pt x="1461810" y="1182802"/>
                  <a:pt x="1459467" y="1177556"/>
                  <a:pt x="1456541" y="1172893"/>
                </a:cubicBezTo>
                <a:cubicBezTo>
                  <a:pt x="1454198" y="1167646"/>
                  <a:pt x="1449513" y="1162982"/>
                  <a:pt x="1443657" y="1160066"/>
                </a:cubicBezTo>
                <a:cubicBezTo>
                  <a:pt x="1443657" y="1153071"/>
                  <a:pt x="1443657" y="1146076"/>
                  <a:pt x="1443657" y="1139080"/>
                </a:cubicBezTo>
                <a:cubicBezTo>
                  <a:pt x="1447171" y="1137331"/>
                  <a:pt x="1448927" y="1134999"/>
                  <a:pt x="1450685" y="1130918"/>
                </a:cubicBezTo>
                <a:cubicBezTo>
                  <a:pt x="1453028" y="1126255"/>
                  <a:pt x="1458297" y="1122757"/>
                  <a:pt x="1463567" y="1122757"/>
                </a:cubicBezTo>
                <a:cubicBezTo>
                  <a:pt x="1468838" y="1122757"/>
                  <a:pt x="1473523" y="1121591"/>
                  <a:pt x="1478794" y="1120425"/>
                </a:cubicBezTo>
                <a:close/>
                <a:moveTo>
                  <a:pt x="728989" y="1116721"/>
                </a:moveTo>
                <a:cubicBezTo>
                  <a:pt x="736370" y="1116143"/>
                  <a:pt x="743028" y="1116721"/>
                  <a:pt x="745343" y="1120768"/>
                </a:cubicBezTo>
                <a:lnTo>
                  <a:pt x="755487" y="1129914"/>
                </a:lnTo>
                <a:lnTo>
                  <a:pt x="767755" y="1118514"/>
                </a:lnTo>
                <a:cubicBezTo>
                  <a:pt x="773026" y="1119680"/>
                  <a:pt x="777711" y="1120847"/>
                  <a:pt x="782981" y="1120847"/>
                </a:cubicBezTo>
                <a:cubicBezTo>
                  <a:pt x="788252" y="1120847"/>
                  <a:pt x="793521" y="1124344"/>
                  <a:pt x="795864" y="1129007"/>
                </a:cubicBezTo>
                <a:cubicBezTo>
                  <a:pt x="797621" y="1133088"/>
                  <a:pt x="799378" y="1135421"/>
                  <a:pt x="802891" y="1137169"/>
                </a:cubicBezTo>
                <a:cubicBezTo>
                  <a:pt x="802891" y="1144165"/>
                  <a:pt x="802891" y="1151160"/>
                  <a:pt x="802891" y="1158156"/>
                </a:cubicBezTo>
                <a:lnTo>
                  <a:pt x="800149" y="1160887"/>
                </a:lnTo>
                <a:lnTo>
                  <a:pt x="803231" y="1165863"/>
                </a:lnTo>
                <a:cubicBezTo>
                  <a:pt x="805546" y="1175112"/>
                  <a:pt x="821754" y="1180893"/>
                  <a:pt x="806704" y="1193613"/>
                </a:cubicBezTo>
                <a:cubicBezTo>
                  <a:pt x="802072" y="1197082"/>
                  <a:pt x="803231" y="1204019"/>
                  <a:pt x="807861" y="1205175"/>
                </a:cubicBezTo>
                <a:cubicBezTo>
                  <a:pt x="826385" y="1212114"/>
                  <a:pt x="825228" y="1222520"/>
                  <a:pt x="813650" y="1236395"/>
                </a:cubicBezTo>
                <a:cubicBezTo>
                  <a:pt x="810176" y="1241019"/>
                  <a:pt x="814808" y="1246801"/>
                  <a:pt x="817123" y="1251426"/>
                </a:cubicBezTo>
                <a:cubicBezTo>
                  <a:pt x="821754" y="1258363"/>
                  <a:pt x="822912" y="1265302"/>
                  <a:pt x="815965" y="1271083"/>
                </a:cubicBezTo>
                <a:cubicBezTo>
                  <a:pt x="809019" y="1276864"/>
                  <a:pt x="810176" y="1283802"/>
                  <a:pt x="807861" y="1290740"/>
                </a:cubicBezTo>
                <a:cubicBezTo>
                  <a:pt x="802072" y="1308084"/>
                  <a:pt x="795125" y="1330053"/>
                  <a:pt x="782391" y="1338147"/>
                </a:cubicBezTo>
                <a:cubicBezTo>
                  <a:pt x="754604" y="1355491"/>
                  <a:pt x="727976" y="1373991"/>
                  <a:pt x="700190" y="1390179"/>
                </a:cubicBezTo>
                <a:cubicBezTo>
                  <a:pt x="697874" y="1390179"/>
                  <a:pt x="693242" y="1390179"/>
                  <a:pt x="692086" y="1387867"/>
                </a:cubicBezTo>
                <a:cubicBezTo>
                  <a:pt x="680507" y="1377460"/>
                  <a:pt x="670088" y="1368210"/>
                  <a:pt x="655038" y="1383241"/>
                </a:cubicBezTo>
                <a:cubicBezTo>
                  <a:pt x="650406" y="1389023"/>
                  <a:pt x="646933" y="1383241"/>
                  <a:pt x="645776" y="1378617"/>
                </a:cubicBezTo>
                <a:cubicBezTo>
                  <a:pt x="642303" y="1358961"/>
                  <a:pt x="633040" y="1358961"/>
                  <a:pt x="619146" y="1370523"/>
                </a:cubicBezTo>
                <a:cubicBezTo>
                  <a:pt x="609885" y="1378617"/>
                  <a:pt x="605254" y="1376305"/>
                  <a:pt x="605254" y="1364740"/>
                </a:cubicBezTo>
                <a:cubicBezTo>
                  <a:pt x="605254" y="1357803"/>
                  <a:pt x="607569" y="1349710"/>
                  <a:pt x="597150" y="1348553"/>
                </a:cubicBezTo>
                <a:cubicBezTo>
                  <a:pt x="573994" y="1343929"/>
                  <a:pt x="564732" y="1327740"/>
                  <a:pt x="565890" y="1306928"/>
                </a:cubicBezTo>
                <a:cubicBezTo>
                  <a:pt x="567047" y="1291896"/>
                  <a:pt x="562417" y="1284958"/>
                  <a:pt x="551997" y="1279177"/>
                </a:cubicBezTo>
                <a:cubicBezTo>
                  <a:pt x="551997" y="1274552"/>
                  <a:pt x="551997" y="1269926"/>
                  <a:pt x="551997" y="1265302"/>
                </a:cubicBezTo>
                <a:cubicBezTo>
                  <a:pt x="563575" y="1258363"/>
                  <a:pt x="567047" y="1245645"/>
                  <a:pt x="563575" y="1234082"/>
                </a:cubicBezTo>
                <a:cubicBezTo>
                  <a:pt x="557785" y="1213269"/>
                  <a:pt x="564732" y="1197082"/>
                  <a:pt x="579783" y="1183207"/>
                </a:cubicBezTo>
                <a:cubicBezTo>
                  <a:pt x="585573" y="1177425"/>
                  <a:pt x="591361" y="1172799"/>
                  <a:pt x="593677" y="1164706"/>
                </a:cubicBezTo>
                <a:cubicBezTo>
                  <a:pt x="595991" y="1151986"/>
                  <a:pt x="602938" y="1145049"/>
                  <a:pt x="615673" y="1146205"/>
                </a:cubicBezTo>
                <a:cubicBezTo>
                  <a:pt x="624936" y="1146205"/>
                  <a:pt x="631882" y="1140424"/>
                  <a:pt x="635355" y="1135799"/>
                </a:cubicBezTo>
                <a:cubicBezTo>
                  <a:pt x="655038" y="1108049"/>
                  <a:pt x="683981" y="1123080"/>
                  <a:pt x="708295" y="1119611"/>
                </a:cubicBezTo>
                <a:cubicBezTo>
                  <a:pt x="713505" y="1119033"/>
                  <a:pt x="721608" y="1117298"/>
                  <a:pt x="728989" y="1116721"/>
                </a:cubicBezTo>
                <a:close/>
                <a:moveTo>
                  <a:pt x="4481236" y="1115804"/>
                </a:moveTo>
                <a:cubicBezTo>
                  <a:pt x="4463584" y="1124631"/>
                  <a:pt x="4432690" y="1129045"/>
                  <a:pt x="4428277" y="1137871"/>
                </a:cubicBezTo>
                <a:cubicBezTo>
                  <a:pt x="4428277" y="1137871"/>
                  <a:pt x="4423862" y="1137871"/>
                  <a:pt x="4419450" y="1137871"/>
                </a:cubicBezTo>
                <a:cubicBezTo>
                  <a:pt x="4419450" y="1137871"/>
                  <a:pt x="4415036" y="1137871"/>
                  <a:pt x="4415036" y="1142285"/>
                </a:cubicBezTo>
                <a:cubicBezTo>
                  <a:pt x="4388557" y="1142285"/>
                  <a:pt x="4366490" y="1155525"/>
                  <a:pt x="4344424" y="1164352"/>
                </a:cubicBezTo>
                <a:lnTo>
                  <a:pt x="4201432" y="1218455"/>
                </a:lnTo>
                <a:lnTo>
                  <a:pt x="4204241" y="1236168"/>
                </a:lnTo>
                <a:lnTo>
                  <a:pt x="4207611" y="1234964"/>
                </a:lnTo>
                <a:cubicBezTo>
                  <a:pt x="4207611" y="1234964"/>
                  <a:pt x="4212023" y="1234965"/>
                  <a:pt x="4212023" y="1234965"/>
                </a:cubicBezTo>
                <a:cubicBezTo>
                  <a:pt x="4216438" y="1234965"/>
                  <a:pt x="4216438" y="1234965"/>
                  <a:pt x="4220849" y="1234965"/>
                </a:cubicBezTo>
                <a:cubicBezTo>
                  <a:pt x="4220850" y="1230551"/>
                  <a:pt x="4220850" y="1230551"/>
                  <a:pt x="4220850" y="1230551"/>
                </a:cubicBezTo>
                <a:cubicBezTo>
                  <a:pt x="4247330" y="1217312"/>
                  <a:pt x="4269398" y="1204071"/>
                  <a:pt x="4287051" y="1199658"/>
                </a:cubicBezTo>
                <a:cubicBezTo>
                  <a:pt x="4300289" y="1186418"/>
                  <a:pt x="4340009" y="1177592"/>
                  <a:pt x="4375317" y="1164351"/>
                </a:cubicBezTo>
                <a:cubicBezTo>
                  <a:pt x="4384144" y="1155525"/>
                  <a:pt x="4415036" y="1151110"/>
                  <a:pt x="4423862" y="1146697"/>
                </a:cubicBezTo>
                <a:cubicBezTo>
                  <a:pt x="4423862" y="1146697"/>
                  <a:pt x="4428277" y="1146697"/>
                  <a:pt x="4428277" y="1146697"/>
                </a:cubicBezTo>
                <a:cubicBezTo>
                  <a:pt x="4428277" y="1146697"/>
                  <a:pt x="4432690" y="1146697"/>
                  <a:pt x="4432690" y="1146697"/>
                </a:cubicBezTo>
                <a:cubicBezTo>
                  <a:pt x="4437104" y="1146697"/>
                  <a:pt x="4437104" y="1146697"/>
                  <a:pt x="4437104" y="1146697"/>
                </a:cubicBezTo>
                <a:cubicBezTo>
                  <a:pt x="4441515" y="1142285"/>
                  <a:pt x="4441515" y="1142285"/>
                  <a:pt x="4437104" y="1142285"/>
                </a:cubicBezTo>
                <a:cubicBezTo>
                  <a:pt x="4450344" y="1137871"/>
                  <a:pt x="4441516" y="1137871"/>
                  <a:pt x="4441516" y="1133457"/>
                </a:cubicBezTo>
                <a:cubicBezTo>
                  <a:pt x="4454756" y="1137872"/>
                  <a:pt x="4454756" y="1124631"/>
                  <a:pt x="4472409" y="1124632"/>
                </a:cubicBezTo>
                <a:cubicBezTo>
                  <a:pt x="4467996" y="1120218"/>
                  <a:pt x="4481236" y="1120219"/>
                  <a:pt x="4481236" y="1115804"/>
                </a:cubicBezTo>
                <a:close/>
                <a:moveTo>
                  <a:pt x="2482521" y="1113340"/>
                </a:moveTo>
                <a:cubicBezTo>
                  <a:pt x="2487471" y="1114436"/>
                  <a:pt x="2491870" y="1115530"/>
                  <a:pt x="2496819" y="1115530"/>
                </a:cubicBezTo>
                <a:cubicBezTo>
                  <a:pt x="2501768" y="1115530"/>
                  <a:pt x="2506716" y="1118814"/>
                  <a:pt x="2508916" y="1123194"/>
                </a:cubicBezTo>
                <a:cubicBezTo>
                  <a:pt x="2510565" y="1127025"/>
                  <a:pt x="2512215" y="1129215"/>
                  <a:pt x="2515514" y="1130857"/>
                </a:cubicBezTo>
                <a:cubicBezTo>
                  <a:pt x="2515514" y="1137426"/>
                  <a:pt x="2515514" y="1143995"/>
                  <a:pt x="2515514" y="1150564"/>
                </a:cubicBezTo>
                <a:cubicBezTo>
                  <a:pt x="2510015" y="1153301"/>
                  <a:pt x="2505616" y="1157681"/>
                  <a:pt x="2503417" y="1162607"/>
                </a:cubicBezTo>
                <a:cubicBezTo>
                  <a:pt x="2500668" y="1166986"/>
                  <a:pt x="2498469" y="1171913"/>
                  <a:pt x="2495719" y="1176840"/>
                </a:cubicBezTo>
                <a:cubicBezTo>
                  <a:pt x="2492970" y="1181219"/>
                  <a:pt x="2490220" y="1186145"/>
                  <a:pt x="2489670" y="1191619"/>
                </a:cubicBezTo>
                <a:cubicBezTo>
                  <a:pt x="2488570" y="1196547"/>
                  <a:pt x="2485271" y="1198736"/>
                  <a:pt x="2481422" y="1201473"/>
                </a:cubicBezTo>
                <a:cubicBezTo>
                  <a:pt x="2477572" y="1204210"/>
                  <a:pt x="2472074" y="1203662"/>
                  <a:pt x="2469325" y="1207494"/>
                </a:cubicBezTo>
                <a:cubicBezTo>
                  <a:pt x="2465476" y="1207494"/>
                  <a:pt x="2462176" y="1207494"/>
                  <a:pt x="2458327" y="1207494"/>
                </a:cubicBezTo>
                <a:cubicBezTo>
                  <a:pt x="2458327" y="1205852"/>
                  <a:pt x="2457777" y="1205304"/>
                  <a:pt x="2456677" y="1205304"/>
                </a:cubicBezTo>
                <a:cubicBezTo>
                  <a:pt x="2448430" y="1205304"/>
                  <a:pt x="2444031" y="1199831"/>
                  <a:pt x="2441281" y="1193261"/>
                </a:cubicBezTo>
                <a:cubicBezTo>
                  <a:pt x="2438532" y="1187240"/>
                  <a:pt x="2435232" y="1181766"/>
                  <a:pt x="2436332" y="1174650"/>
                </a:cubicBezTo>
                <a:cubicBezTo>
                  <a:pt x="2437982" y="1166986"/>
                  <a:pt x="2437432" y="1158775"/>
                  <a:pt x="2444031" y="1152754"/>
                </a:cubicBezTo>
                <a:cubicBezTo>
                  <a:pt x="2446230" y="1150564"/>
                  <a:pt x="2448430" y="1148922"/>
                  <a:pt x="2452278" y="1147827"/>
                </a:cubicBezTo>
                <a:cubicBezTo>
                  <a:pt x="2457777" y="1146184"/>
                  <a:pt x="2464376" y="1143448"/>
                  <a:pt x="2462726" y="1134689"/>
                </a:cubicBezTo>
                <a:cubicBezTo>
                  <a:pt x="2462176" y="1131405"/>
                  <a:pt x="2465476" y="1130309"/>
                  <a:pt x="2466026" y="1128667"/>
                </a:cubicBezTo>
                <a:cubicBezTo>
                  <a:pt x="2468775" y="1119909"/>
                  <a:pt x="2475373" y="1116078"/>
                  <a:pt x="2482521" y="1113340"/>
                </a:cubicBezTo>
                <a:close/>
                <a:moveTo>
                  <a:pt x="8962880" y="1089485"/>
                </a:moveTo>
                <a:lnTo>
                  <a:pt x="8767012" y="1125151"/>
                </a:lnTo>
                <a:lnTo>
                  <a:pt x="8743275" y="1130603"/>
                </a:lnTo>
                <a:lnTo>
                  <a:pt x="8739829" y="1132153"/>
                </a:lnTo>
                <a:cubicBezTo>
                  <a:pt x="8724946" y="1136769"/>
                  <a:pt x="8701166" y="1141124"/>
                  <a:pt x="8703136" y="1147203"/>
                </a:cubicBezTo>
                <a:lnTo>
                  <a:pt x="8699085" y="1148518"/>
                </a:lnTo>
                <a:cubicBezTo>
                  <a:pt x="8693717" y="1145780"/>
                  <a:pt x="8685611" y="1148409"/>
                  <a:pt x="8681560" y="1149723"/>
                </a:cubicBezTo>
                <a:cubicBezTo>
                  <a:pt x="8680243" y="1145670"/>
                  <a:pt x="8680243" y="1145670"/>
                  <a:pt x="8680243" y="1145670"/>
                </a:cubicBezTo>
                <a:lnTo>
                  <a:pt x="8680065" y="1145122"/>
                </a:lnTo>
                <a:lnTo>
                  <a:pt x="8648083" y="1152467"/>
                </a:lnTo>
                <a:lnTo>
                  <a:pt x="8631892" y="1157282"/>
                </a:lnTo>
                <a:lnTo>
                  <a:pt x="8638440" y="1156831"/>
                </a:lnTo>
                <a:lnTo>
                  <a:pt x="8604542" y="1165415"/>
                </a:lnTo>
                <a:lnTo>
                  <a:pt x="8570032" y="1175677"/>
                </a:lnTo>
                <a:lnTo>
                  <a:pt x="8557093" y="1180504"/>
                </a:lnTo>
                <a:cubicBezTo>
                  <a:pt x="8550672" y="1182937"/>
                  <a:pt x="8545182" y="1184996"/>
                  <a:pt x="8541130" y="1186312"/>
                </a:cubicBezTo>
                <a:cubicBezTo>
                  <a:pt x="8541130" y="1186312"/>
                  <a:pt x="8537077" y="1187626"/>
                  <a:pt x="8537077" y="1187626"/>
                </a:cubicBezTo>
                <a:lnTo>
                  <a:pt x="8493924" y="1202024"/>
                </a:lnTo>
                <a:lnTo>
                  <a:pt x="8438330" y="1224137"/>
                </a:lnTo>
                <a:lnTo>
                  <a:pt x="8450062" y="1220332"/>
                </a:lnTo>
                <a:cubicBezTo>
                  <a:pt x="8480647" y="1210412"/>
                  <a:pt x="8504962" y="1202524"/>
                  <a:pt x="8538392" y="1191679"/>
                </a:cubicBezTo>
                <a:cubicBezTo>
                  <a:pt x="8535654" y="1197047"/>
                  <a:pt x="8539705" y="1195732"/>
                  <a:pt x="8545074" y="1198470"/>
                </a:cubicBezTo>
                <a:cubicBezTo>
                  <a:pt x="8549126" y="1197155"/>
                  <a:pt x="8549126" y="1197155"/>
                  <a:pt x="8549126" y="1197155"/>
                </a:cubicBezTo>
                <a:cubicBezTo>
                  <a:pt x="8547812" y="1193103"/>
                  <a:pt x="8547812" y="1193103"/>
                  <a:pt x="8547812" y="1193103"/>
                </a:cubicBezTo>
                <a:cubicBezTo>
                  <a:pt x="8582973" y="1177219"/>
                  <a:pt x="8624708" y="1181601"/>
                  <a:pt x="8632924" y="1165497"/>
                </a:cubicBezTo>
                <a:cubicBezTo>
                  <a:pt x="8631608" y="1161445"/>
                  <a:pt x="8631608" y="1161445"/>
                  <a:pt x="8631608" y="1161445"/>
                </a:cubicBezTo>
                <a:cubicBezTo>
                  <a:pt x="8636976" y="1164183"/>
                  <a:pt x="8645081" y="1161554"/>
                  <a:pt x="8649135" y="1160240"/>
                </a:cubicBezTo>
                <a:cubicBezTo>
                  <a:pt x="8653188" y="1158925"/>
                  <a:pt x="8657240" y="1157611"/>
                  <a:pt x="8657240" y="1157611"/>
                </a:cubicBezTo>
                <a:cubicBezTo>
                  <a:pt x="8658554" y="1161662"/>
                  <a:pt x="8661184" y="1169769"/>
                  <a:pt x="8658447" y="1175135"/>
                </a:cubicBezTo>
                <a:cubicBezTo>
                  <a:pt x="8654392" y="1176451"/>
                  <a:pt x="8646287" y="1179080"/>
                  <a:pt x="8642234" y="1180394"/>
                </a:cubicBezTo>
                <a:cubicBezTo>
                  <a:pt x="8634127" y="1183023"/>
                  <a:pt x="8624708" y="1181601"/>
                  <a:pt x="8617916" y="1188282"/>
                </a:cubicBezTo>
                <a:cubicBezTo>
                  <a:pt x="8617916" y="1188282"/>
                  <a:pt x="8613864" y="1189596"/>
                  <a:pt x="8613864" y="1189596"/>
                </a:cubicBezTo>
                <a:cubicBezTo>
                  <a:pt x="8613864" y="1189596"/>
                  <a:pt x="8613864" y="1189596"/>
                  <a:pt x="8609810" y="1190910"/>
                </a:cubicBezTo>
                <a:cubicBezTo>
                  <a:pt x="8605758" y="1192225"/>
                  <a:pt x="8605758" y="1192225"/>
                  <a:pt x="8601704" y="1193539"/>
                </a:cubicBezTo>
                <a:cubicBezTo>
                  <a:pt x="8597652" y="1194854"/>
                  <a:pt x="8597652" y="1194854"/>
                  <a:pt x="8597652" y="1194854"/>
                </a:cubicBezTo>
                <a:lnTo>
                  <a:pt x="8598521" y="1195297"/>
                </a:lnTo>
                <a:lnTo>
                  <a:pt x="8676247" y="1172771"/>
                </a:lnTo>
                <a:lnTo>
                  <a:pt x="8688108" y="1169975"/>
                </a:lnTo>
                <a:lnTo>
                  <a:pt x="8682763" y="1167249"/>
                </a:lnTo>
                <a:cubicBezTo>
                  <a:pt x="8666552" y="1172506"/>
                  <a:pt x="8666552" y="1172506"/>
                  <a:pt x="8666552" y="1172506"/>
                </a:cubicBezTo>
                <a:cubicBezTo>
                  <a:pt x="8669290" y="1167141"/>
                  <a:pt x="8670714" y="1157719"/>
                  <a:pt x="8669400" y="1153666"/>
                </a:cubicBezTo>
                <a:cubicBezTo>
                  <a:pt x="8673453" y="1152352"/>
                  <a:pt x="8677506" y="1151038"/>
                  <a:pt x="8677506" y="1151038"/>
                </a:cubicBezTo>
                <a:cubicBezTo>
                  <a:pt x="8681560" y="1149723"/>
                  <a:pt x="8681560" y="1149723"/>
                  <a:pt x="8681560" y="1149723"/>
                </a:cubicBezTo>
                <a:cubicBezTo>
                  <a:pt x="8678820" y="1155090"/>
                  <a:pt x="8678820" y="1155090"/>
                  <a:pt x="8678820" y="1155090"/>
                </a:cubicBezTo>
                <a:cubicBezTo>
                  <a:pt x="8678820" y="1155090"/>
                  <a:pt x="8682872" y="1153776"/>
                  <a:pt x="8684188" y="1157828"/>
                </a:cubicBezTo>
                <a:cubicBezTo>
                  <a:pt x="8688240" y="1156514"/>
                  <a:pt x="8686925" y="1152462"/>
                  <a:pt x="8690978" y="1151147"/>
                </a:cubicBezTo>
                <a:cubicBezTo>
                  <a:pt x="8690978" y="1151147"/>
                  <a:pt x="8695032" y="1149831"/>
                  <a:pt x="8695032" y="1149831"/>
                </a:cubicBezTo>
                <a:cubicBezTo>
                  <a:pt x="8699085" y="1148518"/>
                  <a:pt x="8704452" y="1151256"/>
                  <a:pt x="8712558" y="1148627"/>
                </a:cubicBezTo>
                <a:cubicBezTo>
                  <a:pt x="8728770" y="1143368"/>
                  <a:pt x="8709818" y="1153994"/>
                  <a:pt x="8723292" y="1154103"/>
                </a:cubicBezTo>
                <a:cubicBezTo>
                  <a:pt x="8728770" y="1143368"/>
                  <a:pt x="8743557" y="1147530"/>
                  <a:pt x="8752976" y="1148955"/>
                </a:cubicBezTo>
                <a:cubicBezTo>
                  <a:pt x="8751662" y="1144901"/>
                  <a:pt x="8750347" y="1140848"/>
                  <a:pt x="8754400" y="1139534"/>
                </a:cubicBezTo>
                <a:cubicBezTo>
                  <a:pt x="8755715" y="1143587"/>
                  <a:pt x="8757029" y="1147641"/>
                  <a:pt x="8761082" y="1146325"/>
                </a:cubicBezTo>
                <a:cubicBezTo>
                  <a:pt x="8763819" y="1140958"/>
                  <a:pt x="8775980" y="1137014"/>
                  <a:pt x="8784086" y="1134385"/>
                </a:cubicBezTo>
                <a:cubicBezTo>
                  <a:pt x="8782661" y="1143805"/>
                  <a:pt x="8811030" y="1134604"/>
                  <a:pt x="8813769" y="1129236"/>
                </a:cubicBezTo>
                <a:cubicBezTo>
                  <a:pt x="8817822" y="1127922"/>
                  <a:pt x="8817822" y="1127922"/>
                  <a:pt x="8817822" y="1127922"/>
                </a:cubicBezTo>
                <a:cubicBezTo>
                  <a:pt x="8829980" y="1123977"/>
                  <a:pt x="8820451" y="1136027"/>
                  <a:pt x="8832611" y="1132084"/>
                </a:cubicBezTo>
                <a:cubicBezTo>
                  <a:pt x="8839401" y="1125402"/>
                  <a:pt x="8842140" y="1120034"/>
                  <a:pt x="8863719" y="1117514"/>
                </a:cubicBezTo>
                <a:cubicBezTo>
                  <a:pt x="8873140" y="1118939"/>
                  <a:pt x="8886614" y="1119047"/>
                  <a:pt x="8898772" y="1115104"/>
                </a:cubicBezTo>
                <a:cubicBezTo>
                  <a:pt x="8902824" y="1113789"/>
                  <a:pt x="8910930" y="1111160"/>
                  <a:pt x="8916297" y="1113899"/>
                </a:cubicBezTo>
                <a:cubicBezTo>
                  <a:pt x="8941930" y="1110064"/>
                  <a:pt x="8921666" y="1116637"/>
                  <a:pt x="8940506" y="1119484"/>
                </a:cubicBezTo>
                <a:cubicBezTo>
                  <a:pt x="8943900" y="1116143"/>
                  <a:pt x="8949982" y="1114171"/>
                  <a:pt x="8957422" y="1112948"/>
                </a:cubicBezTo>
                <a:lnTo>
                  <a:pt x="8958432" y="1112866"/>
                </a:lnTo>
                <a:lnTo>
                  <a:pt x="8958301" y="1110616"/>
                </a:lnTo>
                <a:cubicBezTo>
                  <a:pt x="8958838" y="1109543"/>
                  <a:pt x="8959911" y="1108203"/>
                  <a:pt x="8959105" y="1107132"/>
                </a:cubicBezTo>
                <a:cubicBezTo>
                  <a:pt x="8956422" y="1103915"/>
                  <a:pt x="8956156" y="1101503"/>
                  <a:pt x="8960449" y="1099894"/>
                </a:cubicBezTo>
                <a:cubicBezTo>
                  <a:pt x="8961522" y="1099627"/>
                  <a:pt x="8961790" y="1098018"/>
                  <a:pt x="8960717" y="1097215"/>
                </a:cubicBezTo>
                <a:cubicBezTo>
                  <a:pt x="8957228" y="1094266"/>
                  <a:pt x="8960986" y="1092926"/>
                  <a:pt x="8961522" y="1090782"/>
                </a:cubicBezTo>
                <a:close/>
                <a:moveTo>
                  <a:pt x="9007281" y="1081399"/>
                </a:moveTo>
                <a:lnTo>
                  <a:pt x="8998709" y="1082960"/>
                </a:lnTo>
                <a:lnTo>
                  <a:pt x="9000433" y="1083813"/>
                </a:lnTo>
                <a:cubicBezTo>
                  <a:pt x="9001239" y="1084885"/>
                  <a:pt x="9002848" y="1086226"/>
                  <a:pt x="9004995" y="1086226"/>
                </a:cubicBezTo>
                <a:cubicBezTo>
                  <a:pt x="9007949" y="1085958"/>
                  <a:pt x="9009560" y="1087566"/>
                  <a:pt x="9010095" y="1090513"/>
                </a:cubicBezTo>
                <a:cubicBezTo>
                  <a:pt x="9010631" y="1092390"/>
                  <a:pt x="9011974" y="1093462"/>
                  <a:pt x="9013316" y="1094802"/>
                </a:cubicBezTo>
                <a:lnTo>
                  <a:pt x="9017024" y="1106446"/>
                </a:lnTo>
                <a:lnTo>
                  <a:pt x="9025506" y="1105352"/>
                </a:lnTo>
                <a:cubicBezTo>
                  <a:pt x="9006666" y="1102504"/>
                  <a:pt x="9041718" y="1100093"/>
                  <a:pt x="9041718" y="1100093"/>
                </a:cubicBezTo>
                <a:lnTo>
                  <a:pt x="9046778" y="1098452"/>
                </a:lnTo>
                <a:lnTo>
                  <a:pt x="9034686" y="1083029"/>
                </a:lnTo>
                <a:cubicBezTo>
                  <a:pt x="9027798" y="1079547"/>
                  <a:pt x="9018979" y="1079156"/>
                  <a:pt x="9007281" y="1081399"/>
                </a:cubicBezTo>
                <a:close/>
                <a:moveTo>
                  <a:pt x="11971024" y="1080295"/>
                </a:moveTo>
                <a:lnTo>
                  <a:pt x="11970808" y="1080656"/>
                </a:lnTo>
                <a:lnTo>
                  <a:pt x="11970556" y="1080405"/>
                </a:lnTo>
                <a:close/>
                <a:moveTo>
                  <a:pt x="4566882" y="1057328"/>
                </a:moveTo>
                <a:cubicBezTo>
                  <a:pt x="4566743" y="1057052"/>
                  <a:pt x="4565089" y="1057328"/>
                  <a:pt x="4560676" y="1058431"/>
                </a:cubicBezTo>
                <a:cubicBezTo>
                  <a:pt x="4560677" y="1062845"/>
                  <a:pt x="4547437" y="1062845"/>
                  <a:pt x="4547437" y="1062845"/>
                </a:cubicBezTo>
                <a:cubicBezTo>
                  <a:pt x="4556262" y="1058431"/>
                  <a:pt x="4551850" y="1058431"/>
                  <a:pt x="4547437" y="1058431"/>
                </a:cubicBezTo>
                <a:cubicBezTo>
                  <a:pt x="4543022" y="1067257"/>
                  <a:pt x="4525369" y="1067257"/>
                  <a:pt x="4512129" y="1076085"/>
                </a:cubicBezTo>
                <a:cubicBezTo>
                  <a:pt x="4512129" y="1076085"/>
                  <a:pt x="4507717" y="1076085"/>
                  <a:pt x="4503304" y="1076085"/>
                </a:cubicBezTo>
                <a:cubicBezTo>
                  <a:pt x="4503304" y="1076085"/>
                  <a:pt x="4498889" y="1076085"/>
                  <a:pt x="4498889" y="1076085"/>
                </a:cubicBezTo>
                <a:cubicBezTo>
                  <a:pt x="4494475" y="1076085"/>
                  <a:pt x="4494475" y="1076085"/>
                  <a:pt x="4494475" y="1076085"/>
                </a:cubicBezTo>
                <a:cubicBezTo>
                  <a:pt x="4494475" y="1076085"/>
                  <a:pt x="4494477" y="1080499"/>
                  <a:pt x="4494477" y="1080499"/>
                </a:cubicBezTo>
                <a:cubicBezTo>
                  <a:pt x="4490062" y="1080498"/>
                  <a:pt x="4490062" y="1080498"/>
                  <a:pt x="4485649" y="1080498"/>
                </a:cubicBezTo>
                <a:cubicBezTo>
                  <a:pt x="4481236" y="1076085"/>
                  <a:pt x="4490063" y="1076085"/>
                  <a:pt x="4490065" y="1071670"/>
                </a:cubicBezTo>
                <a:cubicBezTo>
                  <a:pt x="4481236" y="1071670"/>
                  <a:pt x="4481236" y="1076085"/>
                  <a:pt x="4476823" y="1076085"/>
                </a:cubicBezTo>
                <a:cubicBezTo>
                  <a:pt x="4476823" y="1076085"/>
                  <a:pt x="4476823" y="1076085"/>
                  <a:pt x="4472409" y="1076085"/>
                </a:cubicBezTo>
                <a:cubicBezTo>
                  <a:pt x="4472409" y="1076085"/>
                  <a:pt x="4467995" y="1076085"/>
                  <a:pt x="4467995" y="1076085"/>
                </a:cubicBezTo>
                <a:cubicBezTo>
                  <a:pt x="4463584" y="1076085"/>
                  <a:pt x="4463584" y="1076085"/>
                  <a:pt x="4463584" y="1076085"/>
                </a:cubicBezTo>
                <a:cubicBezTo>
                  <a:pt x="4445930" y="1080499"/>
                  <a:pt x="4445930" y="1080499"/>
                  <a:pt x="4445930" y="1080499"/>
                </a:cubicBezTo>
                <a:cubicBezTo>
                  <a:pt x="4441516" y="1084912"/>
                  <a:pt x="4441516" y="1084912"/>
                  <a:pt x="4441516" y="1084912"/>
                </a:cubicBezTo>
                <a:cubicBezTo>
                  <a:pt x="4437104" y="1080498"/>
                  <a:pt x="4437102" y="1084912"/>
                  <a:pt x="4437102" y="1084912"/>
                </a:cubicBezTo>
                <a:lnTo>
                  <a:pt x="4441516" y="1084912"/>
                </a:lnTo>
                <a:cubicBezTo>
                  <a:pt x="4415036" y="1093738"/>
                  <a:pt x="4423862" y="1093737"/>
                  <a:pt x="4397383" y="1098151"/>
                </a:cubicBezTo>
                <a:cubicBezTo>
                  <a:pt x="4392970" y="1098151"/>
                  <a:pt x="4392970" y="1098151"/>
                  <a:pt x="4388557" y="1098152"/>
                </a:cubicBezTo>
                <a:cubicBezTo>
                  <a:pt x="4384144" y="1102564"/>
                  <a:pt x="4384144" y="1102564"/>
                  <a:pt x="4388556" y="1102564"/>
                </a:cubicBezTo>
                <a:cubicBezTo>
                  <a:pt x="4375317" y="1102564"/>
                  <a:pt x="4353250" y="1106977"/>
                  <a:pt x="4348838" y="1115804"/>
                </a:cubicBezTo>
                <a:cubicBezTo>
                  <a:pt x="4357663" y="1111391"/>
                  <a:pt x="4357664" y="1115804"/>
                  <a:pt x="4348838" y="1120218"/>
                </a:cubicBezTo>
                <a:lnTo>
                  <a:pt x="4344424" y="1120218"/>
                </a:lnTo>
                <a:cubicBezTo>
                  <a:pt x="4344424" y="1115804"/>
                  <a:pt x="4344424" y="1115804"/>
                  <a:pt x="4344424" y="1115804"/>
                </a:cubicBezTo>
                <a:cubicBezTo>
                  <a:pt x="4344424" y="1115804"/>
                  <a:pt x="4344424" y="1115804"/>
                  <a:pt x="4340009" y="1115804"/>
                </a:cubicBezTo>
                <a:cubicBezTo>
                  <a:pt x="4340009" y="1115804"/>
                  <a:pt x="4340009" y="1115804"/>
                  <a:pt x="4335598" y="1120218"/>
                </a:cubicBezTo>
                <a:cubicBezTo>
                  <a:pt x="4309117" y="1120218"/>
                  <a:pt x="4242917" y="1151112"/>
                  <a:pt x="4212024" y="1159938"/>
                </a:cubicBezTo>
                <a:lnTo>
                  <a:pt x="4204720" y="1160981"/>
                </a:lnTo>
                <a:lnTo>
                  <a:pt x="4203153" y="1182170"/>
                </a:lnTo>
                <a:lnTo>
                  <a:pt x="4247332" y="1164351"/>
                </a:lnTo>
                <a:cubicBezTo>
                  <a:pt x="4260571" y="1159938"/>
                  <a:pt x="4273810" y="1151110"/>
                  <a:pt x="4282636" y="1146697"/>
                </a:cubicBezTo>
                <a:cubicBezTo>
                  <a:pt x="4282636" y="1146697"/>
                  <a:pt x="4278222" y="1151110"/>
                  <a:pt x="4278222" y="1151110"/>
                </a:cubicBezTo>
                <a:cubicBezTo>
                  <a:pt x="4295877" y="1146697"/>
                  <a:pt x="4313531" y="1137871"/>
                  <a:pt x="4326770" y="1133457"/>
                </a:cubicBezTo>
                <a:cubicBezTo>
                  <a:pt x="4331184" y="1133457"/>
                  <a:pt x="4340009" y="1133457"/>
                  <a:pt x="4340009" y="1133457"/>
                </a:cubicBezTo>
                <a:cubicBezTo>
                  <a:pt x="4384144" y="1120218"/>
                  <a:pt x="4441516" y="1102564"/>
                  <a:pt x="4481236" y="1089325"/>
                </a:cubicBezTo>
                <a:cubicBezTo>
                  <a:pt x="4481236" y="1089325"/>
                  <a:pt x="4481236" y="1089325"/>
                  <a:pt x="4481236" y="1093737"/>
                </a:cubicBezTo>
                <a:cubicBezTo>
                  <a:pt x="4481236" y="1093737"/>
                  <a:pt x="4485649" y="1093737"/>
                  <a:pt x="4485649" y="1093737"/>
                </a:cubicBezTo>
                <a:cubicBezTo>
                  <a:pt x="4485649" y="1093737"/>
                  <a:pt x="4490063" y="1089326"/>
                  <a:pt x="4490063" y="1089326"/>
                </a:cubicBezTo>
                <a:cubicBezTo>
                  <a:pt x="4503304" y="1084912"/>
                  <a:pt x="4551850" y="1080498"/>
                  <a:pt x="4538609" y="1076085"/>
                </a:cubicBezTo>
                <a:cubicBezTo>
                  <a:pt x="4543022" y="1076085"/>
                  <a:pt x="4543022" y="1076085"/>
                  <a:pt x="4543022" y="1076085"/>
                </a:cubicBezTo>
                <a:cubicBezTo>
                  <a:pt x="4547437" y="1076085"/>
                  <a:pt x="4547437" y="1076085"/>
                  <a:pt x="4547437" y="1076085"/>
                </a:cubicBezTo>
                <a:cubicBezTo>
                  <a:pt x="4547437" y="1071670"/>
                  <a:pt x="4547437" y="1071670"/>
                  <a:pt x="4547437" y="1071670"/>
                </a:cubicBezTo>
                <a:cubicBezTo>
                  <a:pt x="4543022" y="1071670"/>
                  <a:pt x="4543022" y="1071670"/>
                  <a:pt x="4543022" y="1071670"/>
                </a:cubicBezTo>
                <a:cubicBezTo>
                  <a:pt x="4538609" y="1062845"/>
                  <a:pt x="4556262" y="1067257"/>
                  <a:pt x="4560677" y="1067258"/>
                </a:cubicBezTo>
                <a:cubicBezTo>
                  <a:pt x="4554056" y="1063948"/>
                  <a:pt x="4567295" y="1058156"/>
                  <a:pt x="4566882" y="1057328"/>
                </a:cubicBezTo>
                <a:close/>
                <a:moveTo>
                  <a:pt x="1693947" y="1052444"/>
                </a:moveTo>
                <a:cubicBezTo>
                  <a:pt x="1696208" y="1051941"/>
                  <a:pt x="1697466" y="1053449"/>
                  <a:pt x="1698471" y="1054704"/>
                </a:cubicBezTo>
                <a:cubicBezTo>
                  <a:pt x="1701987" y="1058722"/>
                  <a:pt x="1705255" y="1062741"/>
                  <a:pt x="1711537" y="1060731"/>
                </a:cubicBezTo>
                <a:cubicBezTo>
                  <a:pt x="1712794" y="1060481"/>
                  <a:pt x="1713547" y="1061486"/>
                  <a:pt x="1714049" y="1062489"/>
                </a:cubicBezTo>
                <a:cubicBezTo>
                  <a:pt x="1716814" y="1067513"/>
                  <a:pt x="1721337" y="1071531"/>
                  <a:pt x="1725107" y="1075800"/>
                </a:cubicBezTo>
                <a:cubicBezTo>
                  <a:pt x="1730886" y="1082331"/>
                  <a:pt x="1734152" y="1089614"/>
                  <a:pt x="1731891" y="1098404"/>
                </a:cubicBezTo>
                <a:cubicBezTo>
                  <a:pt x="1731137" y="1101921"/>
                  <a:pt x="1733148" y="1104182"/>
                  <a:pt x="1735158" y="1106190"/>
                </a:cubicBezTo>
                <a:cubicBezTo>
                  <a:pt x="1739681" y="1110963"/>
                  <a:pt x="1739430" y="1113474"/>
                  <a:pt x="1734403" y="1117242"/>
                </a:cubicBezTo>
                <a:cubicBezTo>
                  <a:pt x="1728876" y="1121010"/>
                  <a:pt x="1728876" y="1121010"/>
                  <a:pt x="1733399" y="1126534"/>
                </a:cubicBezTo>
                <a:cubicBezTo>
                  <a:pt x="1734403" y="1127790"/>
                  <a:pt x="1735158" y="1128794"/>
                  <a:pt x="1733650" y="1130301"/>
                </a:cubicBezTo>
                <a:cubicBezTo>
                  <a:pt x="1728623" y="1136078"/>
                  <a:pt x="1724100" y="1141854"/>
                  <a:pt x="1718825" y="1147379"/>
                </a:cubicBezTo>
                <a:cubicBezTo>
                  <a:pt x="1715056" y="1151649"/>
                  <a:pt x="1710280" y="1154412"/>
                  <a:pt x="1704753" y="1155668"/>
                </a:cubicBezTo>
                <a:cubicBezTo>
                  <a:pt x="1701235" y="1156672"/>
                  <a:pt x="1694451" y="1165714"/>
                  <a:pt x="1694198" y="1169481"/>
                </a:cubicBezTo>
                <a:cubicBezTo>
                  <a:pt x="1694198" y="1170737"/>
                  <a:pt x="1694198" y="1171741"/>
                  <a:pt x="1695706" y="1172244"/>
                </a:cubicBezTo>
                <a:cubicBezTo>
                  <a:pt x="1703495" y="1175760"/>
                  <a:pt x="1707265" y="1182541"/>
                  <a:pt x="1710533" y="1189825"/>
                </a:cubicBezTo>
                <a:cubicBezTo>
                  <a:pt x="1711286" y="1191331"/>
                  <a:pt x="1711788" y="1192587"/>
                  <a:pt x="1712541" y="1193843"/>
                </a:cubicBezTo>
                <a:cubicBezTo>
                  <a:pt x="1715056" y="1197861"/>
                  <a:pt x="1716311" y="1201378"/>
                  <a:pt x="1714552" y="1206401"/>
                </a:cubicBezTo>
                <a:cubicBezTo>
                  <a:pt x="1712794" y="1211424"/>
                  <a:pt x="1715557" y="1216447"/>
                  <a:pt x="1718070" y="1220968"/>
                </a:cubicBezTo>
                <a:cubicBezTo>
                  <a:pt x="1719076" y="1223229"/>
                  <a:pt x="1719578" y="1224735"/>
                  <a:pt x="1717819" y="1226995"/>
                </a:cubicBezTo>
                <a:cubicBezTo>
                  <a:pt x="1710783" y="1236540"/>
                  <a:pt x="1705506" y="1247087"/>
                  <a:pt x="1704502" y="1259394"/>
                </a:cubicBezTo>
                <a:cubicBezTo>
                  <a:pt x="1704249" y="1261153"/>
                  <a:pt x="1703747" y="1261906"/>
                  <a:pt x="1701987" y="1261404"/>
                </a:cubicBezTo>
                <a:cubicBezTo>
                  <a:pt x="1694952" y="1259896"/>
                  <a:pt x="1690429" y="1263664"/>
                  <a:pt x="1686660" y="1268686"/>
                </a:cubicBezTo>
                <a:cubicBezTo>
                  <a:pt x="1684901" y="1270947"/>
                  <a:pt x="1683393" y="1272203"/>
                  <a:pt x="1680128" y="1270696"/>
                </a:cubicBezTo>
                <a:cubicBezTo>
                  <a:pt x="1676106" y="1268436"/>
                  <a:pt x="1672338" y="1270444"/>
                  <a:pt x="1669070" y="1273207"/>
                </a:cubicBezTo>
                <a:cubicBezTo>
                  <a:pt x="1666306" y="1275468"/>
                  <a:pt x="1663542" y="1278230"/>
                  <a:pt x="1660778" y="1280490"/>
                </a:cubicBezTo>
                <a:cubicBezTo>
                  <a:pt x="1659396" y="1281496"/>
                  <a:pt x="1658077" y="1282060"/>
                  <a:pt x="1657009" y="1281842"/>
                </a:cubicBezTo>
                <a:cubicBezTo>
                  <a:pt x="1655941" y="1281621"/>
                  <a:pt x="1655124" y="1280617"/>
                  <a:pt x="1654747" y="1278482"/>
                </a:cubicBezTo>
                <a:cubicBezTo>
                  <a:pt x="1654747" y="1277476"/>
                  <a:pt x="1654496" y="1276473"/>
                  <a:pt x="1653994" y="1275468"/>
                </a:cubicBezTo>
                <a:cubicBezTo>
                  <a:pt x="1653491" y="1274212"/>
                  <a:pt x="1653491" y="1272203"/>
                  <a:pt x="1651732" y="1271952"/>
                </a:cubicBezTo>
                <a:cubicBezTo>
                  <a:pt x="1650224" y="1271952"/>
                  <a:pt x="1649219" y="1273207"/>
                  <a:pt x="1648465" y="1274212"/>
                </a:cubicBezTo>
                <a:cubicBezTo>
                  <a:pt x="1644696" y="1278482"/>
                  <a:pt x="1643188" y="1278230"/>
                  <a:pt x="1640927" y="1272957"/>
                </a:cubicBezTo>
                <a:cubicBezTo>
                  <a:pt x="1640424" y="1271700"/>
                  <a:pt x="1640173" y="1270696"/>
                  <a:pt x="1639420" y="1269692"/>
                </a:cubicBezTo>
                <a:cubicBezTo>
                  <a:pt x="1638414" y="1268185"/>
                  <a:pt x="1637410" y="1266928"/>
                  <a:pt x="1634896" y="1267933"/>
                </a:cubicBezTo>
                <a:cubicBezTo>
                  <a:pt x="1632634" y="1269189"/>
                  <a:pt x="1632634" y="1270194"/>
                  <a:pt x="1633137" y="1272203"/>
                </a:cubicBezTo>
                <a:lnTo>
                  <a:pt x="1633561" y="1276001"/>
                </a:lnTo>
                <a:lnTo>
                  <a:pt x="1613922" y="1256470"/>
                </a:lnTo>
                <a:lnTo>
                  <a:pt x="1615045" y="1254873"/>
                </a:lnTo>
                <a:cubicBezTo>
                  <a:pt x="1615548" y="1252614"/>
                  <a:pt x="1614794" y="1251106"/>
                  <a:pt x="1612783" y="1250101"/>
                </a:cubicBezTo>
                <a:cubicBezTo>
                  <a:pt x="1611276" y="1249347"/>
                  <a:pt x="1609768" y="1248846"/>
                  <a:pt x="1608260" y="1248093"/>
                </a:cubicBezTo>
                <a:cubicBezTo>
                  <a:pt x="1605748" y="1246836"/>
                  <a:pt x="1604744" y="1245078"/>
                  <a:pt x="1605245" y="1242064"/>
                </a:cubicBezTo>
                <a:cubicBezTo>
                  <a:pt x="1606752" y="1233023"/>
                  <a:pt x="1603486" y="1226744"/>
                  <a:pt x="1595445" y="1222725"/>
                </a:cubicBezTo>
                <a:cubicBezTo>
                  <a:pt x="1594189" y="1221972"/>
                  <a:pt x="1591425" y="1222224"/>
                  <a:pt x="1591927" y="1219963"/>
                </a:cubicBezTo>
                <a:cubicBezTo>
                  <a:pt x="1592178" y="1217703"/>
                  <a:pt x="1594440" y="1217200"/>
                  <a:pt x="1596702" y="1216950"/>
                </a:cubicBezTo>
                <a:cubicBezTo>
                  <a:pt x="1596953" y="1216950"/>
                  <a:pt x="1597205" y="1216950"/>
                  <a:pt x="1597456" y="1216950"/>
                </a:cubicBezTo>
                <a:cubicBezTo>
                  <a:pt x="1603486" y="1215944"/>
                  <a:pt x="1605245" y="1213182"/>
                  <a:pt x="1602229" y="1208410"/>
                </a:cubicBezTo>
                <a:cubicBezTo>
                  <a:pt x="1599466" y="1203889"/>
                  <a:pt x="1600220" y="1200372"/>
                  <a:pt x="1602733" y="1196607"/>
                </a:cubicBezTo>
                <a:cubicBezTo>
                  <a:pt x="1605999" y="1191582"/>
                  <a:pt x="1608511" y="1186308"/>
                  <a:pt x="1607005" y="1180029"/>
                </a:cubicBezTo>
                <a:cubicBezTo>
                  <a:pt x="1606250" y="1177267"/>
                  <a:pt x="1609015" y="1176011"/>
                  <a:pt x="1610773" y="1175508"/>
                </a:cubicBezTo>
                <a:cubicBezTo>
                  <a:pt x="1617307" y="1173249"/>
                  <a:pt x="1620322" y="1168979"/>
                  <a:pt x="1621076" y="1162449"/>
                </a:cubicBezTo>
                <a:cubicBezTo>
                  <a:pt x="1621579" y="1158431"/>
                  <a:pt x="1623087" y="1157677"/>
                  <a:pt x="1627106" y="1160189"/>
                </a:cubicBezTo>
                <a:cubicBezTo>
                  <a:pt x="1635650" y="1165464"/>
                  <a:pt x="1648215" y="1161696"/>
                  <a:pt x="1651984" y="1152905"/>
                </a:cubicBezTo>
                <a:cubicBezTo>
                  <a:pt x="1652737" y="1151147"/>
                  <a:pt x="1653743" y="1148886"/>
                  <a:pt x="1651984" y="1147379"/>
                </a:cubicBezTo>
                <a:cubicBezTo>
                  <a:pt x="1650224" y="1145873"/>
                  <a:pt x="1647712" y="1145118"/>
                  <a:pt x="1645451" y="1146626"/>
                </a:cubicBezTo>
                <a:cubicBezTo>
                  <a:pt x="1643943" y="1147379"/>
                  <a:pt x="1642435" y="1148636"/>
                  <a:pt x="1640927" y="1149639"/>
                </a:cubicBezTo>
                <a:cubicBezTo>
                  <a:pt x="1639420" y="1150896"/>
                  <a:pt x="1637912" y="1151649"/>
                  <a:pt x="1636655" y="1150143"/>
                </a:cubicBezTo>
                <a:cubicBezTo>
                  <a:pt x="1635147" y="1148385"/>
                  <a:pt x="1636153" y="1146877"/>
                  <a:pt x="1637410" y="1145622"/>
                </a:cubicBezTo>
                <a:cubicBezTo>
                  <a:pt x="1638414" y="1144365"/>
                  <a:pt x="1639922" y="1143361"/>
                  <a:pt x="1640927" y="1142357"/>
                </a:cubicBezTo>
                <a:cubicBezTo>
                  <a:pt x="1643188" y="1140096"/>
                  <a:pt x="1644445" y="1137082"/>
                  <a:pt x="1642184" y="1134571"/>
                </a:cubicBezTo>
                <a:cubicBezTo>
                  <a:pt x="1640173" y="1132562"/>
                  <a:pt x="1637410" y="1134571"/>
                  <a:pt x="1635399" y="1136078"/>
                </a:cubicBezTo>
                <a:cubicBezTo>
                  <a:pt x="1633641" y="1137333"/>
                  <a:pt x="1632383" y="1139594"/>
                  <a:pt x="1630122" y="1140347"/>
                </a:cubicBezTo>
                <a:cubicBezTo>
                  <a:pt x="1626855" y="1141603"/>
                  <a:pt x="1624845" y="1141101"/>
                  <a:pt x="1625095" y="1137082"/>
                </a:cubicBezTo>
                <a:cubicBezTo>
                  <a:pt x="1625348" y="1131557"/>
                  <a:pt x="1627610" y="1127036"/>
                  <a:pt x="1630625" y="1122767"/>
                </a:cubicBezTo>
                <a:cubicBezTo>
                  <a:pt x="1634393" y="1117242"/>
                  <a:pt x="1634645" y="1114227"/>
                  <a:pt x="1630625" y="1108953"/>
                </a:cubicBezTo>
                <a:cubicBezTo>
                  <a:pt x="1629369" y="1106943"/>
                  <a:pt x="1627358" y="1105185"/>
                  <a:pt x="1625599" y="1103428"/>
                </a:cubicBezTo>
                <a:cubicBezTo>
                  <a:pt x="1624845" y="1102674"/>
                  <a:pt x="1623589" y="1101921"/>
                  <a:pt x="1624091" y="1100664"/>
                </a:cubicBezTo>
                <a:cubicBezTo>
                  <a:pt x="1624594" y="1099158"/>
                  <a:pt x="1625850" y="1098907"/>
                  <a:pt x="1626855" y="1099158"/>
                </a:cubicBezTo>
                <a:cubicBezTo>
                  <a:pt x="1631379" y="1100163"/>
                  <a:pt x="1632383" y="1098153"/>
                  <a:pt x="1632133" y="1094135"/>
                </a:cubicBezTo>
                <a:cubicBezTo>
                  <a:pt x="1631881" y="1089111"/>
                  <a:pt x="1635147" y="1085596"/>
                  <a:pt x="1638665" y="1082833"/>
                </a:cubicBezTo>
                <a:cubicBezTo>
                  <a:pt x="1641430" y="1080572"/>
                  <a:pt x="1641681" y="1078814"/>
                  <a:pt x="1638916" y="1076806"/>
                </a:cubicBezTo>
                <a:cubicBezTo>
                  <a:pt x="1637410" y="1075800"/>
                  <a:pt x="1636404" y="1074797"/>
                  <a:pt x="1636906" y="1072788"/>
                </a:cubicBezTo>
                <a:cubicBezTo>
                  <a:pt x="1637410" y="1070025"/>
                  <a:pt x="1639420" y="1070527"/>
                  <a:pt x="1641177" y="1070025"/>
                </a:cubicBezTo>
                <a:cubicBezTo>
                  <a:pt x="1642184" y="1069773"/>
                  <a:pt x="1643441" y="1069773"/>
                  <a:pt x="1644696" y="1069521"/>
                </a:cubicBezTo>
                <a:cubicBezTo>
                  <a:pt x="1651480" y="1068768"/>
                  <a:pt x="1652988" y="1065002"/>
                  <a:pt x="1648968" y="1059225"/>
                </a:cubicBezTo>
                <a:cubicBezTo>
                  <a:pt x="1648465" y="1058471"/>
                  <a:pt x="1647964" y="1057970"/>
                  <a:pt x="1647712" y="1057216"/>
                </a:cubicBezTo>
                <a:cubicBezTo>
                  <a:pt x="1646957" y="1055709"/>
                  <a:pt x="1646456" y="1053699"/>
                  <a:pt x="1647964" y="1052695"/>
                </a:cubicBezTo>
                <a:cubicBezTo>
                  <a:pt x="1649219" y="1051690"/>
                  <a:pt x="1650978" y="1052695"/>
                  <a:pt x="1651984" y="1053699"/>
                </a:cubicBezTo>
                <a:cubicBezTo>
                  <a:pt x="1652988" y="1054704"/>
                  <a:pt x="1653743" y="1055709"/>
                  <a:pt x="1654496" y="1056965"/>
                </a:cubicBezTo>
                <a:cubicBezTo>
                  <a:pt x="1656004" y="1058722"/>
                  <a:pt x="1657511" y="1059225"/>
                  <a:pt x="1659522" y="1057718"/>
                </a:cubicBezTo>
                <a:cubicBezTo>
                  <a:pt x="1664297" y="1054454"/>
                  <a:pt x="1669573" y="1053950"/>
                  <a:pt x="1674850" y="1053699"/>
                </a:cubicBezTo>
                <a:cubicBezTo>
                  <a:pt x="1681132" y="1053197"/>
                  <a:pt x="1687665" y="1053950"/>
                  <a:pt x="1693947" y="1052444"/>
                </a:cubicBezTo>
                <a:close/>
                <a:moveTo>
                  <a:pt x="7349352" y="1039895"/>
                </a:moveTo>
                <a:cubicBezTo>
                  <a:pt x="7354428" y="1041839"/>
                  <a:pt x="7359116" y="1044560"/>
                  <a:pt x="7361073" y="1050780"/>
                </a:cubicBezTo>
                <a:cubicBezTo>
                  <a:pt x="7361457" y="1051946"/>
                  <a:pt x="7363803" y="1052723"/>
                  <a:pt x="7363413" y="1055055"/>
                </a:cubicBezTo>
                <a:cubicBezTo>
                  <a:pt x="7362245" y="1061275"/>
                  <a:pt x="7366926" y="1063218"/>
                  <a:pt x="7370829" y="1064385"/>
                </a:cubicBezTo>
                <a:cubicBezTo>
                  <a:pt x="7373565" y="1065162"/>
                  <a:pt x="7375124" y="1066329"/>
                  <a:pt x="7376689" y="1067883"/>
                </a:cubicBezTo>
                <a:cubicBezTo>
                  <a:pt x="7381374" y="1072159"/>
                  <a:pt x="7380981" y="1077990"/>
                  <a:pt x="7382160" y="1083432"/>
                </a:cubicBezTo>
                <a:cubicBezTo>
                  <a:pt x="7382932" y="1088485"/>
                  <a:pt x="7380591" y="1092373"/>
                  <a:pt x="7378638" y="1096649"/>
                </a:cubicBezTo>
                <a:cubicBezTo>
                  <a:pt x="7376689" y="1101313"/>
                  <a:pt x="7373565" y="1105201"/>
                  <a:pt x="7367704" y="1105201"/>
                </a:cubicBezTo>
                <a:cubicBezTo>
                  <a:pt x="7366926" y="1105201"/>
                  <a:pt x="7366532" y="1105589"/>
                  <a:pt x="7366532" y="1106756"/>
                </a:cubicBezTo>
                <a:cubicBezTo>
                  <a:pt x="7363803" y="1106756"/>
                  <a:pt x="7361457" y="1106756"/>
                  <a:pt x="7358727" y="1106756"/>
                </a:cubicBezTo>
                <a:cubicBezTo>
                  <a:pt x="7356776" y="1104034"/>
                  <a:pt x="7352871" y="1104424"/>
                  <a:pt x="7350130" y="1102480"/>
                </a:cubicBezTo>
                <a:cubicBezTo>
                  <a:pt x="7347399" y="1100536"/>
                  <a:pt x="7345054" y="1098982"/>
                  <a:pt x="7344276" y="1095483"/>
                </a:cubicBezTo>
                <a:cubicBezTo>
                  <a:pt x="7343887" y="1091596"/>
                  <a:pt x="7341934" y="1088097"/>
                  <a:pt x="7339978" y="1084987"/>
                </a:cubicBezTo>
                <a:cubicBezTo>
                  <a:pt x="7338024" y="1081489"/>
                  <a:pt x="7336469" y="1077990"/>
                  <a:pt x="7334513" y="1074880"/>
                </a:cubicBezTo>
                <a:cubicBezTo>
                  <a:pt x="7332948" y="1071382"/>
                  <a:pt x="7329829" y="1068272"/>
                  <a:pt x="7325926" y="1066329"/>
                </a:cubicBezTo>
                <a:cubicBezTo>
                  <a:pt x="7325926" y="1061664"/>
                  <a:pt x="7325926" y="1056999"/>
                  <a:pt x="7325926" y="1052334"/>
                </a:cubicBezTo>
                <a:cubicBezTo>
                  <a:pt x="7328270" y="1051169"/>
                  <a:pt x="7329440" y="1049613"/>
                  <a:pt x="7330610" y="1046892"/>
                </a:cubicBezTo>
                <a:cubicBezTo>
                  <a:pt x="7332172" y="1043783"/>
                  <a:pt x="7335683" y="1041450"/>
                  <a:pt x="7339202" y="1041450"/>
                </a:cubicBezTo>
                <a:cubicBezTo>
                  <a:pt x="7342715" y="1041450"/>
                  <a:pt x="7345839" y="1040673"/>
                  <a:pt x="7349352" y="1039895"/>
                </a:cubicBezTo>
                <a:close/>
                <a:moveTo>
                  <a:pt x="11847267" y="1037896"/>
                </a:moveTo>
                <a:cubicBezTo>
                  <a:pt x="11854197" y="1037353"/>
                  <a:pt x="11860447" y="1037896"/>
                  <a:pt x="11862621" y="1041696"/>
                </a:cubicBezTo>
                <a:cubicBezTo>
                  <a:pt x="11875668" y="1063410"/>
                  <a:pt x="11909368" y="1054724"/>
                  <a:pt x="11916978" y="1084039"/>
                </a:cubicBezTo>
                <a:cubicBezTo>
                  <a:pt x="11919152" y="1092725"/>
                  <a:pt x="11934372" y="1098153"/>
                  <a:pt x="11920240" y="1110097"/>
                </a:cubicBezTo>
                <a:cubicBezTo>
                  <a:pt x="11915890" y="1113354"/>
                  <a:pt x="11916978" y="1119868"/>
                  <a:pt x="11921326" y="1120954"/>
                </a:cubicBezTo>
                <a:cubicBezTo>
                  <a:pt x="11938720" y="1127468"/>
                  <a:pt x="11937633" y="1137240"/>
                  <a:pt x="11926762" y="1150269"/>
                </a:cubicBezTo>
                <a:cubicBezTo>
                  <a:pt x="11923502" y="1154611"/>
                  <a:pt x="11927849" y="1160040"/>
                  <a:pt x="11930023" y="1164383"/>
                </a:cubicBezTo>
                <a:cubicBezTo>
                  <a:pt x="11934372" y="1170897"/>
                  <a:pt x="11935459" y="1177412"/>
                  <a:pt x="11928936" y="1182841"/>
                </a:cubicBezTo>
                <a:cubicBezTo>
                  <a:pt x="11922414" y="1188269"/>
                  <a:pt x="11923502" y="1194783"/>
                  <a:pt x="11921326" y="1201298"/>
                </a:cubicBezTo>
                <a:cubicBezTo>
                  <a:pt x="11915890" y="1217584"/>
                  <a:pt x="11909368" y="1238212"/>
                  <a:pt x="11897409" y="1245813"/>
                </a:cubicBezTo>
                <a:cubicBezTo>
                  <a:pt x="11871319" y="1262099"/>
                  <a:pt x="11846314" y="1279470"/>
                  <a:pt x="11820226" y="1294670"/>
                </a:cubicBezTo>
                <a:cubicBezTo>
                  <a:pt x="11818051" y="1294670"/>
                  <a:pt x="11813702" y="1294670"/>
                  <a:pt x="11812615" y="1292499"/>
                </a:cubicBezTo>
                <a:cubicBezTo>
                  <a:pt x="11801744" y="1282728"/>
                  <a:pt x="11791959" y="1274042"/>
                  <a:pt x="11777828" y="1288156"/>
                </a:cubicBezTo>
                <a:cubicBezTo>
                  <a:pt x="11773478" y="1293585"/>
                  <a:pt x="11770217" y="1288156"/>
                  <a:pt x="11769130" y="1283814"/>
                </a:cubicBezTo>
                <a:cubicBezTo>
                  <a:pt x="11765868" y="1265356"/>
                  <a:pt x="11757172" y="1265356"/>
                  <a:pt x="11744125" y="1276213"/>
                </a:cubicBezTo>
                <a:cubicBezTo>
                  <a:pt x="11735430" y="1283814"/>
                  <a:pt x="11731080" y="1281642"/>
                  <a:pt x="11731080" y="1270784"/>
                </a:cubicBezTo>
                <a:cubicBezTo>
                  <a:pt x="11731080" y="1264270"/>
                  <a:pt x="11733255" y="1256671"/>
                  <a:pt x="11723470" y="1255584"/>
                </a:cubicBezTo>
                <a:cubicBezTo>
                  <a:pt x="11701727" y="1251242"/>
                  <a:pt x="11693032" y="1236041"/>
                  <a:pt x="11694119" y="1216498"/>
                </a:cubicBezTo>
                <a:cubicBezTo>
                  <a:pt x="11695206" y="1202384"/>
                  <a:pt x="11690857" y="1195869"/>
                  <a:pt x="11681074" y="1190441"/>
                </a:cubicBezTo>
                <a:cubicBezTo>
                  <a:pt x="11681074" y="1186098"/>
                  <a:pt x="11681074" y="1181754"/>
                  <a:pt x="11681074" y="1177412"/>
                </a:cubicBezTo>
                <a:cubicBezTo>
                  <a:pt x="11691945" y="1170897"/>
                  <a:pt x="11695206" y="1158955"/>
                  <a:pt x="11691945" y="1148097"/>
                </a:cubicBezTo>
                <a:cubicBezTo>
                  <a:pt x="11686509" y="1128554"/>
                  <a:pt x="11693032" y="1113354"/>
                  <a:pt x="11707164" y="1100325"/>
                </a:cubicBezTo>
                <a:cubicBezTo>
                  <a:pt x="11712600" y="1094896"/>
                  <a:pt x="11718035" y="1090553"/>
                  <a:pt x="11720209" y="1082954"/>
                </a:cubicBezTo>
                <a:cubicBezTo>
                  <a:pt x="11722384" y="1071010"/>
                  <a:pt x="11728906" y="1064496"/>
                  <a:pt x="11740864" y="1065581"/>
                </a:cubicBezTo>
                <a:cubicBezTo>
                  <a:pt x="11749561" y="1065581"/>
                  <a:pt x="11756085" y="1060153"/>
                  <a:pt x="11759346" y="1055810"/>
                </a:cubicBezTo>
                <a:cubicBezTo>
                  <a:pt x="11777828" y="1029752"/>
                  <a:pt x="11805005" y="1043867"/>
                  <a:pt x="11827836" y="1040609"/>
                </a:cubicBezTo>
                <a:cubicBezTo>
                  <a:pt x="11832727" y="1040067"/>
                  <a:pt x="11840336" y="1038438"/>
                  <a:pt x="11847267" y="1037896"/>
                </a:cubicBezTo>
                <a:close/>
                <a:moveTo>
                  <a:pt x="3112015" y="1034215"/>
                </a:moveTo>
                <a:lnTo>
                  <a:pt x="3084844" y="1059412"/>
                </a:lnTo>
                <a:cubicBezTo>
                  <a:pt x="3064415" y="1082251"/>
                  <a:pt x="3044782" y="1101374"/>
                  <a:pt x="3027532" y="1109347"/>
                </a:cubicBezTo>
                <a:lnTo>
                  <a:pt x="3017812" y="1121249"/>
                </a:lnTo>
                <a:lnTo>
                  <a:pt x="3073376" y="1117080"/>
                </a:lnTo>
                <a:cubicBezTo>
                  <a:pt x="3083468" y="1115958"/>
                  <a:pt x="3093561" y="1115211"/>
                  <a:pt x="3103561" y="1115679"/>
                </a:cubicBezTo>
                <a:lnTo>
                  <a:pt x="3130140" y="1120962"/>
                </a:lnTo>
                <a:lnTo>
                  <a:pt x="3132652" y="1119370"/>
                </a:lnTo>
                <a:lnTo>
                  <a:pt x="3121223" y="1072209"/>
                </a:lnTo>
                <a:close/>
                <a:moveTo>
                  <a:pt x="6719746" y="1025507"/>
                </a:moveTo>
                <a:lnTo>
                  <a:pt x="6723785" y="1028671"/>
                </a:lnTo>
                <a:cubicBezTo>
                  <a:pt x="6720182" y="1028671"/>
                  <a:pt x="6720182" y="1028671"/>
                  <a:pt x="6720182" y="1028671"/>
                </a:cubicBezTo>
                <a:cubicBezTo>
                  <a:pt x="6720182" y="1028671"/>
                  <a:pt x="6716582" y="1028671"/>
                  <a:pt x="6716582" y="1028671"/>
                </a:cubicBezTo>
                <a:close/>
                <a:moveTo>
                  <a:pt x="12192528" y="991088"/>
                </a:moveTo>
                <a:lnTo>
                  <a:pt x="12192528" y="998161"/>
                </a:lnTo>
                <a:lnTo>
                  <a:pt x="12191272" y="994787"/>
                </a:lnTo>
                <a:close/>
                <a:moveTo>
                  <a:pt x="10459204" y="986789"/>
                </a:moveTo>
                <a:lnTo>
                  <a:pt x="10458834" y="991796"/>
                </a:lnTo>
                <a:lnTo>
                  <a:pt x="10464841" y="989354"/>
                </a:lnTo>
                <a:close/>
                <a:moveTo>
                  <a:pt x="12076946" y="955420"/>
                </a:moveTo>
                <a:cubicBezTo>
                  <a:pt x="12078786" y="955011"/>
                  <a:pt x="12079808" y="956238"/>
                  <a:pt x="12080627" y="957259"/>
                </a:cubicBezTo>
                <a:cubicBezTo>
                  <a:pt x="12083488" y="960530"/>
                  <a:pt x="12086147" y="963800"/>
                  <a:pt x="12091259" y="962164"/>
                </a:cubicBezTo>
                <a:cubicBezTo>
                  <a:pt x="12092281" y="961960"/>
                  <a:pt x="12092895" y="962777"/>
                  <a:pt x="12093304" y="963595"/>
                </a:cubicBezTo>
                <a:cubicBezTo>
                  <a:pt x="12095553" y="967683"/>
                  <a:pt x="12099234" y="970953"/>
                  <a:pt x="12102301" y="974427"/>
                </a:cubicBezTo>
                <a:cubicBezTo>
                  <a:pt x="12107004" y="979741"/>
                  <a:pt x="12109663" y="985668"/>
                  <a:pt x="12107822" y="992821"/>
                </a:cubicBezTo>
                <a:cubicBezTo>
                  <a:pt x="12107208" y="995683"/>
                  <a:pt x="12108846" y="997522"/>
                  <a:pt x="12110480" y="999157"/>
                </a:cubicBezTo>
                <a:cubicBezTo>
                  <a:pt x="12114161" y="1003040"/>
                  <a:pt x="12113957" y="1005083"/>
                  <a:pt x="12109867" y="1008149"/>
                </a:cubicBezTo>
                <a:cubicBezTo>
                  <a:pt x="12105370" y="1011214"/>
                  <a:pt x="12105370" y="1011214"/>
                  <a:pt x="12109050" y="1015711"/>
                </a:cubicBezTo>
                <a:cubicBezTo>
                  <a:pt x="12109867" y="1016733"/>
                  <a:pt x="12110480" y="1017551"/>
                  <a:pt x="12109254" y="1018777"/>
                </a:cubicBezTo>
                <a:cubicBezTo>
                  <a:pt x="12105165" y="1023477"/>
                  <a:pt x="12101484" y="1028178"/>
                  <a:pt x="12097189" y="1032675"/>
                </a:cubicBezTo>
                <a:cubicBezTo>
                  <a:pt x="12094122" y="1036149"/>
                  <a:pt x="12090237" y="1038398"/>
                  <a:pt x="12085738" y="1039419"/>
                </a:cubicBezTo>
                <a:cubicBezTo>
                  <a:pt x="12082875" y="1040237"/>
                  <a:pt x="12077355" y="1047594"/>
                  <a:pt x="12077151" y="1050660"/>
                </a:cubicBezTo>
                <a:cubicBezTo>
                  <a:pt x="12077151" y="1051682"/>
                  <a:pt x="12077151" y="1052499"/>
                  <a:pt x="12078377" y="1052908"/>
                </a:cubicBezTo>
                <a:cubicBezTo>
                  <a:pt x="12084717" y="1055769"/>
                  <a:pt x="12087783" y="1061288"/>
                  <a:pt x="12090441" y="1067214"/>
                </a:cubicBezTo>
                <a:cubicBezTo>
                  <a:pt x="12091055" y="1068441"/>
                  <a:pt x="12091464" y="1069463"/>
                  <a:pt x="12092077" y="1070484"/>
                </a:cubicBezTo>
                <a:cubicBezTo>
                  <a:pt x="12094122" y="1073754"/>
                  <a:pt x="12095144" y="1076616"/>
                  <a:pt x="12093712" y="1080704"/>
                </a:cubicBezTo>
                <a:cubicBezTo>
                  <a:pt x="12092281" y="1084792"/>
                  <a:pt x="12094531" y="1088879"/>
                  <a:pt x="12096576" y="1092558"/>
                </a:cubicBezTo>
                <a:cubicBezTo>
                  <a:pt x="12097393" y="1094397"/>
                  <a:pt x="12097803" y="1095623"/>
                  <a:pt x="12096371" y="1097462"/>
                </a:cubicBezTo>
                <a:cubicBezTo>
                  <a:pt x="12090646" y="1105229"/>
                  <a:pt x="12086352" y="1113813"/>
                  <a:pt x="12085534" y="1123828"/>
                </a:cubicBezTo>
                <a:cubicBezTo>
                  <a:pt x="12085329" y="1125258"/>
                  <a:pt x="12084922" y="1125871"/>
                  <a:pt x="12083488" y="1125462"/>
                </a:cubicBezTo>
                <a:cubicBezTo>
                  <a:pt x="12077764" y="1124237"/>
                  <a:pt x="12074083" y="1127302"/>
                  <a:pt x="12071016" y="1131390"/>
                </a:cubicBezTo>
                <a:cubicBezTo>
                  <a:pt x="12069584" y="1133229"/>
                  <a:pt x="12068357" y="1134251"/>
                  <a:pt x="12065699" y="1133024"/>
                </a:cubicBezTo>
                <a:cubicBezTo>
                  <a:pt x="12062427" y="1131185"/>
                  <a:pt x="12059359" y="1132820"/>
                  <a:pt x="12056703" y="1135069"/>
                </a:cubicBezTo>
                <a:cubicBezTo>
                  <a:pt x="12054452" y="1136907"/>
                  <a:pt x="12052203" y="1139156"/>
                  <a:pt x="12049954" y="1140995"/>
                </a:cubicBezTo>
                <a:cubicBezTo>
                  <a:pt x="12048830" y="1141813"/>
                  <a:pt x="12047756" y="1142273"/>
                  <a:pt x="12046887" y="1142094"/>
                </a:cubicBezTo>
                <a:cubicBezTo>
                  <a:pt x="12046018" y="1141914"/>
                  <a:pt x="12045354" y="1141098"/>
                  <a:pt x="12045047" y="1139361"/>
                </a:cubicBezTo>
                <a:cubicBezTo>
                  <a:pt x="12045047" y="1138543"/>
                  <a:pt x="12044842" y="1137725"/>
                  <a:pt x="12044434" y="1136907"/>
                </a:cubicBezTo>
                <a:cubicBezTo>
                  <a:pt x="12044024" y="1135885"/>
                  <a:pt x="12044024" y="1134251"/>
                  <a:pt x="12042592" y="1134046"/>
                </a:cubicBezTo>
                <a:cubicBezTo>
                  <a:pt x="12041366" y="1134046"/>
                  <a:pt x="12040548" y="1135069"/>
                  <a:pt x="12039936" y="1135885"/>
                </a:cubicBezTo>
                <a:cubicBezTo>
                  <a:pt x="12036868" y="1139361"/>
                  <a:pt x="12035642" y="1139156"/>
                  <a:pt x="12033800" y="1134864"/>
                </a:cubicBezTo>
                <a:cubicBezTo>
                  <a:pt x="12033392" y="1133842"/>
                  <a:pt x="12033187" y="1133024"/>
                  <a:pt x="12032574" y="1132206"/>
                </a:cubicBezTo>
                <a:cubicBezTo>
                  <a:pt x="12031755" y="1130981"/>
                  <a:pt x="12030936" y="1129959"/>
                  <a:pt x="12028893" y="1130776"/>
                </a:cubicBezTo>
                <a:cubicBezTo>
                  <a:pt x="12027052" y="1131798"/>
                  <a:pt x="12027052" y="1132615"/>
                  <a:pt x="12027461" y="1134251"/>
                </a:cubicBezTo>
                <a:lnTo>
                  <a:pt x="12027805" y="1137341"/>
                </a:lnTo>
                <a:lnTo>
                  <a:pt x="12011823" y="1121447"/>
                </a:lnTo>
                <a:lnTo>
                  <a:pt x="12012739" y="1120149"/>
                </a:lnTo>
                <a:cubicBezTo>
                  <a:pt x="12013147" y="1118309"/>
                  <a:pt x="12012535" y="1117083"/>
                  <a:pt x="12010898" y="1116266"/>
                </a:cubicBezTo>
                <a:cubicBezTo>
                  <a:pt x="12009671" y="1115653"/>
                  <a:pt x="12008445" y="1115244"/>
                  <a:pt x="12007217" y="1114630"/>
                </a:cubicBezTo>
                <a:cubicBezTo>
                  <a:pt x="12005173" y="1113608"/>
                  <a:pt x="12004354" y="1112178"/>
                  <a:pt x="12004764" y="1109725"/>
                </a:cubicBezTo>
                <a:cubicBezTo>
                  <a:pt x="12005990" y="1102368"/>
                  <a:pt x="12003332" y="1097258"/>
                  <a:pt x="11996789" y="1093988"/>
                </a:cubicBezTo>
                <a:cubicBezTo>
                  <a:pt x="11995766" y="1093375"/>
                  <a:pt x="11993517" y="1093579"/>
                  <a:pt x="11993926" y="1091740"/>
                </a:cubicBezTo>
                <a:cubicBezTo>
                  <a:pt x="11994130" y="1089900"/>
                  <a:pt x="11995970" y="1089491"/>
                  <a:pt x="11997811" y="1089287"/>
                </a:cubicBezTo>
                <a:cubicBezTo>
                  <a:pt x="11998016" y="1089287"/>
                  <a:pt x="11998220" y="1089287"/>
                  <a:pt x="11998424" y="1089287"/>
                </a:cubicBezTo>
                <a:cubicBezTo>
                  <a:pt x="12003332" y="1088470"/>
                  <a:pt x="12004764" y="1086222"/>
                  <a:pt x="12002310" y="1082338"/>
                </a:cubicBezTo>
                <a:cubicBezTo>
                  <a:pt x="12000060" y="1078660"/>
                  <a:pt x="12000673" y="1075799"/>
                  <a:pt x="12002719" y="1072733"/>
                </a:cubicBezTo>
                <a:cubicBezTo>
                  <a:pt x="12005378" y="1068646"/>
                  <a:pt x="12007422" y="1064353"/>
                  <a:pt x="12006195" y="1059244"/>
                </a:cubicBezTo>
                <a:cubicBezTo>
                  <a:pt x="12005582" y="1056996"/>
                  <a:pt x="12007831" y="1055974"/>
                  <a:pt x="12009263" y="1055565"/>
                </a:cubicBezTo>
                <a:cubicBezTo>
                  <a:pt x="12014578" y="1053726"/>
                  <a:pt x="12017032" y="1050251"/>
                  <a:pt x="12017646" y="1044938"/>
                </a:cubicBezTo>
                <a:cubicBezTo>
                  <a:pt x="12018055" y="1041668"/>
                  <a:pt x="12019281" y="1041054"/>
                  <a:pt x="12022553" y="1043098"/>
                </a:cubicBezTo>
                <a:cubicBezTo>
                  <a:pt x="12029506" y="1047390"/>
                  <a:pt x="12039731" y="1044324"/>
                  <a:pt x="12042797" y="1037171"/>
                </a:cubicBezTo>
                <a:cubicBezTo>
                  <a:pt x="12043410" y="1035740"/>
                  <a:pt x="12044228" y="1033901"/>
                  <a:pt x="12042797" y="1032675"/>
                </a:cubicBezTo>
                <a:cubicBezTo>
                  <a:pt x="12041366" y="1031448"/>
                  <a:pt x="12039322" y="1030835"/>
                  <a:pt x="12037480" y="1032061"/>
                </a:cubicBezTo>
                <a:cubicBezTo>
                  <a:pt x="12036255" y="1032675"/>
                  <a:pt x="12035027" y="1033697"/>
                  <a:pt x="12033800" y="1034515"/>
                </a:cubicBezTo>
                <a:cubicBezTo>
                  <a:pt x="12032574" y="1035536"/>
                  <a:pt x="12031346" y="1036149"/>
                  <a:pt x="12030324" y="1034922"/>
                </a:cubicBezTo>
                <a:cubicBezTo>
                  <a:pt x="12029098" y="1033492"/>
                  <a:pt x="12029915" y="1032266"/>
                  <a:pt x="12030936" y="1031244"/>
                </a:cubicBezTo>
                <a:cubicBezTo>
                  <a:pt x="12031755" y="1030223"/>
                  <a:pt x="12032983" y="1029405"/>
                  <a:pt x="12033800" y="1028587"/>
                </a:cubicBezTo>
                <a:cubicBezTo>
                  <a:pt x="12035642" y="1026748"/>
                  <a:pt x="12036664" y="1024295"/>
                  <a:pt x="12034822" y="1022252"/>
                </a:cubicBezTo>
                <a:cubicBezTo>
                  <a:pt x="12033187" y="1020616"/>
                  <a:pt x="12030936" y="1022252"/>
                  <a:pt x="12029302" y="1023477"/>
                </a:cubicBezTo>
                <a:cubicBezTo>
                  <a:pt x="12027870" y="1024499"/>
                  <a:pt x="12026848" y="1026339"/>
                  <a:pt x="12025007" y="1026952"/>
                </a:cubicBezTo>
                <a:cubicBezTo>
                  <a:pt x="12022349" y="1027974"/>
                  <a:pt x="12020714" y="1027565"/>
                  <a:pt x="12020918" y="1024295"/>
                </a:cubicBezTo>
                <a:cubicBezTo>
                  <a:pt x="12021122" y="1019798"/>
                  <a:pt x="12022962" y="1016120"/>
                  <a:pt x="12025417" y="1012645"/>
                </a:cubicBezTo>
                <a:cubicBezTo>
                  <a:pt x="12028483" y="1008149"/>
                  <a:pt x="12028689" y="1005697"/>
                  <a:pt x="12025417" y="1001405"/>
                </a:cubicBezTo>
                <a:cubicBezTo>
                  <a:pt x="12024393" y="999769"/>
                  <a:pt x="12022758" y="998339"/>
                  <a:pt x="12021327" y="996908"/>
                </a:cubicBezTo>
                <a:cubicBezTo>
                  <a:pt x="12020714" y="996295"/>
                  <a:pt x="12019690" y="995683"/>
                  <a:pt x="12020099" y="994661"/>
                </a:cubicBezTo>
                <a:cubicBezTo>
                  <a:pt x="12020509" y="993434"/>
                  <a:pt x="12021531" y="993230"/>
                  <a:pt x="12022349" y="993434"/>
                </a:cubicBezTo>
                <a:cubicBezTo>
                  <a:pt x="12026030" y="994252"/>
                  <a:pt x="12026848" y="992616"/>
                  <a:pt x="12026643" y="989346"/>
                </a:cubicBezTo>
                <a:cubicBezTo>
                  <a:pt x="12026439" y="985259"/>
                  <a:pt x="12029098" y="982398"/>
                  <a:pt x="12031960" y="980149"/>
                </a:cubicBezTo>
                <a:cubicBezTo>
                  <a:pt x="12034208" y="978310"/>
                  <a:pt x="12034413" y="976879"/>
                  <a:pt x="12032165" y="975245"/>
                </a:cubicBezTo>
                <a:cubicBezTo>
                  <a:pt x="12030936" y="974427"/>
                  <a:pt x="12030119" y="973609"/>
                  <a:pt x="12030528" y="971975"/>
                </a:cubicBezTo>
                <a:cubicBezTo>
                  <a:pt x="12030936" y="969726"/>
                  <a:pt x="12032574" y="970135"/>
                  <a:pt x="12034004" y="969726"/>
                </a:cubicBezTo>
                <a:cubicBezTo>
                  <a:pt x="12034822" y="969522"/>
                  <a:pt x="12035846" y="969522"/>
                  <a:pt x="12036868" y="969317"/>
                </a:cubicBezTo>
                <a:cubicBezTo>
                  <a:pt x="12042388" y="968704"/>
                  <a:pt x="12043615" y="965638"/>
                  <a:pt x="12040344" y="960937"/>
                </a:cubicBezTo>
                <a:cubicBezTo>
                  <a:pt x="12039936" y="960325"/>
                  <a:pt x="12039525" y="959916"/>
                  <a:pt x="12039322" y="959303"/>
                </a:cubicBezTo>
                <a:cubicBezTo>
                  <a:pt x="12038707" y="958076"/>
                  <a:pt x="12038298" y="956442"/>
                  <a:pt x="12039525" y="955624"/>
                </a:cubicBezTo>
                <a:cubicBezTo>
                  <a:pt x="12040548" y="954807"/>
                  <a:pt x="12041979" y="955624"/>
                  <a:pt x="12042797" y="956442"/>
                </a:cubicBezTo>
                <a:cubicBezTo>
                  <a:pt x="12043615" y="957259"/>
                  <a:pt x="12044228" y="958076"/>
                  <a:pt x="12044842" y="959099"/>
                </a:cubicBezTo>
                <a:cubicBezTo>
                  <a:pt x="12046069" y="960530"/>
                  <a:pt x="12047296" y="960937"/>
                  <a:pt x="12048931" y="959712"/>
                </a:cubicBezTo>
                <a:cubicBezTo>
                  <a:pt x="12052818" y="957054"/>
                  <a:pt x="12057112" y="956646"/>
                  <a:pt x="12061405" y="956442"/>
                </a:cubicBezTo>
                <a:cubicBezTo>
                  <a:pt x="12066517" y="956033"/>
                  <a:pt x="12071833" y="956646"/>
                  <a:pt x="12076946" y="955420"/>
                </a:cubicBezTo>
                <a:close/>
                <a:moveTo>
                  <a:pt x="2111583" y="948085"/>
                </a:moveTo>
                <a:cubicBezTo>
                  <a:pt x="2115834" y="948037"/>
                  <a:pt x="2120277" y="949002"/>
                  <a:pt x="2124333" y="948423"/>
                </a:cubicBezTo>
                <a:cubicBezTo>
                  <a:pt x="2127810" y="948037"/>
                  <a:pt x="2135151" y="946107"/>
                  <a:pt x="2136697" y="948809"/>
                </a:cubicBezTo>
                <a:cubicBezTo>
                  <a:pt x="2141334" y="956526"/>
                  <a:pt x="2153311" y="953439"/>
                  <a:pt x="2156016" y="963857"/>
                </a:cubicBezTo>
                <a:cubicBezTo>
                  <a:pt x="2156788" y="966945"/>
                  <a:pt x="2162197" y="968874"/>
                  <a:pt x="2157175" y="973119"/>
                </a:cubicBezTo>
                <a:cubicBezTo>
                  <a:pt x="2155629" y="974277"/>
                  <a:pt x="2156016" y="976591"/>
                  <a:pt x="2157561" y="976977"/>
                </a:cubicBezTo>
                <a:cubicBezTo>
                  <a:pt x="2163743" y="979293"/>
                  <a:pt x="2163357" y="982766"/>
                  <a:pt x="2159492" y="987396"/>
                </a:cubicBezTo>
                <a:cubicBezTo>
                  <a:pt x="2158333" y="988939"/>
                  <a:pt x="2159879" y="990869"/>
                  <a:pt x="2160652" y="992413"/>
                </a:cubicBezTo>
                <a:cubicBezTo>
                  <a:pt x="2162197" y="994728"/>
                  <a:pt x="2162584" y="997044"/>
                  <a:pt x="2160265" y="998973"/>
                </a:cubicBezTo>
                <a:cubicBezTo>
                  <a:pt x="2157948" y="1000902"/>
                  <a:pt x="2158333" y="1003217"/>
                  <a:pt x="2157561" y="1005533"/>
                </a:cubicBezTo>
                <a:cubicBezTo>
                  <a:pt x="2155629" y="1011320"/>
                  <a:pt x="2153311" y="1018653"/>
                  <a:pt x="2149061" y="1021354"/>
                </a:cubicBezTo>
                <a:cubicBezTo>
                  <a:pt x="2139788" y="1027142"/>
                  <a:pt x="2130901" y="1033316"/>
                  <a:pt x="2121628" y="1038718"/>
                </a:cubicBezTo>
                <a:cubicBezTo>
                  <a:pt x="2120856" y="1038718"/>
                  <a:pt x="2119310" y="1038718"/>
                  <a:pt x="2118924" y="1037946"/>
                </a:cubicBezTo>
                <a:cubicBezTo>
                  <a:pt x="2115060" y="1034473"/>
                  <a:pt x="2111583" y="1031387"/>
                  <a:pt x="2106560" y="1036402"/>
                </a:cubicBezTo>
                <a:cubicBezTo>
                  <a:pt x="2105015" y="1038332"/>
                  <a:pt x="2103855" y="1036402"/>
                  <a:pt x="2103469" y="1034859"/>
                </a:cubicBezTo>
                <a:cubicBezTo>
                  <a:pt x="2102310" y="1028299"/>
                  <a:pt x="2099219" y="1028299"/>
                  <a:pt x="2094582" y="1032158"/>
                </a:cubicBezTo>
                <a:cubicBezTo>
                  <a:pt x="2091492" y="1034859"/>
                  <a:pt x="2089946" y="1034088"/>
                  <a:pt x="2089946" y="1030229"/>
                </a:cubicBezTo>
                <a:cubicBezTo>
                  <a:pt x="2089946" y="1027913"/>
                  <a:pt x="2090719" y="1025212"/>
                  <a:pt x="2087241" y="1024826"/>
                </a:cubicBezTo>
                <a:cubicBezTo>
                  <a:pt x="2079514" y="1023282"/>
                  <a:pt x="2076424" y="1017881"/>
                  <a:pt x="2076810" y="1010934"/>
                </a:cubicBezTo>
                <a:cubicBezTo>
                  <a:pt x="2077195" y="1005918"/>
                  <a:pt x="2075651" y="1003603"/>
                  <a:pt x="2072173" y="1001673"/>
                </a:cubicBezTo>
                <a:cubicBezTo>
                  <a:pt x="2072173" y="1000130"/>
                  <a:pt x="2072173" y="998587"/>
                  <a:pt x="2072173" y="997044"/>
                </a:cubicBezTo>
                <a:cubicBezTo>
                  <a:pt x="2076037" y="994728"/>
                  <a:pt x="2077195" y="990483"/>
                  <a:pt x="2076037" y="986625"/>
                </a:cubicBezTo>
                <a:cubicBezTo>
                  <a:pt x="2074105" y="979679"/>
                  <a:pt x="2076424" y="974277"/>
                  <a:pt x="2081446" y="969646"/>
                </a:cubicBezTo>
                <a:cubicBezTo>
                  <a:pt x="2083378" y="967716"/>
                  <a:pt x="2085309" y="966173"/>
                  <a:pt x="2086082" y="963472"/>
                </a:cubicBezTo>
                <a:cubicBezTo>
                  <a:pt x="2086855" y="959227"/>
                  <a:pt x="2089173" y="956912"/>
                  <a:pt x="2093423" y="957298"/>
                </a:cubicBezTo>
                <a:cubicBezTo>
                  <a:pt x="2096514" y="957298"/>
                  <a:pt x="2098833" y="955368"/>
                  <a:pt x="2099992" y="953825"/>
                </a:cubicBezTo>
                <a:cubicBezTo>
                  <a:pt x="2103276" y="949194"/>
                  <a:pt x="2107333" y="948133"/>
                  <a:pt x="2111583" y="948085"/>
                </a:cubicBezTo>
                <a:close/>
                <a:moveTo>
                  <a:pt x="393648" y="941854"/>
                </a:moveTo>
                <a:cubicBezTo>
                  <a:pt x="396271" y="941649"/>
                  <a:pt x="398638" y="941853"/>
                  <a:pt x="399461" y="943292"/>
                </a:cubicBezTo>
                <a:cubicBezTo>
                  <a:pt x="404399" y="951512"/>
                  <a:pt x="417155" y="948223"/>
                  <a:pt x="420035" y="959319"/>
                </a:cubicBezTo>
                <a:cubicBezTo>
                  <a:pt x="420857" y="962606"/>
                  <a:pt x="426618" y="964662"/>
                  <a:pt x="421270" y="969183"/>
                </a:cubicBezTo>
                <a:cubicBezTo>
                  <a:pt x="419623" y="970415"/>
                  <a:pt x="420035" y="972880"/>
                  <a:pt x="421681" y="973291"/>
                </a:cubicBezTo>
                <a:cubicBezTo>
                  <a:pt x="428264" y="975757"/>
                  <a:pt x="427853" y="979455"/>
                  <a:pt x="423737" y="984386"/>
                </a:cubicBezTo>
                <a:cubicBezTo>
                  <a:pt x="422504" y="986031"/>
                  <a:pt x="424149" y="988086"/>
                  <a:pt x="424972" y="989729"/>
                </a:cubicBezTo>
                <a:cubicBezTo>
                  <a:pt x="426618" y="992196"/>
                  <a:pt x="427030" y="994661"/>
                  <a:pt x="424560" y="996716"/>
                </a:cubicBezTo>
                <a:cubicBezTo>
                  <a:pt x="422093" y="998770"/>
                  <a:pt x="422504" y="1001236"/>
                  <a:pt x="421681" y="1003702"/>
                </a:cubicBezTo>
                <a:cubicBezTo>
                  <a:pt x="419623" y="1009866"/>
                  <a:pt x="417155" y="1017674"/>
                  <a:pt x="412628" y="1020552"/>
                </a:cubicBezTo>
                <a:cubicBezTo>
                  <a:pt x="402753" y="1026715"/>
                  <a:pt x="393288" y="1033291"/>
                  <a:pt x="383413" y="1039043"/>
                </a:cubicBezTo>
                <a:cubicBezTo>
                  <a:pt x="382591" y="1039043"/>
                  <a:pt x="380944" y="1039043"/>
                  <a:pt x="380533" y="1038222"/>
                </a:cubicBezTo>
                <a:cubicBezTo>
                  <a:pt x="376418" y="1034522"/>
                  <a:pt x="372715" y="1031235"/>
                  <a:pt x="367366" y="1036577"/>
                </a:cubicBezTo>
                <a:cubicBezTo>
                  <a:pt x="365721" y="1038633"/>
                  <a:pt x="364485" y="1036577"/>
                  <a:pt x="364074" y="1034933"/>
                </a:cubicBezTo>
                <a:cubicBezTo>
                  <a:pt x="362840" y="1027948"/>
                  <a:pt x="359548" y="1027948"/>
                  <a:pt x="354610" y="1032058"/>
                </a:cubicBezTo>
                <a:cubicBezTo>
                  <a:pt x="351319" y="1034933"/>
                  <a:pt x="349672" y="1034113"/>
                  <a:pt x="349672" y="1030002"/>
                </a:cubicBezTo>
                <a:cubicBezTo>
                  <a:pt x="349672" y="1027537"/>
                  <a:pt x="350496" y="1024660"/>
                  <a:pt x="346792" y="1024249"/>
                </a:cubicBezTo>
                <a:cubicBezTo>
                  <a:pt x="338563" y="1022605"/>
                  <a:pt x="335272" y="1016852"/>
                  <a:pt x="335683" y="1009455"/>
                </a:cubicBezTo>
                <a:cubicBezTo>
                  <a:pt x="336094" y="1004113"/>
                  <a:pt x="334449" y="1001647"/>
                  <a:pt x="330745" y="999592"/>
                </a:cubicBezTo>
                <a:cubicBezTo>
                  <a:pt x="330745" y="997948"/>
                  <a:pt x="330745" y="996305"/>
                  <a:pt x="330745" y="994661"/>
                </a:cubicBezTo>
                <a:cubicBezTo>
                  <a:pt x="334860" y="992196"/>
                  <a:pt x="336094" y="987675"/>
                  <a:pt x="334860" y="983566"/>
                </a:cubicBezTo>
                <a:cubicBezTo>
                  <a:pt x="332802" y="976168"/>
                  <a:pt x="335272" y="970415"/>
                  <a:pt x="340620" y="965484"/>
                </a:cubicBezTo>
                <a:cubicBezTo>
                  <a:pt x="342678" y="963429"/>
                  <a:pt x="344735" y="961784"/>
                  <a:pt x="345557" y="958909"/>
                </a:cubicBezTo>
                <a:cubicBezTo>
                  <a:pt x="346381" y="954388"/>
                  <a:pt x="348849" y="951922"/>
                  <a:pt x="353376" y="952333"/>
                </a:cubicBezTo>
                <a:cubicBezTo>
                  <a:pt x="356667" y="952333"/>
                  <a:pt x="359137" y="950278"/>
                  <a:pt x="360371" y="948634"/>
                </a:cubicBezTo>
                <a:cubicBezTo>
                  <a:pt x="363868" y="943703"/>
                  <a:pt x="368189" y="942573"/>
                  <a:pt x="372715" y="942521"/>
                </a:cubicBezTo>
                <a:cubicBezTo>
                  <a:pt x="377243" y="942470"/>
                  <a:pt x="381974" y="943498"/>
                  <a:pt x="386294" y="942881"/>
                </a:cubicBezTo>
                <a:cubicBezTo>
                  <a:pt x="388146" y="942675"/>
                  <a:pt x="391026" y="942060"/>
                  <a:pt x="393648" y="941854"/>
                </a:cubicBezTo>
                <a:close/>
                <a:moveTo>
                  <a:pt x="9365385" y="936777"/>
                </a:moveTo>
                <a:lnTo>
                  <a:pt x="9381236" y="939927"/>
                </a:lnTo>
                <a:lnTo>
                  <a:pt x="9381824" y="939901"/>
                </a:lnTo>
                <a:lnTo>
                  <a:pt x="9387862" y="940236"/>
                </a:lnTo>
                <a:lnTo>
                  <a:pt x="9387435" y="938477"/>
                </a:lnTo>
                <a:close/>
                <a:moveTo>
                  <a:pt x="9222336" y="925048"/>
                </a:moveTo>
                <a:cubicBezTo>
                  <a:pt x="9187286" y="927459"/>
                  <a:pt x="9138760" y="929761"/>
                  <a:pt x="9099659" y="933486"/>
                </a:cubicBezTo>
                <a:cubicBezTo>
                  <a:pt x="9075451" y="927901"/>
                  <a:pt x="9045766" y="933049"/>
                  <a:pt x="9016083" y="938199"/>
                </a:cubicBezTo>
                <a:cubicBezTo>
                  <a:pt x="8999979" y="929983"/>
                  <a:pt x="8956822" y="935023"/>
                  <a:pt x="8913666" y="940063"/>
                </a:cubicBezTo>
                <a:cubicBezTo>
                  <a:pt x="8870508" y="945104"/>
                  <a:pt x="8827348" y="950143"/>
                  <a:pt x="8811247" y="941928"/>
                </a:cubicBezTo>
                <a:cubicBezTo>
                  <a:pt x="8799088" y="945871"/>
                  <a:pt x="8777508" y="948390"/>
                  <a:pt x="8772140" y="945654"/>
                </a:cubicBezTo>
                <a:cubicBezTo>
                  <a:pt x="8762611" y="957702"/>
                  <a:pt x="8715400" y="964057"/>
                  <a:pt x="8708721" y="957265"/>
                </a:cubicBezTo>
                <a:cubicBezTo>
                  <a:pt x="8704668" y="958580"/>
                  <a:pt x="8696560" y="961209"/>
                  <a:pt x="8692508" y="962525"/>
                </a:cubicBezTo>
                <a:cubicBezTo>
                  <a:pt x="8688564" y="950364"/>
                  <a:pt x="8654718" y="970303"/>
                  <a:pt x="8623717" y="971397"/>
                </a:cubicBezTo>
                <a:cubicBezTo>
                  <a:pt x="8619664" y="972712"/>
                  <a:pt x="8619664" y="972712"/>
                  <a:pt x="8619664" y="972712"/>
                </a:cubicBezTo>
                <a:cubicBezTo>
                  <a:pt x="8619664" y="972712"/>
                  <a:pt x="8618350" y="968660"/>
                  <a:pt x="8618350" y="968660"/>
                </a:cubicBezTo>
                <a:cubicBezTo>
                  <a:pt x="8614296" y="969974"/>
                  <a:pt x="8614296" y="969974"/>
                  <a:pt x="8610245" y="971289"/>
                </a:cubicBezTo>
                <a:cubicBezTo>
                  <a:pt x="8610245" y="971289"/>
                  <a:pt x="8610245" y="971289"/>
                  <a:pt x="8611559" y="975342"/>
                </a:cubicBezTo>
                <a:cubicBezTo>
                  <a:pt x="8611559" y="975342"/>
                  <a:pt x="8615612" y="974027"/>
                  <a:pt x="8615612" y="974027"/>
                </a:cubicBezTo>
                <a:cubicBezTo>
                  <a:pt x="8607506" y="976656"/>
                  <a:pt x="8595348" y="980599"/>
                  <a:pt x="8596662" y="984653"/>
                </a:cubicBezTo>
                <a:cubicBezTo>
                  <a:pt x="8525132" y="998894"/>
                  <a:pt x="8454926" y="1017189"/>
                  <a:pt x="8383293" y="1044904"/>
                </a:cubicBezTo>
                <a:cubicBezTo>
                  <a:pt x="8356236" y="1058158"/>
                  <a:pt x="8335968" y="1064730"/>
                  <a:pt x="8303549" y="1075246"/>
                </a:cubicBezTo>
                <a:cubicBezTo>
                  <a:pt x="8268387" y="1091131"/>
                  <a:pt x="8218327" y="1116326"/>
                  <a:pt x="8171009" y="1136153"/>
                </a:cubicBezTo>
                <a:cubicBezTo>
                  <a:pt x="8120951" y="1161346"/>
                  <a:pt x="8074943" y="1185229"/>
                  <a:pt x="8037045" y="1206479"/>
                </a:cubicBezTo>
                <a:cubicBezTo>
                  <a:pt x="8005937" y="1221049"/>
                  <a:pt x="7991041" y="1230360"/>
                  <a:pt x="7957190" y="1250296"/>
                </a:cubicBezTo>
                <a:cubicBezTo>
                  <a:pt x="7950404" y="1256979"/>
                  <a:pt x="7938246" y="1260922"/>
                  <a:pt x="7930136" y="1263551"/>
                </a:cubicBezTo>
                <a:cubicBezTo>
                  <a:pt x="7911187" y="1274176"/>
                  <a:pt x="7898919" y="1291593"/>
                  <a:pt x="7878653" y="1298165"/>
                </a:cubicBezTo>
                <a:cubicBezTo>
                  <a:pt x="7878653" y="1298165"/>
                  <a:pt x="7877341" y="1294113"/>
                  <a:pt x="7877341" y="1294113"/>
                </a:cubicBezTo>
                <a:cubicBezTo>
                  <a:pt x="7881394" y="1292799"/>
                  <a:pt x="7876027" y="1290060"/>
                  <a:pt x="7873288" y="1295428"/>
                </a:cubicBezTo>
                <a:cubicBezTo>
                  <a:pt x="7869234" y="1296743"/>
                  <a:pt x="7865183" y="1298057"/>
                  <a:pt x="7865183" y="1298057"/>
                </a:cubicBezTo>
                <a:cubicBezTo>
                  <a:pt x="7866495" y="1302110"/>
                  <a:pt x="7862443" y="1303424"/>
                  <a:pt x="7862443" y="1303424"/>
                </a:cubicBezTo>
                <a:cubicBezTo>
                  <a:pt x="7861130" y="1299372"/>
                  <a:pt x="7857077" y="1300686"/>
                  <a:pt x="7853024" y="1302000"/>
                </a:cubicBezTo>
                <a:cubicBezTo>
                  <a:pt x="7850285" y="1307367"/>
                  <a:pt x="7854337" y="1306053"/>
                  <a:pt x="7855654" y="1310106"/>
                </a:cubicBezTo>
                <a:cubicBezTo>
                  <a:pt x="7855654" y="1310106"/>
                  <a:pt x="7851601" y="1311421"/>
                  <a:pt x="7851601" y="1311421"/>
                </a:cubicBezTo>
                <a:cubicBezTo>
                  <a:pt x="7847549" y="1312735"/>
                  <a:pt x="7844810" y="1318103"/>
                  <a:pt x="7844810" y="1318103"/>
                </a:cubicBezTo>
                <a:cubicBezTo>
                  <a:pt x="7846125" y="1322154"/>
                  <a:pt x="7850175" y="1320840"/>
                  <a:pt x="7854228" y="1319525"/>
                </a:cubicBezTo>
                <a:cubicBezTo>
                  <a:pt x="7852915" y="1315473"/>
                  <a:pt x="7852915" y="1315473"/>
                  <a:pt x="7852915" y="1315473"/>
                </a:cubicBezTo>
                <a:cubicBezTo>
                  <a:pt x="7858281" y="1318211"/>
                  <a:pt x="7858281" y="1318211"/>
                  <a:pt x="7858281" y="1318211"/>
                </a:cubicBezTo>
                <a:cubicBezTo>
                  <a:pt x="7827175" y="1332782"/>
                  <a:pt x="7782485" y="1360714"/>
                  <a:pt x="7767479" y="1383498"/>
                </a:cubicBezTo>
                <a:cubicBezTo>
                  <a:pt x="7733632" y="1403434"/>
                  <a:pt x="7687513" y="1440788"/>
                  <a:pt x="7631870" y="1490192"/>
                </a:cubicBezTo>
                <a:cubicBezTo>
                  <a:pt x="7630557" y="1486138"/>
                  <a:pt x="7630557" y="1486138"/>
                  <a:pt x="7630557" y="1486138"/>
                </a:cubicBezTo>
                <a:cubicBezTo>
                  <a:pt x="7630557" y="1486138"/>
                  <a:pt x="7634610" y="1484824"/>
                  <a:pt x="7634610" y="1484824"/>
                </a:cubicBezTo>
                <a:cubicBezTo>
                  <a:pt x="7637348" y="1479455"/>
                  <a:pt x="7641401" y="1478141"/>
                  <a:pt x="7636032" y="1475403"/>
                </a:cubicBezTo>
                <a:cubicBezTo>
                  <a:pt x="7636032" y="1475403"/>
                  <a:pt x="7631980" y="1476717"/>
                  <a:pt x="7629243" y="1482084"/>
                </a:cubicBezTo>
                <a:cubicBezTo>
                  <a:pt x="7625188" y="1483399"/>
                  <a:pt x="7625188" y="1483399"/>
                  <a:pt x="7622452" y="1488767"/>
                </a:cubicBezTo>
                <a:cubicBezTo>
                  <a:pt x="7621135" y="1484713"/>
                  <a:pt x="7617083" y="1486029"/>
                  <a:pt x="7608977" y="1488657"/>
                </a:cubicBezTo>
                <a:cubicBezTo>
                  <a:pt x="7609632" y="1490684"/>
                  <a:pt x="7610292" y="1492712"/>
                  <a:pt x="7611633" y="1493396"/>
                </a:cubicBezTo>
                <a:lnTo>
                  <a:pt x="7613886" y="1492291"/>
                </a:lnTo>
                <a:lnTo>
                  <a:pt x="7608866" y="1502131"/>
                </a:lnTo>
                <a:cubicBezTo>
                  <a:pt x="7612918" y="1500816"/>
                  <a:pt x="7616971" y="1499502"/>
                  <a:pt x="7621024" y="1498186"/>
                </a:cubicBezTo>
                <a:cubicBezTo>
                  <a:pt x="7612810" y="1514289"/>
                  <a:pt x="7607334" y="1525024"/>
                  <a:pt x="7589697" y="1539702"/>
                </a:cubicBezTo>
                <a:cubicBezTo>
                  <a:pt x="7592436" y="1534336"/>
                  <a:pt x="7588383" y="1535650"/>
                  <a:pt x="7584329" y="1536965"/>
                </a:cubicBezTo>
                <a:cubicBezTo>
                  <a:pt x="7566692" y="1551643"/>
                  <a:pt x="7553001" y="1578479"/>
                  <a:pt x="7542158" y="1586476"/>
                </a:cubicBezTo>
                <a:cubicBezTo>
                  <a:pt x="7542158" y="1586476"/>
                  <a:pt x="7540843" y="1582423"/>
                  <a:pt x="7544896" y="1581109"/>
                </a:cubicBezTo>
                <a:cubicBezTo>
                  <a:pt x="7520468" y="1602469"/>
                  <a:pt x="7506779" y="1629306"/>
                  <a:pt x="7493304" y="1629197"/>
                </a:cubicBezTo>
                <a:cubicBezTo>
                  <a:pt x="7497357" y="1627882"/>
                  <a:pt x="7494620" y="1633251"/>
                  <a:pt x="7490567" y="1634564"/>
                </a:cubicBezTo>
                <a:cubicBezTo>
                  <a:pt x="7486407" y="1649353"/>
                  <a:pt x="7502726" y="1630620"/>
                  <a:pt x="7506779" y="1629306"/>
                </a:cubicBezTo>
                <a:cubicBezTo>
                  <a:pt x="7486407" y="1649353"/>
                  <a:pt x="7478301" y="1651981"/>
                  <a:pt x="7474140" y="1666768"/>
                </a:cubicBezTo>
                <a:cubicBezTo>
                  <a:pt x="7468771" y="1664031"/>
                  <a:pt x="7474249" y="1653295"/>
                  <a:pt x="7464718" y="1665345"/>
                </a:cubicBezTo>
                <a:cubicBezTo>
                  <a:pt x="7463292" y="1674765"/>
                  <a:pt x="7466035" y="1669398"/>
                  <a:pt x="7460559" y="1680132"/>
                </a:cubicBezTo>
                <a:cubicBezTo>
                  <a:pt x="7461870" y="1684186"/>
                  <a:pt x="7457818" y="1685500"/>
                  <a:pt x="7457818" y="1685500"/>
                </a:cubicBezTo>
                <a:cubicBezTo>
                  <a:pt x="7455081" y="1690868"/>
                  <a:pt x="7451029" y="1692182"/>
                  <a:pt x="7452343" y="1696235"/>
                </a:cubicBezTo>
                <a:cubicBezTo>
                  <a:pt x="7453656" y="1700287"/>
                  <a:pt x="7457707" y="1698974"/>
                  <a:pt x="7460448" y="1693606"/>
                </a:cubicBezTo>
                <a:cubicBezTo>
                  <a:pt x="7460448" y="1693606"/>
                  <a:pt x="7460448" y="1693606"/>
                  <a:pt x="7464501" y="1692291"/>
                </a:cubicBezTo>
                <a:cubicBezTo>
                  <a:pt x="7434600" y="1724386"/>
                  <a:pt x="7430435" y="1739174"/>
                  <a:pt x="7395059" y="1782003"/>
                </a:cubicBezTo>
                <a:cubicBezTo>
                  <a:pt x="7376214" y="1779157"/>
                  <a:pt x="7392318" y="1787371"/>
                  <a:pt x="7365262" y="1800626"/>
                </a:cubicBezTo>
                <a:cubicBezTo>
                  <a:pt x="7363946" y="1796573"/>
                  <a:pt x="7363946" y="1796573"/>
                  <a:pt x="7363946" y="1796573"/>
                </a:cubicBezTo>
                <a:cubicBezTo>
                  <a:pt x="7366685" y="1791205"/>
                  <a:pt x="7362629" y="1792520"/>
                  <a:pt x="7359893" y="1797888"/>
                </a:cubicBezTo>
                <a:cubicBezTo>
                  <a:pt x="7355842" y="1799202"/>
                  <a:pt x="7353104" y="1804569"/>
                  <a:pt x="7354417" y="1808623"/>
                </a:cubicBezTo>
                <a:cubicBezTo>
                  <a:pt x="7351676" y="1813990"/>
                  <a:pt x="7351676" y="1813990"/>
                  <a:pt x="7351676" y="1813990"/>
                </a:cubicBezTo>
                <a:cubicBezTo>
                  <a:pt x="7344885" y="1820671"/>
                  <a:pt x="7346203" y="1824724"/>
                  <a:pt x="7351569" y="1827464"/>
                </a:cubicBezTo>
                <a:cubicBezTo>
                  <a:pt x="7343464" y="1830093"/>
                  <a:pt x="7342038" y="1839513"/>
                  <a:pt x="7339300" y="1844880"/>
                </a:cubicBezTo>
                <a:cubicBezTo>
                  <a:pt x="7346093" y="1838197"/>
                  <a:pt x="7352884" y="1831516"/>
                  <a:pt x="7359677" y="1824834"/>
                </a:cubicBezTo>
                <a:cubicBezTo>
                  <a:pt x="7358360" y="1820781"/>
                  <a:pt x="7357043" y="1816728"/>
                  <a:pt x="7357043" y="1816728"/>
                </a:cubicBezTo>
                <a:cubicBezTo>
                  <a:pt x="7357043" y="1816728"/>
                  <a:pt x="7361097" y="1815414"/>
                  <a:pt x="7359784" y="1811361"/>
                </a:cubicBezTo>
                <a:cubicBezTo>
                  <a:pt x="7359784" y="1811361"/>
                  <a:pt x="7363836" y="1810046"/>
                  <a:pt x="7363836" y="1810046"/>
                </a:cubicBezTo>
                <a:cubicBezTo>
                  <a:pt x="7367889" y="1808733"/>
                  <a:pt x="7366577" y="1804679"/>
                  <a:pt x="7365262" y="1800626"/>
                </a:cubicBezTo>
                <a:cubicBezTo>
                  <a:pt x="7388154" y="1802159"/>
                  <a:pt x="7411161" y="1790219"/>
                  <a:pt x="7430329" y="1752647"/>
                </a:cubicBezTo>
                <a:cubicBezTo>
                  <a:pt x="7434384" y="1751333"/>
                  <a:pt x="7437117" y="1745965"/>
                  <a:pt x="7438434" y="1750017"/>
                </a:cubicBezTo>
                <a:cubicBezTo>
                  <a:pt x="7434384" y="1751333"/>
                  <a:pt x="7435693" y="1755385"/>
                  <a:pt x="7439749" y="1754071"/>
                </a:cubicBezTo>
                <a:cubicBezTo>
                  <a:pt x="7439749" y="1754071"/>
                  <a:pt x="7439749" y="1754071"/>
                  <a:pt x="7442487" y="1748703"/>
                </a:cubicBezTo>
                <a:cubicBezTo>
                  <a:pt x="7442487" y="1748703"/>
                  <a:pt x="7446539" y="1747388"/>
                  <a:pt x="7446539" y="1747388"/>
                </a:cubicBezTo>
                <a:cubicBezTo>
                  <a:pt x="7440348" y="1762835"/>
                  <a:pt x="7433176" y="1775239"/>
                  <a:pt x="7423480" y="1786783"/>
                </a:cubicBezTo>
                <a:lnTo>
                  <a:pt x="7388777" y="1817888"/>
                </a:lnTo>
                <a:lnTo>
                  <a:pt x="7388045" y="1815632"/>
                </a:lnTo>
                <a:cubicBezTo>
                  <a:pt x="7383992" y="1816948"/>
                  <a:pt x="7383992" y="1816948"/>
                  <a:pt x="7385312" y="1821000"/>
                </a:cubicBezTo>
                <a:cubicBezTo>
                  <a:pt x="7377202" y="1823628"/>
                  <a:pt x="7378514" y="1827681"/>
                  <a:pt x="7371723" y="1834363"/>
                </a:cubicBezTo>
                <a:cubicBezTo>
                  <a:pt x="7371723" y="1834363"/>
                  <a:pt x="7370409" y="1830310"/>
                  <a:pt x="7374461" y="1828995"/>
                </a:cubicBezTo>
                <a:cubicBezTo>
                  <a:pt x="7374461" y="1828995"/>
                  <a:pt x="7370409" y="1830310"/>
                  <a:pt x="7370409" y="1830310"/>
                </a:cubicBezTo>
                <a:cubicBezTo>
                  <a:pt x="7370409" y="1830310"/>
                  <a:pt x="7367670" y="1835678"/>
                  <a:pt x="7367670" y="1835678"/>
                </a:cubicBezTo>
                <a:cubicBezTo>
                  <a:pt x="7357484" y="1845701"/>
                  <a:pt x="7347323" y="1852355"/>
                  <a:pt x="7337999" y="1859858"/>
                </a:cubicBezTo>
                <a:lnTo>
                  <a:pt x="7316293" y="1885631"/>
                </a:lnTo>
                <a:lnTo>
                  <a:pt x="7359341" y="1957756"/>
                </a:lnTo>
                <a:lnTo>
                  <a:pt x="7389584" y="1917036"/>
                </a:lnTo>
                <a:cubicBezTo>
                  <a:pt x="7405902" y="1898305"/>
                  <a:pt x="7423923" y="1877903"/>
                  <a:pt x="7440297" y="1852435"/>
                </a:cubicBezTo>
                <a:cubicBezTo>
                  <a:pt x="7451250" y="1830966"/>
                  <a:pt x="7441722" y="1843015"/>
                  <a:pt x="7462093" y="1822969"/>
                </a:cubicBezTo>
                <a:cubicBezTo>
                  <a:pt x="7475675" y="1809605"/>
                  <a:pt x="7483885" y="1793503"/>
                  <a:pt x="7497472" y="1780139"/>
                </a:cubicBezTo>
                <a:cubicBezTo>
                  <a:pt x="7543692" y="1729314"/>
                  <a:pt x="7591234" y="1682538"/>
                  <a:pt x="7631981" y="1642447"/>
                </a:cubicBezTo>
                <a:cubicBezTo>
                  <a:pt x="7648304" y="1623717"/>
                  <a:pt x="7663203" y="1614404"/>
                  <a:pt x="7671417" y="1598303"/>
                </a:cubicBezTo>
                <a:cubicBezTo>
                  <a:pt x="7675469" y="1596989"/>
                  <a:pt x="7675469" y="1596989"/>
                  <a:pt x="7679522" y="1595674"/>
                </a:cubicBezTo>
                <a:cubicBezTo>
                  <a:pt x="7683575" y="1594359"/>
                  <a:pt x="7695735" y="1590415"/>
                  <a:pt x="7712055" y="1571684"/>
                </a:cubicBezTo>
                <a:cubicBezTo>
                  <a:pt x="7718846" y="1565003"/>
                  <a:pt x="7728376" y="1552952"/>
                  <a:pt x="7735169" y="1546272"/>
                </a:cubicBezTo>
                <a:cubicBezTo>
                  <a:pt x="7767704" y="1522281"/>
                  <a:pt x="7808336" y="1495662"/>
                  <a:pt x="7816553" y="1479561"/>
                </a:cubicBezTo>
                <a:cubicBezTo>
                  <a:pt x="7812392" y="1494349"/>
                  <a:pt x="7853139" y="1454257"/>
                  <a:pt x="7862667" y="1442208"/>
                </a:cubicBezTo>
                <a:cubicBezTo>
                  <a:pt x="7880191" y="1441002"/>
                  <a:pt x="7901988" y="1411536"/>
                  <a:pt x="7933097" y="1396968"/>
                </a:cubicBezTo>
                <a:cubicBezTo>
                  <a:pt x="7937150" y="1395652"/>
                  <a:pt x="7930469" y="1388862"/>
                  <a:pt x="7942629" y="1384918"/>
                </a:cubicBezTo>
                <a:cubicBezTo>
                  <a:pt x="7952048" y="1386342"/>
                  <a:pt x="7977788" y="1369033"/>
                  <a:pt x="7972422" y="1366296"/>
                </a:cubicBezTo>
                <a:cubicBezTo>
                  <a:pt x="7987208" y="1370458"/>
                  <a:pt x="8006269" y="1346359"/>
                  <a:pt x="8015686" y="1347783"/>
                </a:cubicBezTo>
                <a:cubicBezTo>
                  <a:pt x="8013060" y="1339678"/>
                  <a:pt x="8015797" y="1334311"/>
                  <a:pt x="8018537" y="1328942"/>
                </a:cubicBezTo>
                <a:cubicBezTo>
                  <a:pt x="8025324" y="1322260"/>
                  <a:pt x="8029377" y="1320945"/>
                  <a:pt x="8036172" y="1314265"/>
                </a:cubicBezTo>
                <a:cubicBezTo>
                  <a:pt x="8061911" y="1296956"/>
                  <a:pt x="8097071" y="1281073"/>
                  <a:pt x="8128179" y="1266503"/>
                </a:cubicBezTo>
                <a:cubicBezTo>
                  <a:pt x="8136285" y="1263874"/>
                  <a:pt x="8145707" y="1265298"/>
                  <a:pt x="8145707" y="1265298"/>
                </a:cubicBezTo>
                <a:cubicBezTo>
                  <a:pt x="8148445" y="1259930"/>
                  <a:pt x="8152497" y="1258615"/>
                  <a:pt x="8155237" y="1253248"/>
                </a:cubicBezTo>
                <a:cubicBezTo>
                  <a:pt x="8159290" y="1251933"/>
                  <a:pt x="8159290" y="1251933"/>
                  <a:pt x="8159290" y="1251933"/>
                </a:cubicBezTo>
                <a:cubicBezTo>
                  <a:pt x="8190289" y="1250838"/>
                  <a:pt x="8226875" y="1225535"/>
                  <a:pt x="8256670" y="1206912"/>
                </a:cubicBezTo>
                <a:cubicBezTo>
                  <a:pt x="8257984" y="1210965"/>
                  <a:pt x="8257984" y="1210965"/>
                  <a:pt x="8257984" y="1210965"/>
                </a:cubicBezTo>
                <a:cubicBezTo>
                  <a:pt x="8271456" y="1211075"/>
                  <a:pt x="8270248" y="1193548"/>
                  <a:pt x="8278249" y="1204393"/>
                </a:cubicBezTo>
                <a:cubicBezTo>
                  <a:pt x="8298513" y="1197820"/>
                  <a:pt x="8283724" y="1193658"/>
                  <a:pt x="8299937" y="1188400"/>
                </a:cubicBezTo>
                <a:cubicBezTo>
                  <a:pt x="8301249" y="1192451"/>
                  <a:pt x="8309354" y="1189822"/>
                  <a:pt x="8314723" y="1192562"/>
                </a:cubicBezTo>
                <a:cubicBezTo>
                  <a:pt x="8328306" y="1179198"/>
                  <a:pt x="8344518" y="1173939"/>
                  <a:pt x="8366098" y="1171418"/>
                </a:cubicBezTo>
                <a:cubicBezTo>
                  <a:pt x="8370261" y="1156631"/>
                  <a:pt x="8397204" y="1156850"/>
                  <a:pt x="8403996" y="1150168"/>
                </a:cubicBezTo>
                <a:cubicBezTo>
                  <a:pt x="8405310" y="1154222"/>
                  <a:pt x="8409362" y="1152907"/>
                  <a:pt x="8409362" y="1152907"/>
                </a:cubicBezTo>
                <a:cubicBezTo>
                  <a:pt x="8431052" y="1136914"/>
                  <a:pt x="8452630" y="1134394"/>
                  <a:pt x="8472895" y="1127821"/>
                </a:cubicBezTo>
                <a:lnTo>
                  <a:pt x="8480896" y="1125227"/>
                </a:lnTo>
                <a:lnTo>
                  <a:pt x="8523648" y="1109160"/>
                </a:lnTo>
                <a:lnTo>
                  <a:pt x="8532365" y="1104050"/>
                </a:lnTo>
                <a:lnTo>
                  <a:pt x="8530202" y="1106697"/>
                </a:lnTo>
                <a:lnTo>
                  <a:pt x="8585206" y="1086029"/>
                </a:lnTo>
                <a:lnTo>
                  <a:pt x="8726041" y="1043572"/>
                </a:lnTo>
                <a:lnTo>
                  <a:pt x="8725860" y="1043138"/>
                </a:lnTo>
                <a:cubicBezTo>
                  <a:pt x="8724250" y="1041797"/>
                  <a:pt x="8724520" y="1040189"/>
                  <a:pt x="8725594" y="1038581"/>
                </a:cubicBezTo>
                <a:cubicBezTo>
                  <a:pt x="8726130" y="1037509"/>
                  <a:pt x="8727202" y="1036168"/>
                  <a:pt x="8726398" y="1035097"/>
                </a:cubicBezTo>
                <a:cubicBezTo>
                  <a:pt x="8723714" y="1031881"/>
                  <a:pt x="8723446" y="1029468"/>
                  <a:pt x="8727741" y="1027860"/>
                </a:cubicBezTo>
                <a:cubicBezTo>
                  <a:pt x="8728814" y="1027592"/>
                  <a:pt x="8729082" y="1025984"/>
                  <a:pt x="8728010" y="1025180"/>
                </a:cubicBezTo>
                <a:cubicBezTo>
                  <a:pt x="8724520" y="1022232"/>
                  <a:pt x="8728276" y="1020891"/>
                  <a:pt x="8728814" y="1018748"/>
                </a:cubicBezTo>
                <a:cubicBezTo>
                  <a:pt x="8730692" y="1011510"/>
                  <a:pt x="8739011" y="1013654"/>
                  <a:pt x="8742234" y="1008294"/>
                </a:cubicBezTo>
                <a:cubicBezTo>
                  <a:pt x="8743308" y="1006418"/>
                  <a:pt x="8748404" y="1007758"/>
                  <a:pt x="8750820" y="1008026"/>
                </a:cubicBezTo>
                <a:cubicBezTo>
                  <a:pt x="8756456" y="1008830"/>
                  <a:pt x="8763168" y="1005346"/>
                  <a:pt x="8767728" y="1011778"/>
                </a:cubicBezTo>
                <a:cubicBezTo>
                  <a:pt x="8768532" y="1012851"/>
                  <a:pt x="8770146" y="1014191"/>
                  <a:pt x="8772290" y="1014191"/>
                </a:cubicBezTo>
                <a:cubicBezTo>
                  <a:pt x="8775244" y="1013923"/>
                  <a:pt x="8776854" y="1015531"/>
                  <a:pt x="8777390" y="1018479"/>
                </a:cubicBezTo>
                <a:cubicBezTo>
                  <a:pt x="8777927" y="1020356"/>
                  <a:pt x="8779268" y="1021427"/>
                  <a:pt x="8780610" y="1022767"/>
                </a:cubicBezTo>
                <a:lnTo>
                  <a:pt x="8781875" y="1026738"/>
                </a:lnTo>
                <a:lnTo>
                  <a:pt x="8800367" y="1021164"/>
                </a:lnTo>
                <a:cubicBezTo>
                  <a:pt x="8873189" y="1002290"/>
                  <a:pt x="8947097" y="986148"/>
                  <a:pt x="9022051" y="972694"/>
                </a:cubicBezTo>
                <a:cubicBezTo>
                  <a:pt x="9081906" y="961815"/>
                  <a:pt x="9141856" y="953495"/>
                  <a:pt x="9201839" y="947956"/>
                </a:cubicBezTo>
                <a:lnTo>
                  <a:pt x="9249722" y="945813"/>
                </a:lnTo>
                <a:lnTo>
                  <a:pt x="9256912" y="940922"/>
                </a:lnTo>
                <a:cubicBezTo>
                  <a:pt x="9261025" y="939799"/>
                  <a:pt x="9265511" y="939799"/>
                  <a:pt x="9268501" y="941296"/>
                </a:cubicBezTo>
                <a:cubicBezTo>
                  <a:pt x="9287938" y="942792"/>
                  <a:pt x="9308124" y="939052"/>
                  <a:pt x="9328310" y="936808"/>
                </a:cubicBezTo>
                <a:lnTo>
                  <a:pt x="9351707" y="935722"/>
                </a:lnTo>
                <a:lnTo>
                  <a:pt x="9300098" y="931742"/>
                </a:lnTo>
                <a:cubicBezTo>
                  <a:pt x="9272836" y="928827"/>
                  <a:pt x="9247258" y="925924"/>
                  <a:pt x="9222336" y="925048"/>
                </a:cubicBezTo>
                <a:close/>
                <a:moveTo>
                  <a:pt x="11833298" y="911134"/>
                </a:moveTo>
                <a:cubicBezTo>
                  <a:pt x="11838374" y="913078"/>
                  <a:pt x="11843062" y="915799"/>
                  <a:pt x="11845014" y="922018"/>
                </a:cubicBezTo>
                <a:cubicBezTo>
                  <a:pt x="11845405" y="923185"/>
                  <a:pt x="11847748" y="923962"/>
                  <a:pt x="11847356" y="926294"/>
                </a:cubicBezTo>
                <a:cubicBezTo>
                  <a:pt x="11846184" y="932513"/>
                  <a:pt x="11850870" y="934457"/>
                  <a:pt x="11854775" y="935623"/>
                </a:cubicBezTo>
                <a:cubicBezTo>
                  <a:pt x="11857509" y="936401"/>
                  <a:pt x="11859070" y="937567"/>
                  <a:pt x="11860632" y="939122"/>
                </a:cubicBezTo>
                <a:cubicBezTo>
                  <a:pt x="11865317" y="943397"/>
                  <a:pt x="11864928" y="949229"/>
                  <a:pt x="11866099" y="954671"/>
                </a:cubicBezTo>
                <a:cubicBezTo>
                  <a:pt x="11866879" y="959724"/>
                  <a:pt x="11864537" y="963611"/>
                  <a:pt x="11862585" y="967887"/>
                </a:cubicBezTo>
                <a:cubicBezTo>
                  <a:pt x="11860632" y="972552"/>
                  <a:pt x="11857509" y="976440"/>
                  <a:pt x="11851651" y="976440"/>
                </a:cubicBezTo>
                <a:cubicBezTo>
                  <a:pt x="11850870" y="976440"/>
                  <a:pt x="11850481" y="976828"/>
                  <a:pt x="11850481" y="977994"/>
                </a:cubicBezTo>
                <a:cubicBezTo>
                  <a:pt x="11847748" y="977994"/>
                  <a:pt x="11845405" y="977994"/>
                  <a:pt x="11842671" y="977994"/>
                </a:cubicBezTo>
                <a:cubicBezTo>
                  <a:pt x="11840718" y="975273"/>
                  <a:pt x="11836813" y="975662"/>
                  <a:pt x="11834081" y="973718"/>
                </a:cubicBezTo>
                <a:cubicBezTo>
                  <a:pt x="11831346" y="971775"/>
                  <a:pt x="11829005" y="970220"/>
                  <a:pt x="11828225" y="966722"/>
                </a:cubicBezTo>
                <a:cubicBezTo>
                  <a:pt x="11827833" y="962834"/>
                  <a:pt x="11825880" y="959336"/>
                  <a:pt x="11823927" y="956226"/>
                </a:cubicBezTo>
                <a:cubicBezTo>
                  <a:pt x="11821975" y="952727"/>
                  <a:pt x="11820415" y="949229"/>
                  <a:pt x="11818462" y="946119"/>
                </a:cubicBezTo>
                <a:cubicBezTo>
                  <a:pt x="11816899" y="942620"/>
                  <a:pt x="11813776" y="939511"/>
                  <a:pt x="11809871" y="937567"/>
                </a:cubicBezTo>
                <a:cubicBezTo>
                  <a:pt x="11809871" y="932902"/>
                  <a:pt x="11809871" y="928238"/>
                  <a:pt x="11809871" y="923573"/>
                </a:cubicBezTo>
                <a:cubicBezTo>
                  <a:pt x="11812214" y="922407"/>
                  <a:pt x="11813385" y="920852"/>
                  <a:pt x="11814557" y="918131"/>
                </a:cubicBezTo>
                <a:cubicBezTo>
                  <a:pt x="11816118" y="915021"/>
                  <a:pt x="11819632" y="912688"/>
                  <a:pt x="11823147" y="912688"/>
                </a:cubicBezTo>
                <a:cubicBezTo>
                  <a:pt x="11826660" y="912688"/>
                  <a:pt x="11829785" y="911911"/>
                  <a:pt x="11833298" y="911134"/>
                </a:cubicBezTo>
                <a:close/>
                <a:moveTo>
                  <a:pt x="5160887" y="886310"/>
                </a:moveTo>
                <a:cubicBezTo>
                  <a:pt x="5160887" y="886310"/>
                  <a:pt x="5156475" y="886310"/>
                  <a:pt x="5156475" y="890724"/>
                </a:cubicBezTo>
                <a:lnTo>
                  <a:pt x="5032900" y="890724"/>
                </a:lnTo>
                <a:cubicBezTo>
                  <a:pt x="4935809" y="895137"/>
                  <a:pt x="4843129" y="903964"/>
                  <a:pt x="4746036" y="917204"/>
                </a:cubicBezTo>
                <a:cubicBezTo>
                  <a:pt x="4589362" y="939271"/>
                  <a:pt x="4437102" y="974578"/>
                  <a:pt x="4290911" y="1022573"/>
                </a:cubicBezTo>
                <a:lnTo>
                  <a:pt x="4168852" y="1068909"/>
                </a:lnTo>
                <a:lnTo>
                  <a:pt x="4169889" y="1071705"/>
                </a:lnTo>
                <a:lnTo>
                  <a:pt x="4169889" y="1075807"/>
                </a:lnTo>
                <a:lnTo>
                  <a:pt x="4416692" y="997748"/>
                </a:lnTo>
                <a:cubicBezTo>
                  <a:pt x="4607016" y="949201"/>
                  <a:pt x="4805616" y="921618"/>
                  <a:pt x="5010835" y="917204"/>
                </a:cubicBezTo>
                <a:cubicBezTo>
                  <a:pt x="5010834" y="921618"/>
                  <a:pt x="5010834" y="921618"/>
                  <a:pt x="5010835" y="926031"/>
                </a:cubicBezTo>
                <a:cubicBezTo>
                  <a:pt x="4949048" y="930443"/>
                  <a:pt x="4922568" y="956925"/>
                  <a:pt x="4882850" y="974578"/>
                </a:cubicBezTo>
                <a:cubicBezTo>
                  <a:pt x="4882850" y="974578"/>
                  <a:pt x="4891675" y="978991"/>
                  <a:pt x="4900502" y="978991"/>
                </a:cubicBezTo>
                <a:cubicBezTo>
                  <a:pt x="4882850" y="987818"/>
                  <a:pt x="4847542" y="983404"/>
                  <a:pt x="4821063" y="987818"/>
                </a:cubicBezTo>
                <a:cubicBezTo>
                  <a:pt x="4798997" y="996645"/>
                  <a:pt x="4763690" y="1009885"/>
                  <a:pt x="4763690" y="1009885"/>
                </a:cubicBezTo>
                <a:cubicBezTo>
                  <a:pt x="4768103" y="1018712"/>
                  <a:pt x="4785755" y="1018712"/>
                  <a:pt x="4807823" y="1018712"/>
                </a:cubicBezTo>
                <a:cubicBezTo>
                  <a:pt x="4807823" y="1023125"/>
                  <a:pt x="4803408" y="1023125"/>
                  <a:pt x="4803408" y="1023125"/>
                </a:cubicBezTo>
                <a:cubicBezTo>
                  <a:pt x="4798997" y="1023125"/>
                  <a:pt x="4798997" y="1023125"/>
                  <a:pt x="4798997" y="1023125"/>
                </a:cubicBezTo>
                <a:cubicBezTo>
                  <a:pt x="4798997" y="1023125"/>
                  <a:pt x="4794581" y="1023125"/>
                  <a:pt x="4794581" y="1023125"/>
                </a:cubicBezTo>
                <a:cubicBezTo>
                  <a:pt x="4794581" y="1023125"/>
                  <a:pt x="4790168" y="1023125"/>
                  <a:pt x="4785755" y="1023125"/>
                </a:cubicBezTo>
                <a:cubicBezTo>
                  <a:pt x="4785755" y="1027538"/>
                  <a:pt x="4785755" y="1027538"/>
                  <a:pt x="4790168" y="1027537"/>
                </a:cubicBezTo>
                <a:cubicBezTo>
                  <a:pt x="4790168" y="1027537"/>
                  <a:pt x="4794584" y="1027537"/>
                  <a:pt x="4794584" y="1027537"/>
                </a:cubicBezTo>
                <a:cubicBezTo>
                  <a:pt x="4798997" y="1027537"/>
                  <a:pt x="4798997" y="1027537"/>
                  <a:pt x="4798997" y="1027537"/>
                </a:cubicBezTo>
                <a:cubicBezTo>
                  <a:pt x="4772515" y="1036364"/>
                  <a:pt x="4807823" y="1036364"/>
                  <a:pt x="4812237" y="1031951"/>
                </a:cubicBezTo>
                <a:cubicBezTo>
                  <a:pt x="4816648" y="1031951"/>
                  <a:pt x="4816648" y="1027537"/>
                  <a:pt x="4816648" y="1027537"/>
                </a:cubicBezTo>
                <a:cubicBezTo>
                  <a:pt x="4816648" y="1027537"/>
                  <a:pt x="4812237" y="1027537"/>
                  <a:pt x="4812237" y="1027537"/>
                </a:cubicBezTo>
                <a:cubicBezTo>
                  <a:pt x="4807823" y="1023125"/>
                  <a:pt x="4807823" y="1023125"/>
                  <a:pt x="4807823" y="1023125"/>
                </a:cubicBezTo>
                <a:cubicBezTo>
                  <a:pt x="4807823" y="1023125"/>
                  <a:pt x="4816650" y="1023125"/>
                  <a:pt x="4821062" y="1023125"/>
                </a:cubicBezTo>
                <a:cubicBezTo>
                  <a:pt x="4825476" y="1023125"/>
                  <a:pt x="4825476" y="1023125"/>
                  <a:pt x="4825476" y="1023125"/>
                </a:cubicBezTo>
                <a:cubicBezTo>
                  <a:pt x="4856368" y="1023125"/>
                  <a:pt x="4878436" y="1031951"/>
                  <a:pt x="4860781" y="1045192"/>
                </a:cubicBezTo>
                <a:cubicBezTo>
                  <a:pt x="4838716" y="1045191"/>
                  <a:pt x="4838716" y="1049604"/>
                  <a:pt x="4807823" y="1049604"/>
                </a:cubicBezTo>
                <a:cubicBezTo>
                  <a:pt x="4803408" y="1058431"/>
                  <a:pt x="4821062" y="1058431"/>
                  <a:pt x="4825476" y="1067257"/>
                </a:cubicBezTo>
                <a:cubicBezTo>
                  <a:pt x="4785755" y="1080498"/>
                  <a:pt x="4719556" y="1089325"/>
                  <a:pt x="4719556" y="1111391"/>
                </a:cubicBezTo>
                <a:cubicBezTo>
                  <a:pt x="4719556" y="1111391"/>
                  <a:pt x="4715141" y="1111391"/>
                  <a:pt x="4715141" y="1111391"/>
                </a:cubicBezTo>
                <a:cubicBezTo>
                  <a:pt x="4715141" y="1111391"/>
                  <a:pt x="4706316" y="1111391"/>
                  <a:pt x="4706316" y="1111391"/>
                </a:cubicBezTo>
                <a:cubicBezTo>
                  <a:pt x="4701900" y="1115804"/>
                  <a:pt x="4697488" y="1115804"/>
                  <a:pt x="4701900" y="1115804"/>
                </a:cubicBezTo>
                <a:cubicBezTo>
                  <a:pt x="4693076" y="1120218"/>
                  <a:pt x="4679837" y="1120218"/>
                  <a:pt x="4653355" y="1129045"/>
                </a:cubicBezTo>
                <a:cubicBezTo>
                  <a:pt x="4644528" y="1133457"/>
                  <a:pt x="4640115" y="1133457"/>
                  <a:pt x="4635703" y="1133457"/>
                </a:cubicBezTo>
                <a:cubicBezTo>
                  <a:pt x="4635703" y="1133457"/>
                  <a:pt x="4631288" y="1137871"/>
                  <a:pt x="4631288" y="1137871"/>
                </a:cubicBezTo>
                <a:cubicBezTo>
                  <a:pt x="4626876" y="1137871"/>
                  <a:pt x="4626876" y="1137871"/>
                  <a:pt x="4626876" y="1137871"/>
                </a:cubicBezTo>
                <a:cubicBezTo>
                  <a:pt x="4622462" y="1137871"/>
                  <a:pt x="4626876" y="1142285"/>
                  <a:pt x="4626876" y="1142285"/>
                </a:cubicBezTo>
                <a:cubicBezTo>
                  <a:pt x="4622463" y="1142285"/>
                  <a:pt x="4622463" y="1142285"/>
                  <a:pt x="4622463" y="1142285"/>
                </a:cubicBezTo>
                <a:cubicBezTo>
                  <a:pt x="4622463" y="1146697"/>
                  <a:pt x="4604809" y="1146697"/>
                  <a:pt x="4604810" y="1151112"/>
                </a:cubicBezTo>
                <a:cubicBezTo>
                  <a:pt x="4626875" y="1146697"/>
                  <a:pt x="4609223" y="1151110"/>
                  <a:pt x="4618049" y="1155525"/>
                </a:cubicBezTo>
                <a:cubicBezTo>
                  <a:pt x="4591570" y="1159938"/>
                  <a:pt x="4626875" y="1159938"/>
                  <a:pt x="4609223" y="1164351"/>
                </a:cubicBezTo>
                <a:cubicBezTo>
                  <a:pt x="4582743" y="1168764"/>
                  <a:pt x="4582743" y="1173179"/>
                  <a:pt x="4569503" y="1168764"/>
                </a:cubicBezTo>
                <a:cubicBezTo>
                  <a:pt x="4569503" y="1182004"/>
                  <a:pt x="4507717" y="1190832"/>
                  <a:pt x="4463584" y="1204071"/>
                </a:cubicBezTo>
                <a:cubicBezTo>
                  <a:pt x="4459170" y="1204071"/>
                  <a:pt x="4450343" y="1208486"/>
                  <a:pt x="4437102" y="1212897"/>
                </a:cubicBezTo>
                <a:cubicBezTo>
                  <a:pt x="4397383" y="1226137"/>
                  <a:pt x="4370904" y="1234964"/>
                  <a:pt x="4348838" y="1243791"/>
                </a:cubicBezTo>
                <a:cubicBezTo>
                  <a:pt x="4340009" y="1248203"/>
                  <a:pt x="4344424" y="1243791"/>
                  <a:pt x="4335598" y="1243791"/>
                </a:cubicBezTo>
                <a:cubicBezTo>
                  <a:pt x="4335595" y="1248204"/>
                  <a:pt x="4331184" y="1252617"/>
                  <a:pt x="4326771" y="1252618"/>
                </a:cubicBezTo>
                <a:cubicBezTo>
                  <a:pt x="4322356" y="1252618"/>
                  <a:pt x="4335598" y="1243791"/>
                  <a:pt x="4322356" y="1248203"/>
                </a:cubicBezTo>
                <a:cubicBezTo>
                  <a:pt x="4300290" y="1261445"/>
                  <a:pt x="4295877" y="1257032"/>
                  <a:pt x="4260571" y="1274684"/>
                </a:cubicBezTo>
                <a:cubicBezTo>
                  <a:pt x="4260571" y="1265858"/>
                  <a:pt x="4260571" y="1265858"/>
                  <a:pt x="4260571" y="1265858"/>
                </a:cubicBezTo>
                <a:cubicBezTo>
                  <a:pt x="4238504" y="1274685"/>
                  <a:pt x="4229678" y="1279098"/>
                  <a:pt x="4247332" y="1279098"/>
                </a:cubicBezTo>
                <a:lnTo>
                  <a:pt x="4238193" y="1282035"/>
                </a:lnTo>
                <a:lnTo>
                  <a:pt x="4249592" y="1287860"/>
                </a:lnTo>
                <a:lnTo>
                  <a:pt x="4297332" y="1271163"/>
                </a:lnTo>
                <a:cubicBezTo>
                  <a:pt x="4390734" y="1244551"/>
                  <a:pt x="4486365" y="1223196"/>
                  <a:pt x="4584250" y="1207034"/>
                </a:cubicBezTo>
                <a:cubicBezTo>
                  <a:pt x="4658491" y="1194535"/>
                  <a:pt x="4729381" y="1174680"/>
                  <a:pt x="4804569" y="1175960"/>
                </a:cubicBezTo>
                <a:cubicBezTo>
                  <a:pt x="4811795" y="1176222"/>
                  <a:pt x="4819149" y="1172871"/>
                  <a:pt x="4824643" y="1181029"/>
                </a:cubicBezTo>
                <a:cubicBezTo>
                  <a:pt x="4826521" y="1189055"/>
                  <a:pt x="4819967" y="1190264"/>
                  <a:pt x="4816353" y="1190133"/>
                </a:cubicBezTo>
                <a:cubicBezTo>
                  <a:pt x="4696559" y="1202064"/>
                  <a:pt x="4579951" y="1225868"/>
                  <a:pt x="4465087" y="1256427"/>
                </a:cubicBezTo>
                <a:lnTo>
                  <a:pt x="4296734" y="1305865"/>
                </a:lnTo>
                <a:lnTo>
                  <a:pt x="4312540" y="1310402"/>
                </a:lnTo>
                <a:lnTo>
                  <a:pt x="4335142" y="1318492"/>
                </a:lnTo>
                <a:lnTo>
                  <a:pt x="4414434" y="1295504"/>
                </a:lnTo>
                <a:lnTo>
                  <a:pt x="4444757" y="1289120"/>
                </a:lnTo>
                <a:lnTo>
                  <a:pt x="4459170" y="1279098"/>
                </a:lnTo>
                <a:cubicBezTo>
                  <a:pt x="4472409" y="1283510"/>
                  <a:pt x="4476822" y="1279098"/>
                  <a:pt x="4481236" y="1270271"/>
                </a:cubicBezTo>
                <a:cubicBezTo>
                  <a:pt x="4490063" y="1270271"/>
                  <a:pt x="4498889" y="1270270"/>
                  <a:pt x="4507717" y="1265858"/>
                </a:cubicBezTo>
                <a:cubicBezTo>
                  <a:pt x="4516542" y="1261445"/>
                  <a:pt x="4529782" y="1261445"/>
                  <a:pt x="4538608" y="1257032"/>
                </a:cubicBezTo>
                <a:cubicBezTo>
                  <a:pt x="4551850" y="1252618"/>
                  <a:pt x="4569502" y="1252618"/>
                  <a:pt x="4582743" y="1248204"/>
                </a:cubicBezTo>
                <a:cubicBezTo>
                  <a:pt x="4591570" y="1248204"/>
                  <a:pt x="4604809" y="1243791"/>
                  <a:pt x="4609223" y="1239379"/>
                </a:cubicBezTo>
                <a:cubicBezTo>
                  <a:pt x="4613636" y="1239379"/>
                  <a:pt x="4613636" y="1239379"/>
                  <a:pt x="4613636" y="1239379"/>
                </a:cubicBezTo>
                <a:cubicBezTo>
                  <a:pt x="4626876" y="1234965"/>
                  <a:pt x="4635703" y="1234965"/>
                  <a:pt x="4648942" y="1230551"/>
                </a:cubicBezTo>
                <a:cubicBezTo>
                  <a:pt x="4657767" y="1230551"/>
                  <a:pt x="4666594" y="1226137"/>
                  <a:pt x="4679836" y="1221725"/>
                </a:cubicBezTo>
                <a:cubicBezTo>
                  <a:pt x="4693075" y="1226137"/>
                  <a:pt x="4693075" y="1221725"/>
                  <a:pt x="4693076" y="1217313"/>
                </a:cubicBezTo>
                <a:cubicBezTo>
                  <a:pt x="4697488" y="1217312"/>
                  <a:pt x="4697488" y="1217312"/>
                  <a:pt x="4697488" y="1217312"/>
                </a:cubicBezTo>
                <a:cubicBezTo>
                  <a:pt x="4701902" y="1217312"/>
                  <a:pt x="4706316" y="1221725"/>
                  <a:pt x="4710729" y="1221725"/>
                </a:cubicBezTo>
                <a:cubicBezTo>
                  <a:pt x="4710729" y="1221725"/>
                  <a:pt x="4715141" y="1221725"/>
                  <a:pt x="4715141" y="1221725"/>
                </a:cubicBezTo>
                <a:cubicBezTo>
                  <a:pt x="4719556" y="1221725"/>
                  <a:pt x="4719556" y="1221725"/>
                  <a:pt x="4723970" y="1217312"/>
                </a:cubicBezTo>
                <a:cubicBezTo>
                  <a:pt x="4723970" y="1217312"/>
                  <a:pt x="4723970" y="1217312"/>
                  <a:pt x="4723970" y="1212897"/>
                </a:cubicBezTo>
                <a:cubicBezTo>
                  <a:pt x="4746036" y="1212897"/>
                  <a:pt x="4746036" y="1212897"/>
                  <a:pt x="4746036" y="1212897"/>
                </a:cubicBezTo>
                <a:cubicBezTo>
                  <a:pt x="4746036" y="1212897"/>
                  <a:pt x="4750449" y="1208485"/>
                  <a:pt x="4750449" y="1208485"/>
                </a:cubicBezTo>
                <a:cubicBezTo>
                  <a:pt x="4750449" y="1208485"/>
                  <a:pt x="4746036" y="1208485"/>
                  <a:pt x="4746036" y="1208485"/>
                </a:cubicBezTo>
                <a:cubicBezTo>
                  <a:pt x="4723970" y="1212897"/>
                  <a:pt x="4723970" y="1212897"/>
                  <a:pt x="4723970" y="1212897"/>
                </a:cubicBezTo>
                <a:cubicBezTo>
                  <a:pt x="4723970" y="1212897"/>
                  <a:pt x="4723970" y="1208485"/>
                  <a:pt x="4723970" y="1208485"/>
                </a:cubicBezTo>
                <a:cubicBezTo>
                  <a:pt x="4728383" y="1208485"/>
                  <a:pt x="4732795" y="1208485"/>
                  <a:pt x="4732795" y="1208485"/>
                </a:cubicBezTo>
                <a:cubicBezTo>
                  <a:pt x="4737209" y="1208485"/>
                  <a:pt x="4737209" y="1208485"/>
                  <a:pt x="4737209" y="1208485"/>
                </a:cubicBezTo>
                <a:cubicBezTo>
                  <a:pt x="4741622" y="1208485"/>
                  <a:pt x="4746034" y="1204071"/>
                  <a:pt x="4750449" y="1204071"/>
                </a:cubicBezTo>
                <a:cubicBezTo>
                  <a:pt x="4754860" y="1204071"/>
                  <a:pt x="4759276" y="1204071"/>
                  <a:pt x="4768102" y="1204071"/>
                </a:cubicBezTo>
                <a:cubicBezTo>
                  <a:pt x="4763690" y="1204071"/>
                  <a:pt x="4763689" y="1208486"/>
                  <a:pt x="4763689" y="1208486"/>
                </a:cubicBezTo>
                <a:cubicBezTo>
                  <a:pt x="4763689" y="1208486"/>
                  <a:pt x="4768103" y="1208485"/>
                  <a:pt x="4772515" y="1208485"/>
                </a:cubicBezTo>
                <a:cubicBezTo>
                  <a:pt x="4772515" y="1208485"/>
                  <a:pt x="4776928" y="1208486"/>
                  <a:pt x="4781344" y="1208485"/>
                </a:cubicBezTo>
                <a:cubicBezTo>
                  <a:pt x="4785755" y="1204071"/>
                  <a:pt x="4790168" y="1204071"/>
                  <a:pt x="4794584" y="1204071"/>
                </a:cubicBezTo>
                <a:cubicBezTo>
                  <a:pt x="4798997" y="1204071"/>
                  <a:pt x="4798997" y="1204071"/>
                  <a:pt x="4803408" y="1204071"/>
                </a:cubicBezTo>
                <a:cubicBezTo>
                  <a:pt x="4807823" y="1199658"/>
                  <a:pt x="4807823" y="1199658"/>
                  <a:pt x="4807823" y="1199658"/>
                </a:cubicBezTo>
                <a:cubicBezTo>
                  <a:pt x="4812237" y="1199658"/>
                  <a:pt x="4816650" y="1195245"/>
                  <a:pt x="4821063" y="1195245"/>
                </a:cubicBezTo>
                <a:cubicBezTo>
                  <a:pt x="4825476" y="1195245"/>
                  <a:pt x="4829889" y="1195245"/>
                  <a:pt x="4829889" y="1195245"/>
                </a:cubicBezTo>
                <a:cubicBezTo>
                  <a:pt x="4829889" y="1199658"/>
                  <a:pt x="4829889" y="1199658"/>
                  <a:pt x="4834302" y="1199658"/>
                </a:cubicBezTo>
                <a:cubicBezTo>
                  <a:pt x="4834302" y="1199658"/>
                  <a:pt x="4838716" y="1199658"/>
                  <a:pt x="4838716" y="1195245"/>
                </a:cubicBezTo>
                <a:cubicBezTo>
                  <a:pt x="4838716" y="1195245"/>
                  <a:pt x="4843129" y="1195245"/>
                  <a:pt x="4847542" y="1199658"/>
                </a:cubicBezTo>
                <a:cubicBezTo>
                  <a:pt x="4856368" y="1195245"/>
                  <a:pt x="4856368" y="1195245"/>
                  <a:pt x="4856368" y="1195245"/>
                </a:cubicBezTo>
                <a:cubicBezTo>
                  <a:pt x="4856368" y="1195245"/>
                  <a:pt x="4851957" y="1195245"/>
                  <a:pt x="4851957" y="1190831"/>
                </a:cubicBezTo>
                <a:cubicBezTo>
                  <a:pt x="4856368" y="1190831"/>
                  <a:pt x="4860781" y="1190831"/>
                  <a:pt x="4865196" y="1190831"/>
                </a:cubicBezTo>
                <a:cubicBezTo>
                  <a:pt x="4869610" y="1190832"/>
                  <a:pt x="4869610" y="1190832"/>
                  <a:pt x="4869610" y="1190832"/>
                </a:cubicBezTo>
                <a:cubicBezTo>
                  <a:pt x="4878436" y="1186418"/>
                  <a:pt x="4882848" y="1186418"/>
                  <a:pt x="4887261" y="1186418"/>
                </a:cubicBezTo>
                <a:cubicBezTo>
                  <a:pt x="4896089" y="1186418"/>
                  <a:pt x="4900502" y="1186418"/>
                  <a:pt x="4904916" y="1186418"/>
                </a:cubicBezTo>
                <a:cubicBezTo>
                  <a:pt x="4909329" y="1186418"/>
                  <a:pt x="4909329" y="1186418"/>
                  <a:pt x="4918155" y="1186418"/>
                </a:cubicBezTo>
                <a:cubicBezTo>
                  <a:pt x="4922569" y="1190831"/>
                  <a:pt x="4935809" y="1186418"/>
                  <a:pt x="4944634" y="1186418"/>
                </a:cubicBezTo>
                <a:cubicBezTo>
                  <a:pt x="4949048" y="1186419"/>
                  <a:pt x="4953461" y="1190831"/>
                  <a:pt x="4957877" y="1190831"/>
                </a:cubicBezTo>
                <a:cubicBezTo>
                  <a:pt x="4957877" y="1190831"/>
                  <a:pt x="4953461" y="1195245"/>
                  <a:pt x="4953461" y="1195245"/>
                </a:cubicBezTo>
                <a:cubicBezTo>
                  <a:pt x="4949048" y="1195245"/>
                  <a:pt x="4949048" y="1199659"/>
                  <a:pt x="4949048" y="1199659"/>
                </a:cubicBezTo>
                <a:cubicBezTo>
                  <a:pt x="4949048" y="1199659"/>
                  <a:pt x="4949048" y="1199659"/>
                  <a:pt x="4953461" y="1199658"/>
                </a:cubicBezTo>
                <a:cubicBezTo>
                  <a:pt x="4957874" y="1199658"/>
                  <a:pt x="4957874" y="1199658"/>
                  <a:pt x="4957874" y="1199658"/>
                </a:cubicBezTo>
                <a:cubicBezTo>
                  <a:pt x="4962288" y="1199658"/>
                  <a:pt x="4962288" y="1199658"/>
                  <a:pt x="4962288" y="1195245"/>
                </a:cubicBezTo>
                <a:cubicBezTo>
                  <a:pt x="4962288" y="1195245"/>
                  <a:pt x="4966702" y="1190831"/>
                  <a:pt x="4966702" y="1190831"/>
                </a:cubicBezTo>
                <a:cubicBezTo>
                  <a:pt x="4966702" y="1186418"/>
                  <a:pt x="4966702" y="1186418"/>
                  <a:pt x="4966702" y="1186418"/>
                </a:cubicBezTo>
                <a:cubicBezTo>
                  <a:pt x="4962288" y="1186418"/>
                  <a:pt x="4953461" y="1182004"/>
                  <a:pt x="4944634" y="1182004"/>
                </a:cubicBezTo>
                <a:cubicBezTo>
                  <a:pt x="4940224" y="1182005"/>
                  <a:pt x="4940224" y="1182005"/>
                  <a:pt x="4940224" y="1182005"/>
                </a:cubicBezTo>
                <a:cubicBezTo>
                  <a:pt x="4935809" y="1182004"/>
                  <a:pt x="4926984" y="1186418"/>
                  <a:pt x="4922569" y="1182004"/>
                </a:cubicBezTo>
                <a:cubicBezTo>
                  <a:pt x="4918155" y="1182004"/>
                  <a:pt x="4918155" y="1182004"/>
                  <a:pt x="4913741" y="1182004"/>
                </a:cubicBezTo>
                <a:cubicBezTo>
                  <a:pt x="4918155" y="1177592"/>
                  <a:pt x="4926982" y="1177592"/>
                  <a:pt x="4935808" y="1177592"/>
                </a:cubicBezTo>
                <a:cubicBezTo>
                  <a:pt x="4944634" y="1177592"/>
                  <a:pt x="4953461" y="1177592"/>
                  <a:pt x="4962288" y="1173177"/>
                </a:cubicBezTo>
                <a:cubicBezTo>
                  <a:pt x="4966702" y="1173177"/>
                  <a:pt x="4966702" y="1177592"/>
                  <a:pt x="4971116" y="1177592"/>
                </a:cubicBezTo>
                <a:cubicBezTo>
                  <a:pt x="4979942" y="1177592"/>
                  <a:pt x="4979942" y="1177592"/>
                  <a:pt x="4979942" y="1177592"/>
                </a:cubicBezTo>
                <a:cubicBezTo>
                  <a:pt x="4988766" y="1177592"/>
                  <a:pt x="4993181" y="1177592"/>
                  <a:pt x="5002008" y="1177592"/>
                </a:cubicBezTo>
                <a:cubicBezTo>
                  <a:pt x="4997595" y="1182004"/>
                  <a:pt x="4997595" y="1182004"/>
                  <a:pt x="4997595" y="1182004"/>
                </a:cubicBezTo>
                <a:cubicBezTo>
                  <a:pt x="4993181" y="1182004"/>
                  <a:pt x="4993181" y="1182004"/>
                  <a:pt x="4997596" y="1186418"/>
                </a:cubicBezTo>
                <a:cubicBezTo>
                  <a:pt x="4997596" y="1186418"/>
                  <a:pt x="4997596" y="1186418"/>
                  <a:pt x="5002008" y="1186418"/>
                </a:cubicBezTo>
                <a:cubicBezTo>
                  <a:pt x="5002008" y="1186418"/>
                  <a:pt x="5006420" y="1186418"/>
                  <a:pt x="5006420" y="1186418"/>
                </a:cubicBezTo>
                <a:cubicBezTo>
                  <a:pt x="5010834" y="1182004"/>
                  <a:pt x="5010834" y="1182004"/>
                  <a:pt x="5010834" y="1182004"/>
                </a:cubicBezTo>
                <a:cubicBezTo>
                  <a:pt x="5010834" y="1182004"/>
                  <a:pt x="5015251" y="1182004"/>
                  <a:pt x="5015251" y="1182004"/>
                </a:cubicBezTo>
                <a:cubicBezTo>
                  <a:pt x="5015251" y="1182004"/>
                  <a:pt x="5015251" y="1182004"/>
                  <a:pt x="5019661" y="1182004"/>
                </a:cubicBezTo>
                <a:cubicBezTo>
                  <a:pt x="5024074" y="1182004"/>
                  <a:pt x="5032901" y="1177592"/>
                  <a:pt x="5037315" y="1177592"/>
                </a:cubicBezTo>
                <a:cubicBezTo>
                  <a:pt x="5050554" y="1177592"/>
                  <a:pt x="5054969" y="1173177"/>
                  <a:pt x="5059383" y="1177592"/>
                </a:cubicBezTo>
                <a:cubicBezTo>
                  <a:pt x="5059380" y="1182004"/>
                  <a:pt x="5063793" y="1182004"/>
                  <a:pt x="5063793" y="1182004"/>
                </a:cubicBezTo>
                <a:cubicBezTo>
                  <a:pt x="5063793" y="1182004"/>
                  <a:pt x="5063793" y="1186419"/>
                  <a:pt x="5059383" y="1186419"/>
                </a:cubicBezTo>
                <a:cubicBezTo>
                  <a:pt x="5041727" y="1186418"/>
                  <a:pt x="5024076" y="1186418"/>
                  <a:pt x="5006420" y="1190831"/>
                </a:cubicBezTo>
                <a:cubicBezTo>
                  <a:pt x="5002006" y="1190831"/>
                  <a:pt x="5002006" y="1190831"/>
                  <a:pt x="5002006" y="1190831"/>
                </a:cubicBezTo>
                <a:cubicBezTo>
                  <a:pt x="5002006" y="1195245"/>
                  <a:pt x="5006420" y="1195245"/>
                  <a:pt x="5006420" y="1195245"/>
                </a:cubicBezTo>
                <a:cubicBezTo>
                  <a:pt x="5024076" y="1190831"/>
                  <a:pt x="5041729" y="1190831"/>
                  <a:pt x="5059383" y="1190831"/>
                </a:cubicBezTo>
                <a:cubicBezTo>
                  <a:pt x="5059383" y="1195245"/>
                  <a:pt x="5059380" y="1199658"/>
                  <a:pt x="5068208" y="1204071"/>
                </a:cubicBezTo>
                <a:cubicBezTo>
                  <a:pt x="5090274" y="1204071"/>
                  <a:pt x="5094688" y="1212897"/>
                  <a:pt x="5116754" y="1212897"/>
                </a:cubicBezTo>
                <a:cubicBezTo>
                  <a:pt x="5174127" y="1234965"/>
                  <a:pt x="5244741" y="1243791"/>
                  <a:pt x="5293286" y="1248204"/>
                </a:cubicBezTo>
                <a:cubicBezTo>
                  <a:pt x="5297701" y="1248204"/>
                  <a:pt x="5297701" y="1248204"/>
                  <a:pt x="5297701" y="1248204"/>
                </a:cubicBezTo>
                <a:cubicBezTo>
                  <a:pt x="5297701" y="1248204"/>
                  <a:pt x="5302115" y="1248204"/>
                  <a:pt x="5302115" y="1248204"/>
                </a:cubicBezTo>
                <a:cubicBezTo>
                  <a:pt x="5302115" y="1243791"/>
                  <a:pt x="5302115" y="1243791"/>
                  <a:pt x="5297699" y="1243791"/>
                </a:cubicBezTo>
                <a:cubicBezTo>
                  <a:pt x="5249152" y="1239379"/>
                  <a:pt x="5182954" y="1230551"/>
                  <a:pt x="5125580" y="1208485"/>
                </a:cubicBezTo>
                <a:cubicBezTo>
                  <a:pt x="5129996" y="1208485"/>
                  <a:pt x="5129996" y="1208485"/>
                  <a:pt x="5129996" y="1208485"/>
                </a:cubicBezTo>
                <a:cubicBezTo>
                  <a:pt x="5129996" y="1204071"/>
                  <a:pt x="5125582" y="1204071"/>
                  <a:pt x="5121166" y="1199658"/>
                </a:cubicBezTo>
                <a:cubicBezTo>
                  <a:pt x="5125582" y="1199658"/>
                  <a:pt x="5129996" y="1199658"/>
                  <a:pt x="5134406" y="1199658"/>
                </a:cubicBezTo>
                <a:cubicBezTo>
                  <a:pt x="5134406" y="1199658"/>
                  <a:pt x="5134406" y="1199658"/>
                  <a:pt x="5134407" y="1204071"/>
                </a:cubicBezTo>
                <a:cubicBezTo>
                  <a:pt x="5138821" y="1204071"/>
                  <a:pt x="5138821" y="1204071"/>
                  <a:pt x="5138821" y="1204071"/>
                </a:cubicBezTo>
                <a:cubicBezTo>
                  <a:pt x="5138821" y="1204071"/>
                  <a:pt x="5138821" y="1204071"/>
                  <a:pt x="5143235" y="1204071"/>
                </a:cubicBezTo>
                <a:cubicBezTo>
                  <a:pt x="5143235" y="1204071"/>
                  <a:pt x="5143235" y="1199658"/>
                  <a:pt x="5143235" y="1199658"/>
                </a:cubicBezTo>
                <a:cubicBezTo>
                  <a:pt x="5152060" y="1204072"/>
                  <a:pt x="5160887" y="1204071"/>
                  <a:pt x="5165300" y="1204071"/>
                </a:cubicBezTo>
                <a:cubicBezTo>
                  <a:pt x="5169714" y="1204071"/>
                  <a:pt x="5169714" y="1204071"/>
                  <a:pt x="5174127" y="1204071"/>
                </a:cubicBezTo>
                <a:cubicBezTo>
                  <a:pt x="5178539" y="1204071"/>
                  <a:pt x="5182956" y="1204072"/>
                  <a:pt x="5187368" y="1204071"/>
                </a:cubicBezTo>
                <a:lnTo>
                  <a:pt x="5191780" y="1204071"/>
                </a:lnTo>
                <a:cubicBezTo>
                  <a:pt x="5191780" y="1208486"/>
                  <a:pt x="5191780" y="1208486"/>
                  <a:pt x="5196195" y="1208485"/>
                </a:cubicBezTo>
                <a:cubicBezTo>
                  <a:pt x="5200607" y="1208485"/>
                  <a:pt x="5200607" y="1208485"/>
                  <a:pt x="5205019" y="1208485"/>
                </a:cubicBezTo>
                <a:cubicBezTo>
                  <a:pt x="5205019" y="1208485"/>
                  <a:pt x="5209434" y="1204071"/>
                  <a:pt x="5209434" y="1204071"/>
                </a:cubicBezTo>
                <a:cubicBezTo>
                  <a:pt x="5244741" y="1199658"/>
                  <a:pt x="5280046" y="1199658"/>
                  <a:pt x="5315354" y="1204071"/>
                </a:cubicBezTo>
                <a:cubicBezTo>
                  <a:pt x="5333006" y="1208485"/>
                  <a:pt x="5346247" y="1208485"/>
                  <a:pt x="5363899" y="1212897"/>
                </a:cubicBezTo>
                <a:cubicBezTo>
                  <a:pt x="5363899" y="1212897"/>
                  <a:pt x="5363899" y="1208485"/>
                  <a:pt x="5359489" y="1208485"/>
                </a:cubicBezTo>
                <a:cubicBezTo>
                  <a:pt x="5390381" y="1212897"/>
                  <a:pt x="5416862" y="1212897"/>
                  <a:pt x="5447752" y="1217312"/>
                </a:cubicBezTo>
                <a:cubicBezTo>
                  <a:pt x="5452166" y="1217312"/>
                  <a:pt x="5452166" y="1217312"/>
                  <a:pt x="5452166" y="1212897"/>
                </a:cubicBezTo>
                <a:cubicBezTo>
                  <a:pt x="5460991" y="1212897"/>
                  <a:pt x="5465405" y="1217312"/>
                  <a:pt x="5474234" y="1217312"/>
                </a:cubicBezTo>
                <a:cubicBezTo>
                  <a:pt x="5469821" y="1217312"/>
                  <a:pt x="5474234" y="1221725"/>
                  <a:pt x="5478645" y="1221725"/>
                </a:cubicBezTo>
                <a:cubicBezTo>
                  <a:pt x="5478644" y="1217312"/>
                  <a:pt x="5483059" y="1217312"/>
                  <a:pt x="5487473" y="1217312"/>
                </a:cubicBezTo>
                <a:cubicBezTo>
                  <a:pt x="5496298" y="1217312"/>
                  <a:pt x="5505127" y="1221726"/>
                  <a:pt x="5513952" y="1221725"/>
                </a:cubicBezTo>
                <a:cubicBezTo>
                  <a:pt x="5513952" y="1221725"/>
                  <a:pt x="5518366" y="1221726"/>
                  <a:pt x="5518366" y="1221726"/>
                </a:cubicBezTo>
                <a:cubicBezTo>
                  <a:pt x="5522778" y="1221725"/>
                  <a:pt x="5527193" y="1226137"/>
                  <a:pt x="5531607" y="1226137"/>
                </a:cubicBezTo>
                <a:cubicBezTo>
                  <a:pt x="5536018" y="1226137"/>
                  <a:pt x="5536018" y="1226137"/>
                  <a:pt x="5536018" y="1226137"/>
                </a:cubicBezTo>
                <a:cubicBezTo>
                  <a:pt x="5536018" y="1226137"/>
                  <a:pt x="5540432" y="1226137"/>
                  <a:pt x="5540432" y="1226137"/>
                </a:cubicBezTo>
                <a:cubicBezTo>
                  <a:pt x="5566913" y="1230551"/>
                  <a:pt x="5593392" y="1239379"/>
                  <a:pt x="5615460" y="1243791"/>
                </a:cubicBezTo>
                <a:cubicBezTo>
                  <a:pt x="5615460" y="1243791"/>
                  <a:pt x="5624284" y="1239379"/>
                  <a:pt x="5628699" y="1243791"/>
                </a:cubicBezTo>
                <a:cubicBezTo>
                  <a:pt x="5628699" y="1243791"/>
                  <a:pt x="5633113" y="1243790"/>
                  <a:pt x="5633113" y="1243790"/>
                </a:cubicBezTo>
                <a:cubicBezTo>
                  <a:pt x="5628699" y="1243791"/>
                  <a:pt x="5641938" y="1243791"/>
                  <a:pt x="5650765" y="1243790"/>
                </a:cubicBezTo>
                <a:cubicBezTo>
                  <a:pt x="5668417" y="1248204"/>
                  <a:pt x="5686072" y="1257031"/>
                  <a:pt x="5699311" y="1261445"/>
                </a:cubicBezTo>
                <a:cubicBezTo>
                  <a:pt x="5774339" y="1283512"/>
                  <a:pt x="5831713" y="1301165"/>
                  <a:pt x="5884670" y="1318819"/>
                </a:cubicBezTo>
                <a:cubicBezTo>
                  <a:pt x="5889085" y="1318819"/>
                  <a:pt x="5889085" y="1318819"/>
                  <a:pt x="5889085" y="1318819"/>
                </a:cubicBezTo>
                <a:cubicBezTo>
                  <a:pt x="5893498" y="1323231"/>
                  <a:pt x="5893498" y="1323231"/>
                  <a:pt x="5893498" y="1323231"/>
                </a:cubicBezTo>
                <a:cubicBezTo>
                  <a:pt x="5913358" y="1334265"/>
                  <a:pt x="5932113" y="1345298"/>
                  <a:pt x="5951973" y="1356331"/>
                </a:cubicBezTo>
                <a:lnTo>
                  <a:pt x="6010071" y="1385873"/>
                </a:lnTo>
                <a:lnTo>
                  <a:pt x="6008796" y="1385363"/>
                </a:lnTo>
                <a:cubicBezTo>
                  <a:pt x="6003279" y="1383363"/>
                  <a:pt x="5998314" y="1381708"/>
                  <a:pt x="5995002" y="1380605"/>
                </a:cubicBezTo>
                <a:cubicBezTo>
                  <a:pt x="5990591" y="1380605"/>
                  <a:pt x="5986176" y="1376192"/>
                  <a:pt x="5986176" y="1376192"/>
                </a:cubicBezTo>
                <a:cubicBezTo>
                  <a:pt x="5968523" y="1367365"/>
                  <a:pt x="5959698" y="1358538"/>
                  <a:pt x="5955283" y="1362951"/>
                </a:cubicBezTo>
                <a:cubicBezTo>
                  <a:pt x="5950870" y="1354125"/>
                  <a:pt x="5924391" y="1345298"/>
                  <a:pt x="5902324" y="1340885"/>
                </a:cubicBezTo>
                <a:cubicBezTo>
                  <a:pt x="5897909" y="1340885"/>
                  <a:pt x="5893496" y="1340885"/>
                  <a:pt x="5893498" y="1336472"/>
                </a:cubicBezTo>
                <a:cubicBezTo>
                  <a:pt x="5893498" y="1336472"/>
                  <a:pt x="5889084" y="1332058"/>
                  <a:pt x="5884670" y="1332058"/>
                </a:cubicBezTo>
                <a:cubicBezTo>
                  <a:pt x="5880257" y="1332058"/>
                  <a:pt x="5875844" y="1332058"/>
                  <a:pt x="5880257" y="1336472"/>
                </a:cubicBezTo>
                <a:cubicBezTo>
                  <a:pt x="5880257" y="1340884"/>
                  <a:pt x="5889085" y="1345298"/>
                  <a:pt x="5897909" y="1349712"/>
                </a:cubicBezTo>
                <a:cubicBezTo>
                  <a:pt x="5902324" y="1349712"/>
                  <a:pt x="5902324" y="1349712"/>
                  <a:pt x="5902324" y="1349712"/>
                </a:cubicBezTo>
                <a:cubicBezTo>
                  <a:pt x="5937631" y="1367365"/>
                  <a:pt x="5950870" y="1376192"/>
                  <a:pt x="5981762" y="1385019"/>
                </a:cubicBezTo>
                <a:cubicBezTo>
                  <a:pt x="5981762" y="1385019"/>
                  <a:pt x="5986176" y="1385019"/>
                  <a:pt x="5986176" y="1385019"/>
                </a:cubicBezTo>
                <a:cubicBezTo>
                  <a:pt x="5990591" y="1389430"/>
                  <a:pt x="6003831" y="1398259"/>
                  <a:pt x="6008241" y="1402671"/>
                </a:cubicBezTo>
                <a:cubicBezTo>
                  <a:pt x="6017071" y="1398258"/>
                  <a:pt x="6017071" y="1407085"/>
                  <a:pt x="6034725" y="1415913"/>
                </a:cubicBezTo>
                <a:cubicBezTo>
                  <a:pt x="6050170" y="1422531"/>
                  <a:pt x="6068928" y="1430255"/>
                  <a:pt x="6087683" y="1439633"/>
                </a:cubicBezTo>
                <a:lnTo>
                  <a:pt x="6132066" y="1467836"/>
                </a:lnTo>
                <a:lnTo>
                  <a:pt x="6127403" y="1468871"/>
                </a:lnTo>
                <a:cubicBezTo>
                  <a:pt x="6198016" y="1504179"/>
                  <a:pt x="6259801" y="1543898"/>
                  <a:pt x="6330415" y="1592446"/>
                </a:cubicBezTo>
                <a:cubicBezTo>
                  <a:pt x="6330415" y="1592446"/>
                  <a:pt x="6330415" y="1596858"/>
                  <a:pt x="6330415" y="1596858"/>
                </a:cubicBezTo>
                <a:cubicBezTo>
                  <a:pt x="6334829" y="1596859"/>
                  <a:pt x="6334829" y="1596859"/>
                  <a:pt x="6334829" y="1596859"/>
                </a:cubicBezTo>
                <a:cubicBezTo>
                  <a:pt x="6334829" y="1596859"/>
                  <a:pt x="6334829" y="1596859"/>
                  <a:pt x="6339242" y="1596859"/>
                </a:cubicBezTo>
                <a:cubicBezTo>
                  <a:pt x="6343655" y="1601272"/>
                  <a:pt x="6348069" y="1610098"/>
                  <a:pt x="6352483" y="1614513"/>
                </a:cubicBezTo>
                <a:cubicBezTo>
                  <a:pt x="6365723" y="1605686"/>
                  <a:pt x="6392202" y="1636580"/>
                  <a:pt x="6414267" y="1649819"/>
                </a:cubicBezTo>
                <a:cubicBezTo>
                  <a:pt x="6409855" y="1654232"/>
                  <a:pt x="6401029" y="1645405"/>
                  <a:pt x="6401029" y="1649818"/>
                </a:cubicBezTo>
                <a:cubicBezTo>
                  <a:pt x="6423096" y="1671886"/>
                  <a:pt x="6405441" y="1640991"/>
                  <a:pt x="6431922" y="1663059"/>
                </a:cubicBezTo>
                <a:cubicBezTo>
                  <a:pt x="6431922" y="1667472"/>
                  <a:pt x="6427507" y="1663059"/>
                  <a:pt x="6427507" y="1667472"/>
                </a:cubicBezTo>
                <a:cubicBezTo>
                  <a:pt x="6458402" y="1685126"/>
                  <a:pt x="6480469" y="1711605"/>
                  <a:pt x="6502532" y="1720433"/>
                </a:cubicBezTo>
                <a:cubicBezTo>
                  <a:pt x="6502532" y="1720433"/>
                  <a:pt x="6493708" y="1716020"/>
                  <a:pt x="6502532" y="1724846"/>
                </a:cubicBezTo>
                <a:cubicBezTo>
                  <a:pt x="6524602" y="1729259"/>
                  <a:pt x="6537839" y="1755738"/>
                  <a:pt x="6555490" y="1773392"/>
                </a:cubicBezTo>
                <a:cubicBezTo>
                  <a:pt x="6581975" y="1786632"/>
                  <a:pt x="6604038" y="1808699"/>
                  <a:pt x="6621689" y="1830765"/>
                </a:cubicBezTo>
                <a:cubicBezTo>
                  <a:pt x="6630516" y="1841799"/>
                  <a:pt x="6639347" y="1852832"/>
                  <a:pt x="6649828" y="1864417"/>
                </a:cubicBezTo>
                <a:lnTo>
                  <a:pt x="6683345" y="1896966"/>
                </a:lnTo>
                <a:lnTo>
                  <a:pt x="6679066" y="1896966"/>
                </a:lnTo>
                <a:cubicBezTo>
                  <a:pt x="6679065" y="1901380"/>
                  <a:pt x="6679065" y="1901380"/>
                  <a:pt x="6683479" y="1901380"/>
                </a:cubicBezTo>
                <a:cubicBezTo>
                  <a:pt x="6692305" y="1905793"/>
                  <a:pt x="6692305" y="1905793"/>
                  <a:pt x="6692305" y="1905793"/>
                </a:cubicBezTo>
                <a:cubicBezTo>
                  <a:pt x="6687890" y="1905793"/>
                  <a:pt x="6687890" y="1905793"/>
                  <a:pt x="6687890" y="1905793"/>
                </a:cubicBezTo>
                <a:cubicBezTo>
                  <a:pt x="6692305" y="1914619"/>
                  <a:pt x="6701129" y="1923447"/>
                  <a:pt x="6714370" y="1932272"/>
                </a:cubicBezTo>
                <a:cubicBezTo>
                  <a:pt x="6714370" y="1932272"/>
                  <a:pt x="6718784" y="1932272"/>
                  <a:pt x="6718784" y="1932272"/>
                </a:cubicBezTo>
                <a:cubicBezTo>
                  <a:pt x="6723198" y="1932271"/>
                  <a:pt x="6723198" y="1936686"/>
                  <a:pt x="6727610" y="1936686"/>
                </a:cubicBezTo>
                <a:cubicBezTo>
                  <a:pt x="6723198" y="1936686"/>
                  <a:pt x="6718784" y="1932272"/>
                  <a:pt x="6718784" y="1936686"/>
                </a:cubicBezTo>
                <a:cubicBezTo>
                  <a:pt x="6723198" y="1941100"/>
                  <a:pt x="6727610" y="1945513"/>
                  <a:pt x="6732024" y="1949926"/>
                </a:cubicBezTo>
                <a:cubicBezTo>
                  <a:pt x="6727608" y="1949926"/>
                  <a:pt x="6727608" y="1949926"/>
                  <a:pt x="6727608" y="1949926"/>
                </a:cubicBezTo>
                <a:cubicBezTo>
                  <a:pt x="6727608" y="1949926"/>
                  <a:pt x="6727608" y="1949926"/>
                  <a:pt x="6723198" y="1949926"/>
                </a:cubicBezTo>
                <a:cubicBezTo>
                  <a:pt x="6723198" y="1949926"/>
                  <a:pt x="6723198" y="1949926"/>
                  <a:pt x="6723198" y="1954339"/>
                </a:cubicBezTo>
                <a:cubicBezTo>
                  <a:pt x="6727610" y="1954339"/>
                  <a:pt x="6732024" y="1954339"/>
                  <a:pt x="6732024" y="1954339"/>
                </a:cubicBezTo>
                <a:cubicBezTo>
                  <a:pt x="6732024" y="1954339"/>
                  <a:pt x="6732024" y="1954339"/>
                  <a:pt x="6736436" y="1954338"/>
                </a:cubicBezTo>
                <a:cubicBezTo>
                  <a:pt x="6736436" y="1954338"/>
                  <a:pt x="6740851" y="1958753"/>
                  <a:pt x="6740851" y="1958753"/>
                </a:cubicBezTo>
                <a:cubicBezTo>
                  <a:pt x="6740851" y="1958753"/>
                  <a:pt x="6740851" y="1963166"/>
                  <a:pt x="6740851" y="1963166"/>
                </a:cubicBezTo>
                <a:cubicBezTo>
                  <a:pt x="6740851" y="1963166"/>
                  <a:pt x="6740851" y="1967580"/>
                  <a:pt x="6740851" y="1967580"/>
                </a:cubicBezTo>
                <a:cubicBezTo>
                  <a:pt x="6745263" y="1967580"/>
                  <a:pt x="6745263" y="1967580"/>
                  <a:pt x="6745263" y="1967580"/>
                </a:cubicBezTo>
                <a:cubicBezTo>
                  <a:pt x="6749678" y="1967580"/>
                  <a:pt x="6749678" y="1967580"/>
                  <a:pt x="6749678" y="1967580"/>
                </a:cubicBezTo>
                <a:cubicBezTo>
                  <a:pt x="6754092" y="1971993"/>
                  <a:pt x="6758501" y="1976406"/>
                  <a:pt x="6758503" y="1980820"/>
                </a:cubicBezTo>
                <a:cubicBezTo>
                  <a:pt x="6758503" y="1980820"/>
                  <a:pt x="6758503" y="1980820"/>
                  <a:pt x="6754092" y="1980819"/>
                </a:cubicBezTo>
                <a:cubicBezTo>
                  <a:pt x="6754092" y="1980819"/>
                  <a:pt x="6758503" y="1985233"/>
                  <a:pt x="6758503" y="1985233"/>
                </a:cubicBezTo>
                <a:cubicBezTo>
                  <a:pt x="6762917" y="1989647"/>
                  <a:pt x="6762917" y="1989647"/>
                  <a:pt x="6762917" y="1989647"/>
                </a:cubicBezTo>
                <a:cubicBezTo>
                  <a:pt x="6762917" y="1989647"/>
                  <a:pt x="6767331" y="1994059"/>
                  <a:pt x="6771744" y="1994059"/>
                </a:cubicBezTo>
                <a:cubicBezTo>
                  <a:pt x="6767331" y="1994059"/>
                  <a:pt x="6767331" y="1994059"/>
                  <a:pt x="6767331" y="1994059"/>
                </a:cubicBezTo>
                <a:cubicBezTo>
                  <a:pt x="6767331" y="1998473"/>
                  <a:pt x="6771744" y="2002887"/>
                  <a:pt x="6776157" y="2011713"/>
                </a:cubicBezTo>
                <a:cubicBezTo>
                  <a:pt x="6767331" y="2007300"/>
                  <a:pt x="6776156" y="2016126"/>
                  <a:pt x="6767331" y="2011713"/>
                </a:cubicBezTo>
                <a:cubicBezTo>
                  <a:pt x="6780571" y="2029366"/>
                  <a:pt x="6780571" y="2029366"/>
                  <a:pt x="6780571" y="2029366"/>
                </a:cubicBezTo>
                <a:cubicBezTo>
                  <a:pt x="6780571" y="2029366"/>
                  <a:pt x="6776157" y="2029366"/>
                  <a:pt x="6776157" y="2029366"/>
                </a:cubicBezTo>
                <a:cubicBezTo>
                  <a:pt x="6771744" y="2024953"/>
                  <a:pt x="6771744" y="2024953"/>
                  <a:pt x="6771744" y="2024953"/>
                </a:cubicBezTo>
                <a:cubicBezTo>
                  <a:pt x="6771744" y="2024953"/>
                  <a:pt x="6771743" y="2020540"/>
                  <a:pt x="6767331" y="2024953"/>
                </a:cubicBezTo>
                <a:cubicBezTo>
                  <a:pt x="6767331" y="2024953"/>
                  <a:pt x="6767331" y="2024953"/>
                  <a:pt x="6771744" y="2029366"/>
                </a:cubicBezTo>
                <a:cubicBezTo>
                  <a:pt x="6776157" y="2033780"/>
                  <a:pt x="6776157" y="2033780"/>
                  <a:pt x="6776157" y="2033780"/>
                </a:cubicBezTo>
                <a:cubicBezTo>
                  <a:pt x="6780571" y="2033780"/>
                  <a:pt x="6780571" y="2038193"/>
                  <a:pt x="6784983" y="2038193"/>
                </a:cubicBezTo>
                <a:cubicBezTo>
                  <a:pt x="6784983" y="2038193"/>
                  <a:pt x="6789396" y="2033780"/>
                  <a:pt x="6784983" y="2029366"/>
                </a:cubicBezTo>
                <a:cubicBezTo>
                  <a:pt x="6789396" y="2033780"/>
                  <a:pt x="6789396" y="2033780"/>
                  <a:pt x="6789396" y="2033780"/>
                </a:cubicBezTo>
                <a:cubicBezTo>
                  <a:pt x="6807051" y="2047020"/>
                  <a:pt x="6802634" y="2051433"/>
                  <a:pt x="6815876" y="2055847"/>
                </a:cubicBezTo>
                <a:cubicBezTo>
                  <a:pt x="6807051" y="2047020"/>
                  <a:pt x="6811465" y="2042606"/>
                  <a:pt x="6811465" y="2038193"/>
                </a:cubicBezTo>
                <a:cubicBezTo>
                  <a:pt x="6815876" y="2042606"/>
                  <a:pt x="6820290" y="2051433"/>
                  <a:pt x="6824703" y="2055847"/>
                </a:cubicBezTo>
                <a:lnTo>
                  <a:pt x="6830026" y="2061170"/>
                </a:lnTo>
                <a:lnTo>
                  <a:pt x="6832873" y="2056131"/>
                </a:lnTo>
                <a:lnTo>
                  <a:pt x="6829114" y="2051433"/>
                </a:lnTo>
                <a:cubicBezTo>
                  <a:pt x="6824703" y="2047019"/>
                  <a:pt x="6815876" y="2038193"/>
                  <a:pt x="6811465" y="2029366"/>
                </a:cubicBezTo>
                <a:cubicBezTo>
                  <a:pt x="6798224" y="2016126"/>
                  <a:pt x="6793810" y="2002887"/>
                  <a:pt x="6776157" y="1989647"/>
                </a:cubicBezTo>
                <a:cubicBezTo>
                  <a:pt x="6771744" y="1985233"/>
                  <a:pt x="6767331" y="1976406"/>
                  <a:pt x="6767331" y="1976406"/>
                </a:cubicBezTo>
                <a:cubicBezTo>
                  <a:pt x="6762917" y="1971993"/>
                  <a:pt x="6762917" y="1967580"/>
                  <a:pt x="6758503" y="1967580"/>
                </a:cubicBezTo>
                <a:cubicBezTo>
                  <a:pt x="6758503" y="1963166"/>
                  <a:pt x="6758503" y="1963166"/>
                  <a:pt x="6754092" y="1958754"/>
                </a:cubicBezTo>
                <a:cubicBezTo>
                  <a:pt x="6749678" y="1958754"/>
                  <a:pt x="6745263" y="1949926"/>
                  <a:pt x="6740851" y="1945513"/>
                </a:cubicBezTo>
                <a:cubicBezTo>
                  <a:pt x="6745263" y="1945513"/>
                  <a:pt x="6732024" y="1932272"/>
                  <a:pt x="6732024" y="1932272"/>
                </a:cubicBezTo>
                <a:cubicBezTo>
                  <a:pt x="6727610" y="1927860"/>
                  <a:pt x="6723198" y="1923447"/>
                  <a:pt x="6718784" y="1923447"/>
                </a:cubicBezTo>
                <a:cubicBezTo>
                  <a:pt x="6718784" y="1919033"/>
                  <a:pt x="6718784" y="1919033"/>
                  <a:pt x="6718784" y="1919033"/>
                </a:cubicBezTo>
                <a:cubicBezTo>
                  <a:pt x="6687890" y="1874899"/>
                  <a:pt x="6639347" y="1821939"/>
                  <a:pt x="6604038" y="1786632"/>
                </a:cubicBezTo>
                <a:cubicBezTo>
                  <a:pt x="6604038" y="1782220"/>
                  <a:pt x="6604038" y="1782220"/>
                  <a:pt x="6604038" y="1782220"/>
                </a:cubicBezTo>
                <a:cubicBezTo>
                  <a:pt x="6604038" y="1782220"/>
                  <a:pt x="6604038" y="1782220"/>
                  <a:pt x="6604038" y="1777806"/>
                </a:cubicBezTo>
                <a:cubicBezTo>
                  <a:pt x="6608454" y="1782219"/>
                  <a:pt x="6608454" y="1782219"/>
                  <a:pt x="6612866" y="1786632"/>
                </a:cubicBezTo>
                <a:cubicBezTo>
                  <a:pt x="6612866" y="1786632"/>
                  <a:pt x="6617277" y="1791046"/>
                  <a:pt x="6621689" y="1795460"/>
                </a:cubicBezTo>
                <a:cubicBezTo>
                  <a:pt x="6626106" y="1799873"/>
                  <a:pt x="6626106" y="1799873"/>
                  <a:pt x="6630516" y="1804286"/>
                </a:cubicBezTo>
                <a:cubicBezTo>
                  <a:pt x="6630516" y="1804286"/>
                  <a:pt x="6630516" y="1804286"/>
                  <a:pt x="6634931" y="1804286"/>
                </a:cubicBezTo>
                <a:cubicBezTo>
                  <a:pt x="6639347" y="1813113"/>
                  <a:pt x="6648172" y="1817526"/>
                  <a:pt x="6656998" y="1826353"/>
                </a:cubicBezTo>
                <a:cubicBezTo>
                  <a:pt x="6656998" y="1826353"/>
                  <a:pt x="6661412" y="1830766"/>
                  <a:pt x="6661411" y="1826353"/>
                </a:cubicBezTo>
                <a:cubicBezTo>
                  <a:pt x="6665824" y="1826353"/>
                  <a:pt x="6661412" y="1821938"/>
                  <a:pt x="6661412" y="1821938"/>
                </a:cubicBezTo>
                <a:cubicBezTo>
                  <a:pt x="6656998" y="1817525"/>
                  <a:pt x="6656998" y="1817525"/>
                  <a:pt x="6656998" y="1817525"/>
                </a:cubicBezTo>
                <a:cubicBezTo>
                  <a:pt x="6656998" y="1817525"/>
                  <a:pt x="6656998" y="1813113"/>
                  <a:pt x="6652584" y="1813113"/>
                </a:cubicBezTo>
                <a:cubicBezTo>
                  <a:pt x="6648172" y="1808699"/>
                  <a:pt x="6648172" y="1808699"/>
                  <a:pt x="6648172" y="1808699"/>
                </a:cubicBezTo>
                <a:cubicBezTo>
                  <a:pt x="6643759" y="1808698"/>
                  <a:pt x="6643759" y="1804286"/>
                  <a:pt x="6639347" y="1799873"/>
                </a:cubicBezTo>
                <a:cubicBezTo>
                  <a:pt x="6643759" y="1804286"/>
                  <a:pt x="6648999" y="1809251"/>
                  <a:pt x="6653964" y="1814078"/>
                </a:cubicBezTo>
                <a:lnTo>
                  <a:pt x="6665783" y="1826272"/>
                </a:lnTo>
                <a:lnTo>
                  <a:pt x="6665824" y="1826353"/>
                </a:lnTo>
                <a:lnTo>
                  <a:pt x="6665872" y="1826366"/>
                </a:lnTo>
                <a:lnTo>
                  <a:pt x="6666928" y="1827456"/>
                </a:lnTo>
                <a:cubicBezTo>
                  <a:pt x="6673549" y="1835180"/>
                  <a:pt x="6674652" y="1839593"/>
                  <a:pt x="6661412" y="1835179"/>
                </a:cubicBezTo>
                <a:cubicBezTo>
                  <a:pt x="6687890" y="1852832"/>
                  <a:pt x="6692305" y="1861660"/>
                  <a:pt x="6709958" y="1879314"/>
                </a:cubicBezTo>
                <a:cubicBezTo>
                  <a:pt x="6709956" y="1874899"/>
                  <a:pt x="6709956" y="1874899"/>
                  <a:pt x="6709956" y="1874899"/>
                </a:cubicBezTo>
                <a:cubicBezTo>
                  <a:pt x="6723198" y="1888139"/>
                  <a:pt x="6723198" y="1888139"/>
                  <a:pt x="6723198" y="1888139"/>
                </a:cubicBezTo>
                <a:cubicBezTo>
                  <a:pt x="6723198" y="1892553"/>
                  <a:pt x="6723198" y="1892553"/>
                  <a:pt x="6723198" y="1892553"/>
                </a:cubicBezTo>
                <a:cubicBezTo>
                  <a:pt x="6727610" y="1892553"/>
                  <a:pt x="6727610" y="1892553"/>
                  <a:pt x="6727610" y="1892553"/>
                </a:cubicBezTo>
                <a:cubicBezTo>
                  <a:pt x="6727610" y="1896965"/>
                  <a:pt x="6727610" y="1896965"/>
                  <a:pt x="6727610" y="1896965"/>
                </a:cubicBezTo>
                <a:cubicBezTo>
                  <a:pt x="6732024" y="1901378"/>
                  <a:pt x="6736436" y="1901380"/>
                  <a:pt x="6736436" y="1905792"/>
                </a:cubicBezTo>
                <a:cubicBezTo>
                  <a:pt x="6740851" y="1905793"/>
                  <a:pt x="6740851" y="1910206"/>
                  <a:pt x="6745263" y="1910205"/>
                </a:cubicBezTo>
                <a:cubicBezTo>
                  <a:pt x="6745263" y="1914619"/>
                  <a:pt x="6749678" y="1914619"/>
                  <a:pt x="6749678" y="1914619"/>
                </a:cubicBezTo>
                <a:cubicBezTo>
                  <a:pt x="6754092" y="1919033"/>
                  <a:pt x="6758503" y="1923447"/>
                  <a:pt x="6762917" y="1927860"/>
                </a:cubicBezTo>
                <a:cubicBezTo>
                  <a:pt x="6767331" y="1927859"/>
                  <a:pt x="6767331" y="1927859"/>
                  <a:pt x="6767331" y="1927859"/>
                </a:cubicBezTo>
                <a:cubicBezTo>
                  <a:pt x="6767331" y="1927859"/>
                  <a:pt x="6767329" y="1932272"/>
                  <a:pt x="6771744" y="1932272"/>
                </a:cubicBezTo>
                <a:cubicBezTo>
                  <a:pt x="6780571" y="1945513"/>
                  <a:pt x="6793810" y="1958754"/>
                  <a:pt x="6807051" y="1971993"/>
                </a:cubicBezTo>
                <a:cubicBezTo>
                  <a:pt x="6802634" y="1971993"/>
                  <a:pt x="6802634" y="1971993"/>
                  <a:pt x="6802634" y="1976406"/>
                </a:cubicBezTo>
                <a:cubicBezTo>
                  <a:pt x="6798220" y="1971993"/>
                  <a:pt x="6798220" y="1971993"/>
                  <a:pt x="6798220" y="1971993"/>
                </a:cubicBezTo>
                <a:cubicBezTo>
                  <a:pt x="6798224" y="1967580"/>
                  <a:pt x="6793810" y="1967580"/>
                  <a:pt x="6793810" y="1967580"/>
                </a:cubicBezTo>
                <a:cubicBezTo>
                  <a:pt x="6793810" y="1967580"/>
                  <a:pt x="6793810" y="1971993"/>
                  <a:pt x="6793810" y="1971993"/>
                </a:cubicBezTo>
                <a:cubicBezTo>
                  <a:pt x="6798224" y="1976406"/>
                  <a:pt x="6798224" y="1976406"/>
                  <a:pt x="6798224" y="1976406"/>
                </a:cubicBezTo>
                <a:cubicBezTo>
                  <a:pt x="6798224" y="1976406"/>
                  <a:pt x="6802634" y="1980820"/>
                  <a:pt x="6802634" y="1980820"/>
                </a:cubicBezTo>
                <a:cubicBezTo>
                  <a:pt x="6807051" y="1980820"/>
                  <a:pt x="6807051" y="1980820"/>
                  <a:pt x="6807051" y="1980820"/>
                </a:cubicBezTo>
                <a:cubicBezTo>
                  <a:pt x="6807051" y="1980820"/>
                  <a:pt x="6807051" y="1980820"/>
                  <a:pt x="6811465" y="1980820"/>
                </a:cubicBezTo>
                <a:cubicBezTo>
                  <a:pt x="6820290" y="1994059"/>
                  <a:pt x="6833529" y="2007300"/>
                  <a:pt x="6842356" y="2020539"/>
                </a:cubicBezTo>
                <a:cubicBezTo>
                  <a:pt x="6842356" y="2020539"/>
                  <a:pt x="6842356" y="2020539"/>
                  <a:pt x="6846767" y="2020540"/>
                </a:cubicBezTo>
                <a:lnTo>
                  <a:pt x="6850210" y="2025459"/>
                </a:lnTo>
                <a:lnTo>
                  <a:pt x="6856480" y="2014366"/>
                </a:lnTo>
                <a:lnTo>
                  <a:pt x="6851182" y="2007300"/>
                </a:lnTo>
                <a:cubicBezTo>
                  <a:pt x="6846767" y="2002887"/>
                  <a:pt x="6837943" y="1994058"/>
                  <a:pt x="6833529" y="1985233"/>
                </a:cubicBezTo>
                <a:cubicBezTo>
                  <a:pt x="6833529" y="1985233"/>
                  <a:pt x="6833529" y="1980820"/>
                  <a:pt x="6833529" y="1980820"/>
                </a:cubicBezTo>
                <a:cubicBezTo>
                  <a:pt x="6829114" y="1980820"/>
                  <a:pt x="6829114" y="1976406"/>
                  <a:pt x="6829114" y="1976406"/>
                </a:cubicBezTo>
                <a:cubicBezTo>
                  <a:pt x="6824703" y="1976406"/>
                  <a:pt x="6824703" y="1976406"/>
                  <a:pt x="6824703" y="1976406"/>
                </a:cubicBezTo>
                <a:cubicBezTo>
                  <a:pt x="6824703" y="1976406"/>
                  <a:pt x="6824703" y="1976406"/>
                  <a:pt x="6824703" y="1971993"/>
                </a:cubicBezTo>
                <a:cubicBezTo>
                  <a:pt x="6798224" y="1941100"/>
                  <a:pt x="6771744" y="1910206"/>
                  <a:pt x="6749678" y="1888139"/>
                </a:cubicBezTo>
                <a:cubicBezTo>
                  <a:pt x="6749678" y="1883726"/>
                  <a:pt x="6749678" y="1879314"/>
                  <a:pt x="6745263" y="1879314"/>
                </a:cubicBezTo>
                <a:cubicBezTo>
                  <a:pt x="6745263" y="1874899"/>
                  <a:pt x="6745263" y="1874899"/>
                  <a:pt x="6745263" y="1874899"/>
                </a:cubicBezTo>
                <a:cubicBezTo>
                  <a:pt x="6745263" y="1874899"/>
                  <a:pt x="6745263" y="1870486"/>
                  <a:pt x="6740851" y="1870485"/>
                </a:cubicBezTo>
                <a:cubicBezTo>
                  <a:pt x="6736436" y="1870486"/>
                  <a:pt x="6736436" y="1870486"/>
                  <a:pt x="6736436" y="1870486"/>
                </a:cubicBezTo>
                <a:cubicBezTo>
                  <a:pt x="6723198" y="1857246"/>
                  <a:pt x="6696717" y="1826352"/>
                  <a:pt x="6701129" y="1839592"/>
                </a:cubicBezTo>
                <a:cubicBezTo>
                  <a:pt x="6701129" y="1839592"/>
                  <a:pt x="6701129" y="1839592"/>
                  <a:pt x="6696717" y="1835180"/>
                </a:cubicBezTo>
                <a:cubicBezTo>
                  <a:pt x="6696717" y="1830766"/>
                  <a:pt x="6687890" y="1830765"/>
                  <a:pt x="6687890" y="1830765"/>
                </a:cubicBezTo>
                <a:lnTo>
                  <a:pt x="6687890" y="1839408"/>
                </a:lnTo>
                <a:lnTo>
                  <a:pt x="6679066" y="1830214"/>
                </a:lnTo>
                <a:lnTo>
                  <a:pt x="6665872" y="1826366"/>
                </a:lnTo>
                <a:lnTo>
                  <a:pt x="6665783" y="1826272"/>
                </a:lnTo>
                <a:lnTo>
                  <a:pt x="6657551" y="1810905"/>
                </a:lnTo>
                <a:cubicBezTo>
                  <a:pt x="6652584" y="1806493"/>
                  <a:pt x="6645964" y="1802079"/>
                  <a:pt x="6639347" y="1795459"/>
                </a:cubicBezTo>
                <a:cubicBezTo>
                  <a:pt x="6639347" y="1795459"/>
                  <a:pt x="6639347" y="1791046"/>
                  <a:pt x="6639347" y="1791046"/>
                </a:cubicBezTo>
                <a:cubicBezTo>
                  <a:pt x="6634931" y="1791044"/>
                  <a:pt x="6634931" y="1786632"/>
                  <a:pt x="6634931" y="1791044"/>
                </a:cubicBezTo>
                <a:cubicBezTo>
                  <a:pt x="6634931" y="1791044"/>
                  <a:pt x="6634931" y="1791044"/>
                  <a:pt x="6630516" y="1791046"/>
                </a:cubicBezTo>
                <a:cubicBezTo>
                  <a:pt x="6626106" y="1786632"/>
                  <a:pt x="6626106" y="1782220"/>
                  <a:pt x="6626106" y="1777806"/>
                </a:cubicBezTo>
                <a:cubicBezTo>
                  <a:pt x="6630516" y="1782220"/>
                  <a:pt x="6630516" y="1782220"/>
                  <a:pt x="6630516" y="1782220"/>
                </a:cubicBezTo>
                <a:cubicBezTo>
                  <a:pt x="6634931" y="1786632"/>
                  <a:pt x="6639347" y="1786632"/>
                  <a:pt x="6639347" y="1786632"/>
                </a:cubicBezTo>
                <a:cubicBezTo>
                  <a:pt x="6639347" y="1782219"/>
                  <a:pt x="6639346" y="1777806"/>
                  <a:pt x="6634931" y="1777805"/>
                </a:cubicBezTo>
                <a:cubicBezTo>
                  <a:pt x="6634931" y="1773392"/>
                  <a:pt x="6634931" y="1773392"/>
                  <a:pt x="6634931" y="1773392"/>
                </a:cubicBezTo>
                <a:cubicBezTo>
                  <a:pt x="6639347" y="1773392"/>
                  <a:pt x="6652584" y="1795460"/>
                  <a:pt x="6656998" y="1791046"/>
                </a:cubicBezTo>
                <a:cubicBezTo>
                  <a:pt x="6612866" y="1751326"/>
                  <a:pt x="6564318" y="1698366"/>
                  <a:pt x="6515773" y="1654232"/>
                </a:cubicBezTo>
                <a:cubicBezTo>
                  <a:pt x="6511361" y="1649819"/>
                  <a:pt x="6502532" y="1645405"/>
                  <a:pt x="6498119" y="1640992"/>
                </a:cubicBezTo>
                <a:cubicBezTo>
                  <a:pt x="6493708" y="1640992"/>
                  <a:pt x="6498119" y="1640992"/>
                  <a:pt x="6493708" y="1636580"/>
                </a:cubicBezTo>
                <a:cubicBezTo>
                  <a:pt x="6453988" y="1601272"/>
                  <a:pt x="6401029" y="1561552"/>
                  <a:pt x="6343655" y="1526246"/>
                </a:cubicBezTo>
                <a:cubicBezTo>
                  <a:pt x="6339239" y="1521832"/>
                  <a:pt x="6339242" y="1517419"/>
                  <a:pt x="6334829" y="1517419"/>
                </a:cubicBezTo>
                <a:cubicBezTo>
                  <a:pt x="6339242" y="1517419"/>
                  <a:pt x="6343654" y="1517418"/>
                  <a:pt x="6348068" y="1526246"/>
                </a:cubicBezTo>
                <a:cubicBezTo>
                  <a:pt x="6348069" y="1521832"/>
                  <a:pt x="6352482" y="1521832"/>
                  <a:pt x="6356895" y="1526246"/>
                </a:cubicBezTo>
                <a:cubicBezTo>
                  <a:pt x="6352483" y="1530658"/>
                  <a:pt x="6370136" y="1535072"/>
                  <a:pt x="6374548" y="1535072"/>
                </a:cubicBezTo>
                <a:cubicBezTo>
                  <a:pt x="6374548" y="1535072"/>
                  <a:pt x="6374548" y="1539486"/>
                  <a:pt x="6378962" y="1539486"/>
                </a:cubicBezTo>
                <a:cubicBezTo>
                  <a:pt x="6378962" y="1539486"/>
                  <a:pt x="6383376" y="1539486"/>
                  <a:pt x="6383376" y="1539486"/>
                </a:cubicBezTo>
                <a:cubicBezTo>
                  <a:pt x="6396615" y="1543899"/>
                  <a:pt x="6427507" y="1561552"/>
                  <a:pt x="6423095" y="1557139"/>
                </a:cubicBezTo>
                <a:cubicBezTo>
                  <a:pt x="6418682" y="1557139"/>
                  <a:pt x="6418682" y="1552725"/>
                  <a:pt x="6414267" y="1552725"/>
                </a:cubicBezTo>
                <a:cubicBezTo>
                  <a:pt x="6418682" y="1552725"/>
                  <a:pt x="6423096" y="1552725"/>
                  <a:pt x="6423096" y="1552725"/>
                </a:cubicBezTo>
                <a:cubicBezTo>
                  <a:pt x="6423096" y="1552725"/>
                  <a:pt x="6423096" y="1548312"/>
                  <a:pt x="6418682" y="1543899"/>
                </a:cubicBezTo>
                <a:cubicBezTo>
                  <a:pt x="6418682" y="1543899"/>
                  <a:pt x="6418682" y="1543899"/>
                  <a:pt x="6423096" y="1543898"/>
                </a:cubicBezTo>
                <a:cubicBezTo>
                  <a:pt x="6423096" y="1543898"/>
                  <a:pt x="6423096" y="1548312"/>
                  <a:pt x="6427507" y="1548312"/>
                </a:cubicBezTo>
                <a:cubicBezTo>
                  <a:pt x="6427507" y="1548312"/>
                  <a:pt x="6427507" y="1548312"/>
                  <a:pt x="6431921" y="1548310"/>
                </a:cubicBezTo>
                <a:cubicBezTo>
                  <a:pt x="6445161" y="1557139"/>
                  <a:pt x="6453988" y="1561552"/>
                  <a:pt x="6458401" y="1561552"/>
                </a:cubicBezTo>
                <a:cubicBezTo>
                  <a:pt x="6462814" y="1561552"/>
                  <a:pt x="6462814" y="1561552"/>
                  <a:pt x="6462814" y="1561552"/>
                </a:cubicBezTo>
                <a:cubicBezTo>
                  <a:pt x="6462814" y="1561552"/>
                  <a:pt x="6462814" y="1561552"/>
                  <a:pt x="6458402" y="1557138"/>
                </a:cubicBezTo>
                <a:cubicBezTo>
                  <a:pt x="6462814" y="1561552"/>
                  <a:pt x="6462814" y="1557139"/>
                  <a:pt x="6458402" y="1552725"/>
                </a:cubicBezTo>
                <a:cubicBezTo>
                  <a:pt x="6489293" y="1574792"/>
                  <a:pt x="6511362" y="1583619"/>
                  <a:pt x="6537839" y="1596859"/>
                </a:cubicBezTo>
                <a:cubicBezTo>
                  <a:pt x="6559906" y="1610098"/>
                  <a:pt x="6581975" y="1623339"/>
                  <a:pt x="6612866" y="1645405"/>
                </a:cubicBezTo>
                <a:cubicBezTo>
                  <a:pt x="6608452" y="1640992"/>
                  <a:pt x="6612866" y="1640992"/>
                  <a:pt x="6617277" y="1645405"/>
                </a:cubicBezTo>
                <a:cubicBezTo>
                  <a:pt x="6617277" y="1645405"/>
                  <a:pt x="6617277" y="1645405"/>
                  <a:pt x="6617277" y="1649819"/>
                </a:cubicBezTo>
                <a:cubicBezTo>
                  <a:pt x="6617277" y="1649819"/>
                  <a:pt x="6621689" y="1649819"/>
                  <a:pt x="6621689" y="1649819"/>
                </a:cubicBezTo>
                <a:cubicBezTo>
                  <a:pt x="6626106" y="1654232"/>
                  <a:pt x="6626106" y="1654232"/>
                  <a:pt x="6626106" y="1654232"/>
                </a:cubicBezTo>
                <a:cubicBezTo>
                  <a:pt x="6639346" y="1663059"/>
                  <a:pt x="6639346" y="1663059"/>
                  <a:pt x="6639346" y="1663059"/>
                </a:cubicBezTo>
                <a:cubicBezTo>
                  <a:pt x="6639347" y="1658646"/>
                  <a:pt x="6643759" y="1663059"/>
                  <a:pt x="6648172" y="1663058"/>
                </a:cubicBezTo>
                <a:cubicBezTo>
                  <a:pt x="6639347" y="1654232"/>
                  <a:pt x="6639347" y="1658646"/>
                  <a:pt x="6630516" y="1654232"/>
                </a:cubicBezTo>
                <a:cubicBezTo>
                  <a:pt x="6630516" y="1654232"/>
                  <a:pt x="6630516" y="1649818"/>
                  <a:pt x="6630516" y="1649818"/>
                </a:cubicBezTo>
                <a:cubicBezTo>
                  <a:pt x="6630516" y="1649818"/>
                  <a:pt x="6630516" y="1649818"/>
                  <a:pt x="6634931" y="1649819"/>
                </a:cubicBezTo>
                <a:cubicBezTo>
                  <a:pt x="6634931" y="1645405"/>
                  <a:pt x="6630516" y="1645405"/>
                  <a:pt x="6630516" y="1645405"/>
                </a:cubicBezTo>
                <a:cubicBezTo>
                  <a:pt x="6630516" y="1645405"/>
                  <a:pt x="6626106" y="1645405"/>
                  <a:pt x="6626106" y="1645405"/>
                </a:cubicBezTo>
                <a:cubicBezTo>
                  <a:pt x="6621689" y="1640992"/>
                  <a:pt x="6621689" y="1640992"/>
                  <a:pt x="6621689" y="1640992"/>
                </a:cubicBezTo>
                <a:cubicBezTo>
                  <a:pt x="6617277" y="1636580"/>
                  <a:pt x="6604038" y="1636580"/>
                  <a:pt x="6608454" y="1632165"/>
                </a:cubicBezTo>
                <a:cubicBezTo>
                  <a:pt x="6604038" y="1623339"/>
                  <a:pt x="6604038" y="1636580"/>
                  <a:pt x="6599624" y="1632165"/>
                </a:cubicBezTo>
                <a:cubicBezTo>
                  <a:pt x="6595215" y="1627752"/>
                  <a:pt x="6599624" y="1627752"/>
                  <a:pt x="6599624" y="1623339"/>
                </a:cubicBezTo>
                <a:cubicBezTo>
                  <a:pt x="6590799" y="1618926"/>
                  <a:pt x="6568731" y="1610098"/>
                  <a:pt x="6568731" y="1610098"/>
                </a:cubicBezTo>
                <a:cubicBezTo>
                  <a:pt x="6551080" y="1601271"/>
                  <a:pt x="6524602" y="1579205"/>
                  <a:pt x="6515773" y="1574792"/>
                </a:cubicBezTo>
                <a:cubicBezTo>
                  <a:pt x="6511362" y="1570379"/>
                  <a:pt x="6515773" y="1574792"/>
                  <a:pt x="6515773" y="1579205"/>
                </a:cubicBezTo>
                <a:cubicBezTo>
                  <a:pt x="6515773" y="1574792"/>
                  <a:pt x="6506947" y="1570379"/>
                  <a:pt x="6506947" y="1570379"/>
                </a:cubicBezTo>
                <a:cubicBezTo>
                  <a:pt x="6506947" y="1570379"/>
                  <a:pt x="6498119" y="1570379"/>
                  <a:pt x="6498119" y="1570379"/>
                </a:cubicBezTo>
                <a:cubicBezTo>
                  <a:pt x="6493708" y="1565965"/>
                  <a:pt x="6502532" y="1565964"/>
                  <a:pt x="6498119" y="1565965"/>
                </a:cubicBezTo>
                <a:cubicBezTo>
                  <a:pt x="6493708" y="1557139"/>
                  <a:pt x="6484877" y="1565965"/>
                  <a:pt x="6489293" y="1557139"/>
                </a:cubicBezTo>
                <a:cubicBezTo>
                  <a:pt x="6471640" y="1552725"/>
                  <a:pt x="6436335" y="1539485"/>
                  <a:pt x="6427507" y="1526246"/>
                </a:cubicBezTo>
                <a:cubicBezTo>
                  <a:pt x="6431922" y="1526246"/>
                  <a:pt x="6431921" y="1530658"/>
                  <a:pt x="6427507" y="1535072"/>
                </a:cubicBezTo>
                <a:cubicBezTo>
                  <a:pt x="6396616" y="1513005"/>
                  <a:pt x="6348069" y="1486524"/>
                  <a:pt x="6330415" y="1482112"/>
                </a:cubicBezTo>
                <a:cubicBezTo>
                  <a:pt x="6321590" y="1477698"/>
                  <a:pt x="6273042" y="1442392"/>
                  <a:pt x="6250975" y="1442392"/>
                </a:cubicBezTo>
                <a:cubicBezTo>
                  <a:pt x="6242148" y="1437979"/>
                  <a:pt x="6250975" y="1442392"/>
                  <a:pt x="6250977" y="1437977"/>
                </a:cubicBezTo>
                <a:cubicBezTo>
                  <a:pt x="6237737" y="1437977"/>
                  <a:pt x="6211254" y="1420325"/>
                  <a:pt x="6198016" y="1411498"/>
                </a:cubicBezTo>
                <a:cubicBezTo>
                  <a:pt x="6198016" y="1411498"/>
                  <a:pt x="6206844" y="1415912"/>
                  <a:pt x="6211253" y="1411498"/>
                </a:cubicBezTo>
                <a:cubicBezTo>
                  <a:pt x="6180364" y="1402671"/>
                  <a:pt x="6189189" y="1407085"/>
                  <a:pt x="6193603" y="1415913"/>
                </a:cubicBezTo>
                <a:cubicBezTo>
                  <a:pt x="6158297" y="1398259"/>
                  <a:pt x="6153884" y="1398259"/>
                  <a:pt x="6136229" y="1380605"/>
                </a:cubicBezTo>
                <a:cubicBezTo>
                  <a:pt x="6136229" y="1380605"/>
                  <a:pt x="6131816" y="1376192"/>
                  <a:pt x="6131816" y="1376192"/>
                </a:cubicBezTo>
                <a:cubicBezTo>
                  <a:pt x="6131816" y="1376192"/>
                  <a:pt x="6131816" y="1376192"/>
                  <a:pt x="6127403" y="1376192"/>
                </a:cubicBezTo>
                <a:cubicBezTo>
                  <a:pt x="6127403" y="1376192"/>
                  <a:pt x="6127403" y="1380604"/>
                  <a:pt x="6127403" y="1380604"/>
                </a:cubicBezTo>
                <a:cubicBezTo>
                  <a:pt x="6127403" y="1380604"/>
                  <a:pt x="6122989" y="1380605"/>
                  <a:pt x="6118577" y="1376192"/>
                </a:cubicBezTo>
                <a:cubicBezTo>
                  <a:pt x="6118577" y="1376192"/>
                  <a:pt x="6118577" y="1376192"/>
                  <a:pt x="6122990" y="1376191"/>
                </a:cubicBezTo>
                <a:cubicBezTo>
                  <a:pt x="6122990" y="1376191"/>
                  <a:pt x="6122990" y="1376191"/>
                  <a:pt x="6122990" y="1371777"/>
                </a:cubicBezTo>
                <a:cubicBezTo>
                  <a:pt x="6118577" y="1371777"/>
                  <a:pt x="6118577" y="1371777"/>
                  <a:pt x="6114162" y="1371777"/>
                </a:cubicBezTo>
                <a:cubicBezTo>
                  <a:pt x="6109748" y="1367364"/>
                  <a:pt x="6109748" y="1367364"/>
                  <a:pt x="6109748" y="1367364"/>
                </a:cubicBezTo>
                <a:cubicBezTo>
                  <a:pt x="6105338" y="1362952"/>
                  <a:pt x="6083269" y="1354125"/>
                  <a:pt x="6096509" y="1367364"/>
                </a:cubicBezTo>
                <a:cubicBezTo>
                  <a:pt x="6092098" y="1362952"/>
                  <a:pt x="6092098" y="1362952"/>
                  <a:pt x="6087683" y="1362951"/>
                </a:cubicBezTo>
                <a:cubicBezTo>
                  <a:pt x="6087683" y="1362951"/>
                  <a:pt x="6087683" y="1367365"/>
                  <a:pt x="6092098" y="1367364"/>
                </a:cubicBezTo>
                <a:cubicBezTo>
                  <a:pt x="6092098" y="1367364"/>
                  <a:pt x="6092098" y="1371777"/>
                  <a:pt x="6096508" y="1371777"/>
                </a:cubicBezTo>
                <a:cubicBezTo>
                  <a:pt x="6092098" y="1371777"/>
                  <a:pt x="6087683" y="1371777"/>
                  <a:pt x="6087683" y="1371777"/>
                </a:cubicBezTo>
                <a:cubicBezTo>
                  <a:pt x="6083269" y="1367365"/>
                  <a:pt x="6074443" y="1362952"/>
                  <a:pt x="6061203" y="1358538"/>
                </a:cubicBezTo>
                <a:cubicBezTo>
                  <a:pt x="6043550" y="1349712"/>
                  <a:pt x="6025896" y="1340884"/>
                  <a:pt x="6012656" y="1336472"/>
                </a:cubicBezTo>
                <a:cubicBezTo>
                  <a:pt x="6008241" y="1336472"/>
                  <a:pt x="6008244" y="1332058"/>
                  <a:pt x="6008244" y="1332058"/>
                </a:cubicBezTo>
                <a:cubicBezTo>
                  <a:pt x="6008244" y="1332058"/>
                  <a:pt x="6003831" y="1332058"/>
                  <a:pt x="6003831" y="1332058"/>
                </a:cubicBezTo>
                <a:cubicBezTo>
                  <a:pt x="5995002" y="1332058"/>
                  <a:pt x="5986176" y="1327644"/>
                  <a:pt x="5981763" y="1323231"/>
                </a:cubicBezTo>
                <a:cubicBezTo>
                  <a:pt x="5977350" y="1323231"/>
                  <a:pt x="5968523" y="1318819"/>
                  <a:pt x="5964112" y="1318819"/>
                </a:cubicBezTo>
                <a:cubicBezTo>
                  <a:pt x="5955283" y="1314404"/>
                  <a:pt x="5942044" y="1305577"/>
                  <a:pt x="5933218" y="1301165"/>
                </a:cubicBezTo>
                <a:cubicBezTo>
                  <a:pt x="5933218" y="1296751"/>
                  <a:pt x="5933218" y="1296751"/>
                  <a:pt x="5933218" y="1296751"/>
                </a:cubicBezTo>
                <a:cubicBezTo>
                  <a:pt x="5928803" y="1296752"/>
                  <a:pt x="5928803" y="1296752"/>
                  <a:pt x="5924391" y="1296752"/>
                </a:cubicBezTo>
                <a:cubicBezTo>
                  <a:pt x="5919978" y="1292337"/>
                  <a:pt x="5919979" y="1296752"/>
                  <a:pt x="5919979" y="1296752"/>
                </a:cubicBezTo>
                <a:cubicBezTo>
                  <a:pt x="5924391" y="1301164"/>
                  <a:pt x="5924391" y="1301164"/>
                  <a:pt x="5924391" y="1301164"/>
                </a:cubicBezTo>
                <a:cubicBezTo>
                  <a:pt x="5915563" y="1296752"/>
                  <a:pt x="5902324" y="1283510"/>
                  <a:pt x="5893498" y="1287925"/>
                </a:cubicBezTo>
                <a:cubicBezTo>
                  <a:pt x="5893498" y="1283512"/>
                  <a:pt x="5893498" y="1283512"/>
                  <a:pt x="5889084" y="1283512"/>
                </a:cubicBezTo>
                <a:cubicBezTo>
                  <a:pt x="5884670" y="1279098"/>
                  <a:pt x="5884670" y="1283510"/>
                  <a:pt x="5884670" y="1283510"/>
                </a:cubicBezTo>
                <a:cubicBezTo>
                  <a:pt x="5871431" y="1274684"/>
                  <a:pt x="5858191" y="1283512"/>
                  <a:pt x="5853777" y="1274685"/>
                </a:cubicBezTo>
                <a:cubicBezTo>
                  <a:pt x="5858191" y="1274685"/>
                  <a:pt x="5858191" y="1274685"/>
                  <a:pt x="5858191" y="1274685"/>
                </a:cubicBezTo>
                <a:cubicBezTo>
                  <a:pt x="5867017" y="1279098"/>
                  <a:pt x="5871431" y="1279098"/>
                  <a:pt x="5871431" y="1274684"/>
                </a:cubicBezTo>
                <a:cubicBezTo>
                  <a:pt x="5871431" y="1274684"/>
                  <a:pt x="5867017" y="1270270"/>
                  <a:pt x="5862604" y="1270271"/>
                </a:cubicBezTo>
                <a:cubicBezTo>
                  <a:pt x="5858191" y="1265858"/>
                  <a:pt x="5858191" y="1265858"/>
                  <a:pt x="5858191" y="1265858"/>
                </a:cubicBezTo>
                <a:cubicBezTo>
                  <a:pt x="5858191" y="1257032"/>
                  <a:pt x="5871431" y="1261445"/>
                  <a:pt x="5875845" y="1270271"/>
                </a:cubicBezTo>
                <a:cubicBezTo>
                  <a:pt x="5871431" y="1261445"/>
                  <a:pt x="5893498" y="1265858"/>
                  <a:pt x="5880257" y="1261445"/>
                </a:cubicBezTo>
                <a:cubicBezTo>
                  <a:pt x="5871431" y="1270271"/>
                  <a:pt x="5867017" y="1243791"/>
                  <a:pt x="5849364" y="1248204"/>
                </a:cubicBezTo>
                <a:cubicBezTo>
                  <a:pt x="5844951" y="1243791"/>
                  <a:pt x="5844951" y="1243791"/>
                  <a:pt x="5844951" y="1243791"/>
                </a:cubicBezTo>
                <a:cubicBezTo>
                  <a:pt x="5844951" y="1243791"/>
                  <a:pt x="5840538" y="1243791"/>
                  <a:pt x="5840538" y="1243791"/>
                </a:cubicBezTo>
                <a:cubicBezTo>
                  <a:pt x="5836125" y="1239379"/>
                  <a:pt x="5836125" y="1243791"/>
                  <a:pt x="5836125" y="1243791"/>
                </a:cubicBezTo>
                <a:cubicBezTo>
                  <a:pt x="5840538" y="1243791"/>
                  <a:pt x="5840538" y="1248204"/>
                  <a:pt x="5840538" y="1248204"/>
                </a:cubicBezTo>
                <a:cubicBezTo>
                  <a:pt x="5836125" y="1248204"/>
                  <a:pt x="5827298" y="1243791"/>
                  <a:pt x="5827298" y="1248204"/>
                </a:cubicBezTo>
                <a:cubicBezTo>
                  <a:pt x="5831713" y="1252618"/>
                  <a:pt x="5822884" y="1248204"/>
                  <a:pt x="5822882" y="1252618"/>
                </a:cubicBezTo>
                <a:cubicBezTo>
                  <a:pt x="5831713" y="1257031"/>
                  <a:pt x="5836125" y="1257032"/>
                  <a:pt x="5844951" y="1261445"/>
                </a:cubicBezTo>
                <a:cubicBezTo>
                  <a:pt x="5840538" y="1261445"/>
                  <a:pt x="5840538" y="1261445"/>
                  <a:pt x="5840538" y="1261445"/>
                </a:cubicBezTo>
                <a:cubicBezTo>
                  <a:pt x="5836125" y="1261445"/>
                  <a:pt x="5831711" y="1261445"/>
                  <a:pt x="5831713" y="1265858"/>
                </a:cubicBezTo>
                <a:lnTo>
                  <a:pt x="5839320" y="1269662"/>
                </a:lnTo>
                <a:lnTo>
                  <a:pt x="5831160" y="1269168"/>
                </a:lnTo>
                <a:cubicBezTo>
                  <a:pt x="5825091" y="1266961"/>
                  <a:pt x="5818471" y="1263651"/>
                  <a:pt x="5809645" y="1261445"/>
                </a:cubicBezTo>
                <a:cubicBezTo>
                  <a:pt x="5836125" y="1279098"/>
                  <a:pt x="5805232" y="1265858"/>
                  <a:pt x="5796403" y="1274685"/>
                </a:cubicBezTo>
                <a:cubicBezTo>
                  <a:pt x="5791991" y="1270271"/>
                  <a:pt x="5800818" y="1270270"/>
                  <a:pt x="5800818" y="1270270"/>
                </a:cubicBezTo>
                <a:cubicBezTo>
                  <a:pt x="5800818" y="1265858"/>
                  <a:pt x="5800818" y="1265858"/>
                  <a:pt x="5800818" y="1265858"/>
                </a:cubicBezTo>
                <a:cubicBezTo>
                  <a:pt x="5805232" y="1265858"/>
                  <a:pt x="5805232" y="1265858"/>
                  <a:pt x="5800818" y="1261445"/>
                </a:cubicBezTo>
                <a:cubicBezTo>
                  <a:pt x="5800818" y="1261445"/>
                  <a:pt x="5796403" y="1261445"/>
                  <a:pt x="5791991" y="1261443"/>
                </a:cubicBezTo>
                <a:cubicBezTo>
                  <a:pt x="5787579" y="1261443"/>
                  <a:pt x="5787579" y="1261443"/>
                  <a:pt x="5787579" y="1261443"/>
                </a:cubicBezTo>
                <a:cubicBezTo>
                  <a:pt x="5783164" y="1257031"/>
                  <a:pt x="5787579" y="1252618"/>
                  <a:pt x="5778750" y="1252618"/>
                </a:cubicBezTo>
                <a:cubicBezTo>
                  <a:pt x="5783165" y="1252618"/>
                  <a:pt x="5783165" y="1252618"/>
                  <a:pt x="5787579" y="1252618"/>
                </a:cubicBezTo>
                <a:cubicBezTo>
                  <a:pt x="5791991" y="1252618"/>
                  <a:pt x="5791989" y="1248203"/>
                  <a:pt x="5787579" y="1248203"/>
                </a:cubicBezTo>
                <a:cubicBezTo>
                  <a:pt x="5787579" y="1243791"/>
                  <a:pt x="5783164" y="1243790"/>
                  <a:pt x="5778750" y="1243791"/>
                </a:cubicBezTo>
                <a:cubicBezTo>
                  <a:pt x="5774339" y="1243791"/>
                  <a:pt x="5774339" y="1243791"/>
                  <a:pt x="5769923" y="1243791"/>
                </a:cubicBezTo>
                <a:cubicBezTo>
                  <a:pt x="5761100" y="1243791"/>
                  <a:pt x="5752269" y="1248204"/>
                  <a:pt x="5761100" y="1252617"/>
                </a:cubicBezTo>
                <a:cubicBezTo>
                  <a:pt x="5756685" y="1252618"/>
                  <a:pt x="5756685" y="1252618"/>
                  <a:pt x="5756685" y="1257032"/>
                </a:cubicBezTo>
                <a:cubicBezTo>
                  <a:pt x="5756685" y="1257032"/>
                  <a:pt x="5756685" y="1257032"/>
                  <a:pt x="5761100" y="1261445"/>
                </a:cubicBezTo>
                <a:cubicBezTo>
                  <a:pt x="5756684" y="1261443"/>
                  <a:pt x="5747859" y="1257031"/>
                  <a:pt x="5739030" y="1257032"/>
                </a:cubicBezTo>
                <a:cubicBezTo>
                  <a:pt x="5747859" y="1257031"/>
                  <a:pt x="5756684" y="1261443"/>
                  <a:pt x="5752271" y="1257032"/>
                </a:cubicBezTo>
                <a:cubicBezTo>
                  <a:pt x="5747859" y="1248204"/>
                  <a:pt x="5739030" y="1257032"/>
                  <a:pt x="5734619" y="1248204"/>
                </a:cubicBezTo>
                <a:cubicBezTo>
                  <a:pt x="5734616" y="1243790"/>
                  <a:pt x="5734616" y="1243790"/>
                  <a:pt x="5734616" y="1243790"/>
                </a:cubicBezTo>
                <a:cubicBezTo>
                  <a:pt x="5734616" y="1243790"/>
                  <a:pt x="5734616" y="1243790"/>
                  <a:pt x="5730206" y="1243791"/>
                </a:cubicBezTo>
                <a:cubicBezTo>
                  <a:pt x="5730206" y="1243791"/>
                  <a:pt x="5730206" y="1243791"/>
                  <a:pt x="5725793" y="1243791"/>
                </a:cubicBezTo>
                <a:cubicBezTo>
                  <a:pt x="5725793" y="1248204"/>
                  <a:pt x="5725793" y="1248204"/>
                  <a:pt x="5725793" y="1248204"/>
                </a:cubicBezTo>
                <a:cubicBezTo>
                  <a:pt x="5721376" y="1243791"/>
                  <a:pt x="5721376" y="1243791"/>
                  <a:pt x="5716966" y="1239379"/>
                </a:cubicBezTo>
                <a:cubicBezTo>
                  <a:pt x="5708137" y="1243791"/>
                  <a:pt x="5699311" y="1239379"/>
                  <a:pt x="5690487" y="1239379"/>
                </a:cubicBezTo>
                <a:cubicBezTo>
                  <a:pt x="5694898" y="1239377"/>
                  <a:pt x="5699311" y="1239379"/>
                  <a:pt x="5699311" y="1239379"/>
                </a:cubicBezTo>
                <a:cubicBezTo>
                  <a:pt x="5681658" y="1234965"/>
                  <a:pt x="5686072" y="1239379"/>
                  <a:pt x="5672833" y="1230551"/>
                </a:cubicBezTo>
                <a:cubicBezTo>
                  <a:pt x="5677245" y="1230551"/>
                  <a:pt x="5677245" y="1226137"/>
                  <a:pt x="5677245" y="1226137"/>
                </a:cubicBezTo>
                <a:cubicBezTo>
                  <a:pt x="5677245" y="1226137"/>
                  <a:pt x="5672832" y="1226137"/>
                  <a:pt x="5672832" y="1226137"/>
                </a:cubicBezTo>
                <a:cubicBezTo>
                  <a:pt x="5672833" y="1221725"/>
                  <a:pt x="5672833" y="1221725"/>
                  <a:pt x="5672833" y="1221725"/>
                </a:cubicBezTo>
                <a:cubicBezTo>
                  <a:pt x="5699311" y="1230551"/>
                  <a:pt x="5677245" y="1221725"/>
                  <a:pt x="5677245" y="1217312"/>
                </a:cubicBezTo>
                <a:cubicBezTo>
                  <a:pt x="5690487" y="1221725"/>
                  <a:pt x="5703727" y="1226137"/>
                  <a:pt x="5716966" y="1226137"/>
                </a:cubicBezTo>
                <a:cubicBezTo>
                  <a:pt x="5716966" y="1230551"/>
                  <a:pt x="5716966" y="1230551"/>
                  <a:pt x="5716966" y="1230551"/>
                </a:cubicBezTo>
                <a:cubicBezTo>
                  <a:pt x="5725791" y="1234965"/>
                  <a:pt x="5730206" y="1234965"/>
                  <a:pt x="5734619" y="1234965"/>
                </a:cubicBezTo>
                <a:cubicBezTo>
                  <a:pt x="5725793" y="1230551"/>
                  <a:pt x="5721380" y="1230551"/>
                  <a:pt x="5721376" y="1226137"/>
                </a:cubicBezTo>
                <a:cubicBezTo>
                  <a:pt x="5734619" y="1230551"/>
                  <a:pt x="5734616" y="1226137"/>
                  <a:pt x="5743445" y="1230551"/>
                </a:cubicBezTo>
                <a:cubicBezTo>
                  <a:pt x="5743445" y="1230551"/>
                  <a:pt x="5747859" y="1230551"/>
                  <a:pt x="5747859" y="1234965"/>
                </a:cubicBezTo>
                <a:cubicBezTo>
                  <a:pt x="5752269" y="1234965"/>
                  <a:pt x="5752269" y="1234965"/>
                  <a:pt x="5752269" y="1234965"/>
                </a:cubicBezTo>
                <a:cubicBezTo>
                  <a:pt x="5756685" y="1234965"/>
                  <a:pt x="5761100" y="1234965"/>
                  <a:pt x="5756684" y="1230551"/>
                </a:cubicBezTo>
                <a:cubicBezTo>
                  <a:pt x="5752271" y="1226137"/>
                  <a:pt x="5752271" y="1226137"/>
                  <a:pt x="5752271" y="1226137"/>
                </a:cubicBezTo>
                <a:cubicBezTo>
                  <a:pt x="5752271" y="1221726"/>
                  <a:pt x="5747859" y="1221725"/>
                  <a:pt x="5743445" y="1221725"/>
                </a:cubicBezTo>
                <a:cubicBezTo>
                  <a:pt x="5739030" y="1221725"/>
                  <a:pt x="5739030" y="1221725"/>
                  <a:pt x="5739030" y="1221725"/>
                </a:cubicBezTo>
                <a:cubicBezTo>
                  <a:pt x="5739030" y="1226137"/>
                  <a:pt x="5739030" y="1226137"/>
                  <a:pt x="5739030" y="1226137"/>
                </a:cubicBezTo>
                <a:cubicBezTo>
                  <a:pt x="5725793" y="1226137"/>
                  <a:pt x="5694897" y="1212897"/>
                  <a:pt x="5677245" y="1212897"/>
                </a:cubicBezTo>
                <a:cubicBezTo>
                  <a:pt x="5672832" y="1208485"/>
                  <a:pt x="5672832" y="1208485"/>
                  <a:pt x="5672832" y="1208485"/>
                </a:cubicBezTo>
                <a:cubicBezTo>
                  <a:pt x="5672832" y="1208485"/>
                  <a:pt x="5672832" y="1208485"/>
                  <a:pt x="5668419" y="1208486"/>
                </a:cubicBezTo>
                <a:cubicBezTo>
                  <a:pt x="5668419" y="1208486"/>
                  <a:pt x="5664006" y="1208485"/>
                  <a:pt x="5664006" y="1208485"/>
                </a:cubicBezTo>
                <a:cubicBezTo>
                  <a:pt x="5655178" y="1208485"/>
                  <a:pt x="5641938" y="1204071"/>
                  <a:pt x="5637526" y="1199658"/>
                </a:cubicBezTo>
                <a:cubicBezTo>
                  <a:pt x="5637524" y="1204071"/>
                  <a:pt x="5637524" y="1204071"/>
                  <a:pt x="5637524" y="1204071"/>
                </a:cubicBezTo>
                <a:cubicBezTo>
                  <a:pt x="5633113" y="1199658"/>
                  <a:pt x="5633113" y="1199658"/>
                  <a:pt x="5633113" y="1199658"/>
                </a:cubicBezTo>
                <a:cubicBezTo>
                  <a:pt x="5633113" y="1199658"/>
                  <a:pt x="5628699" y="1195245"/>
                  <a:pt x="5624284" y="1195245"/>
                </a:cubicBezTo>
                <a:cubicBezTo>
                  <a:pt x="5624284" y="1195245"/>
                  <a:pt x="5619871" y="1195245"/>
                  <a:pt x="5619871" y="1199658"/>
                </a:cubicBezTo>
                <a:cubicBezTo>
                  <a:pt x="5575740" y="1195245"/>
                  <a:pt x="5553672" y="1182004"/>
                  <a:pt x="5522778" y="1186418"/>
                </a:cubicBezTo>
                <a:cubicBezTo>
                  <a:pt x="5522778" y="1182004"/>
                  <a:pt x="5518366" y="1182004"/>
                  <a:pt x="5513954" y="1182004"/>
                </a:cubicBezTo>
                <a:cubicBezTo>
                  <a:pt x="5513954" y="1182004"/>
                  <a:pt x="5509539" y="1182004"/>
                  <a:pt x="5509539" y="1182004"/>
                </a:cubicBezTo>
                <a:cubicBezTo>
                  <a:pt x="5509539" y="1186418"/>
                  <a:pt x="5509539" y="1186418"/>
                  <a:pt x="5509539" y="1186418"/>
                </a:cubicBezTo>
                <a:cubicBezTo>
                  <a:pt x="5505127" y="1177592"/>
                  <a:pt x="5491886" y="1177592"/>
                  <a:pt x="5483059" y="1177592"/>
                </a:cubicBezTo>
                <a:cubicBezTo>
                  <a:pt x="5483059" y="1177592"/>
                  <a:pt x="5478645" y="1177592"/>
                  <a:pt x="5478645" y="1177592"/>
                </a:cubicBezTo>
                <a:cubicBezTo>
                  <a:pt x="5474234" y="1173177"/>
                  <a:pt x="5474234" y="1173177"/>
                  <a:pt x="5469821" y="1177592"/>
                </a:cubicBezTo>
                <a:cubicBezTo>
                  <a:pt x="5465407" y="1177592"/>
                  <a:pt x="5465407" y="1177592"/>
                  <a:pt x="5465407" y="1177592"/>
                </a:cubicBezTo>
                <a:cubicBezTo>
                  <a:pt x="5465407" y="1177592"/>
                  <a:pt x="5465405" y="1173177"/>
                  <a:pt x="5460994" y="1173177"/>
                </a:cubicBezTo>
                <a:cubicBezTo>
                  <a:pt x="5460994" y="1173177"/>
                  <a:pt x="5460994" y="1173177"/>
                  <a:pt x="5456580" y="1173179"/>
                </a:cubicBezTo>
                <a:cubicBezTo>
                  <a:pt x="5447751" y="1177592"/>
                  <a:pt x="5430102" y="1164351"/>
                  <a:pt x="5430102" y="1173177"/>
                </a:cubicBezTo>
                <a:cubicBezTo>
                  <a:pt x="5430102" y="1173177"/>
                  <a:pt x="5430102" y="1173177"/>
                  <a:pt x="5425686" y="1173177"/>
                </a:cubicBezTo>
                <a:cubicBezTo>
                  <a:pt x="5421273" y="1173177"/>
                  <a:pt x="5416862" y="1173177"/>
                  <a:pt x="5416862" y="1173177"/>
                </a:cubicBezTo>
                <a:cubicBezTo>
                  <a:pt x="5416862" y="1173177"/>
                  <a:pt x="5412447" y="1173177"/>
                  <a:pt x="5412447" y="1173177"/>
                </a:cubicBezTo>
                <a:cubicBezTo>
                  <a:pt x="5408031" y="1164351"/>
                  <a:pt x="5390378" y="1173177"/>
                  <a:pt x="5381553" y="1173177"/>
                </a:cubicBezTo>
                <a:cubicBezTo>
                  <a:pt x="5368313" y="1173177"/>
                  <a:pt x="5377139" y="1164351"/>
                  <a:pt x="5363899" y="1164352"/>
                </a:cubicBezTo>
                <a:cubicBezTo>
                  <a:pt x="5363899" y="1164352"/>
                  <a:pt x="5359487" y="1164351"/>
                  <a:pt x="5359489" y="1159938"/>
                </a:cubicBezTo>
                <a:cubicBezTo>
                  <a:pt x="5359489" y="1159938"/>
                  <a:pt x="5355074" y="1159938"/>
                  <a:pt x="5355074" y="1159938"/>
                </a:cubicBezTo>
                <a:cubicBezTo>
                  <a:pt x="5350658" y="1159938"/>
                  <a:pt x="5350658" y="1159938"/>
                  <a:pt x="5355074" y="1164351"/>
                </a:cubicBezTo>
                <a:cubicBezTo>
                  <a:pt x="5355074" y="1164351"/>
                  <a:pt x="5355074" y="1164351"/>
                  <a:pt x="5359487" y="1164351"/>
                </a:cubicBezTo>
                <a:cubicBezTo>
                  <a:pt x="5350660" y="1168764"/>
                  <a:pt x="5341835" y="1164351"/>
                  <a:pt x="5341835" y="1168764"/>
                </a:cubicBezTo>
                <a:cubicBezTo>
                  <a:pt x="5328594" y="1164352"/>
                  <a:pt x="5341835" y="1164351"/>
                  <a:pt x="5341835" y="1159938"/>
                </a:cubicBezTo>
                <a:lnTo>
                  <a:pt x="5345978" y="1155793"/>
                </a:lnTo>
                <a:lnTo>
                  <a:pt x="5370589" y="1157387"/>
                </a:lnTo>
                <a:cubicBezTo>
                  <a:pt x="5395622" y="1158008"/>
                  <a:pt x="5411342" y="1155525"/>
                  <a:pt x="5434512" y="1155525"/>
                </a:cubicBezTo>
                <a:cubicBezTo>
                  <a:pt x="5434512" y="1155525"/>
                  <a:pt x="5434512" y="1159938"/>
                  <a:pt x="5438926" y="1159939"/>
                </a:cubicBezTo>
                <a:cubicBezTo>
                  <a:pt x="5438926" y="1159939"/>
                  <a:pt x="5443341" y="1159938"/>
                  <a:pt x="5443341" y="1159938"/>
                </a:cubicBezTo>
                <a:cubicBezTo>
                  <a:pt x="5456580" y="1159938"/>
                  <a:pt x="5460991" y="1159938"/>
                  <a:pt x="5465405" y="1155525"/>
                </a:cubicBezTo>
                <a:cubicBezTo>
                  <a:pt x="5447752" y="1155525"/>
                  <a:pt x="5447752" y="1155525"/>
                  <a:pt x="5447752" y="1155525"/>
                </a:cubicBezTo>
                <a:cubicBezTo>
                  <a:pt x="5447752" y="1155525"/>
                  <a:pt x="5452165" y="1155525"/>
                  <a:pt x="5452166" y="1151110"/>
                </a:cubicBezTo>
                <a:cubicBezTo>
                  <a:pt x="5452166" y="1151110"/>
                  <a:pt x="5447752" y="1151110"/>
                  <a:pt x="5447752" y="1151110"/>
                </a:cubicBezTo>
                <a:cubicBezTo>
                  <a:pt x="5443339" y="1151110"/>
                  <a:pt x="5443339" y="1151110"/>
                  <a:pt x="5443339" y="1151110"/>
                </a:cubicBezTo>
                <a:cubicBezTo>
                  <a:pt x="5438926" y="1151110"/>
                  <a:pt x="5438926" y="1151110"/>
                  <a:pt x="5438926" y="1151110"/>
                </a:cubicBezTo>
                <a:cubicBezTo>
                  <a:pt x="5430102" y="1142286"/>
                  <a:pt x="5425686" y="1133457"/>
                  <a:pt x="5394794" y="1129045"/>
                </a:cubicBezTo>
                <a:cubicBezTo>
                  <a:pt x="5372726" y="1111391"/>
                  <a:pt x="5328594" y="1098151"/>
                  <a:pt x="5297701" y="1089325"/>
                </a:cubicBezTo>
                <a:cubicBezTo>
                  <a:pt x="5293288" y="1089325"/>
                  <a:pt x="5293288" y="1084912"/>
                  <a:pt x="5293288" y="1084912"/>
                </a:cubicBezTo>
                <a:cubicBezTo>
                  <a:pt x="5293288" y="1084912"/>
                  <a:pt x="5293288" y="1080498"/>
                  <a:pt x="5288875" y="1080498"/>
                </a:cubicBezTo>
                <a:cubicBezTo>
                  <a:pt x="5288875" y="1080498"/>
                  <a:pt x="5293288" y="1080498"/>
                  <a:pt x="5293288" y="1076085"/>
                </a:cubicBezTo>
                <a:cubicBezTo>
                  <a:pt x="5284461" y="1076085"/>
                  <a:pt x="5280046" y="1076085"/>
                  <a:pt x="5280046" y="1076085"/>
                </a:cubicBezTo>
                <a:cubicBezTo>
                  <a:pt x="5253568" y="1067257"/>
                  <a:pt x="5218261" y="1062845"/>
                  <a:pt x="5196195" y="1058431"/>
                </a:cubicBezTo>
                <a:cubicBezTo>
                  <a:pt x="5191780" y="1054018"/>
                  <a:pt x="5200609" y="1054018"/>
                  <a:pt x="5205019" y="1054018"/>
                </a:cubicBezTo>
                <a:cubicBezTo>
                  <a:pt x="5191780" y="1049604"/>
                  <a:pt x="5138821" y="1040777"/>
                  <a:pt x="5152061" y="1027537"/>
                </a:cubicBezTo>
                <a:cubicBezTo>
                  <a:pt x="5160887" y="1027537"/>
                  <a:pt x="5160887" y="1027537"/>
                  <a:pt x="5160887" y="1027537"/>
                </a:cubicBezTo>
                <a:cubicBezTo>
                  <a:pt x="5165300" y="1027537"/>
                  <a:pt x="5165300" y="1027537"/>
                  <a:pt x="5165300" y="1027537"/>
                </a:cubicBezTo>
                <a:cubicBezTo>
                  <a:pt x="5165300" y="1027537"/>
                  <a:pt x="5165301" y="1023125"/>
                  <a:pt x="5160887" y="1023126"/>
                </a:cubicBezTo>
                <a:cubicBezTo>
                  <a:pt x="5152061" y="1023125"/>
                  <a:pt x="5152061" y="1023125"/>
                  <a:pt x="5152061" y="1023125"/>
                </a:cubicBezTo>
                <a:cubicBezTo>
                  <a:pt x="5169714" y="1018713"/>
                  <a:pt x="5196195" y="1023125"/>
                  <a:pt x="5222673" y="1023125"/>
                </a:cubicBezTo>
                <a:cubicBezTo>
                  <a:pt x="5244741" y="1001058"/>
                  <a:pt x="5169714" y="983404"/>
                  <a:pt x="5107927" y="978991"/>
                </a:cubicBezTo>
                <a:cubicBezTo>
                  <a:pt x="5103513" y="974578"/>
                  <a:pt x="5107927" y="970163"/>
                  <a:pt x="5094688" y="961339"/>
                </a:cubicBezTo>
                <a:cubicBezTo>
                  <a:pt x="5107927" y="965751"/>
                  <a:pt x="5107927" y="961338"/>
                  <a:pt x="5107927" y="956925"/>
                </a:cubicBezTo>
                <a:cubicBezTo>
                  <a:pt x="5143235" y="956925"/>
                  <a:pt x="5178539" y="961338"/>
                  <a:pt x="5213849" y="961338"/>
                </a:cubicBezTo>
                <a:cubicBezTo>
                  <a:pt x="5235913" y="961338"/>
                  <a:pt x="5213849" y="952510"/>
                  <a:pt x="5231500" y="943684"/>
                </a:cubicBezTo>
                <a:cubicBezTo>
                  <a:pt x="5253567" y="948097"/>
                  <a:pt x="5262393" y="943684"/>
                  <a:pt x="5288875" y="948097"/>
                </a:cubicBezTo>
                <a:cubicBezTo>
                  <a:pt x="5288875" y="943684"/>
                  <a:pt x="5280046" y="939271"/>
                  <a:pt x="5262391" y="939270"/>
                </a:cubicBezTo>
                <a:cubicBezTo>
                  <a:pt x="5271222" y="939270"/>
                  <a:pt x="5280046" y="934857"/>
                  <a:pt x="5297699" y="939270"/>
                </a:cubicBezTo>
                <a:cubicBezTo>
                  <a:pt x="5288875" y="934857"/>
                  <a:pt x="5293286" y="930443"/>
                  <a:pt x="5280046" y="926031"/>
                </a:cubicBezTo>
                <a:cubicBezTo>
                  <a:pt x="5355074" y="934858"/>
                  <a:pt x="5430099" y="943684"/>
                  <a:pt x="5505125" y="956925"/>
                </a:cubicBezTo>
                <a:cubicBezTo>
                  <a:pt x="5513954" y="956925"/>
                  <a:pt x="5522778" y="956925"/>
                  <a:pt x="5527193" y="961338"/>
                </a:cubicBezTo>
                <a:cubicBezTo>
                  <a:pt x="6084373" y="1060637"/>
                  <a:pt x="6577765" y="1337506"/>
                  <a:pt x="6950266" y="1731604"/>
                </a:cubicBezTo>
                <a:lnTo>
                  <a:pt x="7005077" y="1797325"/>
                </a:lnTo>
                <a:lnTo>
                  <a:pt x="7035558" y="1754456"/>
                </a:lnTo>
                <a:lnTo>
                  <a:pt x="7040425" y="1748894"/>
                </a:lnTo>
                <a:lnTo>
                  <a:pt x="6944966" y="1643060"/>
                </a:lnTo>
                <a:cubicBezTo>
                  <a:pt x="6521290" y="1223931"/>
                  <a:pt x="5958596" y="952509"/>
                  <a:pt x="5346247" y="899551"/>
                </a:cubicBezTo>
                <a:cubicBezTo>
                  <a:pt x="5288875" y="895137"/>
                  <a:pt x="5235912" y="890724"/>
                  <a:pt x="5178541" y="890724"/>
                </a:cubicBezTo>
                <a:cubicBezTo>
                  <a:pt x="5178541" y="890724"/>
                  <a:pt x="5178541" y="886310"/>
                  <a:pt x="5174127" y="886310"/>
                </a:cubicBezTo>
                <a:cubicBezTo>
                  <a:pt x="5160887" y="886310"/>
                  <a:pt x="5160887" y="886310"/>
                  <a:pt x="5160887" y="886310"/>
                </a:cubicBezTo>
                <a:close/>
                <a:moveTo>
                  <a:pt x="3392143" y="884238"/>
                </a:moveTo>
                <a:cubicBezTo>
                  <a:pt x="3395095" y="884271"/>
                  <a:pt x="3397912" y="885008"/>
                  <a:pt x="3400193" y="888225"/>
                </a:cubicBezTo>
                <a:cubicBezTo>
                  <a:pt x="3400999" y="889297"/>
                  <a:pt x="3402608" y="890638"/>
                  <a:pt x="3404755" y="890638"/>
                </a:cubicBezTo>
                <a:cubicBezTo>
                  <a:pt x="3407708" y="890370"/>
                  <a:pt x="3409317" y="891978"/>
                  <a:pt x="3409854" y="894925"/>
                </a:cubicBezTo>
                <a:cubicBezTo>
                  <a:pt x="3410391" y="896802"/>
                  <a:pt x="3411733" y="897874"/>
                  <a:pt x="3413074" y="899214"/>
                </a:cubicBezTo>
                <a:cubicBezTo>
                  <a:pt x="3416563" y="902430"/>
                  <a:pt x="3418173" y="906182"/>
                  <a:pt x="3416832" y="911007"/>
                </a:cubicBezTo>
                <a:cubicBezTo>
                  <a:pt x="3416026" y="913687"/>
                  <a:pt x="3416832" y="916636"/>
                  <a:pt x="3419516" y="918244"/>
                </a:cubicBezTo>
                <a:cubicBezTo>
                  <a:pt x="3419516" y="919316"/>
                  <a:pt x="3419516" y="920388"/>
                  <a:pt x="3419516" y="921460"/>
                </a:cubicBezTo>
                <a:cubicBezTo>
                  <a:pt x="3417100" y="922801"/>
                  <a:pt x="3416026" y="924409"/>
                  <a:pt x="3416295" y="927893"/>
                </a:cubicBezTo>
                <a:cubicBezTo>
                  <a:pt x="3416563" y="932717"/>
                  <a:pt x="3414417" y="936469"/>
                  <a:pt x="3409049" y="937542"/>
                </a:cubicBezTo>
                <a:cubicBezTo>
                  <a:pt x="3406634" y="937810"/>
                  <a:pt x="3407171" y="939686"/>
                  <a:pt x="3407171" y="941294"/>
                </a:cubicBezTo>
                <a:cubicBezTo>
                  <a:pt x="3407171" y="943974"/>
                  <a:pt x="3406097" y="944510"/>
                  <a:pt x="3403950" y="942634"/>
                </a:cubicBezTo>
                <a:cubicBezTo>
                  <a:pt x="3400730" y="939955"/>
                  <a:pt x="3398582" y="939955"/>
                  <a:pt x="3397778" y="944510"/>
                </a:cubicBezTo>
                <a:cubicBezTo>
                  <a:pt x="3397509" y="945583"/>
                  <a:pt x="3396704" y="946923"/>
                  <a:pt x="3395631" y="945583"/>
                </a:cubicBezTo>
                <a:cubicBezTo>
                  <a:pt x="3392142" y="942098"/>
                  <a:pt x="3389726" y="944242"/>
                  <a:pt x="3387043" y="946655"/>
                </a:cubicBezTo>
                <a:cubicBezTo>
                  <a:pt x="3386774" y="947191"/>
                  <a:pt x="3385701" y="947191"/>
                  <a:pt x="3385164" y="947191"/>
                </a:cubicBezTo>
                <a:cubicBezTo>
                  <a:pt x="3378724" y="943439"/>
                  <a:pt x="3372551" y="939150"/>
                  <a:pt x="3366110" y="935130"/>
                </a:cubicBezTo>
                <a:cubicBezTo>
                  <a:pt x="3363158" y="933253"/>
                  <a:pt x="3361548" y="928161"/>
                  <a:pt x="3360205" y="924141"/>
                </a:cubicBezTo>
                <a:cubicBezTo>
                  <a:pt x="3359669" y="922533"/>
                  <a:pt x="3359938" y="920925"/>
                  <a:pt x="3358327" y="919584"/>
                </a:cubicBezTo>
                <a:cubicBezTo>
                  <a:pt x="3356717" y="918244"/>
                  <a:pt x="3356986" y="916636"/>
                  <a:pt x="3358059" y="915028"/>
                </a:cubicBezTo>
                <a:cubicBezTo>
                  <a:pt x="3358596" y="913955"/>
                  <a:pt x="3359669" y="912615"/>
                  <a:pt x="3358864" y="911544"/>
                </a:cubicBezTo>
                <a:cubicBezTo>
                  <a:pt x="3356180" y="908327"/>
                  <a:pt x="3355912" y="905914"/>
                  <a:pt x="3360205" y="904306"/>
                </a:cubicBezTo>
                <a:cubicBezTo>
                  <a:pt x="3361279" y="904038"/>
                  <a:pt x="3361548" y="902430"/>
                  <a:pt x="3360474" y="901627"/>
                </a:cubicBezTo>
                <a:cubicBezTo>
                  <a:pt x="3356986" y="898678"/>
                  <a:pt x="3360742" y="897338"/>
                  <a:pt x="3361279" y="895194"/>
                </a:cubicBezTo>
                <a:cubicBezTo>
                  <a:pt x="3363158" y="887957"/>
                  <a:pt x="3371478" y="890101"/>
                  <a:pt x="3374697" y="884741"/>
                </a:cubicBezTo>
                <a:cubicBezTo>
                  <a:pt x="3375771" y="882865"/>
                  <a:pt x="3380870" y="884205"/>
                  <a:pt x="3383286" y="884473"/>
                </a:cubicBezTo>
                <a:cubicBezTo>
                  <a:pt x="3386104" y="884875"/>
                  <a:pt x="3389191" y="884204"/>
                  <a:pt x="3392143" y="884238"/>
                </a:cubicBezTo>
                <a:close/>
                <a:moveTo>
                  <a:pt x="1910634" y="866913"/>
                </a:moveTo>
                <a:lnTo>
                  <a:pt x="1911132" y="867030"/>
                </a:lnTo>
                <a:lnTo>
                  <a:pt x="1910865" y="867297"/>
                </a:lnTo>
                <a:close/>
                <a:moveTo>
                  <a:pt x="9115444" y="772706"/>
                </a:moveTo>
                <a:cubicBezTo>
                  <a:pt x="8765545" y="781637"/>
                  <a:pt x="8412139" y="863970"/>
                  <a:pt x="8077569" y="1027604"/>
                </a:cubicBezTo>
                <a:cubicBezTo>
                  <a:pt x="7748856" y="1187974"/>
                  <a:pt x="7470848" y="1408041"/>
                  <a:pt x="7251775" y="1671704"/>
                </a:cubicBezTo>
                <a:lnTo>
                  <a:pt x="7205815" y="1733750"/>
                </a:lnTo>
                <a:lnTo>
                  <a:pt x="7242727" y="1783425"/>
                </a:lnTo>
                <a:lnTo>
                  <a:pt x="7382865" y="1612347"/>
                </a:lnTo>
                <a:cubicBezTo>
                  <a:pt x="7454809" y="1534884"/>
                  <a:pt x="7531886" y="1461591"/>
                  <a:pt x="7613795" y="1393033"/>
                </a:cubicBezTo>
                <a:cubicBezTo>
                  <a:pt x="7613795" y="1393033"/>
                  <a:pt x="7613795" y="1393033"/>
                  <a:pt x="7617848" y="1391717"/>
                </a:cubicBezTo>
                <a:cubicBezTo>
                  <a:pt x="7617848" y="1391717"/>
                  <a:pt x="7621901" y="1390403"/>
                  <a:pt x="7621901" y="1390403"/>
                </a:cubicBezTo>
                <a:cubicBezTo>
                  <a:pt x="7615109" y="1397084"/>
                  <a:pt x="7620475" y="1399822"/>
                  <a:pt x="7627267" y="1393140"/>
                </a:cubicBezTo>
                <a:cubicBezTo>
                  <a:pt x="7620475" y="1399822"/>
                  <a:pt x="7620475" y="1399822"/>
                  <a:pt x="7620475" y="1399822"/>
                </a:cubicBezTo>
                <a:cubicBezTo>
                  <a:pt x="7617737" y="1405191"/>
                  <a:pt x="7617737" y="1405191"/>
                  <a:pt x="7623104" y="1407929"/>
                </a:cubicBezTo>
                <a:cubicBezTo>
                  <a:pt x="7623104" y="1407929"/>
                  <a:pt x="7627157" y="1406615"/>
                  <a:pt x="7629895" y="1401247"/>
                </a:cubicBezTo>
                <a:cubicBezTo>
                  <a:pt x="7632633" y="1395880"/>
                  <a:pt x="7632633" y="1395880"/>
                  <a:pt x="7632633" y="1395880"/>
                </a:cubicBezTo>
                <a:cubicBezTo>
                  <a:pt x="7636688" y="1394565"/>
                  <a:pt x="7636688" y="1394565"/>
                  <a:pt x="7636688" y="1394565"/>
                </a:cubicBezTo>
                <a:cubicBezTo>
                  <a:pt x="7639315" y="1402671"/>
                  <a:pt x="7643370" y="1401356"/>
                  <a:pt x="7650160" y="1394674"/>
                </a:cubicBezTo>
                <a:cubicBezTo>
                  <a:pt x="7655640" y="1383939"/>
                  <a:pt x="7648846" y="1390622"/>
                  <a:pt x="7650272" y="1381201"/>
                </a:cubicBezTo>
                <a:cubicBezTo>
                  <a:pt x="7643478" y="1387882"/>
                  <a:pt x="7643478" y="1387882"/>
                  <a:pt x="7643478" y="1387882"/>
                </a:cubicBezTo>
                <a:cubicBezTo>
                  <a:pt x="7646219" y="1382515"/>
                  <a:pt x="7650272" y="1381201"/>
                  <a:pt x="7644902" y="1378463"/>
                </a:cubicBezTo>
                <a:cubicBezTo>
                  <a:pt x="7640847" y="1379777"/>
                  <a:pt x="7636797" y="1381092"/>
                  <a:pt x="7634061" y="1386459"/>
                </a:cubicBezTo>
                <a:cubicBezTo>
                  <a:pt x="7631320" y="1391825"/>
                  <a:pt x="7631320" y="1391825"/>
                  <a:pt x="7631320" y="1391825"/>
                </a:cubicBezTo>
                <a:cubicBezTo>
                  <a:pt x="7630006" y="1387775"/>
                  <a:pt x="7634061" y="1386459"/>
                  <a:pt x="7632745" y="1382406"/>
                </a:cubicBezTo>
                <a:cubicBezTo>
                  <a:pt x="7636797" y="1381092"/>
                  <a:pt x="7636797" y="1381092"/>
                  <a:pt x="7636797" y="1381092"/>
                </a:cubicBezTo>
                <a:cubicBezTo>
                  <a:pt x="7639534" y="1375724"/>
                  <a:pt x="7639534" y="1375724"/>
                  <a:pt x="7639534" y="1375724"/>
                </a:cubicBezTo>
                <a:cubicBezTo>
                  <a:pt x="7638222" y="1371671"/>
                  <a:pt x="7638222" y="1371671"/>
                  <a:pt x="7638222" y="1371671"/>
                </a:cubicBezTo>
                <a:cubicBezTo>
                  <a:pt x="7691129" y="1327637"/>
                  <a:pt x="7749405" y="1286339"/>
                  <a:pt x="7807676" y="1245043"/>
                </a:cubicBezTo>
                <a:cubicBezTo>
                  <a:pt x="7808991" y="1249094"/>
                  <a:pt x="7814357" y="1251834"/>
                  <a:pt x="7821147" y="1245151"/>
                </a:cubicBezTo>
                <a:cubicBezTo>
                  <a:pt x="7819835" y="1241098"/>
                  <a:pt x="7819835" y="1241098"/>
                  <a:pt x="7819835" y="1241098"/>
                </a:cubicBezTo>
                <a:cubicBezTo>
                  <a:pt x="8006809" y="1113264"/>
                  <a:pt x="8219200" y="1008541"/>
                  <a:pt x="8446164" y="934926"/>
                </a:cubicBezTo>
                <a:cubicBezTo>
                  <a:pt x="8646774" y="869856"/>
                  <a:pt x="8849640" y="831141"/>
                  <a:pt x="9051144" y="817119"/>
                </a:cubicBezTo>
                <a:lnTo>
                  <a:pt x="9238369" y="811665"/>
                </a:lnTo>
                <a:lnTo>
                  <a:pt x="9243782" y="808270"/>
                </a:lnTo>
                <a:cubicBezTo>
                  <a:pt x="9244935" y="806254"/>
                  <a:pt x="9250415" y="807693"/>
                  <a:pt x="9253012" y="807982"/>
                </a:cubicBezTo>
                <a:cubicBezTo>
                  <a:pt x="9259066" y="808846"/>
                  <a:pt x="9266277" y="805101"/>
                  <a:pt x="9271179" y="812014"/>
                </a:cubicBezTo>
                <a:lnTo>
                  <a:pt x="9271671" y="812274"/>
                </a:lnTo>
                <a:lnTo>
                  <a:pt x="9451272" y="821504"/>
                </a:lnTo>
                <a:lnTo>
                  <a:pt x="9590974" y="838534"/>
                </a:lnTo>
                <a:lnTo>
                  <a:pt x="9591470" y="836596"/>
                </a:lnTo>
                <a:lnTo>
                  <a:pt x="9596753" y="810527"/>
                </a:lnTo>
                <a:lnTo>
                  <a:pt x="9463346" y="787951"/>
                </a:lnTo>
                <a:cubicBezTo>
                  <a:pt x="9348320" y="774908"/>
                  <a:pt x="9232077" y="769729"/>
                  <a:pt x="9115444" y="772706"/>
                </a:cubicBezTo>
                <a:close/>
                <a:moveTo>
                  <a:pt x="6242071" y="762265"/>
                </a:moveTo>
                <a:lnTo>
                  <a:pt x="6241886" y="762573"/>
                </a:lnTo>
                <a:lnTo>
                  <a:pt x="6241671" y="762360"/>
                </a:lnTo>
                <a:close/>
                <a:moveTo>
                  <a:pt x="10401737" y="760139"/>
                </a:moveTo>
                <a:lnTo>
                  <a:pt x="10401520" y="760500"/>
                </a:lnTo>
                <a:lnTo>
                  <a:pt x="10401269" y="760249"/>
                </a:lnTo>
                <a:close/>
                <a:moveTo>
                  <a:pt x="7328010" y="760139"/>
                </a:moveTo>
                <a:lnTo>
                  <a:pt x="7327792" y="760499"/>
                </a:lnTo>
                <a:lnTo>
                  <a:pt x="7327541" y="760249"/>
                </a:lnTo>
                <a:close/>
                <a:moveTo>
                  <a:pt x="2045919" y="751404"/>
                </a:moveTo>
                <a:cubicBezTo>
                  <a:pt x="2048543" y="751199"/>
                  <a:pt x="2050909" y="751403"/>
                  <a:pt x="2051732" y="752842"/>
                </a:cubicBezTo>
                <a:cubicBezTo>
                  <a:pt x="2056669" y="761061"/>
                  <a:pt x="2069426" y="757773"/>
                  <a:pt x="2072306" y="768869"/>
                </a:cubicBezTo>
                <a:cubicBezTo>
                  <a:pt x="2073128" y="772156"/>
                  <a:pt x="2078889" y="774212"/>
                  <a:pt x="2073541" y="778732"/>
                </a:cubicBezTo>
                <a:cubicBezTo>
                  <a:pt x="2071894" y="779966"/>
                  <a:pt x="2072306" y="782430"/>
                  <a:pt x="2073951" y="782841"/>
                </a:cubicBezTo>
                <a:cubicBezTo>
                  <a:pt x="2080535" y="785307"/>
                  <a:pt x="2080124" y="789006"/>
                  <a:pt x="2076008" y="793936"/>
                </a:cubicBezTo>
                <a:cubicBezTo>
                  <a:pt x="2074774" y="795580"/>
                  <a:pt x="2076420" y="797636"/>
                  <a:pt x="2077244" y="799279"/>
                </a:cubicBezTo>
                <a:cubicBezTo>
                  <a:pt x="2078889" y="801745"/>
                  <a:pt x="2079301" y="804211"/>
                  <a:pt x="2076831" y="806266"/>
                </a:cubicBezTo>
                <a:cubicBezTo>
                  <a:pt x="2074363" y="808320"/>
                  <a:pt x="2074774" y="810786"/>
                  <a:pt x="2073951" y="813251"/>
                </a:cubicBezTo>
                <a:cubicBezTo>
                  <a:pt x="2071894" y="819415"/>
                  <a:pt x="2069426" y="827224"/>
                  <a:pt x="2064899" y="830101"/>
                </a:cubicBezTo>
                <a:cubicBezTo>
                  <a:pt x="2055024" y="836264"/>
                  <a:pt x="2045560" y="842841"/>
                  <a:pt x="2035684" y="848594"/>
                </a:cubicBezTo>
                <a:cubicBezTo>
                  <a:pt x="2034862" y="848594"/>
                  <a:pt x="2033215" y="848594"/>
                  <a:pt x="2032804" y="847771"/>
                </a:cubicBezTo>
                <a:cubicBezTo>
                  <a:pt x="2028689" y="844072"/>
                  <a:pt x="2024986" y="840785"/>
                  <a:pt x="2019637" y="846127"/>
                </a:cubicBezTo>
                <a:cubicBezTo>
                  <a:pt x="2017992" y="848183"/>
                  <a:pt x="2016756" y="846127"/>
                  <a:pt x="2016345" y="844483"/>
                </a:cubicBezTo>
                <a:cubicBezTo>
                  <a:pt x="2015111" y="837498"/>
                  <a:pt x="2011819" y="837498"/>
                  <a:pt x="2006881" y="841607"/>
                </a:cubicBezTo>
                <a:cubicBezTo>
                  <a:pt x="2003590" y="844483"/>
                  <a:pt x="2001944" y="843663"/>
                  <a:pt x="2001944" y="839553"/>
                </a:cubicBezTo>
                <a:cubicBezTo>
                  <a:pt x="2001944" y="837087"/>
                  <a:pt x="2002767" y="834210"/>
                  <a:pt x="1999063" y="833799"/>
                </a:cubicBezTo>
                <a:cubicBezTo>
                  <a:pt x="1990834" y="832155"/>
                  <a:pt x="1987542" y="826402"/>
                  <a:pt x="1987953" y="819004"/>
                </a:cubicBezTo>
                <a:cubicBezTo>
                  <a:pt x="1988364" y="813662"/>
                  <a:pt x="1986720" y="811197"/>
                  <a:pt x="1983016" y="809142"/>
                </a:cubicBezTo>
                <a:cubicBezTo>
                  <a:pt x="1983016" y="807497"/>
                  <a:pt x="1983016" y="805855"/>
                  <a:pt x="1983016" y="804211"/>
                </a:cubicBezTo>
                <a:cubicBezTo>
                  <a:pt x="1987130" y="801745"/>
                  <a:pt x="1988364" y="797225"/>
                  <a:pt x="1987130" y="793116"/>
                </a:cubicBezTo>
                <a:cubicBezTo>
                  <a:pt x="1985073" y="785718"/>
                  <a:pt x="1987542" y="779966"/>
                  <a:pt x="1992891" y="775034"/>
                </a:cubicBezTo>
                <a:cubicBezTo>
                  <a:pt x="1994949" y="772978"/>
                  <a:pt x="1997005" y="771334"/>
                  <a:pt x="1997829" y="768459"/>
                </a:cubicBezTo>
                <a:cubicBezTo>
                  <a:pt x="1998652" y="763938"/>
                  <a:pt x="2001120" y="761472"/>
                  <a:pt x="2005647" y="761882"/>
                </a:cubicBezTo>
                <a:cubicBezTo>
                  <a:pt x="2008938" y="761882"/>
                  <a:pt x="2011408" y="759828"/>
                  <a:pt x="2012642" y="758184"/>
                </a:cubicBezTo>
                <a:cubicBezTo>
                  <a:pt x="2016140" y="753253"/>
                  <a:pt x="2020460" y="752123"/>
                  <a:pt x="2024986" y="752072"/>
                </a:cubicBezTo>
                <a:cubicBezTo>
                  <a:pt x="2029514" y="752021"/>
                  <a:pt x="2034245" y="753048"/>
                  <a:pt x="2038565" y="752432"/>
                </a:cubicBezTo>
                <a:cubicBezTo>
                  <a:pt x="2040417" y="752226"/>
                  <a:pt x="2043296" y="751610"/>
                  <a:pt x="2045919" y="751404"/>
                </a:cubicBezTo>
                <a:close/>
                <a:moveTo>
                  <a:pt x="1797831" y="733924"/>
                </a:moveTo>
                <a:cubicBezTo>
                  <a:pt x="1803275" y="735230"/>
                  <a:pt x="1808936" y="734578"/>
                  <a:pt x="1814380" y="735013"/>
                </a:cubicBezTo>
                <a:cubicBezTo>
                  <a:pt x="1818953" y="735230"/>
                  <a:pt x="1823527" y="735665"/>
                  <a:pt x="1827665" y="738495"/>
                </a:cubicBezTo>
                <a:cubicBezTo>
                  <a:pt x="1829406" y="739800"/>
                  <a:pt x="1830714" y="739366"/>
                  <a:pt x="1832021" y="737842"/>
                </a:cubicBezTo>
                <a:cubicBezTo>
                  <a:pt x="1832674" y="736753"/>
                  <a:pt x="1833326" y="735882"/>
                  <a:pt x="1834198" y="735013"/>
                </a:cubicBezTo>
                <a:cubicBezTo>
                  <a:pt x="1835069" y="734142"/>
                  <a:pt x="1836594" y="733271"/>
                  <a:pt x="1837682" y="734142"/>
                </a:cubicBezTo>
                <a:cubicBezTo>
                  <a:pt x="1838989" y="735013"/>
                  <a:pt x="1838553" y="736753"/>
                  <a:pt x="1837900" y="738060"/>
                </a:cubicBezTo>
                <a:cubicBezTo>
                  <a:pt x="1837682" y="738713"/>
                  <a:pt x="1837247" y="739148"/>
                  <a:pt x="1836811" y="739800"/>
                </a:cubicBezTo>
                <a:cubicBezTo>
                  <a:pt x="1833326" y="744807"/>
                  <a:pt x="1834633" y="748071"/>
                  <a:pt x="1840513" y="748725"/>
                </a:cubicBezTo>
                <a:cubicBezTo>
                  <a:pt x="1841602" y="748942"/>
                  <a:pt x="1842691" y="748942"/>
                  <a:pt x="1843562" y="749160"/>
                </a:cubicBezTo>
                <a:cubicBezTo>
                  <a:pt x="1845086" y="749595"/>
                  <a:pt x="1846829" y="749160"/>
                  <a:pt x="1847265" y="751554"/>
                </a:cubicBezTo>
                <a:cubicBezTo>
                  <a:pt x="1847699" y="753296"/>
                  <a:pt x="1846829" y="754166"/>
                  <a:pt x="1845521" y="755037"/>
                </a:cubicBezTo>
                <a:cubicBezTo>
                  <a:pt x="1843126" y="756778"/>
                  <a:pt x="1843345" y="758302"/>
                  <a:pt x="1845739" y="760259"/>
                </a:cubicBezTo>
                <a:cubicBezTo>
                  <a:pt x="1848789" y="762655"/>
                  <a:pt x="1851619" y="765701"/>
                  <a:pt x="1851402" y="770055"/>
                </a:cubicBezTo>
                <a:cubicBezTo>
                  <a:pt x="1851184" y="773537"/>
                  <a:pt x="1852055" y="775279"/>
                  <a:pt x="1855974" y="774409"/>
                </a:cubicBezTo>
                <a:cubicBezTo>
                  <a:pt x="1856846" y="774190"/>
                  <a:pt x="1857935" y="774409"/>
                  <a:pt x="1858370" y="775714"/>
                </a:cubicBezTo>
                <a:cubicBezTo>
                  <a:pt x="1858806" y="776803"/>
                  <a:pt x="1857717" y="777456"/>
                  <a:pt x="1857064" y="778108"/>
                </a:cubicBezTo>
                <a:cubicBezTo>
                  <a:pt x="1855539" y="779632"/>
                  <a:pt x="1853797" y="781155"/>
                  <a:pt x="1852708" y="782896"/>
                </a:cubicBezTo>
                <a:cubicBezTo>
                  <a:pt x="1849223" y="787467"/>
                  <a:pt x="1849441" y="790080"/>
                  <a:pt x="1852708" y="794868"/>
                </a:cubicBezTo>
                <a:cubicBezTo>
                  <a:pt x="1855321" y="798568"/>
                  <a:pt x="1857282" y="802486"/>
                  <a:pt x="1857499" y="807275"/>
                </a:cubicBezTo>
                <a:cubicBezTo>
                  <a:pt x="1857717" y="810756"/>
                  <a:pt x="1855974" y="811192"/>
                  <a:pt x="1853143" y="810103"/>
                </a:cubicBezTo>
                <a:cubicBezTo>
                  <a:pt x="1851184" y="809452"/>
                  <a:pt x="1850094" y="807492"/>
                  <a:pt x="1848570" y="806404"/>
                </a:cubicBezTo>
                <a:cubicBezTo>
                  <a:pt x="1846829" y="805098"/>
                  <a:pt x="1844433" y="803357"/>
                  <a:pt x="1842691" y="805098"/>
                </a:cubicBezTo>
                <a:cubicBezTo>
                  <a:pt x="1840730" y="807275"/>
                  <a:pt x="1841821" y="809887"/>
                  <a:pt x="1843779" y="811846"/>
                </a:cubicBezTo>
                <a:cubicBezTo>
                  <a:pt x="1844650" y="812716"/>
                  <a:pt x="1845957" y="813587"/>
                  <a:pt x="1846829" y="814674"/>
                </a:cubicBezTo>
                <a:cubicBezTo>
                  <a:pt x="1847917" y="815763"/>
                  <a:pt x="1848789" y="817069"/>
                  <a:pt x="1847482" y="818592"/>
                </a:cubicBezTo>
                <a:cubicBezTo>
                  <a:pt x="1846394" y="819899"/>
                  <a:pt x="1845086" y="819245"/>
                  <a:pt x="1843779" y="818158"/>
                </a:cubicBezTo>
                <a:cubicBezTo>
                  <a:pt x="1842473" y="817287"/>
                  <a:pt x="1841167" y="816198"/>
                  <a:pt x="1839860" y="815545"/>
                </a:cubicBezTo>
                <a:cubicBezTo>
                  <a:pt x="1837900" y="814239"/>
                  <a:pt x="1835721" y="814893"/>
                  <a:pt x="1834198" y="816198"/>
                </a:cubicBezTo>
                <a:cubicBezTo>
                  <a:pt x="1832674" y="817505"/>
                  <a:pt x="1833545" y="819463"/>
                  <a:pt x="1834198" y="820987"/>
                </a:cubicBezTo>
                <a:cubicBezTo>
                  <a:pt x="1837465" y="828605"/>
                  <a:pt x="1848353" y="831869"/>
                  <a:pt x="1855757" y="827298"/>
                </a:cubicBezTo>
                <a:cubicBezTo>
                  <a:pt x="1859241" y="825123"/>
                  <a:pt x="1860547" y="825775"/>
                  <a:pt x="1860983" y="829258"/>
                </a:cubicBezTo>
                <a:cubicBezTo>
                  <a:pt x="1861638" y="834916"/>
                  <a:pt x="1864250" y="838618"/>
                  <a:pt x="1869911" y="840575"/>
                </a:cubicBezTo>
                <a:cubicBezTo>
                  <a:pt x="1871435" y="841011"/>
                  <a:pt x="1873831" y="842100"/>
                  <a:pt x="1873179" y="844493"/>
                </a:cubicBezTo>
                <a:cubicBezTo>
                  <a:pt x="1871872" y="849935"/>
                  <a:pt x="1874050" y="854506"/>
                  <a:pt x="1876880" y="858860"/>
                </a:cubicBezTo>
                <a:cubicBezTo>
                  <a:pt x="1879058" y="862124"/>
                  <a:pt x="1879711" y="865171"/>
                  <a:pt x="1877316" y="869089"/>
                </a:cubicBezTo>
                <a:cubicBezTo>
                  <a:pt x="1874703" y="873224"/>
                  <a:pt x="1876227" y="875619"/>
                  <a:pt x="1881452" y="876490"/>
                </a:cubicBezTo>
                <a:cubicBezTo>
                  <a:pt x="1881671" y="876490"/>
                  <a:pt x="1881888" y="876490"/>
                  <a:pt x="1882107" y="876490"/>
                </a:cubicBezTo>
                <a:cubicBezTo>
                  <a:pt x="1884067" y="876707"/>
                  <a:pt x="1886027" y="877142"/>
                  <a:pt x="1886244" y="879102"/>
                </a:cubicBezTo>
                <a:cubicBezTo>
                  <a:pt x="1886679" y="881060"/>
                  <a:pt x="1884284" y="880842"/>
                  <a:pt x="1883196" y="881495"/>
                </a:cubicBezTo>
                <a:cubicBezTo>
                  <a:pt x="1876227" y="884977"/>
                  <a:pt x="1873396" y="890419"/>
                  <a:pt x="1874703" y="898255"/>
                </a:cubicBezTo>
                <a:cubicBezTo>
                  <a:pt x="1875138" y="900868"/>
                  <a:pt x="1874267" y="902391"/>
                  <a:pt x="1872090" y="903479"/>
                </a:cubicBezTo>
                <a:cubicBezTo>
                  <a:pt x="1870782" y="904132"/>
                  <a:pt x="1869476" y="904568"/>
                  <a:pt x="1868170" y="905220"/>
                </a:cubicBezTo>
                <a:cubicBezTo>
                  <a:pt x="1866427" y="906090"/>
                  <a:pt x="1865774" y="907397"/>
                  <a:pt x="1866209" y="909357"/>
                </a:cubicBezTo>
                <a:lnTo>
                  <a:pt x="1867184" y="910738"/>
                </a:lnTo>
                <a:lnTo>
                  <a:pt x="1850164" y="927666"/>
                </a:lnTo>
                <a:lnTo>
                  <a:pt x="1850530" y="924374"/>
                </a:lnTo>
                <a:cubicBezTo>
                  <a:pt x="1850966" y="922633"/>
                  <a:pt x="1850966" y="921762"/>
                  <a:pt x="1849006" y="920674"/>
                </a:cubicBezTo>
                <a:cubicBezTo>
                  <a:pt x="1846829" y="919803"/>
                  <a:pt x="1845957" y="920891"/>
                  <a:pt x="1845086" y="922197"/>
                </a:cubicBezTo>
                <a:cubicBezTo>
                  <a:pt x="1844433" y="923068"/>
                  <a:pt x="1844215" y="923938"/>
                  <a:pt x="1843779" y="925028"/>
                </a:cubicBezTo>
                <a:cubicBezTo>
                  <a:pt x="1841821" y="929599"/>
                  <a:pt x="1840513" y="929816"/>
                  <a:pt x="1837247" y="926115"/>
                </a:cubicBezTo>
                <a:cubicBezTo>
                  <a:pt x="1836594" y="925245"/>
                  <a:pt x="1835721" y="924157"/>
                  <a:pt x="1834416" y="924157"/>
                </a:cubicBezTo>
                <a:cubicBezTo>
                  <a:pt x="1832891" y="924374"/>
                  <a:pt x="1832891" y="926115"/>
                  <a:pt x="1832456" y="927204"/>
                </a:cubicBezTo>
                <a:cubicBezTo>
                  <a:pt x="1832021" y="928075"/>
                  <a:pt x="1831802" y="928945"/>
                  <a:pt x="1831802" y="929816"/>
                </a:cubicBezTo>
                <a:cubicBezTo>
                  <a:pt x="1831475" y="931666"/>
                  <a:pt x="1830767" y="932536"/>
                  <a:pt x="1829842" y="932727"/>
                </a:cubicBezTo>
                <a:cubicBezTo>
                  <a:pt x="1828916" y="932918"/>
                  <a:pt x="1827774" y="932427"/>
                  <a:pt x="1826576" y="931557"/>
                </a:cubicBezTo>
                <a:cubicBezTo>
                  <a:pt x="1824180" y="929599"/>
                  <a:pt x="1821785" y="927204"/>
                  <a:pt x="1819389" y="925245"/>
                </a:cubicBezTo>
                <a:cubicBezTo>
                  <a:pt x="1816559" y="922850"/>
                  <a:pt x="1813292" y="921110"/>
                  <a:pt x="1809808" y="923068"/>
                </a:cubicBezTo>
                <a:cubicBezTo>
                  <a:pt x="1806977" y="924374"/>
                  <a:pt x="1805671" y="923286"/>
                  <a:pt x="1804145" y="921327"/>
                </a:cubicBezTo>
                <a:cubicBezTo>
                  <a:pt x="1800880" y="916974"/>
                  <a:pt x="1796960" y="913709"/>
                  <a:pt x="1790863" y="915015"/>
                </a:cubicBezTo>
                <a:cubicBezTo>
                  <a:pt x="1789339" y="915451"/>
                  <a:pt x="1788902" y="914797"/>
                  <a:pt x="1788684" y="913274"/>
                </a:cubicBezTo>
                <a:cubicBezTo>
                  <a:pt x="1787813" y="902608"/>
                  <a:pt x="1783240" y="893466"/>
                  <a:pt x="1777143" y="885196"/>
                </a:cubicBezTo>
                <a:cubicBezTo>
                  <a:pt x="1775619" y="883237"/>
                  <a:pt x="1776054" y="881930"/>
                  <a:pt x="1776924" y="879972"/>
                </a:cubicBezTo>
                <a:cubicBezTo>
                  <a:pt x="1779102" y="876055"/>
                  <a:pt x="1781498" y="871701"/>
                  <a:pt x="1779974" y="867349"/>
                </a:cubicBezTo>
                <a:cubicBezTo>
                  <a:pt x="1778449" y="862995"/>
                  <a:pt x="1779539" y="859947"/>
                  <a:pt x="1781716" y="856465"/>
                </a:cubicBezTo>
                <a:cubicBezTo>
                  <a:pt x="1782368" y="855377"/>
                  <a:pt x="1782804" y="854289"/>
                  <a:pt x="1783458" y="852982"/>
                </a:cubicBezTo>
                <a:cubicBezTo>
                  <a:pt x="1786289" y="846671"/>
                  <a:pt x="1789556" y="840794"/>
                  <a:pt x="1796307" y="837747"/>
                </a:cubicBezTo>
                <a:cubicBezTo>
                  <a:pt x="1797612" y="837311"/>
                  <a:pt x="1797612" y="836440"/>
                  <a:pt x="1797612" y="835352"/>
                </a:cubicBezTo>
                <a:cubicBezTo>
                  <a:pt x="1797395" y="832088"/>
                  <a:pt x="1791515" y="824252"/>
                  <a:pt x="1788466" y="823380"/>
                </a:cubicBezTo>
                <a:cubicBezTo>
                  <a:pt x="1783675" y="822293"/>
                  <a:pt x="1779539" y="819899"/>
                  <a:pt x="1776272" y="816198"/>
                </a:cubicBezTo>
                <a:cubicBezTo>
                  <a:pt x="1771698" y="811410"/>
                  <a:pt x="1767778" y="806404"/>
                  <a:pt x="1763422" y="801398"/>
                </a:cubicBezTo>
                <a:cubicBezTo>
                  <a:pt x="1762117" y="800092"/>
                  <a:pt x="1762770" y="799221"/>
                  <a:pt x="1763641" y="798132"/>
                </a:cubicBezTo>
                <a:cubicBezTo>
                  <a:pt x="1767561" y="793344"/>
                  <a:pt x="1767561" y="793344"/>
                  <a:pt x="1762770" y="790080"/>
                </a:cubicBezTo>
                <a:cubicBezTo>
                  <a:pt x="1758414" y="786815"/>
                  <a:pt x="1758197" y="784639"/>
                  <a:pt x="1762117" y="780503"/>
                </a:cubicBezTo>
                <a:cubicBezTo>
                  <a:pt x="1763859" y="778761"/>
                  <a:pt x="1765602" y="776803"/>
                  <a:pt x="1764948" y="773755"/>
                </a:cubicBezTo>
                <a:cubicBezTo>
                  <a:pt x="1762987" y="766137"/>
                  <a:pt x="1765819" y="759826"/>
                  <a:pt x="1770827" y="754166"/>
                </a:cubicBezTo>
                <a:cubicBezTo>
                  <a:pt x="1774094" y="750466"/>
                  <a:pt x="1778014" y="746983"/>
                  <a:pt x="1780410" y="742631"/>
                </a:cubicBezTo>
                <a:cubicBezTo>
                  <a:pt x="1780845" y="741760"/>
                  <a:pt x="1781498" y="740889"/>
                  <a:pt x="1782587" y="741107"/>
                </a:cubicBezTo>
                <a:cubicBezTo>
                  <a:pt x="1788031" y="742848"/>
                  <a:pt x="1790863" y="739366"/>
                  <a:pt x="1793911" y="735882"/>
                </a:cubicBezTo>
                <a:cubicBezTo>
                  <a:pt x="1794783" y="734795"/>
                  <a:pt x="1795871" y="733489"/>
                  <a:pt x="1797831" y="733924"/>
                </a:cubicBezTo>
                <a:close/>
                <a:moveTo>
                  <a:pt x="3697078" y="730896"/>
                </a:moveTo>
                <a:cubicBezTo>
                  <a:pt x="3700593" y="731673"/>
                  <a:pt x="3703716" y="732450"/>
                  <a:pt x="3707231" y="732450"/>
                </a:cubicBezTo>
                <a:cubicBezTo>
                  <a:pt x="3710745" y="732450"/>
                  <a:pt x="3714260" y="734783"/>
                  <a:pt x="3715822" y="737892"/>
                </a:cubicBezTo>
                <a:cubicBezTo>
                  <a:pt x="3716993" y="740613"/>
                  <a:pt x="3718165" y="742169"/>
                  <a:pt x="3720507" y="743335"/>
                </a:cubicBezTo>
                <a:cubicBezTo>
                  <a:pt x="3720507" y="747999"/>
                  <a:pt x="3720507" y="752664"/>
                  <a:pt x="3720507" y="757329"/>
                </a:cubicBezTo>
                <a:cubicBezTo>
                  <a:pt x="3716602" y="759273"/>
                  <a:pt x="3713479" y="762382"/>
                  <a:pt x="3711917" y="765880"/>
                </a:cubicBezTo>
                <a:cubicBezTo>
                  <a:pt x="3709964" y="768991"/>
                  <a:pt x="3708402" y="772489"/>
                  <a:pt x="3706451" y="775987"/>
                </a:cubicBezTo>
                <a:cubicBezTo>
                  <a:pt x="3704498" y="779098"/>
                  <a:pt x="3702546" y="782596"/>
                  <a:pt x="3702155" y="786484"/>
                </a:cubicBezTo>
                <a:cubicBezTo>
                  <a:pt x="3701374" y="789982"/>
                  <a:pt x="3699031" y="791537"/>
                  <a:pt x="3696298" y="793480"/>
                </a:cubicBezTo>
                <a:cubicBezTo>
                  <a:pt x="3693565" y="795424"/>
                  <a:pt x="3689660" y="795035"/>
                  <a:pt x="3687707" y="797756"/>
                </a:cubicBezTo>
                <a:cubicBezTo>
                  <a:pt x="3684974" y="797756"/>
                  <a:pt x="3682631" y="797756"/>
                  <a:pt x="3679898" y="797756"/>
                </a:cubicBezTo>
                <a:cubicBezTo>
                  <a:pt x="3679898" y="796589"/>
                  <a:pt x="3679508" y="796201"/>
                  <a:pt x="3678726" y="796201"/>
                </a:cubicBezTo>
                <a:cubicBezTo>
                  <a:pt x="3672870" y="796201"/>
                  <a:pt x="3669745" y="792314"/>
                  <a:pt x="3667794" y="787649"/>
                </a:cubicBezTo>
                <a:cubicBezTo>
                  <a:pt x="3665841" y="783373"/>
                  <a:pt x="3663498" y="779486"/>
                  <a:pt x="3664279" y="774433"/>
                </a:cubicBezTo>
                <a:cubicBezTo>
                  <a:pt x="3665451" y="768991"/>
                  <a:pt x="3665059" y="763159"/>
                  <a:pt x="3669745" y="758884"/>
                </a:cubicBezTo>
                <a:cubicBezTo>
                  <a:pt x="3671307" y="757329"/>
                  <a:pt x="3672870" y="756163"/>
                  <a:pt x="3675603" y="755385"/>
                </a:cubicBezTo>
                <a:cubicBezTo>
                  <a:pt x="3679508" y="754219"/>
                  <a:pt x="3684193" y="752275"/>
                  <a:pt x="3683021" y="746056"/>
                </a:cubicBezTo>
                <a:cubicBezTo>
                  <a:pt x="3682631" y="743724"/>
                  <a:pt x="3684974" y="742946"/>
                  <a:pt x="3685364" y="741780"/>
                </a:cubicBezTo>
                <a:cubicBezTo>
                  <a:pt x="3687317" y="735560"/>
                  <a:pt x="3692002" y="732839"/>
                  <a:pt x="3697078" y="730896"/>
                </a:cubicBezTo>
                <a:close/>
                <a:moveTo>
                  <a:pt x="2342912" y="728298"/>
                </a:moveTo>
                <a:cubicBezTo>
                  <a:pt x="2346056" y="728334"/>
                  <a:pt x="2349056" y="729120"/>
                  <a:pt x="2351485" y="732545"/>
                </a:cubicBezTo>
                <a:cubicBezTo>
                  <a:pt x="2352343" y="733686"/>
                  <a:pt x="2354058" y="735114"/>
                  <a:pt x="2356345" y="735114"/>
                </a:cubicBezTo>
                <a:cubicBezTo>
                  <a:pt x="2359488" y="734829"/>
                  <a:pt x="2361204" y="736541"/>
                  <a:pt x="2361775" y="739680"/>
                </a:cubicBezTo>
                <a:cubicBezTo>
                  <a:pt x="2362347" y="741679"/>
                  <a:pt x="2363776" y="742820"/>
                  <a:pt x="2365204" y="744248"/>
                </a:cubicBezTo>
                <a:cubicBezTo>
                  <a:pt x="2368921" y="747672"/>
                  <a:pt x="2370635" y="751668"/>
                  <a:pt x="2369205" y="756807"/>
                </a:cubicBezTo>
                <a:cubicBezTo>
                  <a:pt x="2368349" y="759662"/>
                  <a:pt x="2369205" y="762801"/>
                  <a:pt x="2372063" y="764514"/>
                </a:cubicBezTo>
                <a:cubicBezTo>
                  <a:pt x="2372063" y="765657"/>
                  <a:pt x="2372063" y="766797"/>
                  <a:pt x="2372063" y="767939"/>
                </a:cubicBezTo>
                <a:cubicBezTo>
                  <a:pt x="2369492" y="769367"/>
                  <a:pt x="2368349" y="771080"/>
                  <a:pt x="2368634" y="774790"/>
                </a:cubicBezTo>
                <a:cubicBezTo>
                  <a:pt x="2368921" y="779928"/>
                  <a:pt x="2366633" y="783924"/>
                  <a:pt x="2360917" y="785066"/>
                </a:cubicBezTo>
                <a:cubicBezTo>
                  <a:pt x="2358345" y="785351"/>
                  <a:pt x="2358916" y="787349"/>
                  <a:pt x="2358916" y="789062"/>
                </a:cubicBezTo>
                <a:cubicBezTo>
                  <a:pt x="2358916" y="791917"/>
                  <a:pt x="2357774" y="792487"/>
                  <a:pt x="2355487" y="790489"/>
                </a:cubicBezTo>
                <a:cubicBezTo>
                  <a:pt x="2352057" y="787636"/>
                  <a:pt x="2349770" y="787636"/>
                  <a:pt x="2348913" y="792487"/>
                </a:cubicBezTo>
                <a:cubicBezTo>
                  <a:pt x="2348629" y="793629"/>
                  <a:pt x="2347770" y="795056"/>
                  <a:pt x="2346627" y="793629"/>
                </a:cubicBezTo>
                <a:cubicBezTo>
                  <a:pt x="2342912" y="789919"/>
                  <a:pt x="2340340" y="792201"/>
                  <a:pt x="2337482" y="794771"/>
                </a:cubicBezTo>
                <a:cubicBezTo>
                  <a:pt x="2337195" y="795342"/>
                  <a:pt x="2336051" y="795342"/>
                  <a:pt x="2335481" y="795342"/>
                </a:cubicBezTo>
                <a:cubicBezTo>
                  <a:pt x="2328621" y="791346"/>
                  <a:pt x="2322048" y="786778"/>
                  <a:pt x="2315189" y="782497"/>
                </a:cubicBezTo>
                <a:cubicBezTo>
                  <a:pt x="2312045" y="780498"/>
                  <a:pt x="2310329" y="775075"/>
                  <a:pt x="2308901" y="770794"/>
                </a:cubicBezTo>
                <a:cubicBezTo>
                  <a:pt x="2308329" y="769082"/>
                  <a:pt x="2308614" y="767369"/>
                  <a:pt x="2306900" y="765941"/>
                </a:cubicBezTo>
                <a:cubicBezTo>
                  <a:pt x="2305184" y="764514"/>
                  <a:pt x="2305471" y="762801"/>
                  <a:pt x="2306614" y="761089"/>
                </a:cubicBezTo>
                <a:cubicBezTo>
                  <a:pt x="2307186" y="759946"/>
                  <a:pt x="2308329" y="758519"/>
                  <a:pt x="2307472" y="757379"/>
                </a:cubicBezTo>
                <a:cubicBezTo>
                  <a:pt x="2304613" y="753953"/>
                  <a:pt x="2304328" y="751384"/>
                  <a:pt x="2308901" y="749670"/>
                </a:cubicBezTo>
                <a:cubicBezTo>
                  <a:pt x="2310045" y="749386"/>
                  <a:pt x="2310329" y="747672"/>
                  <a:pt x="2309186" y="746817"/>
                </a:cubicBezTo>
                <a:cubicBezTo>
                  <a:pt x="2305471" y="743677"/>
                  <a:pt x="2309473" y="742250"/>
                  <a:pt x="2310045" y="739966"/>
                </a:cubicBezTo>
                <a:cubicBezTo>
                  <a:pt x="2312045" y="732259"/>
                  <a:pt x="2320904" y="734542"/>
                  <a:pt x="2324335" y="728834"/>
                </a:cubicBezTo>
                <a:cubicBezTo>
                  <a:pt x="2325478" y="726836"/>
                  <a:pt x="2330908" y="728263"/>
                  <a:pt x="2333479" y="728549"/>
                </a:cubicBezTo>
                <a:cubicBezTo>
                  <a:pt x="2336481" y="728977"/>
                  <a:pt x="2339768" y="728262"/>
                  <a:pt x="2342912" y="728298"/>
                </a:cubicBezTo>
                <a:close/>
                <a:moveTo>
                  <a:pt x="6822928" y="696735"/>
                </a:moveTo>
                <a:cubicBezTo>
                  <a:pt x="6827177" y="696687"/>
                  <a:pt x="6831618" y="697651"/>
                  <a:pt x="6835677" y="697073"/>
                </a:cubicBezTo>
                <a:cubicBezTo>
                  <a:pt x="6839151" y="696687"/>
                  <a:pt x="6846496" y="694758"/>
                  <a:pt x="6848042" y="697459"/>
                </a:cubicBezTo>
                <a:cubicBezTo>
                  <a:pt x="6852677" y="705176"/>
                  <a:pt x="6864652" y="702089"/>
                  <a:pt x="6867357" y="712507"/>
                </a:cubicBezTo>
                <a:cubicBezTo>
                  <a:pt x="6868131" y="715595"/>
                  <a:pt x="6873540" y="717524"/>
                  <a:pt x="6868516" y="721769"/>
                </a:cubicBezTo>
                <a:lnTo>
                  <a:pt x="6868714" y="723723"/>
                </a:lnTo>
                <a:lnTo>
                  <a:pt x="6880103" y="729759"/>
                </a:lnTo>
                <a:cubicBezTo>
                  <a:pt x="6884535" y="733406"/>
                  <a:pt x="6888069" y="738359"/>
                  <a:pt x="6889972" y="745688"/>
                </a:cubicBezTo>
                <a:cubicBezTo>
                  <a:pt x="6892145" y="754374"/>
                  <a:pt x="6907367" y="759802"/>
                  <a:pt x="6893233" y="771746"/>
                </a:cubicBezTo>
                <a:cubicBezTo>
                  <a:pt x="6888885" y="775002"/>
                  <a:pt x="6889972" y="781517"/>
                  <a:pt x="6894319" y="782603"/>
                </a:cubicBezTo>
                <a:cubicBezTo>
                  <a:pt x="6911709" y="789117"/>
                  <a:pt x="6910626" y="798889"/>
                  <a:pt x="6899754" y="811918"/>
                </a:cubicBezTo>
                <a:cubicBezTo>
                  <a:pt x="6896495" y="816260"/>
                  <a:pt x="6900843" y="821689"/>
                  <a:pt x="6903015" y="826031"/>
                </a:cubicBezTo>
                <a:cubicBezTo>
                  <a:pt x="6907367" y="832546"/>
                  <a:pt x="6908453" y="839061"/>
                  <a:pt x="6901932" y="844490"/>
                </a:cubicBezTo>
                <a:cubicBezTo>
                  <a:pt x="6895406" y="849918"/>
                  <a:pt x="6896495" y="856432"/>
                  <a:pt x="6894319" y="862947"/>
                </a:cubicBezTo>
                <a:cubicBezTo>
                  <a:pt x="6888885" y="879233"/>
                  <a:pt x="6882360" y="899861"/>
                  <a:pt x="6870401" y="907461"/>
                </a:cubicBezTo>
                <a:cubicBezTo>
                  <a:pt x="6844311" y="923747"/>
                  <a:pt x="6819311" y="941119"/>
                  <a:pt x="6793218" y="956319"/>
                </a:cubicBezTo>
                <a:cubicBezTo>
                  <a:pt x="6791045" y="956319"/>
                  <a:pt x="6786697" y="956319"/>
                  <a:pt x="6785610" y="954148"/>
                </a:cubicBezTo>
                <a:cubicBezTo>
                  <a:pt x="6774739" y="944377"/>
                  <a:pt x="6764955" y="935691"/>
                  <a:pt x="6750821" y="949805"/>
                </a:cubicBezTo>
                <a:cubicBezTo>
                  <a:pt x="6746471" y="955234"/>
                  <a:pt x="6743210" y="949805"/>
                  <a:pt x="6742123" y="945462"/>
                </a:cubicBezTo>
                <a:cubicBezTo>
                  <a:pt x="6738862" y="927005"/>
                  <a:pt x="6730167" y="927005"/>
                  <a:pt x="6717122" y="937862"/>
                </a:cubicBezTo>
                <a:cubicBezTo>
                  <a:pt x="6708423" y="945462"/>
                  <a:pt x="6704075" y="943291"/>
                  <a:pt x="6704075" y="932433"/>
                </a:cubicBezTo>
                <a:cubicBezTo>
                  <a:pt x="6704075" y="925919"/>
                  <a:pt x="6706251" y="918319"/>
                  <a:pt x="6696466" y="917233"/>
                </a:cubicBezTo>
                <a:cubicBezTo>
                  <a:pt x="6674724" y="912890"/>
                  <a:pt x="6666026" y="897690"/>
                  <a:pt x="6667115" y="878147"/>
                </a:cubicBezTo>
                <a:cubicBezTo>
                  <a:pt x="6668200" y="864032"/>
                  <a:pt x="6663854" y="857518"/>
                  <a:pt x="6654068" y="852090"/>
                </a:cubicBezTo>
                <a:cubicBezTo>
                  <a:pt x="6654068" y="847746"/>
                  <a:pt x="6654068" y="843403"/>
                  <a:pt x="6654068" y="839061"/>
                </a:cubicBezTo>
                <a:cubicBezTo>
                  <a:pt x="6664939" y="832546"/>
                  <a:pt x="6668200" y="820604"/>
                  <a:pt x="6664939" y="809745"/>
                </a:cubicBezTo>
                <a:cubicBezTo>
                  <a:pt x="6659505" y="790203"/>
                  <a:pt x="6666026" y="775002"/>
                  <a:pt x="6680161" y="761974"/>
                </a:cubicBezTo>
                <a:cubicBezTo>
                  <a:pt x="6685596" y="756545"/>
                  <a:pt x="6691030" y="752202"/>
                  <a:pt x="6693202" y="744603"/>
                </a:cubicBezTo>
                <a:cubicBezTo>
                  <a:pt x="6695378" y="732659"/>
                  <a:pt x="6701900" y="726144"/>
                  <a:pt x="6713856" y="727230"/>
                </a:cubicBezTo>
                <a:cubicBezTo>
                  <a:pt x="6722555" y="727230"/>
                  <a:pt x="6729080" y="721802"/>
                  <a:pt x="6732341" y="717459"/>
                </a:cubicBezTo>
                <a:cubicBezTo>
                  <a:pt x="6750821" y="691401"/>
                  <a:pt x="6777997" y="705516"/>
                  <a:pt x="6800829" y="702258"/>
                </a:cubicBezTo>
                <a:lnTo>
                  <a:pt x="6816077" y="700129"/>
                </a:lnTo>
                <a:close/>
                <a:moveTo>
                  <a:pt x="3895000" y="684176"/>
                </a:moveTo>
                <a:cubicBezTo>
                  <a:pt x="3898173" y="684212"/>
                  <a:pt x="3901201" y="685004"/>
                  <a:pt x="3903652" y="688460"/>
                </a:cubicBezTo>
                <a:cubicBezTo>
                  <a:pt x="3904517" y="689613"/>
                  <a:pt x="3906248" y="691053"/>
                  <a:pt x="3908554" y="691053"/>
                </a:cubicBezTo>
                <a:cubicBezTo>
                  <a:pt x="3911727" y="690765"/>
                  <a:pt x="3913458" y="692493"/>
                  <a:pt x="3914034" y="695662"/>
                </a:cubicBezTo>
                <a:cubicBezTo>
                  <a:pt x="3914611" y="697678"/>
                  <a:pt x="3916053" y="698830"/>
                  <a:pt x="3917495" y="700270"/>
                </a:cubicBezTo>
                <a:cubicBezTo>
                  <a:pt x="3921244" y="703725"/>
                  <a:pt x="3922974" y="707758"/>
                  <a:pt x="3921532" y="712942"/>
                </a:cubicBezTo>
                <a:cubicBezTo>
                  <a:pt x="3920666" y="715823"/>
                  <a:pt x="3921532" y="718991"/>
                  <a:pt x="3924416" y="720720"/>
                </a:cubicBezTo>
                <a:cubicBezTo>
                  <a:pt x="3924416" y="721871"/>
                  <a:pt x="3924416" y="723023"/>
                  <a:pt x="3924416" y="724175"/>
                </a:cubicBezTo>
                <a:cubicBezTo>
                  <a:pt x="3921821" y="725615"/>
                  <a:pt x="3920666" y="727344"/>
                  <a:pt x="3920955" y="731088"/>
                </a:cubicBezTo>
                <a:cubicBezTo>
                  <a:pt x="3921244" y="736272"/>
                  <a:pt x="3918937" y="740305"/>
                  <a:pt x="3913169" y="741457"/>
                </a:cubicBezTo>
                <a:cubicBezTo>
                  <a:pt x="3910574" y="741745"/>
                  <a:pt x="3911150" y="743761"/>
                  <a:pt x="3911150" y="745489"/>
                </a:cubicBezTo>
                <a:cubicBezTo>
                  <a:pt x="3911150" y="748370"/>
                  <a:pt x="3909996" y="748946"/>
                  <a:pt x="3907690" y="746929"/>
                </a:cubicBezTo>
                <a:cubicBezTo>
                  <a:pt x="3904228" y="744049"/>
                  <a:pt x="3901922" y="744049"/>
                  <a:pt x="3901056" y="748946"/>
                </a:cubicBezTo>
                <a:cubicBezTo>
                  <a:pt x="3900768" y="750097"/>
                  <a:pt x="3899903" y="751538"/>
                  <a:pt x="3898749" y="750097"/>
                </a:cubicBezTo>
                <a:cubicBezTo>
                  <a:pt x="3895000" y="746353"/>
                  <a:pt x="3892405" y="748657"/>
                  <a:pt x="3889521" y="751250"/>
                </a:cubicBezTo>
                <a:cubicBezTo>
                  <a:pt x="3889233" y="751826"/>
                  <a:pt x="3888079" y="751826"/>
                  <a:pt x="3887502" y="751826"/>
                </a:cubicBezTo>
                <a:cubicBezTo>
                  <a:pt x="3880581" y="747794"/>
                  <a:pt x="3873948" y="743185"/>
                  <a:pt x="3867027" y="738864"/>
                </a:cubicBezTo>
                <a:cubicBezTo>
                  <a:pt x="3863854" y="736848"/>
                  <a:pt x="3862123" y="731377"/>
                  <a:pt x="3860681" y="727056"/>
                </a:cubicBezTo>
                <a:cubicBezTo>
                  <a:pt x="3860105" y="725328"/>
                  <a:pt x="3860394" y="723599"/>
                  <a:pt x="3858663" y="722160"/>
                </a:cubicBezTo>
                <a:cubicBezTo>
                  <a:pt x="3856933" y="720720"/>
                  <a:pt x="3857221" y="718991"/>
                  <a:pt x="3858375" y="717263"/>
                </a:cubicBezTo>
                <a:cubicBezTo>
                  <a:pt x="3858952" y="716111"/>
                  <a:pt x="3860105" y="714671"/>
                  <a:pt x="3859239" y="713519"/>
                </a:cubicBezTo>
                <a:cubicBezTo>
                  <a:pt x="3856357" y="710063"/>
                  <a:pt x="3856068" y="707470"/>
                  <a:pt x="3860681" y="705742"/>
                </a:cubicBezTo>
                <a:cubicBezTo>
                  <a:pt x="3861836" y="705454"/>
                  <a:pt x="3862123" y="703725"/>
                  <a:pt x="3860970" y="702862"/>
                </a:cubicBezTo>
                <a:cubicBezTo>
                  <a:pt x="3857221" y="699693"/>
                  <a:pt x="3861259" y="698254"/>
                  <a:pt x="3861836" y="695949"/>
                </a:cubicBezTo>
                <a:cubicBezTo>
                  <a:pt x="3863854" y="688173"/>
                  <a:pt x="3872795" y="690476"/>
                  <a:pt x="3876255" y="684716"/>
                </a:cubicBezTo>
                <a:cubicBezTo>
                  <a:pt x="3877408" y="682700"/>
                  <a:pt x="3882888" y="684140"/>
                  <a:pt x="3885484" y="684429"/>
                </a:cubicBezTo>
                <a:cubicBezTo>
                  <a:pt x="3888512" y="684861"/>
                  <a:pt x="3891828" y="684140"/>
                  <a:pt x="3895000" y="684176"/>
                </a:cubicBezTo>
                <a:close/>
                <a:moveTo>
                  <a:pt x="3616613" y="678508"/>
                </a:moveTo>
                <a:cubicBezTo>
                  <a:pt x="3619134" y="678075"/>
                  <a:pt x="3620993" y="678472"/>
                  <a:pt x="3620595" y="680330"/>
                </a:cubicBezTo>
                <a:cubicBezTo>
                  <a:pt x="3616481" y="681394"/>
                  <a:pt x="3613296" y="682656"/>
                  <a:pt x="3611238" y="683189"/>
                </a:cubicBezTo>
                <a:cubicBezTo>
                  <a:pt x="3609182" y="683721"/>
                  <a:pt x="3608253" y="683523"/>
                  <a:pt x="3608649" y="681665"/>
                </a:cubicBezTo>
                <a:cubicBezTo>
                  <a:pt x="3610905" y="680204"/>
                  <a:pt x="3614091" y="678941"/>
                  <a:pt x="3616613" y="678508"/>
                </a:cubicBezTo>
                <a:close/>
                <a:moveTo>
                  <a:pt x="3586537" y="674876"/>
                </a:moveTo>
                <a:cubicBezTo>
                  <a:pt x="3581435" y="674879"/>
                  <a:pt x="3572677" y="681752"/>
                  <a:pt x="3569890" y="681157"/>
                </a:cubicBezTo>
                <a:cubicBezTo>
                  <a:pt x="3564584" y="687795"/>
                  <a:pt x="3551845" y="692845"/>
                  <a:pt x="3551050" y="696561"/>
                </a:cubicBezTo>
                <a:cubicBezTo>
                  <a:pt x="3480460" y="735886"/>
                  <a:pt x="3439606" y="781564"/>
                  <a:pt x="3378830" y="811329"/>
                </a:cubicBezTo>
                <a:cubicBezTo>
                  <a:pt x="3369808" y="817173"/>
                  <a:pt x="3359991" y="826734"/>
                  <a:pt x="3350969" y="832579"/>
                </a:cubicBezTo>
                <a:cubicBezTo>
                  <a:pt x="3328413" y="847191"/>
                  <a:pt x="3332925" y="844268"/>
                  <a:pt x="3309574" y="862596"/>
                </a:cubicBezTo>
                <a:cubicBezTo>
                  <a:pt x="3305062" y="865519"/>
                  <a:pt x="3304269" y="869236"/>
                  <a:pt x="3307987" y="870029"/>
                </a:cubicBezTo>
                <a:cubicBezTo>
                  <a:pt x="3279332" y="894997"/>
                  <a:pt x="3260492" y="910402"/>
                  <a:pt x="3241652" y="925809"/>
                </a:cubicBezTo>
                <a:cubicBezTo>
                  <a:pt x="3222814" y="941214"/>
                  <a:pt x="3204770" y="952904"/>
                  <a:pt x="3181419" y="971233"/>
                </a:cubicBezTo>
                <a:cubicBezTo>
                  <a:pt x="3175319" y="981587"/>
                  <a:pt x="3188853" y="972821"/>
                  <a:pt x="3195494" y="978125"/>
                </a:cubicBezTo>
                <a:cubicBezTo>
                  <a:pt x="3190189" y="984765"/>
                  <a:pt x="3190189" y="984765"/>
                  <a:pt x="3189394" y="988481"/>
                </a:cubicBezTo>
                <a:cubicBezTo>
                  <a:pt x="3169762" y="1007603"/>
                  <a:pt x="3161533" y="1009732"/>
                  <a:pt x="3141901" y="1028854"/>
                </a:cubicBezTo>
                <a:cubicBezTo>
                  <a:pt x="3138183" y="1028060"/>
                  <a:pt x="3138978" y="1024344"/>
                  <a:pt x="3134466" y="1027266"/>
                </a:cubicBezTo>
                <a:cubicBezTo>
                  <a:pt x="3135261" y="1023549"/>
                  <a:pt x="3132337" y="1019038"/>
                  <a:pt x="3146664" y="1006555"/>
                </a:cubicBezTo>
                <a:lnTo>
                  <a:pt x="3117592" y="1029227"/>
                </a:lnTo>
                <a:lnTo>
                  <a:pt x="3145894" y="1050894"/>
                </a:lnTo>
                <a:cubicBezTo>
                  <a:pt x="3157109" y="1059495"/>
                  <a:pt x="3167575" y="1067721"/>
                  <a:pt x="3178041" y="1076696"/>
                </a:cubicBezTo>
                <a:cubicBezTo>
                  <a:pt x="3202712" y="1096888"/>
                  <a:pt x="3227383" y="1112033"/>
                  <a:pt x="3255840" y="1110770"/>
                </a:cubicBezTo>
                <a:cubicBezTo>
                  <a:pt x="3265325" y="1110350"/>
                  <a:pt x="3275231" y="1108106"/>
                  <a:pt x="3285698" y="1103619"/>
                </a:cubicBezTo>
                <a:lnTo>
                  <a:pt x="3289132" y="1100387"/>
                </a:lnTo>
                <a:lnTo>
                  <a:pt x="3288029" y="1099174"/>
                </a:lnTo>
                <a:cubicBezTo>
                  <a:pt x="3287320" y="1098467"/>
                  <a:pt x="3286141" y="1097759"/>
                  <a:pt x="3286613" y="1096580"/>
                </a:cubicBezTo>
                <a:cubicBezTo>
                  <a:pt x="3287085" y="1095165"/>
                  <a:pt x="3288265" y="1094929"/>
                  <a:pt x="3289208" y="1095165"/>
                </a:cubicBezTo>
                <a:cubicBezTo>
                  <a:pt x="3293456" y="1096109"/>
                  <a:pt x="3294399" y="1094222"/>
                  <a:pt x="3294163" y="1090449"/>
                </a:cubicBezTo>
                <a:cubicBezTo>
                  <a:pt x="3293928" y="1085731"/>
                  <a:pt x="3296994" y="1082430"/>
                  <a:pt x="3300298" y="1079837"/>
                </a:cubicBezTo>
                <a:cubicBezTo>
                  <a:pt x="3302893" y="1077714"/>
                  <a:pt x="3303130" y="1076063"/>
                  <a:pt x="3300534" y="1074176"/>
                </a:cubicBezTo>
                <a:cubicBezTo>
                  <a:pt x="3299118" y="1073232"/>
                  <a:pt x="3298174" y="1072290"/>
                  <a:pt x="3298646" y="1070403"/>
                </a:cubicBezTo>
                <a:cubicBezTo>
                  <a:pt x="3299118" y="1067809"/>
                  <a:pt x="3301005" y="1068280"/>
                  <a:pt x="3302657" y="1067809"/>
                </a:cubicBezTo>
                <a:cubicBezTo>
                  <a:pt x="3303602" y="1067573"/>
                  <a:pt x="3304781" y="1067573"/>
                  <a:pt x="3305961" y="1067337"/>
                </a:cubicBezTo>
                <a:cubicBezTo>
                  <a:pt x="3312331" y="1066629"/>
                  <a:pt x="3313747" y="1063093"/>
                  <a:pt x="3309972" y="1057668"/>
                </a:cubicBezTo>
                <a:cubicBezTo>
                  <a:pt x="3309500" y="1056961"/>
                  <a:pt x="3309029" y="1056490"/>
                  <a:pt x="3308793" y="1055781"/>
                </a:cubicBezTo>
                <a:cubicBezTo>
                  <a:pt x="3308084" y="1054366"/>
                  <a:pt x="3307613" y="1052480"/>
                  <a:pt x="3309029" y="1051536"/>
                </a:cubicBezTo>
                <a:cubicBezTo>
                  <a:pt x="3310208" y="1050594"/>
                  <a:pt x="3311859" y="1051536"/>
                  <a:pt x="3312804" y="1052480"/>
                </a:cubicBezTo>
                <a:cubicBezTo>
                  <a:pt x="3313747" y="1053423"/>
                  <a:pt x="3314456" y="1054366"/>
                  <a:pt x="3315163" y="1055546"/>
                </a:cubicBezTo>
                <a:cubicBezTo>
                  <a:pt x="3316579" y="1057197"/>
                  <a:pt x="3317994" y="1057668"/>
                  <a:pt x="3319882" y="1056253"/>
                </a:cubicBezTo>
                <a:lnTo>
                  <a:pt x="3326949" y="1054400"/>
                </a:lnTo>
                <a:lnTo>
                  <a:pt x="3336535" y="1016867"/>
                </a:lnTo>
                <a:cubicBezTo>
                  <a:pt x="3345506" y="954046"/>
                  <a:pt x="3354478" y="948063"/>
                  <a:pt x="3411296" y="971995"/>
                </a:cubicBezTo>
                <a:cubicBezTo>
                  <a:pt x="3438210" y="983961"/>
                  <a:pt x="3438210" y="983961"/>
                  <a:pt x="3462134" y="954046"/>
                </a:cubicBezTo>
                <a:cubicBezTo>
                  <a:pt x="3483067" y="924132"/>
                  <a:pt x="3503999" y="894218"/>
                  <a:pt x="3545866" y="903192"/>
                </a:cubicBezTo>
                <a:cubicBezTo>
                  <a:pt x="3566799" y="909174"/>
                  <a:pt x="3569789" y="894218"/>
                  <a:pt x="3572780" y="879260"/>
                </a:cubicBezTo>
                <a:cubicBezTo>
                  <a:pt x="3578760" y="852337"/>
                  <a:pt x="3569789" y="828406"/>
                  <a:pt x="3560818" y="804474"/>
                </a:cubicBezTo>
                <a:cubicBezTo>
                  <a:pt x="3545866" y="768577"/>
                  <a:pt x="3545866" y="735671"/>
                  <a:pt x="3563808" y="702765"/>
                </a:cubicBezTo>
                <a:lnTo>
                  <a:pt x="3569555" y="702765"/>
                </a:lnTo>
                <a:lnTo>
                  <a:pt x="3574974" y="691471"/>
                </a:lnTo>
                <a:cubicBezTo>
                  <a:pt x="3580446" y="686325"/>
                  <a:pt x="3587412" y="681013"/>
                  <a:pt x="3590064" y="677694"/>
                </a:cubicBezTo>
                <a:cubicBezTo>
                  <a:pt x="3589532" y="675637"/>
                  <a:pt x="3588238" y="674875"/>
                  <a:pt x="3586537" y="674876"/>
                </a:cubicBezTo>
                <a:close/>
                <a:moveTo>
                  <a:pt x="11047096" y="644639"/>
                </a:moveTo>
                <a:lnTo>
                  <a:pt x="11046879" y="645000"/>
                </a:lnTo>
                <a:lnTo>
                  <a:pt x="11046628" y="644750"/>
                </a:lnTo>
                <a:close/>
                <a:moveTo>
                  <a:pt x="7433933" y="635263"/>
                </a:moveTo>
                <a:cubicBezTo>
                  <a:pt x="7435775" y="634855"/>
                  <a:pt x="7436793" y="636081"/>
                  <a:pt x="7437611" y="637102"/>
                </a:cubicBezTo>
                <a:cubicBezTo>
                  <a:pt x="7440478" y="640373"/>
                  <a:pt x="7443133" y="643643"/>
                  <a:pt x="7448248" y="642008"/>
                </a:cubicBezTo>
                <a:cubicBezTo>
                  <a:pt x="7449268" y="641803"/>
                  <a:pt x="7449879" y="642621"/>
                  <a:pt x="7450290" y="643439"/>
                </a:cubicBezTo>
                <a:cubicBezTo>
                  <a:pt x="7452539" y="647526"/>
                  <a:pt x="7456224" y="650796"/>
                  <a:pt x="7459293" y="654271"/>
                </a:cubicBezTo>
                <a:cubicBezTo>
                  <a:pt x="7463995" y="659585"/>
                  <a:pt x="7466654" y="665511"/>
                  <a:pt x="7464809" y="672664"/>
                </a:cubicBezTo>
                <a:cubicBezTo>
                  <a:pt x="7464193" y="675526"/>
                  <a:pt x="7465837" y="677365"/>
                  <a:pt x="7467469" y="679001"/>
                </a:cubicBezTo>
                <a:cubicBezTo>
                  <a:pt x="7471148" y="682884"/>
                  <a:pt x="7470943" y="684927"/>
                  <a:pt x="7466852" y="687993"/>
                </a:cubicBezTo>
                <a:cubicBezTo>
                  <a:pt x="7462358" y="691058"/>
                  <a:pt x="7462358" y="691058"/>
                  <a:pt x="7466035" y="695554"/>
                </a:cubicBezTo>
                <a:cubicBezTo>
                  <a:pt x="7466852" y="696577"/>
                  <a:pt x="7467469" y="697394"/>
                  <a:pt x="7466247" y="698621"/>
                </a:cubicBezTo>
                <a:cubicBezTo>
                  <a:pt x="7462147" y="703321"/>
                  <a:pt x="7458470" y="708022"/>
                  <a:pt x="7454175" y="712518"/>
                </a:cubicBezTo>
                <a:cubicBezTo>
                  <a:pt x="7451105" y="715993"/>
                  <a:pt x="7447222" y="718241"/>
                  <a:pt x="7442728" y="719262"/>
                </a:cubicBezTo>
                <a:cubicBezTo>
                  <a:pt x="7439861" y="720080"/>
                  <a:pt x="7434344" y="727438"/>
                  <a:pt x="7434137" y="730503"/>
                </a:cubicBezTo>
                <a:cubicBezTo>
                  <a:pt x="7434137" y="731525"/>
                  <a:pt x="7434137" y="732343"/>
                  <a:pt x="7435364" y="732752"/>
                </a:cubicBezTo>
                <a:cubicBezTo>
                  <a:pt x="7441703" y="735613"/>
                  <a:pt x="7444771" y="741132"/>
                  <a:pt x="7447431" y="747058"/>
                </a:cubicBezTo>
                <a:cubicBezTo>
                  <a:pt x="7448039" y="748285"/>
                  <a:pt x="7448447" y="749307"/>
                  <a:pt x="7449066" y="750328"/>
                </a:cubicBezTo>
                <a:cubicBezTo>
                  <a:pt x="7451105" y="753598"/>
                  <a:pt x="7452132" y="756460"/>
                  <a:pt x="7450700" y="760548"/>
                </a:cubicBezTo>
                <a:cubicBezTo>
                  <a:pt x="7449268" y="764635"/>
                  <a:pt x="7451515" y="768723"/>
                  <a:pt x="7453567" y="772402"/>
                </a:cubicBezTo>
                <a:cubicBezTo>
                  <a:pt x="7454383" y="774240"/>
                  <a:pt x="7454792" y="775467"/>
                  <a:pt x="7453356" y="777306"/>
                </a:cubicBezTo>
                <a:cubicBezTo>
                  <a:pt x="7447629" y="785072"/>
                  <a:pt x="7443340" y="793656"/>
                  <a:pt x="7442522" y="803671"/>
                </a:cubicBezTo>
                <a:cubicBezTo>
                  <a:pt x="7442318" y="805101"/>
                  <a:pt x="7441907" y="805715"/>
                  <a:pt x="7440478" y="805306"/>
                </a:cubicBezTo>
                <a:cubicBezTo>
                  <a:pt x="7434750" y="804080"/>
                  <a:pt x="7431070" y="807146"/>
                  <a:pt x="7428002" y="811233"/>
                </a:cubicBezTo>
                <a:cubicBezTo>
                  <a:pt x="7426567" y="813072"/>
                  <a:pt x="7425343" y="814094"/>
                  <a:pt x="7422685" y="812868"/>
                </a:cubicBezTo>
                <a:cubicBezTo>
                  <a:pt x="7419414" y="811029"/>
                  <a:pt x="7416344" y="812663"/>
                  <a:pt x="7413689" y="814912"/>
                </a:cubicBezTo>
                <a:cubicBezTo>
                  <a:pt x="7411438" y="816751"/>
                  <a:pt x="7409185" y="819000"/>
                  <a:pt x="7406938" y="820839"/>
                </a:cubicBezTo>
                <a:cubicBezTo>
                  <a:pt x="7405812" y="821656"/>
                  <a:pt x="7404742" y="822117"/>
                  <a:pt x="7403871" y="821937"/>
                </a:cubicBezTo>
                <a:cubicBezTo>
                  <a:pt x="7403003" y="821758"/>
                  <a:pt x="7402341" y="820941"/>
                  <a:pt x="7402033" y="819204"/>
                </a:cubicBezTo>
                <a:cubicBezTo>
                  <a:pt x="7402033" y="818386"/>
                  <a:pt x="7401824" y="817569"/>
                  <a:pt x="7401417" y="816751"/>
                </a:cubicBezTo>
                <a:cubicBezTo>
                  <a:pt x="7401009" y="815729"/>
                  <a:pt x="7401009" y="814094"/>
                  <a:pt x="7399578" y="813890"/>
                </a:cubicBezTo>
                <a:cubicBezTo>
                  <a:pt x="7398352" y="813890"/>
                  <a:pt x="7397536" y="814912"/>
                  <a:pt x="7396924" y="815729"/>
                </a:cubicBezTo>
                <a:cubicBezTo>
                  <a:pt x="7393854" y="819204"/>
                  <a:pt x="7392629" y="819000"/>
                  <a:pt x="7390786" y="814708"/>
                </a:cubicBezTo>
                <a:cubicBezTo>
                  <a:pt x="7390377" y="813686"/>
                  <a:pt x="7390175" y="812868"/>
                  <a:pt x="7389560" y="812050"/>
                </a:cubicBezTo>
                <a:cubicBezTo>
                  <a:pt x="7388743" y="810825"/>
                  <a:pt x="7387921" y="809802"/>
                  <a:pt x="7385881" y="810620"/>
                </a:cubicBezTo>
                <a:cubicBezTo>
                  <a:pt x="7384035" y="811641"/>
                  <a:pt x="7384035" y="812459"/>
                  <a:pt x="7384448" y="814094"/>
                </a:cubicBezTo>
                <a:lnTo>
                  <a:pt x="7384794" y="817185"/>
                </a:lnTo>
                <a:lnTo>
                  <a:pt x="7368810" y="801290"/>
                </a:lnTo>
                <a:lnTo>
                  <a:pt x="7369727" y="799993"/>
                </a:lnTo>
                <a:cubicBezTo>
                  <a:pt x="7370134" y="798153"/>
                  <a:pt x="7369521" y="796926"/>
                  <a:pt x="7367884" y="796110"/>
                </a:cubicBezTo>
                <a:cubicBezTo>
                  <a:pt x="7366661" y="795496"/>
                  <a:pt x="7365429" y="795087"/>
                  <a:pt x="7364200" y="794474"/>
                </a:cubicBezTo>
                <a:cubicBezTo>
                  <a:pt x="7362159" y="793452"/>
                  <a:pt x="7361340" y="792022"/>
                  <a:pt x="7361755" y="789569"/>
                </a:cubicBezTo>
                <a:cubicBezTo>
                  <a:pt x="7362978" y="782211"/>
                  <a:pt x="7360319" y="777101"/>
                  <a:pt x="7353775" y="773831"/>
                </a:cubicBezTo>
                <a:cubicBezTo>
                  <a:pt x="7352746" y="773218"/>
                  <a:pt x="7350498" y="773423"/>
                  <a:pt x="7350907" y="771584"/>
                </a:cubicBezTo>
                <a:cubicBezTo>
                  <a:pt x="7351108" y="769744"/>
                  <a:pt x="7352955" y="769335"/>
                  <a:pt x="7354796" y="769131"/>
                </a:cubicBezTo>
                <a:cubicBezTo>
                  <a:pt x="7354997" y="769131"/>
                  <a:pt x="7355211" y="769131"/>
                  <a:pt x="7355410" y="769131"/>
                </a:cubicBezTo>
                <a:cubicBezTo>
                  <a:pt x="7360319" y="768314"/>
                  <a:pt x="7361755" y="766065"/>
                  <a:pt x="7359298" y="762182"/>
                </a:cubicBezTo>
                <a:cubicBezTo>
                  <a:pt x="7357050" y="758503"/>
                  <a:pt x="7357661" y="755642"/>
                  <a:pt x="7359708" y="752577"/>
                </a:cubicBezTo>
                <a:cubicBezTo>
                  <a:pt x="7362364" y="748489"/>
                  <a:pt x="7364410" y="744197"/>
                  <a:pt x="7363182" y="739087"/>
                </a:cubicBezTo>
                <a:cubicBezTo>
                  <a:pt x="7362568" y="736840"/>
                  <a:pt x="7364814" y="735817"/>
                  <a:pt x="7366247" y="735409"/>
                </a:cubicBezTo>
                <a:cubicBezTo>
                  <a:pt x="7371561" y="733570"/>
                  <a:pt x="7374019" y="730094"/>
                  <a:pt x="7374630" y="724781"/>
                </a:cubicBezTo>
                <a:cubicBezTo>
                  <a:pt x="7375040" y="721511"/>
                  <a:pt x="7376268" y="720898"/>
                  <a:pt x="7379541" y="722941"/>
                </a:cubicBezTo>
                <a:cubicBezTo>
                  <a:pt x="7386488" y="727233"/>
                  <a:pt x="7396719" y="724168"/>
                  <a:pt x="7399785" y="717015"/>
                </a:cubicBezTo>
                <a:cubicBezTo>
                  <a:pt x="7400399" y="715584"/>
                  <a:pt x="7401214" y="713745"/>
                  <a:pt x="7399785" y="712518"/>
                </a:cubicBezTo>
                <a:cubicBezTo>
                  <a:pt x="7398352" y="711292"/>
                  <a:pt x="7396311" y="710678"/>
                  <a:pt x="7394466" y="711905"/>
                </a:cubicBezTo>
                <a:cubicBezTo>
                  <a:pt x="7393239" y="712518"/>
                  <a:pt x="7392011" y="713540"/>
                  <a:pt x="7390786" y="714358"/>
                </a:cubicBezTo>
                <a:cubicBezTo>
                  <a:pt x="7389560" y="715379"/>
                  <a:pt x="7388333" y="715993"/>
                  <a:pt x="7387313" y="714766"/>
                </a:cubicBezTo>
                <a:cubicBezTo>
                  <a:pt x="7386086" y="713336"/>
                  <a:pt x="7386901" y="712109"/>
                  <a:pt x="7387921" y="711087"/>
                </a:cubicBezTo>
                <a:cubicBezTo>
                  <a:pt x="7388743" y="710066"/>
                  <a:pt x="7389971" y="709248"/>
                  <a:pt x="7390786" y="708431"/>
                </a:cubicBezTo>
                <a:cubicBezTo>
                  <a:pt x="7392629" y="706592"/>
                  <a:pt x="7393645" y="704139"/>
                  <a:pt x="7391808" y="702095"/>
                </a:cubicBezTo>
                <a:cubicBezTo>
                  <a:pt x="7390175" y="700460"/>
                  <a:pt x="7387921" y="702095"/>
                  <a:pt x="7386290" y="703321"/>
                </a:cubicBezTo>
                <a:cubicBezTo>
                  <a:pt x="7384859" y="704343"/>
                  <a:pt x="7383831" y="706183"/>
                  <a:pt x="7381992" y="706795"/>
                </a:cubicBezTo>
                <a:cubicBezTo>
                  <a:pt x="7379335" y="707817"/>
                  <a:pt x="7377698" y="707408"/>
                  <a:pt x="7377902" y="704139"/>
                </a:cubicBezTo>
                <a:cubicBezTo>
                  <a:pt x="7378110" y="699642"/>
                  <a:pt x="7379944" y="695963"/>
                  <a:pt x="7382409" y="692489"/>
                </a:cubicBezTo>
                <a:cubicBezTo>
                  <a:pt x="7385467" y="687993"/>
                  <a:pt x="7385674" y="685540"/>
                  <a:pt x="7382409" y="681248"/>
                </a:cubicBezTo>
                <a:cubicBezTo>
                  <a:pt x="7381376" y="679613"/>
                  <a:pt x="7379748" y="678183"/>
                  <a:pt x="7378314" y="676752"/>
                </a:cubicBezTo>
                <a:cubicBezTo>
                  <a:pt x="7377698" y="676139"/>
                  <a:pt x="7376678" y="675526"/>
                  <a:pt x="7377086" y="674504"/>
                </a:cubicBezTo>
                <a:cubicBezTo>
                  <a:pt x="7377493" y="673278"/>
                  <a:pt x="7378521" y="673073"/>
                  <a:pt x="7379335" y="673278"/>
                </a:cubicBezTo>
                <a:cubicBezTo>
                  <a:pt x="7383014" y="674095"/>
                  <a:pt x="7383831" y="672460"/>
                  <a:pt x="7383635" y="669190"/>
                </a:cubicBezTo>
                <a:cubicBezTo>
                  <a:pt x="7383429" y="665102"/>
                  <a:pt x="7386086" y="662241"/>
                  <a:pt x="7388950" y="659993"/>
                </a:cubicBezTo>
                <a:cubicBezTo>
                  <a:pt x="7391198" y="658154"/>
                  <a:pt x="7391401" y="656723"/>
                  <a:pt x="7389153" y="655088"/>
                </a:cubicBezTo>
                <a:cubicBezTo>
                  <a:pt x="7387921" y="654271"/>
                  <a:pt x="7387109" y="653453"/>
                  <a:pt x="7387520" y="651818"/>
                </a:cubicBezTo>
                <a:cubicBezTo>
                  <a:pt x="7387921" y="649570"/>
                  <a:pt x="7389560" y="649978"/>
                  <a:pt x="7390990" y="649570"/>
                </a:cubicBezTo>
                <a:cubicBezTo>
                  <a:pt x="7391808" y="649365"/>
                  <a:pt x="7392834" y="649365"/>
                  <a:pt x="7393854" y="649161"/>
                </a:cubicBezTo>
                <a:cubicBezTo>
                  <a:pt x="7399373" y="648547"/>
                  <a:pt x="7400604" y="645482"/>
                  <a:pt x="7397332" y="640781"/>
                </a:cubicBezTo>
                <a:cubicBezTo>
                  <a:pt x="7396924" y="640169"/>
                  <a:pt x="7396509" y="639760"/>
                  <a:pt x="7396311" y="639147"/>
                </a:cubicBezTo>
                <a:cubicBezTo>
                  <a:pt x="7395692" y="637920"/>
                  <a:pt x="7395282" y="636286"/>
                  <a:pt x="7396509" y="635468"/>
                </a:cubicBezTo>
                <a:cubicBezTo>
                  <a:pt x="7397536" y="634650"/>
                  <a:pt x="7398966" y="635468"/>
                  <a:pt x="7399785" y="636286"/>
                </a:cubicBezTo>
                <a:cubicBezTo>
                  <a:pt x="7400604" y="637102"/>
                  <a:pt x="7401214" y="637920"/>
                  <a:pt x="7401824" y="638942"/>
                </a:cubicBezTo>
                <a:cubicBezTo>
                  <a:pt x="7403055" y="640373"/>
                  <a:pt x="7404279" y="640781"/>
                  <a:pt x="7405913" y="639556"/>
                </a:cubicBezTo>
                <a:cubicBezTo>
                  <a:pt x="7409802" y="636898"/>
                  <a:pt x="7414098" y="636490"/>
                  <a:pt x="7418389" y="636286"/>
                </a:cubicBezTo>
                <a:cubicBezTo>
                  <a:pt x="7423504" y="635877"/>
                  <a:pt x="7428820" y="636490"/>
                  <a:pt x="7433933" y="635263"/>
                </a:cubicBezTo>
                <a:close/>
                <a:moveTo>
                  <a:pt x="3394788" y="627624"/>
                </a:moveTo>
                <a:lnTo>
                  <a:pt x="3395256" y="627734"/>
                </a:lnTo>
                <a:lnTo>
                  <a:pt x="3395003" y="627985"/>
                </a:lnTo>
                <a:close/>
                <a:moveTo>
                  <a:pt x="8029108" y="625311"/>
                </a:moveTo>
                <a:cubicBezTo>
                  <a:pt x="8036039" y="624769"/>
                  <a:pt x="8042290" y="625312"/>
                  <a:pt x="8044465" y="629112"/>
                </a:cubicBezTo>
                <a:cubicBezTo>
                  <a:pt x="8057509" y="650826"/>
                  <a:pt x="8091209" y="642140"/>
                  <a:pt x="8098818" y="671455"/>
                </a:cubicBezTo>
                <a:cubicBezTo>
                  <a:pt x="8100992" y="680141"/>
                  <a:pt x="8116211" y="685569"/>
                  <a:pt x="8102081" y="697512"/>
                </a:cubicBezTo>
                <a:cubicBezTo>
                  <a:pt x="8097732" y="700769"/>
                  <a:pt x="8098818" y="707284"/>
                  <a:pt x="8103167" y="708369"/>
                </a:cubicBezTo>
                <a:cubicBezTo>
                  <a:pt x="8120562" y="714884"/>
                  <a:pt x="8119475" y="724655"/>
                  <a:pt x="8108604" y="737685"/>
                </a:cubicBezTo>
                <a:cubicBezTo>
                  <a:pt x="8105342" y="742027"/>
                  <a:pt x="8109688" y="747456"/>
                  <a:pt x="8111866" y="751798"/>
                </a:cubicBezTo>
                <a:cubicBezTo>
                  <a:pt x="8116211" y="758313"/>
                  <a:pt x="8117300" y="764828"/>
                  <a:pt x="8110778" y="770257"/>
                </a:cubicBezTo>
                <a:cubicBezTo>
                  <a:pt x="8104253" y="775685"/>
                  <a:pt x="8105342" y="782199"/>
                  <a:pt x="8103167" y="788714"/>
                </a:cubicBezTo>
                <a:cubicBezTo>
                  <a:pt x="8097732" y="805000"/>
                  <a:pt x="8091209" y="825628"/>
                  <a:pt x="8079252" y="833228"/>
                </a:cubicBezTo>
                <a:cubicBezTo>
                  <a:pt x="8053161" y="849514"/>
                  <a:pt x="8028157" y="866886"/>
                  <a:pt x="8002067" y="882086"/>
                </a:cubicBezTo>
                <a:cubicBezTo>
                  <a:pt x="7999892" y="882086"/>
                  <a:pt x="7995542" y="882086"/>
                  <a:pt x="7994453" y="879915"/>
                </a:cubicBezTo>
                <a:cubicBezTo>
                  <a:pt x="7983584" y="870144"/>
                  <a:pt x="7973799" y="861458"/>
                  <a:pt x="7959670" y="875572"/>
                </a:cubicBezTo>
                <a:cubicBezTo>
                  <a:pt x="7955320" y="881001"/>
                  <a:pt x="7952059" y="875572"/>
                  <a:pt x="7950973" y="871229"/>
                </a:cubicBezTo>
                <a:cubicBezTo>
                  <a:pt x="7947712" y="852772"/>
                  <a:pt x="7939014" y="852772"/>
                  <a:pt x="7925967" y="863629"/>
                </a:cubicBezTo>
                <a:cubicBezTo>
                  <a:pt x="7917269" y="871229"/>
                  <a:pt x="7912920" y="869058"/>
                  <a:pt x="7912920" y="858200"/>
                </a:cubicBezTo>
                <a:cubicBezTo>
                  <a:pt x="7912920" y="851685"/>
                  <a:pt x="7915096" y="844086"/>
                  <a:pt x="7905311" y="843000"/>
                </a:cubicBezTo>
                <a:cubicBezTo>
                  <a:pt x="7883569" y="838657"/>
                  <a:pt x="7874872" y="823457"/>
                  <a:pt x="7875957" y="803914"/>
                </a:cubicBezTo>
                <a:cubicBezTo>
                  <a:pt x="7877047" y="789799"/>
                  <a:pt x="7872698" y="783285"/>
                  <a:pt x="7862914" y="777857"/>
                </a:cubicBezTo>
                <a:cubicBezTo>
                  <a:pt x="7862914" y="773513"/>
                  <a:pt x="7862914" y="769170"/>
                  <a:pt x="7862914" y="764828"/>
                </a:cubicBezTo>
                <a:cubicBezTo>
                  <a:pt x="7873787" y="758313"/>
                  <a:pt x="7877047" y="746370"/>
                  <a:pt x="7873787" y="735512"/>
                </a:cubicBezTo>
                <a:cubicBezTo>
                  <a:pt x="7868349" y="715970"/>
                  <a:pt x="7874872" y="700769"/>
                  <a:pt x="7889004" y="687741"/>
                </a:cubicBezTo>
                <a:cubicBezTo>
                  <a:pt x="7894439" y="682312"/>
                  <a:pt x="7899873" y="677969"/>
                  <a:pt x="7902049" y="670370"/>
                </a:cubicBezTo>
                <a:cubicBezTo>
                  <a:pt x="7904223" y="658426"/>
                  <a:pt x="7910747" y="651911"/>
                  <a:pt x="7922706" y="652997"/>
                </a:cubicBezTo>
                <a:cubicBezTo>
                  <a:pt x="7931402" y="652997"/>
                  <a:pt x="7937926" y="647569"/>
                  <a:pt x="7941186" y="643226"/>
                </a:cubicBezTo>
                <a:cubicBezTo>
                  <a:pt x="7959670" y="617168"/>
                  <a:pt x="7986846" y="631283"/>
                  <a:pt x="8009675" y="628025"/>
                </a:cubicBezTo>
                <a:cubicBezTo>
                  <a:pt x="8014567" y="627482"/>
                  <a:pt x="8022177" y="625854"/>
                  <a:pt x="8029108" y="625311"/>
                </a:cubicBezTo>
                <a:close/>
                <a:moveTo>
                  <a:pt x="6059638" y="614178"/>
                </a:moveTo>
                <a:cubicBezTo>
                  <a:pt x="6062811" y="614214"/>
                  <a:pt x="6065838" y="615006"/>
                  <a:pt x="6068290" y="618463"/>
                </a:cubicBezTo>
                <a:cubicBezTo>
                  <a:pt x="6069155" y="619615"/>
                  <a:pt x="6070885" y="621055"/>
                  <a:pt x="6073191" y="621055"/>
                </a:cubicBezTo>
                <a:cubicBezTo>
                  <a:pt x="6076364" y="620767"/>
                  <a:pt x="6078096" y="622496"/>
                  <a:pt x="6078671" y="625664"/>
                </a:cubicBezTo>
                <a:cubicBezTo>
                  <a:pt x="6079246" y="627680"/>
                  <a:pt x="6080689" y="628832"/>
                  <a:pt x="6082131" y="630272"/>
                </a:cubicBezTo>
                <a:cubicBezTo>
                  <a:pt x="6085880" y="633727"/>
                  <a:pt x="6087612" y="637760"/>
                  <a:pt x="6086168" y="642945"/>
                </a:cubicBezTo>
                <a:cubicBezTo>
                  <a:pt x="6085305" y="645825"/>
                  <a:pt x="6086168" y="648993"/>
                  <a:pt x="6089054" y="650722"/>
                </a:cubicBezTo>
                <a:cubicBezTo>
                  <a:pt x="6089054" y="651873"/>
                  <a:pt x="6089054" y="653025"/>
                  <a:pt x="6089054" y="654178"/>
                </a:cubicBezTo>
                <a:cubicBezTo>
                  <a:pt x="6086456" y="655617"/>
                  <a:pt x="6085305" y="657346"/>
                  <a:pt x="6085593" y="661090"/>
                </a:cubicBezTo>
                <a:cubicBezTo>
                  <a:pt x="6085880" y="666274"/>
                  <a:pt x="6083574" y="670307"/>
                  <a:pt x="6077806" y="671460"/>
                </a:cubicBezTo>
                <a:cubicBezTo>
                  <a:pt x="6075211" y="671747"/>
                  <a:pt x="6075788" y="673763"/>
                  <a:pt x="6075788" y="675491"/>
                </a:cubicBezTo>
                <a:cubicBezTo>
                  <a:pt x="6075788" y="678372"/>
                  <a:pt x="6074633" y="678948"/>
                  <a:pt x="6072329" y="676931"/>
                </a:cubicBezTo>
                <a:cubicBezTo>
                  <a:pt x="6068866" y="674052"/>
                  <a:pt x="6066559" y="674052"/>
                  <a:pt x="6065693" y="678948"/>
                </a:cubicBezTo>
                <a:cubicBezTo>
                  <a:pt x="6065406" y="680099"/>
                  <a:pt x="6064540" y="681540"/>
                  <a:pt x="6063388" y="680099"/>
                </a:cubicBezTo>
                <a:cubicBezTo>
                  <a:pt x="6059637" y="676355"/>
                  <a:pt x="6057041" y="678660"/>
                  <a:pt x="6054160" y="681252"/>
                </a:cubicBezTo>
                <a:cubicBezTo>
                  <a:pt x="6053870" y="681828"/>
                  <a:pt x="6052716" y="681828"/>
                  <a:pt x="6052141" y="681828"/>
                </a:cubicBezTo>
                <a:cubicBezTo>
                  <a:pt x="6045218" y="677796"/>
                  <a:pt x="6038584" y="673187"/>
                  <a:pt x="6031663" y="668866"/>
                </a:cubicBezTo>
                <a:cubicBezTo>
                  <a:pt x="6028492" y="666850"/>
                  <a:pt x="6026762" y="661379"/>
                  <a:pt x="6025319" y="657058"/>
                </a:cubicBezTo>
                <a:cubicBezTo>
                  <a:pt x="6024743" y="655330"/>
                  <a:pt x="6025032" y="653601"/>
                  <a:pt x="6023301" y="652162"/>
                </a:cubicBezTo>
                <a:cubicBezTo>
                  <a:pt x="6021571" y="650722"/>
                  <a:pt x="6021857" y="648993"/>
                  <a:pt x="6023013" y="647265"/>
                </a:cubicBezTo>
                <a:cubicBezTo>
                  <a:pt x="6023588" y="646113"/>
                  <a:pt x="6024743" y="644673"/>
                  <a:pt x="6023879" y="643521"/>
                </a:cubicBezTo>
                <a:cubicBezTo>
                  <a:pt x="6020995" y="640065"/>
                  <a:pt x="6020706" y="637472"/>
                  <a:pt x="6025319" y="635744"/>
                </a:cubicBezTo>
                <a:cubicBezTo>
                  <a:pt x="6026474" y="635456"/>
                  <a:pt x="6026762" y="633727"/>
                  <a:pt x="6025608" y="632864"/>
                </a:cubicBezTo>
                <a:cubicBezTo>
                  <a:pt x="6021857" y="629696"/>
                  <a:pt x="6025897" y="628256"/>
                  <a:pt x="6026474" y="625951"/>
                </a:cubicBezTo>
                <a:cubicBezTo>
                  <a:pt x="6028492" y="618175"/>
                  <a:pt x="6037432" y="620478"/>
                  <a:pt x="6040894" y="614718"/>
                </a:cubicBezTo>
                <a:cubicBezTo>
                  <a:pt x="6042046" y="612702"/>
                  <a:pt x="6047525" y="614142"/>
                  <a:pt x="6050121" y="614431"/>
                </a:cubicBezTo>
                <a:cubicBezTo>
                  <a:pt x="6053148" y="614863"/>
                  <a:pt x="6056465" y="614142"/>
                  <a:pt x="6059638" y="614178"/>
                </a:cubicBezTo>
                <a:close/>
                <a:moveTo>
                  <a:pt x="4648105" y="595669"/>
                </a:moveTo>
                <a:lnTo>
                  <a:pt x="4647445" y="596769"/>
                </a:lnTo>
                <a:lnTo>
                  <a:pt x="4646681" y="596006"/>
                </a:lnTo>
                <a:close/>
                <a:moveTo>
                  <a:pt x="10264008" y="590978"/>
                </a:moveTo>
                <a:cubicBezTo>
                  <a:pt x="10269086" y="592921"/>
                  <a:pt x="10273771" y="595643"/>
                  <a:pt x="10275725" y="601862"/>
                </a:cubicBezTo>
                <a:cubicBezTo>
                  <a:pt x="10276115" y="603028"/>
                  <a:pt x="10278457" y="603806"/>
                  <a:pt x="10278066" y="606138"/>
                </a:cubicBezTo>
                <a:cubicBezTo>
                  <a:pt x="10276896" y="612357"/>
                  <a:pt x="10281581" y="614301"/>
                  <a:pt x="10285487" y="615467"/>
                </a:cubicBezTo>
                <a:cubicBezTo>
                  <a:pt x="10288220" y="616245"/>
                  <a:pt x="10289782" y="617411"/>
                  <a:pt x="10291344" y="618966"/>
                </a:cubicBezTo>
                <a:cubicBezTo>
                  <a:pt x="10296030" y="623241"/>
                  <a:pt x="10295639" y="629073"/>
                  <a:pt x="10296809" y="634515"/>
                </a:cubicBezTo>
                <a:cubicBezTo>
                  <a:pt x="10297590" y="639568"/>
                  <a:pt x="10295249" y="643455"/>
                  <a:pt x="10293296" y="647731"/>
                </a:cubicBezTo>
                <a:cubicBezTo>
                  <a:pt x="10291344" y="652396"/>
                  <a:pt x="10288220" y="656283"/>
                  <a:pt x="10282363" y="656283"/>
                </a:cubicBezTo>
                <a:cubicBezTo>
                  <a:pt x="10281581" y="656283"/>
                  <a:pt x="10281190" y="656672"/>
                  <a:pt x="10281190" y="657838"/>
                </a:cubicBezTo>
                <a:cubicBezTo>
                  <a:pt x="10278457" y="657838"/>
                  <a:pt x="10276115" y="657838"/>
                  <a:pt x="10273382" y="657838"/>
                </a:cubicBezTo>
                <a:cubicBezTo>
                  <a:pt x="10271430" y="655117"/>
                  <a:pt x="10267526" y="655506"/>
                  <a:pt x="10264788" y="653562"/>
                </a:cubicBezTo>
                <a:cubicBezTo>
                  <a:pt x="10262055" y="651619"/>
                  <a:pt x="10259712" y="650064"/>
                  <a:pt x="10258932" y="646566"/>
                </a:cubicBezTo>
                <a:cubicBezTo>
                  <a:pt x="10258541" y="642678"/>
                  <a:pt x="10256591" y="639180"/>
                  <a:pt x="10254637" y="636069"/>
                </a:cubicBezTo>
                <a:cubicBezTo>
                  <a:pt x="10252687" y="632571"/>
                  <a:pt x="10251122" y="629073"/>
                  <a:pt x="10249171" y="625962"/>
                </a:cubicBezTo>
                <a:cubicBezTo>
                  <a:pt x="10247610" y="622464"/>
                  <a:pt x="10244486" y="619355"/>
                  <a:pt x="10240582" y="617411"/>
                </a:cubicBezTo>
                <a:cubicBezTo>
                  <a:pt x="10240582" y="612746"/>
                  <a:pt x="10240582" y="608081"/>
                  <a:pt x="10240582" y="603417"/>
                </a:cubicBezTo>
                <a:cubicBezTo>
                  <a:pt x="10242924" y="602251"/>
                  <a:pt x="10244096" y="600695"/>
                  <a:pt x="10245266" y="597974"/>
                </a:cubicBezTo>
                <a:cubicBezTo>
                  <a:pt x="10246827" y="594865"/>
                  <a:pt x="10250343" y="592532"/>
                  <a:pt x="10253859" y="592532"/>
                </a:cubicBezTo>
                <a:cubicBezTo>
                  <a:pt x="10257372" y="592532"/>
                  <a:pt x="10260494" y="591755"/>
                  <a:pt x="10264008" y="590978"/>
                </a:cubicBezTo>
                <a:close/>
                <a:moveTo>
                  <a:pt x="7190286" y="590977"/>
                </a:moveTo>
                <a:cubicBezTo>
                  <a:pt x="7195361" y="592921"/>
                  <a:pt x="7200045" y="595642"/>
                  <a:pt x="7201999" y="601862"/>
                </a:cubicBezTo>
                <a:cubicBezTo>
                  <a:pt x="7202390" y="603028"/>
                  <a:pt x="7204734" y="603806"/>
                  <a:pt x="7204343" y="606137"/>
                </a:cubicBezTo>
                <a:cubicBezTo>
                  <a:pt x="7203171" y="612357"/>
                  <a:pt x="7207854" y="614301"/>
                  <a:pt x="7211760" y="615467"/>
                </a:cubicBezTo>
                <a:cubicBezTo>
                  <a:pt x="7214492" y="616244"/>
                  <a:pt x="7216055" y="617411"/>
                  <a:pt x="7217621" y="618965"/>
                </a:cubicBezTo>
                <a:cubicBezTo>
                  <a:pt x="7222306" y="623241"/>
                  <a:pt x="7221914" y="629072"/>
                  <a:pt x="7223084" y="634515"/>
                </a:cubicBezTo>
                <a:cubicBezTo>
                  <a:pt x="7223865" y="639568"/>
                  <a:pt x="7221525" y="643455"/>
                  <a:pt x="7219572" y="647731"/>
                </a:cubicBezTo>
                <a:cubicBezTo>
                  <a:pt x="7217621" y="652396"/>
                  <a:pt x="7214492" y="656283"/>
                  <a:pt x="7208637" y="656283"/>
                </a:cubicBezTo>
                <a:cubicBezTo>
                  <a:pt x="7207854" y="656283"/>
                  <a:pt x="7207467" y="656671"/>
                  <a:pt x="7207467" y="657838"/>
                </a:cubicBezTo>
                <a:cubicBezTo>
                  <a:pt x="7204734" y="657838"/>
                  <a:pt x="7202390" y="657838"/>
                  <a:pt x="7199654" y="657838"/>
                </a:cubicBezTo>
                <a:cubicBezTo>
                  <a:pt x="7197703" y="655117"/>
                  <a:pt x="7193799" y="655506"/>
                  <a:pt x="7191067" y="653562"/>
                </a:cubicBezTo>
                <a:cubicBezTo>
                  <a:pt x="7188336" y="651618"/>
                  <a:pt x="7185993" y="650064"/>
                  <a:pt x="7185209" y="646565"/>
                </a:cubicBezTo>
                <a:cubicBezTo>
                  <a:pt x="7184821" y="642678"/>
                  <a:pt x="7182862" y="639179"/>
                  <a:pt x="7180915" y="636069"/>
                </a:cubicBezTo>
                <a:cubicBezTo>
                  <a:pt x="7178960" y="632571"/>
                  <a:pt x="7177402" y="629072"/>
                  <a:pt x="7175448" y="625962"/>
                </a:cubicBezTo>
                <a:cubicBezTo>
                  <a:pt x="7173889" y="622464"/>
                  <a:pt x="7170764" y="619355"/>
                  <a:pt x="7166858" y="617411"/>
                </a:cubicBezTo>
                <a:cubicBezTo>
                  <a:pt x="7166858" y="612746"/>
                  <a:pt x="7166858" y="608081"/>
                  <a:pt x="7166858" y="603416"/>
                </a:cubicBezTo>
                <a:cubicBezTo>
                  <a:pt x="7169204" y="602251"/>
                  <a:pt x="7170374" y="600695"/>
                  <a:pt x="7171546" y="597974"/>
                </a:cubicBezTo>
                <a:cubicBezTo>
                  <a:pt x="7173106" y="594865"/>
                  <a:pt x="7176619" y="592532"/>
                  <a:pt x="7180131" y="592532"/>
                </a:cubicBezTo>
                <a:cubicBezTo>
                  <a:pt x="7183646" y="592532"/>
                  <a:pt x="7186773" y="591755"/>
                  <a:pt x="7190286" y="590977"/>
                </a:cubicBezTo>
                <a:close/>
                <a:moveTo>
                  <a:pt x="5629011" y="588863"/>
                </a:moveTo>
                <a:cubicBezTo>
                  <a:pt x="5632527" y="589640"/>
                  <a:pt x="5635651" y="590418"/>
                  <a:pt x="5639165" y="590418"/>
                </a:cubicBezTo>
                <a:cubicBezTo>
                  <a:pt x="5642679" y="590418"/>
                  <a:pt x="5646195" y="592751"/>
                  <a:pt x="5647755" y="595860"/>
                </a:cubicBezTo>
                <a:cubicBezTo>
                  <a:pt x="5648927" y="598581"/>
                  <a:pt x="5650099" y="600137"/>
                  <a:pt x="5652441" y="601302"/>
                </a:cubicBezTo>
                <a:cubicBezTo>
                  <a:pt x="5652441" y="605967"/>
                  <a:pt x="5652441" y="610632"/>
                  <a:pt x="5652441" y="615297"/>
                </a:cubicBezTo>
                <a:cubicBezTo>
                  <a:pt x="5648537" y="617240"/>
                  <a:pt x="5645414" y="620349"/>
                  <a:pt x="5643849" y="623848"/>
                </a:cubicBezTo>
                <a:cubicBezTo>
                  <a:pt x="5641900" y="626958"/>
                  <a:pt x="5640337" y="630456"/>
                  <a:pt x="5638384" y="633955"/>
                </a:cubicBezTo>
                <a:cubicBezTo>
                  <a:pt x="5636433" y="637065"/>
                  <a:pt x="5634480" y="640563"/>
                  <a:pt x="5634090" y="644451"/>
                </a:cubicBezTo>
                <a:cubicBezTo>
                  <a:pt x="5633308" y="647949"/>
                  <a:pt x="5630965" y="649504"/>
                  <a:pt x="5628233" y="651448"/>
                </a:cubicBezTo>
                <a:cubicBezTo>
                  <a:pt x="5625498" y="653392"/>
                  <a:pt x="5621594" y="653002"/>
                  <a:pt x="5619641" y="655723"/>
                </a:cubicBezTo>
                <a:cubicBezTo>
                  <a:pt x="5616909" y="655723"/>
                  <a:pt x="5614565" y="655723"/>
                  <a:pt x="5611833" y="655723"/>
                </a:cubicBezTo>
                <a:cubicBezTo>
                  <a:pt x="5611833" y="654557"/>
                  <a:pt x="5611442" y="654169"/>
                  <a:pt x="5610661" y="654169"/>
                </a:cubicBezTo>
                <a:cubicBezTo>
                  <a:pt x="5604803" y="654169"/>
                  <a:pt x="5601680" y="650281"/>
                  <a:pt x="5599727" y="645616"/>
                </a:cubicBezTo>
                <a:cubicBezTo>
                  <a:pt x="5597773" y="641341"/>
                  <a:pt x="5595432" y="637453"/>
                  <a:pt x="5596214" y="632400"/>
                </a:cubicBezTo>
                <a:cubicBezTo>
                  <a:pt x="5597385" y="626958"/>
                  <a:pt x="5596995" y="621127"/>
                  <a:pt x="5601680" y="616851"/>
                </a:cubicBezTo>
                <a:cubicBezTo>
                  <a:pt x="5603240" y="615297"/>
                  <a:pt x="5604803" y="614130"/>
                  <a:pt x="5607536" y="613353"/>
                </a:cubicBezTo>
                <a:cubicBezTo>
                  <a:pt x="5611442" y="612186"/>
                  <a:pt x="5616127" y="610242"/>
                  <a:pt x="5614955" y="604023"/>
                </a:cubicBezTo>
                <a:cubicBezTo>
                  <a:pt x="5614565" y="601691"/>
                  <a:pt x="5616909" y="600914"/>
                  <a:pt x="5617299" y="599747"/>
                </a:cubicBezTo>
                <a:cubicBezTo>
                  <a:pt x="5619250" y="593528"/>
                  <a:pt x="5623937" y="590807"/>
                  <a:pt x="5629011" y="588863"/>
                </a:cubicBezTo>
                <a:close/>
                <a:moveTo>
                  <a:pt x="1938863" y="586191"/>
                </a:moveTo>
                <a:cubicBezTo>
                  <a:pt x="1942605" y="587019"/>
                  <a:pt x="1945932" y="587847"/>
                  <a:pt x="1949675" y="587847"/>
                </a:cubicBezTo>
                <a:cubicBezTo>
                  <a:pt x="1953418" y="587847"/>
                  <a:pt x="1957159" y="590331"/>
                  <a:pt x="1958824" y="593642"/>
                </a:cubicBezTo>
                <a:cubicBezTo>
                  <a:pt x="1960070" y="596540"/>
                  <a:pt x="1961318" y="598197"/>
                  <a:pt x="1963813" y="599438"/>
                </a:cubicBezTo>
                <a:cubicBezTo>
                  <a:pt x="1963813" y="604406"/>
                  <a:pt x="1963813" y="609374"/>
                  <a:pt x="1963813" y="614342"/>
                </a:cubicBezTo>
                <a:cubicBezTo>
                  <a:pt x="1959655" y="616412"/>
                  <a:pt x="1956329" y="619723"/>
                  <a:pt x="1954665" y="623449"/>
                </a:cubicBezTo>
                <a:cubicBezTo>
                  <a:pt x="1952585" y="626761"/>
                  <a:pt x="1950923" y="630487"/>
                  <a:pt x="1948843" y="634212"/>
                </a:cubicBezTo>
                <a:cubicBezTo>
                  <a:pt x="1946764" y="637524"/>
                  <a:pt x="1944684" y="641251"/>
                  <a:pt x="1944269" y="645390"/>
                </a:cubicBezTo>
                <a:cubicBezTo>
                  <a:pt x="1943437" y="649117"/>
                  <a:pt x="1940943" y="650772"/>
                  <a:pt x="1938030" y="652842"/>
                </a:cubicBezTo>
                <a:cubicBezTo>
                  <a:pt x="1935120" y="654912"/>
                  <a:pt x="1930961" y="654498"/>
                  <a:pt x="1928883" y="657396"/>
                </a:cubicBezTo>
                <a:cubicBezTo>
                  <a:pt x="1925972" y="657396"/>
                  <a:pt x="1923476" y="657396"/>
                  <a:pt x="1920566" y="657396"/>
                </a:cubicBezTo>
                <a:cubicBezTo>
                  <a:pt x="1920566" y="656153"/>
                  <a:pt x="1920149" y="655740"/>
                  <a:pt x="1919319" y="655740"/>
                </a:cubicBezTo>
                <a:cubicBezTo>
                  <a:pt x="1913080" y="655740"/>
                  <a:pt x="1909754" y="651600"/>
                  <a:pt x="1907674" y="646632"/>
                </a:cubicBezTo>
                <a:cubicBezTo>
                  <a:pt x="1905595" y="642078"/>
                  <a:pt x="1903100" y="637939"/>
                  <a:pt x="1903932" y="632557"/>
                </a:cubicBezTo>
                <a:cubicBezTo>
                  <a:pt x="1905180" y="626761"/>
                  <a:pt x="1904764" y="620551"/>
                  <a:pt x="1909754" y="615997"/>
                </a:cubicBezTo>
                <a:cubicBezTo>
                  <a:pt x="1911417" y="614342"/>
                  <a:pt x="1913080" y="613099"/>
                  <a:pt x="1915991" y="612272"/>
                </a:cubicBezTo>
                <a:cubicBezTo>
                  <a:pt x="1920149" y="611030"/>
                  <a:pt x="1925140" y="608960"/>
                  <a:pt x="1923893" y="602336"/>
                </a:cubicBezTo>
                <a:cubicBezTo>
                  <a:pt x="1923476" y="599852"/>
                  <a:pt x="1925972" y="599025"/>
                  <a:pt x="1926388" y="597783"/>
                </a:cubicBezTo>
                <a:cubicBezTo>
                  <a:pt x="1928466" y="591159"/>
                  <a:pt x="1933456" y="588261"/>
                  <a:pt x="1938863" y="586191"/>
                </a:cubicBezTo>
                <a:close/>
                <a:moveTo>
                  <a:pt x="10542006" y="581236"/>
                </a:moveTo>
                <a:cubicBezTo>
                  <a:pt x="10546256" y="581188"/>
                  <a:pt x="10550699" y="582153"/>
                  <a:pt x="10554756" y="581574"/>
                </a:cubicBezTo>
                <a:cubicBezTo>
                  <a:pt x="10558235" y="581188"/>
                  <a:pt x="10565573" y="579258"/>
                  <a:pt x="10567119" y="581960"/>
                </a:cubicBezTo>
                <a:cubicBezTo>
                  <a:pt x="10571755" y="589677"/>
                  <a:pt x="10583733" y="586589"/>
                  <a:pt x="10586438" y="597008"/>
                </a:cubicBezTo>
                <a:cubicBezTo>
                  <a:pt x="10587210" y="600095"/>
                  <a:pt x="10592620" y="602025"/>
                  <a:pt x="10587598" y="606270"/>
                </a:cubicBezTo>
                <a:cubicBezTo>
                  <a:pt x="10586052" y="607428"/>
                  <a:pt x="10586438" y="609742"/>
                  <a:pt x="10587983" y="610128"/>
                </a:cubicBezTo>
                <a:cubicBezTo>
                  <a:pt x="10594166" y="612443"/>
                  <a:pt x="10593778" y="615917"/>
                  <a:pt x="10589915" y="620547"/>
                </a:cubicBezTo>
                <a:cubicBezTo>
                  <a:pt x="10588756" y="622090"/>
                  <a:pt x="10590301" y="624020"/>
                  <a:pt x="10591074" y="625563"/>
                </a:cubicBezTo>
                <a:cubicBezTo>
                  <a:pt x="10592620" y="627879"/>
                  <a:pt x="10593006" y="630194"/>
                  <a:pt x="10590688" y="632124"/>
                </a:cubicBezTo>
                <a:cubicBezTo>
                  <a:pt x="10588369" y="634052"/>
                  <a:pt x="10588756" y="636368"/>
                  <a:pt x="10587983" y="638683"/>
                </a:cubicBezTo>
                <a:cubicBezTo>
                  <a:pt x="10586052" y="644471"/>
                  <a:pt x="10583733" y="651803"/>
                  <a:pt x="10579484" y="654505"/>
                </a:cubicBezTo>
                <a:cubicBezTo>
                  <a:pt x="10570210" y="660292"/>
                  <a:pt x="10561325" y="666467"/>
                  <a:pt x="10552052" y="671869"/>
                </a:cubicBezTo>
                <a:cubicBezTo>
                  <a:pt x="10551280" y="671869"/>
                  <a:pt x="10549734" y="671869"/>
                  <a:pt x="10549347" y="671097"/>
                </a:cubicBezTo>
                <a:cubicBezTo>
                  <a:pt x="10547416" y="669361"/>
                  <a:pt x="10545579" y="667721"/>
                  <a:pt x="10543599" y="667141"/>
                </a:cubicBezTo>
                <a:lnTo>
                  <a:pt x="10537539" y="669351"/>
                </a:lnTo>
                <a:lnTo>
                  <a:pt x="10538535" y="672665"/>
                </a:lnTo>
                <a:cubicBezTo>
                  <a:pt x="10537920" y="675527"/>
                  <a:pt x="10539557" y="677365"/>
                  <a:pt x="10541192" y="679001"/>
                </a:cubicBezTo>
                <a:cubicBezTo>
                  <a:pt x="10544872" y="682884"/>
                  <a:pt x="10544668" y="684927"/>
                  <a:pt x="10540578" y="687993"/>
                </a:cubicBezTo>
                <a:cubicBezTo>
                  <a:pt x="10536081" y="691058"/>
                  <a:pt x="10536081" y="691058"/>
                  <a:pt x="10539760" y="695555"/>
                </a:cubicBezTo>
                <a:cubicBezTo>
                  <a:pt x="10540578" y="696577"/>
                  <a:pt x="10541192" y="697395"/>
                  <a:pt x="10539965" y="698621"/>
                </a:cubicBezTo>
                <a:cubicBezTo>
                  <a:pt x="10535876" y="703321"/>
                  <a:pt x="10532196" y="708022"/>
                  <a:pt x="10527901" y="712519"/>
                </a:cubicBezTo>
                <a:cubicBezTo>
                  <a:pt x="10524836" y="715993"/>
                  <a:pt x="10520948" y="718242"/>
                  <a:pt x="10516450" y="719263"/>
                </a:cubicBezTo>
                <a:cubicBezTo>
                  <a:pt x="10513587" y="720080"/>
                  <a:pt x="10508068" y="727438"/>
                  <a:pt x="10507861" y="730503"/>
                </a:cubicBezTo>
                <a:cubicBezTo>
                  <a:pt x="10507861" y="731526"/>
                  <a:pt x="10507861" y="732343"/>
                  <a:pt x="10509090" y="732752"/>
                </a:cubicBezTo>
                <a:cubicBezTo>
                  <a:pt x="10515428" y="735613"/>
                  <a:pt x="10518496" y="741132"/>
                  <a:pt x="10521155" y="747058"/>
                </a:cubicBezTo>
                <a:cubicBezTo>
                  <a:pt x="10521767" y="748285"/>
                  <a:pt x="10522176" y="749307"/>
                  <a:pt x="10522790" y="750328"/>
                </a:cubicBezTo>
                <a:cubicBezTo>
                  <a:pt x="10524836" y="753598"/>
                  <a:pt x="10525857" y="756460"/>
                  <a:pt x="10524424" y="760548"/>
                </a:cubicBezTo>
                <a:cubicBezTo>
                  <a:pt x="10522995" y="764635"/>
                  <a:pt x="10525244" y="768723"/>
                  <a:pt x="10527288" y="772402"/>
                </a:cubicBezTo>
                <a:cubicBezTo>
                  <a:pt x="10528108" y="774241"/>
                  <a:pt x="10528516" y="775467"/>
                  <a:pt x="10527082" y="777306"/>
                </a:cubicBezTo>
                <a:cubicBezTo>
                  <a:pt x="10521359" y="785072"/>
                  <a:pt x="10517063" y="793657"/>
                  <a:pt x="10516246" y="803672"/>
                </a:cubicBezTo>
                <a:cubicBezTo>
                  <a:pt x="10516042" y="805102"/>
                  <a:pt x="10515633" y="805715"/>
                  <a:pt x="10514202" y="805306"/>
                </a:cubicBezTo>
                <a:cubicBezTo>
                  <a:pt x="10508476" y="804081"/>
                  <a:pt x="10504796" y="807146"/>
                  <a:pt x="10501728" y="811234"/>
                </a:cubicBezTo>
                <a:cubicBezTo>
                  <a:pt x="10500296" y="813072"/>
                  <a:pt x="10499069" y="814095"/>
                  <a:pt x="10496410" y="812868"/>
                </a:cubicBezTo>
                <a:cubicBezTo>
                  <a:pt x="10493139" y="811029"/>
                  <a:pt x="10490073" y="812664"/>
                  <a:pt x="10487414" y="814912"/>
                </a:cubicBezTo>
                <a:cubicBezTo>
                  <a:pt x="10485165" y="816751"/>
                  <a:pt x="10482914" y="819000"/>
                  <a:pt x="10480666" y="820839"/>
                </a:cubicBezTo>
                <a:cubicBezTo>
                  <a:pt x="10479542" y="821657"/>
                  <a:pt x="10478468" y="822117"/>
                  <a:pt x="10477599" y="821938"/>
                </a:cubicBezTo>
                <a:cubicBezTo>
                  <a:pt x="10476729" y="821758"/>
                  <a:pt x="10476066" y="820942"/>
                  <a:pt x="10475759" y="819204"/>
                </a:cubicBezTo>
                <a:cubicBezTo>
                  <a:pt x="10475759" y="818387"/>
                  <a:pt x="10475554" y="817569"/>
                  <a:pt x="10475146" y="816751"/>
                </a:cubicBezTo>
                <a:cubicBezTo>
                  <a:pt x="10474736" y="815729"/>
                  <a:pt x="10474736" y="814095"/>
                  <a:pt x="10473306" y="813890"/>
                </a:cubicBezTo>
                <a:cubicBezTo>
                  <a:pt x="10472078" y="813890"/>
                  <a:pt x="10471260" y="814912"/>
                  <a:pt x="10470647" y="815729"/>
                </a:cubicBezTo>
                <a:cubicBezTo>
                  <a:pt x="10467580" y="819204"/>
                  <a:pt x="10466353" y="819000"/>
                  <a:pt x="10464512" y="814708"/>
                </a:cubicBezTo>
                <a:cubicBezTo>
                  <a:pt x="10464103" y="813686"/>
                  <a:pt x="10463898" y="812868"/>
                  <a:pt x="10463286" y="812050"/>
                </a:cubicBezTo>
                <a:cubicBezTo>
                  <a:pt x="10462466" y="810825"/>
                  <a:pt x="10461650" y="809803"/>
                  <a:pt x="10459604" y="810620"/>
                </a:cubicBezTo>
                <a:cubicBezTo>
                  <a:pt x="10457764" y="811641"/>
                  <a:pt x="10457764" y="812459"/>
                  <a:pt x="10458173" y="814095"/>
                </a:cubicBezTo>
                <a:lnTo>
                  <a:pt x="10458518" y="817185"/>
                </a:lnTo>
                <a:lnTo>
                  <a:pt x="10442536" y="801291"/>
                </a:lnTo>
                <a:lnTo>
                  <a:pt x="10443450" y="799993"/>
                </a:lnTo>
                <a:cubicBezTo>
                  <a:pt x="10443860" y="798153"/>
                  <a:pt x="10443246" y="796926"/>
                  <a:pt x="10441611" y="796110"/>
                </a:cubicBezTo>
                <a:cubicBezTo>
                  <a:pt x="10440384" y="795496"/>
                  <a:pt x="10439155" y="795088"/>
                  <a:pt x="10437930" y="794474"/>
                </a:cubicBezTo>
                <a:cubicBezTo>
                  <a:pt x="10435884" y="793452"/>
                  <a:pt x="10435066" y="792022"/>
                  <a:pt x="10435476" y="789569"/>
                </a:cubicBezTo>
                <a:cubicBezTo>
                  <a:pt x="10436703" y="782211"/>
                  <a:pt x="10434044" y="777102"/>
                  <a:pt x="10427501" y="773832"/>
                </a:cubicBezTo>
                <a:cubicBezTo>
                  <a:pt x="10426479" y="773218"/>
                  <a:pt x="10424229" y="773423"/>
                  <a:pt x="10424638" y="771584"/>
                </a:cubicBezTo>
                <a:cubicBezTo>
                  <a:pt x="10424844" y="769744"/>
                  <a:pt x="10426684" y="769335"/>
                  <a:pt x="10428522" y="769131"/>
                </a:cubicBezTo>
                <a:cubicBezTo>
                  <a:pt x="10428729" y="769131"/>
                  <a:pt x="10428932" y="769131"/>
                  <a:pt x="10429137" y="769131"/>
                </a:cubicBezTo>
                <a:cubicBezTo>
                  <a:pt x="10434044" y="768314"/>
                  <a:pt x="10435476" y="766065"/>
                  <a:pt x="10433022" y="762182"/>
                </a:cubicBezTo>
                <a:cubicBezTo>
                  <a:pt x="10430773" y="758503"/>
                  <a:pt x="10431387" y="755642"/>
                  <a:pt x="10433431" y="752577"/>
                </a:cubicBezTo>
                <a:cubicBezTo>
                  <a:pt x="10436090" y="748489"/>
                  <a:pt x="10438134" y="744197"/>
                  <a:pt x="10436908" y="739088"/>
                </a:cubicBezTo>
                <a:cubicBezTo>
                  <a:pt x="10436293" y="736840"/>
                  <a:pt x="10438543" y="735818"/>
                  <a:pt x="10439975" y="735409"/>
                </a:cubicBezTo>
                <a:cubicBezTo>
                  <a:pt x="10445290" y="733570"/>
                  <a:pt x="10447745" y="730095"/>
                  <a:pt x="10448358" y="724781"/>
                </a:cubicBezTo>
                <a:cubicBezTo>
                  <a:pt x="10448767" y="721512"/>
                  <a:pt x="10449994" y="720898"/>
                  <a:pt x="10453266" y="722941"/>
                </a:cubicBezTo>
                <a:cubicBezTo>
                  <a:pt x="10460219" y="727234"/>
                  <a:pt x="10470443" y="724168"/>
                  <a:pt x="10473509" y="717015"/>
                </a:cubicBezTo>
                <a:cubicBezTo>
                  <a:pt x="10474124" y="715584"/>
                  <a:pt x="10474941" y="713745"/>
                  <a:pt x="10473509" y="712519"/>
                </a:cubicBezTo>
                <a:cubicBezTo>
                  <a:pt x="10472078" y="711292"/>
                  <a:pt x="10470033" y="710679"/>
                  <a:pt x="10468193" y="711905"/>
                </a:cubicBezTo>
                <a:cubicBezTo>
                  <a:pt x="10466966" y="712519"/>
                  <a:pt x="10465738" y="713541"/>
                  <a:pt x="10464512" y="714358"/>
                </a:cubicBezTo>
                <a:cubicBezTo>
                  <a:pt x="10463286" y="715380"/>
                  <a:pt x="10462058" y="715993"/>
                  <a:pt x="10461036" y="714766"/>
                </a:cubicBezTo>
                <a:cubicBezTo>
                  <a:pt x="10459810" y="713336"/>
                  <a:pt x="10460628" y="712110"/>
                  <a:pt x="10461650" y="711087"/>
                </a:cubicBezTo>
                <a:cubicBezTo>
                  <a:pt x="10462466" y="710066"/>
                  <a:pt x="10463694" y="709249"/>
                  <a:pt x="10464512" y="708431"/>
                </a:cubicBezTo>
                <a:cubicBezTo>
                  <a:pt x="10466353" y="706592"/>
                  <a:pt x="10467375" y="704139"/>
                  <a:pt x="10465534" y="702096"/>
                </a:cubicBezTo>
                <a:cubicBezTo>
                  <a:pt x="10463898" y="700460"/>
                  <a:pt x="10461650" y="702096"/>
                  <a:pt x="10460014" y="703321"/>
                </a:cubicBezTo>
                <a:cubicBezTo>
                  <a:pt x="10458582" y="704343"/>
                  <a:pt x="10457560" y="706183"/>
                  <a:pt x="10455719" y="706795"/>
                </a:cubicBezTo>
                <a:cubicBezTo>
                  <a:pt x="10453061" y="707818"/>
                  <a:pt x="10451426" y="707409"/>
                  <a:pt x="10451630" y="704139"/>
                </a:cubicBezTo>
                <a:cubicBezTo>
                  <a:pt x="10451834" y="699642"/>
                  <a:pt x="10453674" y="695964"/>
                  <a:pt x="10456130" y="692489"/>
                </a:cubicBezTo>
                <a:cubicBezTo>
                  <a:pt x="10459196" y="687993"/>
                  <a:pt x="10459400" y="685541"/>
                  <a:pt x="10456130" y="681249"/>
                </a:cubicBezTo>
                <a:cubicBezTo>
                  <a:pt x="10455107" y="679613"/>
                  <a:pt x="10453470" y="678183"/>
                  <a:pt x="10452039" y="676752"/>
                </a:cubicBezTo>
                <a:cubicBezTo>
                  <a:pt x="10451426" y="676139"/>
                  <a:pt x="10450402" y="675527"/>
                  <a:pt x="10450812" y="674504"/>
                </a:cubicBezTo>
                <a:cubicBezTo>
                  <a:pt x="10451221" y="673278"/>
                  <a:pt x="10452244" y="673073"/>
                  <a:pt x="10453061" y="673278"/>
                </a:cubicBezTo>
                <a:cubicBezTo>
                  <a:pt x="10456742" y="674096"/>
                  <a:pt x="10457560" y="672460"/>
                  <a:pt x="10457356" y="669190"/>
                </a:cubicBezTo>
                <a:cubicBezTo>
                  <a:pt x="10457151" y="665103"/>
                  <a:pt x="10459810" y="662242"/>
                  <a:pt x="10462672" y="659993"/>
                </a:cubicBezTo>
                <a:cubicBezTo>
                  <a:pt x="10464922" y="658154"/>
                  <a:pt x="10465126" y="656723"/>
                  <a:pt x="10462876" y="655089"/>
                </a:cubicBezTo>
                <a:cubicBezTo>
                  <a:pt x="10461650" y="654271"/>
                  <a:pt x="10460832" y="653453"/>
                  <a:pt x="10461241" y="651819"/>
                </a:cubicBezTo>
                <a:cubicBezTo>
                  <a:pt x="10461650" y="649570"/>
                  <a:pt x="10463286" y="649979"/>
                  <a:pt x="10464717" y="649570"/>
                </a:cubicBezTo>
                <a:cubicBezTo>
                  <a:pt x="10465534" y="649365"/>
                  <a:pt x="10466557" y="649365"/>
                  <a:pt x="10467580" y="649161"/>
                </a:cubicBezTo>
                <a:cubicBezTo>
                  <a:pt x="10473099" y="648548"/>
                  <a:pt x="10474328" y="645482"/>
                  <a:pt x="10471056" y="640781"/>
                </a:cubicBezTo>
                <a:cubicBezTo>
                  <a:pt x="10470647" y="640169"/>
                  <a:pt x="10470238" y="639760"/>
                  <a:pt x="10470033" y="639147"/>
                </a:cubicBezTo>
                <a:cubicBezTo>
                  <a:pt x="10469419" y="637920"/>
                  <a:pt x="10469012" y="636286"/>
                  <a:pt x="10470238" y="635468"/>
                </a:cubicBezTo>
                <a:cubicBezTo>
                  <a:pt x="10471260" y="634650"/>
                  <a:pt x="10472692" y="635468"/>
                  <a:pt x="10473509" y="636286"/>
                </a:cubicBezTo>
                <a:cubicBezTo>
                  <a:pt x="10474328" y="637103"/>
                  <a:pt x="10474941" y="637920"/>
                  <a:pt x="10475554" y="638942"/>
                </a:cubicBezTo>
                <a:cubicBezTo>
                  <a:pt x="10476782" y="640374"/>
                  <a:pt x="10478008" y="640781"/>
                  <a:pt x="10479643" y="639556"/>
                </a:cubicBezTo>
                <a:cubicBezTo>
                  <a:pt x="10483531" y="636898"/>
                  <a:pt x="10487824" y="636490"/>
                  <a:pt x="10492117" y="636286"/>
                </a:cubicBezTo>
                <a:lnTo>
                  <a:pt x="10502970" y="635572"/>
                </a:lnTo>
                <a:lnTo>
                  <a:pt x="10502596" y="634824"/>
                </a:lnTo>
                <a:cubicBezTo>
                  <a:pt x="10502596" y="633281"/>
                  <a:pt x="10502596" y="631738"/>
                  <a:pt x="10502596" y="630194"/>
                </a:cubicBezTo>
                <a:cubicBezTo>
                  <a:pt x="10506460" y="627879"/>
                  <a:pt x="10507618" y="623634"/>
                  <a:pt x="10506460" y="619776"/>
                </a:cubicBezTo>
                <a:cubicBezTo>
                  <a:pt x="10504528" y="612829"/>
                  <a:pt x="10506845" y="607428"/>
                  <a:pt x="10511869" y="602797"/>
                </a:cubicBezTo>
                <a:cubicBezTo>
                  <a:pt x="10513800" y="600867"/>
                  <a:pt x="10515732" y="599323"/>
                  <a:pt x="10516505" y="596623"/>
                </a:cubicBezTo>
                <a:cubicBezTo>
                  <a:pt x="10517278" y="592378"/>
                  <a:pt x="10519596" y="590063"/>
                  <a:pt x="10523846" y="590449"/>
                </a:cubicBezTo>
                <a:cubicBezTo>
                  <a:pt x="10526938" y="590449"/>
                  <a:pt x="10529256" y="588519"/>
                  <a:pt x="10530414" y="586975"/>
                </a:cubicBezTo>
                <a:cubicBezTo>
                  <a:pt x="10533700" y="582345"/>
                  <a:pt x="10537757" y="581284"/>
                  <a:pt x="10542006" y="581236"/>
                </a:cubicBezTo>
                <a:close/>
                <a:moveTo>
                  <a:pt x="5826933" y="542144"/>
                </a:moveTo>
                <a:cubicBezTo>
                  <a:pt x="5830103" y="542180"/>
                  <a:pt x="5833133" y="542972"/>
                  <a:pt x="5835583" y="546428"/>
                </a:cubicBezTo>
                <a:cubicBezTo>
                  <a:pt x="5836450" y="547580"/>
                  <a:pt x="5838179" y="549020"/>
                  <a:pt x="5840487" y="549020"/>
                </a:cubicBezTo>
                <a:cubicBezTo>
                  <a:pt x="5843660" y="548732"/>
                  <a:pt x="5845392" y="550460"/>
                  <a:pt x="5845967" y="553628"/>
                </a:cubicBezTo>
                <a:cubicBezTo>
                  <a:pt x="5846542" y="555645"/>
                  <a:pt x="5847985" y="556796"/>
                  <a:pt x="5849428" y="558237"/>
                </a:cubicBezTo>
                <a:cubicBezTo>
                  <a:pt x="5853177" y="561693"/>
                  <a:pt x="5854908" y="565726"/>
                  <a:pt x="5853463" y="570910"/>
                </a:cubicBezTo>
                <a:cubicBezTo>
                  <a:pt x="5852601" y="573791"/>
                  <a:pt x="5853463" y="576959"/>
                  <a:pt x="5856350" y="578687"/>
                </a:cubicBezTo>
                <a:cubicBezTo>
                  <a:pt x="5856350" y="579838"/>
                  <a:pt x="5856350" y="580991"/>
                  <a:pt x="5856350" y="582143"/>
                </a:cubicBezTo>
                <a:cubicBezTo>
                  <a:pt x="5853753" y="583583"/>
                  <a:pt x="5852601" y="585311"/>
                  <a:pt x="5852888" y="589056"/>
                </a:cubicBezTo>
                <a:cubicBezTo>
                  <a:pt x="5853177" y="594240"/>
                  <a:pt x="5850869" y="598273"/>
                  <a:pt x="5845102" y="599425"/>
                </a:cubicBezTo>
                <a:cubicBezTo>
                  <a:pt x="5842506" y="599712"/>
                  <a:pt x="5843083" y="601728"/>
                  <a:pt x="5843083" y="603457"/>
                </a:cubicBezTo>
                <a:cubicBezTo>
                  <a:pt x="5843083" y="606337"/>
                  <a:pt x="5841928" y="606914"/>
                  <a:pt x="5839620" y="604897"/>
                </a:cubicBezTo>
                <a:cubicBezTo>
                  <a:pt x="5836161" y="602017"/>
                  <a:pt x="5833852" y="602017"/>
                  <a:pt x="5832990" y="606914"/>
                </a:cubicBezTo>
                <a:cubicBezTo>
                  <a:pt x="5832700" y="608065"/>
                  <a:pt x="5831836" y="609506"/>
                  <a:pt x="5830682" y="608065"/>
                </a:cubicBezTo>
                <a:cubicBezTo>
                  <a:pt x="5826930" y="604320"/>
                  <a:pt x="5824337" y="606625"/>
                  <a:pt x="5821454" y="609217"/>
                </a:cubicBezTo>
                <a:cubicBezTo>
                  <a:pt x="5821165" y="609793"/>
                  <a:pt x="5820013" y="609793"/>
                  <a:pt x="5819436" y="609793"/>
                </a:cubicBezTo>
                <a:cubicBezTo>
                  <a:pt x="5812513" y="605761"/>
                  <a:pt x="5805880" y="601152"/>
                  <a:pt x="5798959" y="596832"/>
                </a:cubicBezTo>
                <a:cubicBezTo>
                  <a:pt x="5795787" y="594816"/>
                  <a:pt x="5794058" y="589344"/>
                  <a:pt x="5792616" y="585024"/>
                </a:cubicBezTo>
                <a:cubicBezTo>
                  <a:pt x="5792040" y="583295"/>
                  <a:pt x="5792329" y="581567"/>
                  <a:pt x="5790598" y="580127"/>
                </a:cubicBezTo>
                <a:cubicBezTo>
                  <a:pt x="5788867" y="578687"/>
                  <a:pt x="5789153" y="576959"/>
                  <a:pt x="5790309" y="575230"/>
                </a:cubicBezTo>
                <a:cubicBezTo>
                  <a:pt x="5790885" y="574078"/>
                  <a:pt x="5792040" y="572638"/>
                  <a:pt x="5791173" y="571486"/>
                </a:cubicBezTo>
                <a:cubicBezTo>
                  <a:pt x="5788290" y="568030"/>
                  <a:pt x="5788000" y="565437"/>
                  <a:pt x="5792616" y="563710"/>
                </a:cubicBezTo>
                <a:cubicBezTo>
                  <a:pt x="5793768" y="563421"/>
                  <a:pt x="5794058" y="561693"/>
                  <a:pt x="5792904" y="560829"/>
                </a:cubicBezTo>
                <a:cubicBezTo>
                  <a:pt x="5789153" y="557661"/>
                  <a:pt x="5793191" y="556220"/>
                  <a:pt x="5793768" y="553917"/>
                </a:cubicBezTo>
                <a:cubicBezTo>
                  <a:pt x="5795787" y="546139"/>
                  <a:pt x="5804727" y="548444"/>
                  <a:pt x="5808187" y="542683"/>
                </a:cubicBezTo>
                <a:cubicBezTo>
                  <a:pt x="5809342" y="540668"/>
                  <a:pt x="5814821" y="542107"/>
                  <a:pt x="5817414" y="542395"/>
                </a:cubicBezTo>
                <a:cubicBezTo>
                  <a:pt x="5820444" y="542827"/>
                  <a:pt x="5823760" y="542108"/>
                  <a:pt x="5826933" y="542144"/>
                </a:cubicBezTo>
                <a:close/>
                <a:moveTo>
                  <a:pt x="8173635" y="529140"/>
                </a:moveTo>
                <a:lnTo>
                  <a:pt x="8173419" y="529501"/>
                </a:lnTo>
                <a:lnTo>
                  <a:pt x="8173165" y="529251"/>
                </a:lnTo>
                <a:close/>
                <a:moveTo>
                  <a:pt x="6676874" y="520917"/>
                </a:moveTo>
                <a:cubicBezTo>
                  <a:pt x="6681124" y="520869"/>
                  <a:pt x="6685569" y="521833"/>
                  <a:pt x="6689630" y="521255"/>
                </a:cubicBezTo>
                <a:cubicBezTo>
                  <a:pt x="6693104" y="520869"/>
                  <a:pt x="6700439" y="518939"/>
                  <a:pt x="6701990" y="521641"/>
                </a:cubicBezTo>
                <a:cubicBezTo>
                  <a:pt x="6706625" y="529358"/>
                  <a:pt x="6718604" y="526271"/>
                  <a:pt x="6721310" y="536689"/>
                </a:cubicBezTo>
                <a:cubicBezTo>
                  <a:pt x="6722081" y="539777"/>
                  <a:pt x="6727488" y="541706"/>
                  <a:pt x="6722468" y="545950"/>
                </a:cubicBezTo>
                <a:cubicBezTo>
                  <a:pt x="6720920" y="547108"/>
                  <a:pt x="6721310" y="549423"/>
                  <a:pt x="6722853" y="549809"/>
                </a:cubicBezTo>
                <a:cubicBezTo>
                  <a:pt x="6729035" y="552125"/>
                  <a:pt x="6728648" y="555598"/>
                  <a:pt x="6724785" y="560228"/>
                </a:cubicBezTo>
                <a:cubicBezTo>
                  <a:pt x="6723625" y="561771"/>
                  <a:pt x="6725171" y="563701"/>
                  <a:pt x="6725945" y="565245"/>
                </a:cubicBezTo>
                <a:cubicBezTo>
                  <a:pt x="6727488" y="567560"/>
                  <a:pt x="6727876" y="569876"/>
                  <a:pt x="6725557" y="571805"/>
                </a:cubicBezTo>
                <a:cubicBezTo>
                  <a:pt x="6723238" y="573734"/>
                  <a:pt x="6723625" y="576049"/>
                  <a:pt x="6722853" y="578365"/>
                </a:cubicBezTo>
                <a:cubicBezTo>
                  <a:pt x="6720920" y="584152"/>
                  <a:pt x="6718604" y="591485"/>
                  <a:pt x="6714354" y="594186"/>
                </a:cubicBezTo>
                <a:cubicBezTo>
                  <a:pt x="6705082" y="599974"/>
                  <a:pt x="6696194" y="606148"/>
                  <a:pt x="6686925" y="611550"/>
                </a:cubicBezTo>
                <a:cubicBezTo>
                  <a:pt x="6686150" y="611550"/>
                  <a:pt x="6684605" y="611550"/>
                  <a:pt x="6684222" y="610778"/>
                </a:cubicBezTo>
                <a:cubicBezTo>
                  <a:pt x="6680348" y="607305"/>
                  <a:pt x="6676879" y="604219"/>
                  <a:pt x="6671855" y="609235"/>
                </a:cubicBezTo>
                <a:cubicBezTo>
                  <a:pt x="6670303" y="611164"/>
                  <a:pt x="6669144" y="609235"/>
                  <a:pt x="6668759" y="607691"/>
                </a:cubicBezTo>
                <a:cubicBezTo>
                  <a:pt x="6667597" y="601131"/>
                  <a:pt x="6664511" y="601131"/>
                  <a:pt x="6659873" y="604991"/>
                </a:cubicBezTo>
                <a:cubicBezTo>
                  <a:pt x="6656779" y="607691"/>
                  <a:pt x="6655234" y="606920"/>
                  <a:pt x="6655234" y="603061"/>
                </a:cubicBezTo>
                <a:cubicBezTo>
                  <a:pt x="6655234" y="600746"/>
                  <a:pt x="6656011" y="598044"/>
                  <a:pt x="6652530" y="597658"/>
                </a:cubicBezTo>
                <a:cubicBezTo>
                  <a:pt x="6644805" y="596115"/>
                  <a:pt x="6641713" y="590713"/>
                  <a:pt x="6642102" y="583766"/>
                </a:cubicBezTo>
                <a:cubicBezTo>
                  <a:pt x="6642486" y="578751"/>
                  <a:pt x="6640940" y="576435"/>
                  <a:pt x="6637462" y="574505"/>
                </a:cubicBezTo>
                <a:cubicBezTo>
                  <a:pt x="6637462" y="572962"/>
                  <a:pt x="6637462" y="571419"/>
                  <a:pt x="6637462" y="569876"/>
                </a:cubicBezTo>
                <a:cubicBezTo>
                  <a:pt x="6641328" y="567560"/>
                  <a:pt x="6642486" y="563315"/>
                  <a:pt x="6641328" y="559456"/>
                </a:cubicBezTo>
                <a:cubicBezTo>
                  <a:pt x="6639397" y="552511"/>
                  <a:pt x="6641713" y="547108"/>
                  <a:pt x="6646738" y="542478"/>
                </a:cubicBezTo>
                <a:cubicBezTo>
                  <a:pt x="6648666" y="540548"/>
                  <a:pt x="6650598" y="539005"/>
                  <a:pt x="6651370" y="536303"/>
                </a:cubicBezTo>
                <a:cubicBezTo>
                  <a:pt x="6652147" y="532059"/>
                  <a:pt x="6654466" y="529744"/>
                  <a:pt x="6658713" y="530130"/>
                </a:cubicBezTo>
                <a:cubicBezTo>
                  <a:pt x="6661802" y="530130"/>
                  <a:pt x="6664121" y="528200"/>
                  <a:pt x="6665280" y="526657"/>
                </a:cubicBezTo>
                <a:cubicBezTo>
                  <a:pt x="6668568" y="522026"/>
                  <a:pt x="6672624" y="520965"/>
                  <a:pt x="6676874" y="520917"/>
                </a:cubicBezTo>
                <a:close/>
                <a:moveTo>
                  <a:pt x="3502163" y="519789"/>
                </a:moveTo>
                <a:cubicBezTo>
                  <a:pt x="3506413" y="519740"/>
                  <a:pt x="3510856" y="520705"/>
                  <a:pt x="3514913" y="520127"/>
                </a:cubicBezTo>
                <a:cubicBezTo>
                  <a:pt x="3518391" y="519741"/>
                  <a:pt x="3525732" y="517811"/>
                  <a:pt x="3527277" y="520513"/>
                </a:cubicBezTo>
                <a:cubicBezTo>
                  <a:pt x="3531914" y="528230"/>
                  <a:pt x="3543890" y="525142"/>
                  <a:pt x="3546595" y="535561"/>
                </a:cubicBezTo>
                <a:cubicBezTo>
                  <a:pt x="3547368" y="538648"/>
                  <a:pt x="3552777" y="540578"/>
                  <a:pt x="3547755" y="544822"/>
                </a:cubicBezTo>
                <a:cubicBezTo>
                  <a:pt x="3546209" y="545980"/>
                  <a:pt x="3546595" y="548295"/>
                  <a:pt x="3548141" y="548681"/>
                </a:cubicBezTo>
                <a:cubicBezTo>
                  <a:pt x="3554323" y="550996"/>
                  <a:pt x="3553936" y="554470"/>
                  <a:pt x="3550073" y="559100"/>
                </a:cubicBezTo>
                <a:cubicBezTo>
                  <a:pt x="3548914" y="560643"/>
                  <a:pt x="3550460" y="562573"/>
                  <a:pt x="3551231" y="564116"/>
                </a:cubicBezTo>
                <a:cubicBezTo>
                  <a:pt x="3552777" y="566432"/>
                  <a:pt x="3553163" y="568747"/>
                  <a:pt x="3550846" y="570677"/>
                </a:cubicBezTo>
                <a:cubicBezTo>
                  <a:pt x="3548527" y="572605"/>
                  <a:pt x="3548914" y="574921"/>
                  <a:pt x="3548141" y="577236"/>
                </a:cubicBezTo>
                <a:cubicBezTo>
                  <a:pt x="3546209" y="583024"/>
                  <a:pt x="3543890" y="590356"/>
                  <a:pt x="3539641" y="593058"/>
                </a:cubicBezTo>
                <a:cubicBezTo>
                  <a:pt x="3530368" y="598845"/>
                  <a:pt x="3521481" y="605020"/>
                  <a:pt x="3512208" y="610422"/>
                </a:cubicBezTo>
                <a:cubicBezTo>
                  <a:pt x="3511435" y="610422"/>
                  <a:pt x="3509891" y="610422"/>
                  <a:pt x="3509504" y="609650"/>
                </a:cubicBezTo>
                <a:cubicBezTo>
                  <a:pt x="3505640" y="606177"/>
                  <a:pt x="3502162" y="603091"/>
                  <a:pt x="3497140" y="608106"/>
                </a:cubicBezTo>
                <a:cubicBezTo>
                  <a:pt x="3495594" y="610036"/>
                  <a:pt x="3494435" y="608106"/>
                  <a:pt x="3494050" y="606563"/>
                </a:cubicBezTo>
                <a:cubicBezTo>
                  <a:pt x="3492890" y="600003"/>
                  <a:pt x="3489799" y="600003"/>
                  <a:pt x="3485163" y="603862"/>
                </a:cubicBezTo>
                <a:cubicBezTo>
                  <a:pt x="3482072" y="606563"/>
                  <a:pt x="3480526" y="605792"/>
                  <a:pt x="3480526" y="601933"/>
                </a:cubicBezTo>
                <a:cubicBezTo>
                  <a:pt x="3480526" y="599617"/>
                  <a:pt x="3481299" y="596916"/>
                  <a:pt x="3477822" y="596530"/>
                </a:cubicBezTo>
                <a:cubicBezTo>
                  <a:pt x="3470095" y="594986"/>
                  <a:pt x="3467003" y="589585"/>
                  <a:pt x="3467390" y="582638"/>
                </a:cubicBezTo>
                <a:cubicBezTo>
                  <a:pt x="3467776" y="577622"/>
                  <a:pt x="3466231" y="575307"/>
                  <a:pt x="3462753" y="573377"/>
                </a:cubicBezTo>
                <a:cubicBezTo>
                  <a:pt x="3462753" y="571834"/>
                  <a:pt x="3462753" y="570291"/>
                  <a:pt x="3462753" y="568747"/>
                </a:cubicBezTo>
                <a:cubicBezTo>
                  <a:pt x="3466617" y="566432"/>
                  <a:pt x="3467776" y="562187"/>
                  <a:pt x="3466617" y="558328"/>
                </a:cubicBezTo>
                <a:cubicBezTo>
                  <a:pt x="3464685" y="551382"/>
                  <a:pt x="3467003" y="545980"/>
                  <a:pt x="3472026" y="541350"/>
                </a:cubicBezTo>
                <a:cubicBezTo>
                  <a:pt x="3473958" y="539420"/>
                  <a:pt x="3475890" y="537877"/>
                  <a:pt x="3476663" y="535175"/>
                </a:cubicBezTo>
                <a:cubicBezTo>
                  <a:pt x="3477436" y="530931"/>
                  <a:pt x="3479753" y="528616"/>
                  <a:pt x="3484004" y="529002"/>
                </a:cubicBezTo>
                <a:cubicBezTo>
                  <a:pt x="3487094" y="529002"/>
                  <a:pt x="3489413" y="527072"/>
                  <a:pt x="3490572" y="525528"/>
                </a:cubicBezTo>
                <a:cubicBezTo>
                  <a:pt x="3493856" y="520898"/>
                  <a:pt x="3497913" y="519837"/>
                  <a:pt x="3502163" y="519789"/>
                </a:cubicBezTo>
                <a:close/>
                <a:moveTo>
                  <a:pt x="11153016" y="519764"/>
                </a:moveTo>
                <a:cubicBezTo>
                  <a:pt x="11154857" y="519355"/>
                  <a:pt x="11155879" y="520580"/>
                  <a:pt x="11156697" y="521603"/>
                </a:cubicBezTo>
                <a:cubicBezTo>
                  <a:pt x="11159560" y="524872"/>
                  <a:pt x="11162218" y="528142"/>
                  <a:pt x="11167330" y="526508"/>
                </a:cubicBezTo>
                <a:cubicBezTo>
                  <a:pt x="11168353" y="526303"/>
                  <a:pt x="11168966" y="527121"/>
                  <a:pt x="11169376" y="527939"/>
                </a:cubicBezTo>
                <a:cubicBezTo>
                  <a:pt x="11171625" y="532025"/>
                  <a:pt x="11175305" y="535296"/>
                  <a:pt x="11178374" y="538771"/>
                </a:cubicBezTo>
                <a:cubicBezTo>
                  <a:pt x="11183075" y="544084"/>
                  <a:pt x="11185734" y="550011"/>
                  <a:pt x="11183894" y="557165"/>
                </a:cubicBezTo>
                <a:cubicBezTo>
                  <a:pt x="11183279" y="560026"/>
                  <a:pt x="11184916" y="561865"/>
                  <a:pt x="11186551" y="563501"/>
                </a:cubicBezTo>
                <a:cubicBezTo>
                  <a:pt x="11190232" y="567384"/>
                  <a:pt x="11190028" y="569427"/>
                  <a:pt x="11185938" y="572493"/>
                </a:cubicBezTo>
                <a:cubicBezTo>
                  <a:pt x="11181439" y="575558"/>
                  <a:pt x="11181439" y="575558"/>
                  <a:pt x="11185120" y="580055"/>
                </a:cubicBezTo>
                <a:cubicBezTo>
                  <a:pt x="11185938" y="581077"/>
                  <a:pt x="11186551" y="581895"/>
                  <a:pt x="11185325" y="583122"/>
                </a:cubicBezTo>
                <a:cubicBezTo>
                  <a:pt x="11181235" y="587822"/>
                  <a:pt x="11177554" y="592522"/>
                  <a:pt x="11173260" y="597019"/>
                </a:cubicBezTo>
                <a:cubicBezTo>
                  <a:pt x="11170193" y="600493"/>
                  <a:pt x="11166308" y="602742"/>
                  <a:pt x="11161809" y="603763"/>
                </a:cubicBezTo>
                <a:cubicBezTo>
                  <a:pt x="11158947" y="604581"/>
                  <a:pt x="11153425" y="611938"/>
                  <a:pt x="11153221" y="615004"/>
                </a:cubicBezTo>
                <a:cubicBezTo>
                  <a:pt x="11153221" y="616026"/>
                  <a:pt x="11153221" y="616844"/>
                  <a:pt x="11154447" y="617253"/>
                </a:cubicBezTo>
                <a:cubicBezTo>
                  <a:pt x="11160787" y="620114"/>
                  <a:pt x="11163854" y="625632"/>
                  <a:pt x="11166512" y="631559"/>
                </a:cubicBezTo>
                <a:cubicBezTo>
                  <a:pt x="11167126" y="632785"/>
                  <a:pt x="11167534" y="633808"/>
                  <a:pt x="11168149" y="634829"/>
                </a:cubicBezTo>
                <a:cubicBezTo>
                  <a:pt x="11170193" y="638098"/>
                  <a:pt x="11171216" y="640961"/>
                  <a:pt x="11169784" y="645048"/>
                </a:cubicBezTo>
                <a:cubicBezTo>
                  <a:pt x="11168353" y="649136"/>
                  <a:pt x="11170602" y="653223"/>
                  <a:pt x="11172646" y="656902"/>
                </a:cubicBezTo>
                <a:cubicBezTo>
                  <a:pt x="11173465" y="658741"/>
                  <a:pt x="11173873" y="659968"/>
                  <a:pt x="11172442" y="661806"/>
                </a:cubicBezTo>
                <a:cubicBezTo>
                  <a:pt x="11166717" y="669573"/>
                  <a:pt x="11162422" y="678157"/>
                  <a:pt x="11161605" y="688172"/>
                </a:cubicBezTo>
                <a:cubicBezTo>
                  <a:pt x="11161400" y="689602"/>
                  <a:pt x="11160991" y="690215"/>
                  <a:pt x="11159560" y="689806"/>
                </a:cubicBezTo>
                <a:cubicBezTo>
                  <a:pt x="11153836" y="688581"/>
                  <a:pt x="11150154" y="691646"/>
                  <a:pt x="11147088" y="695734"/>
                </a:cubicBezTo>
                <a:cubicBezTo>
                  <a:pt x="11145656" y="697573"/>
                  <a:pt x="11144428" y="698595"/>
                  <a:pt x="11141770" y="697368"/>
                </a:cubicBezTo>
                <a:cubicBezTo>
                  <a:pt x="11138498" y="695530"/>
                  <a:pt x="11135432" y="697164"/>
                  <a:pt x="11132773" y="699413"/>
                </a:cubicBezTo>
                <a:cubicBezTo>
                  <a:pt x="11130525" y="701252"/>
                  <a:pt x="11128274" y="703500"/>
                  <a:pt x="11126025" y="705339"/>
                </a:cubicBezTo>
                <a:cubicBezTo>
                  <a:pt x="11124900" y="706157"/>
                  <a:pt x="11123827" y="706617"/>
                  <a:pt x="11122959" y="706438"/>
                </a:cubicBezTo>
                <a:cubicBezTo>
                  <a:pt x="11122088" y="706259"/>
                  <a:pt x="11121424" y="705442"/>
                  <a:pt x="11121118" y="703705"/>
                </a:cubicBezTo>
                <a:cubicBezTo>
                  <a:pt x="11121118" y="702887"/>
                  <a:pt x="11120913" y="702069"/>
                  <a:pt x="11120504" y="701252"/>
                </a:cubicBezTo>
                <a:cubicBezTo>
                  <a:pt x="11120096" y="700229"/>
                  <a:pt x="11120096" y="698595"/>
                  <a:pt x="11118663" y="698391"/>
                </a:cubicBezTo>
                <a:cubicBezTo>
                  <a:pt x="11117437" y="698391"/>
                  <a:pt x="11116619" y="699413"/>
                  <a:pt x="11116006" y="700229"/>
                </a:cubicBezTo>
                <a:cubicBezTo>
                  <a:pt x="11112938" y="703705"/>
                  <a:pt x="11111712" y="703500"/>
                  <a:pt x="11109873" y="699208"/>
                </a:cubicBezTo>
                <a:cubicBezTo>
                  <a:pt x="11109464" y="698186"/>
                  <a:pt x="11109257" y="697368"/>
                  <a:pt x="11108644" y="696551"/>
                </a:cubicBezTo>
                <a:cubicBezTo>
                  <a:pt x="11107826" y="695325"/>
                  <a:pt x="11107008" y="694303"/>
                  <a:pt x="11104963" y="695121"/>
                </a:cubicBezTo>
                <a:cubicBezTo>
                  <a:pt x="11103123" y="696142"/>
                  <a:pt x="11103123" y="696960"/>
                  <a:pt x="11103532" y="698595"/>
                </a:cubicBezTo>
                <a:lnTo>
                  <a:pt x="11103876" y="701686"/>
                </a:lnTo>
                <a:lnTo>
                  <a:pt x="11087894" y="685791"/>
                </a:lnTo>
                <a:lnTo>
                  <a:pt x="11088809" y="684493"/>
                </a:lnTo>
                <a:cubicBezTo>
                  <a:pt x="11089218" y="682653"/>
                  <a:pt x="11088605" y="681427"/>
                  <a:pt x="11086969" y="680610"/>
                </a:cubicBezTo>
                <a:cubicBezTo>
                  <a:pt x="11085744" y="679997"/>
                  <a:pt x="11084515" y="679588"/>
                  <a:pt x="11083288" y="678975"/>
                </a:cubicBezTo>
                <a:cubicBezTo>
                  <a:pt x="11081243" y="677953"/>
                  <a:pt x="11080425" y="676523"/>
                  <a:pt x="11080835" y="674069"/>
                </a:cubicBezTo>
                <a:cubicBezTo>
                  <a:pt x="11082063" y="666712"/>
                  <a:pt x="11079403" y="661602"/>
                  <a:pt x="11072860" y="658332"/>
                </a:cubicBezTo>
                <a:cubicBezTo>
                  <a:pt x="11071838" y="657719"/>
                  <a:pt x="11069588" y="657923"/>
                  <a:pt x="11069997" y="656084"/>
                </a:cubicBezTo>
                <a:cubicBezTo>
                  <a:pt x="11070202" y="654245"/>
                  <a:pt x="11072042" y="653836"/>
                  <a:pt x="11073882" y="653631"/>
                </a:cubicBezTo>
                <a:cubicBezTo>
                  <a:pt x="11074086" y="653631"/>
                  <a:pt x="11074291" y="653631"/>
                  <a:pt x="11074495" y="653631"/>
                </a:cubicBezTo>
                <a:cubicBezTo>
                  <a:pt x="11079403" y="652815"/>
                  <a:pt x="11080835" y="650566"/>
                  <a:pt x="11078382" y="646683"/>
                </a:cubicBezTo>
                <a:cubicBezTo>
                  <a:pt x="11076131" y="643004"/>
                  <a:pt x="11076744" y="640143"/>
                  <a:pt x="11078791" y="637077"/>
                </a:cubicBezTo>
                <a:cubicBezTo>
                  <a:pt x="11081448" y="632990"/>
                  <a:pt x="11083493" y="628698"/>
                  <a:pt x="11082267" y="623588"/>
                </a:cubicBezTo>
                <a:cubicBezTo>
                  <a:pt x="11081654" y="621340"/>
                  <a:pt x="11083902" y="620318"/>
                  <a:pt x="11085333" y="619909"/>
                </a:cubicBezTo>
                <a:cubicBezTo>
                  <a:pt x="11090649" y="618070"/>
                  <a:pt x="11093104" y="614595"/>
                  <a:pt x="11093717" y="609282"/>
                </a:cubicBezTo>
                <a:cubicBezTo>
                  <a:pt x="11094126" y="606012"/>
                  <a:pt x="11095353" y="605399"/>
                  <a:pt x="11098624" y="607442"/>
                </a:cubicBezTo>
                <a:cubicBezTo>
                  <a:pt x="11105577" y="611734"/>
                  <a:pt x="11115801" y="608668"/>
                  <a:pt x="11118868" y="601515"/>
                </a:cubicBezTo>
                <a:cubicBezTo>
                  <a:pt x="11119482" y="600084"/>
                  <a:pt x="11120300" y="598246"/>
                  <a:pt x="11118868" y="597019"/>
                </a:cubicBezTo>
                <a:cubicBezTo>
                  <a:pt x="11117437" y="595792"/>
                  <a:pt x="11115392" y="595179"/>
                  <a:pt x="11113551" y="596406"/>
                </a:cubicBezTo>
                <a:cubicBezTo>
                  <a:pt x="11112325" y="597019"/>
                  <a:pt x="11111098" y="598041"/>
                  <a:pt x="11109873" y="598859"/>
                </a:cubicBezTo>
                <a:cubicBezTo>
                  <a:pt x="11108644" y="599880"/>
                  <a:pt x="11107417" y="600493"/>
                  <a:pt x="11106394" y="599267"/>
                </a:cubicBezTo>
                <a:cubicBezTo>
                  <a:pt x="11105167" y="597837"/>
                  <a:pt x="11105987" y="596610"/>
                  <a:pt x="11107008" y="595588"/>
                </a:cubicBezTo>
                <a:cubicBezTo>
                  <a:pt x="11107826" y="594567"/>
                  <a:pt x="11109053" y="593749"/>
                  <a:pt x="11109873" y="592931"/>
                </a:cubicBezTo>
                <a:cubicBezTo>
                  <a:pt x="11111712" y="591092"/>
                  <a:pt x="11112734" y="588639"/>
                  <a:pt x="11110894" y="586596"/>
                </a:cubicBezTo>
                <a:cubicBezTo>
                  <a:pt x="11109257" y="584961"/>
                  <a:pt x="11107008" y="586596"/>
                  <a:pt x="11105372" y="587822"/>
                </a:cubicBezTo>
                <a:cubicBezTo>
                  <a:pt x="11103941" y="588844"/>
                  <a:pt x="11102920" y="590684"/>
                  <a:pt x="11101079" y="591296"/>
                </a:cubicBezTo>
                <a:cubicBezTo>
                  <a:pt x="11098420" y="592318"/>
                  <a:pt x="11096784" y="591909"/>
                  <a:pt x="11096989" y="588639"/>
                </a:cubicBezTo>
                <a:cubicBezTo>
                  <a:pt x="11097193" y="584143"/>
                  <a:pt x="11099034" y="580464"/>
                  <a:pt x="11101486" y="576989"/>
                </a:cubicBezTo>
                <a:cubicBezTo>
                  <a:pt x="11104554" y="572493"/>
                  <a:pt x="11104760" y="570041"/>
                  <a:pt x="11101486" y="565749"/>
                </a:cubicBezTo>
                <a:cubicBezTo>
                  <a:pt x="11100465" y="564113"/>
                  <a:pt x="11098830" y="562683"/>
                  <a:pt x="11097398" y="561252"/>
                </a:cubicBezTo>
                <a:cubicBezTo>
                  <a:pt x="11096784" y="560639"/>
                  <a:pt x="11095762" y="560026"/>
                  <a:pt x="11096171" y="559004"/>
                </a:cubicBezTo>
                <a:cubicBezTo>
                  <a:pt x="11096580" y="557778"/>
                  <a:pt x="11097602" y="557573"/>
                  <a:pt x="11098420" y="557778"/>
                </a:cubicBezTo>
                <a:cubicBezTo>
                  <a:pt x="11102101" y="558596"/>
                  <a:pt x="11102920" y="556960"/>
                  <a:pt x="11102715" y="553690"/>
                </a:cubicBezTo>
                <a:cubicBezTo>
                  <a:pt x="11102511" y="549603"/>
                  <a:pt x="11105167" y="546742"/>
                  <a:pt x="11108030" y="544493"/>
                </a:cubicBezTo>
                <a:cubicBezTo>
                  <a:pt x="11110280" y="542654"/>
                  <a:pt x="11110485" y="541223"/>
                  <a:pt x="11108235" y="539587"/>
                </a:cubicBezTo>
                <a:cubicBezTo>
                  <a:pt x="11107008" y="538771"/>
                  <a:pt x="11106192" y="537953"/>
                  <a:pt x="11106600" y="536318"/>
                </a:cubicBezTo>
                <a:cubicBezTo>
                  <a:pt x="11107008" y="534070"/>
                  <a:pt x="11108644" y="534479"/>
                  <a:pt x="11110075" y="534070"/>
                </a:cubicBezTo>
                <a:cubicBezTo>
                  <a:pt x="11110894" y="533865"/>
                  <a:pt x="11111916" y="533865"/>
                  <a:pt x="11112938" y="533661"/>
                </a:cubicBezTo>
                <a:cubicBezTo>
                  <a:pt x="11118459" y="533048"/>
                  <a:pt x="11119687" y="529982"/>
                  <a:pt x="11116415" y="525281"/>
                </a:cubicBezTo>
                <a:cubicBezTo>
                  <a:pt x="11116006" y="524668"/>
                  <a:pt x="11115597" y="524259"/>
                  <a:pt x="11115392" y="523647"/>
                </a:cubicBezTo>
                <a:cubicBezTo>
                  <a:pt x="11114779" y="522420"/>
                  <a:pt x="11114369" y="520785"/>
                  <a:pt x="11115597" y="519968"/>
                </a:cubicBezTo>
                <a:cubicBezTo>
                  <a:pt x="11116619" y="519150"/>
                  <a:pt x="11118050" y="519968"/>
                  <a:pt x="11118868" y="520785"/>
                </a:cubicBezTo>
                <a:cubicBezTo>
                  <a:pt x="11119687" y="521603"/>
                  <a:pt x="11120300" y="522420"/>
                  <a:pt x="11120913" y="523442"/>
                </a:cubicBezTo>
                <a:cubicBezTo>
                  <a:pt x="11122140" y="524872"/>
                  <a:pt x="11123368" y="525281"/>
                  <a:pt x="11125003" y="524056"/>
                </a:cubicBezTo>
                <a:cubicBezTo>
                  <a:pt x="11128887" y="521398"/>
                  <a:pt x="11133182" y="520989"/>
                  <a:pt x="11137476" y="520785"/>
                </a:cubicBezTo>
                <a:cubicBezTo>
                  <a:pt x="11142588" y="520376"/>
                  <a:pt x="11147904" y="520989"/>
                  <a:pt x="11153016" y="519764"/>
                </a:cubicBezTo>
                <a:close/>
                <a:moveTo>
                  <a:pt x="4280330" y="518896"/>
                </a:moveTo>
                <a:cubicBezTo>
                  <a:pt x="4283502" y="518932"/>
                  <a:pt x="4286530" y="519724"/>
                  <a:pt x="4288982" y="523180"/>
                </a:cubicBezTo>
                <a:cubicBezTo>
                  <a:pt x="4289845" y="524332"/>
                  <a:pt x="4291576" y="525772"/>
                  <a:pt x="4293883" y="525772"/>
                </a:cubicBezTo>
                <a:cubicBezTo>
                  <a:pt x="4297056" y="525485"/>
                  <a:pt x="4298786" y="527212"/>
                  <a:pt x="4299362" y="530380"/>
                </a:cubicBezTo>
                <a:cubicBezTo>
                  <a:pt x="4299941" y="532397"/>
                  <a:pt x="4301382" y="533548"/>
                  <a:pt x="4302822" y="534989"/>
                </a:cubicBezTo>
                <a:cubicBezTo>
                  <a:pt x="4306573" y="538445"/>
                  <a:pt x="4308303" y="542478"/>
                  <a:pt x="4306861" y="547662"/>
                </a:cubicBezTo>
                <a:cubicBezTo>
                  <a:pt x="4305996" y="550542"/>
                  <a:pt x="4306861" y="553711"/>
                  <a:pt x="4309745" y="555438"/>
                </a:cubicBezTo>
                <a:cubicBezTo>
                  <a:pt x="4309745" y="556591"/>
                  <a:pt x="4309745" y="557743"/>
                  <a:pt x="4309745" y="558895"/>
                </a:cubicBezTo>
                <a:cubicBezTo>
                  <a:pt x="4307148" y="560335"/>
                  <a:pt x="4305996" y="562063"/>
                  <a:pt x="4306283" y="565808"/>
                </a:cubicBezTo>
                <a:cubicBezTo>
                  <a:pt x="4306573" y="570992"/>
                  <a:pt x="4304265" y="575025"/>
                  <a:pt x="4298499" y="576177"/>
                </a:cubicBezTo>
                <a:cubicBezTo>
                  <a:pt x="4295901" y="576465"/>
                  <a:pt x="4296479" y="578481"/>
                  <a:pt x="4296479" y="580209"/>
                </a:cubicBezTo>
                <a:cubicBezTo>
                  <a:pt x="4296479" y="583090"/>
                  <a:pt x="4295325" y="583666"/>
                  <a:pt x="4293018" y="581649"/>
                </a:cubicBezTo>
                <a:cubicBezTo>
                  <a:pt x="4289558" y="578769"/>
                  <a:pt x="4287250" y="578769"/>
                  <a:pt x="4286384" y="583666"/>
                </a:cubicBezTo>
                <a:cubicBezTo>
                  <a:pt x="4286097" y="584817"/>
                  <a:pt x="4285232" y="586258"/>
                  <a:pt x="4284078" y="584817"/>
                </a:cubicBezTo>
                <a:cubicBezTo>
                  <a:pt x="4280330" y="581073"/>
                  <a:pt x="4277733" y="583377"/>
                  <a:pt x="4274851" y="585969"/>
                </a:cubicBezTo>
                <a:cubicBezTo>
                  <a:pt x="4274561" y="586545"/>
                  <a:pt x="4273409" y="586545"/>
                  <a:pt x="4272831" y="586545"/>
                </a:cubicBezTo>
                <a:cubicBezTo>
                  <a:pt x="4265910" y="582514"/>
                  <a:pt x="4259276" y="577904"/>
                  <a:pt x="4252354" y="573584"/>
                </a:cubicBezTo>
                <a:cubicBezTo>
                  <a:pt x="4249182" y="571568"/>
                  <a:pt x="4247453" y="566096"/>
                  <a:pt x="4246010" y="561775"/>
                </a:cubicBezTo>
                <a:cubicBezTo>
                  <a:pt x="4245434" y="560047"/>
                  <a:pt x="4245723" y="558319"/>
                  <a:pt x="4243992" y="556879"/>
                </a:cubicBezTo>
                <a:cubicBezTo>
                  <a:pt x="4242261" y="555438"/>
                  <a:pt x="4242550" y="553711"/>
                  <a:pt x="4243704" y="551983"/>
                </a:cubicBezTo>
                <a:cubicBezTo>
                  <a:pt x="4244281" y="550830"/>
                  <a:pt x="4245434" y="549391"/>
                  <a:pt x="4244568" y="548238"/>
                </a:cubicBezTo>
                <a:cubicBezTo>
                  <a:pt x="4241685" y="544781"/>
                  <a:pt x="4241398" y="542189"/>
                  <a:pt x="4246010" y="540461"/>
                </a:cubicBezTo>
                <a:cubicBezTo>
                  <a:pt x="4247164" y="540173"/>
                  <a:pt x="4247453" y="538445"/>
                  <a:pt x="4246297" y="537581"/>
                </a:cubicBezTo>
                <a:cubicBezTo>
                  <a:pt x="4242550" y="534413"/>
                  <a:pt x="4246587" y="532972"/>
                  <a:pt x="4247164" y="530669"/>
                </a:cubicBezTo>
                <a:cubicBezTo>
                  <a:pt x="4249182" y="522891"/>
                  <a:pt x="4258123" y="525196"/>
                  <a:pt x="4261585" y="519436"/>
                </a:cubicBezTo>
                <a:cubicBezTo>
                  <a:pt x="4262737" y="517420"/>
                  <a:pt x="4268218" y="518860"/>
                  <a:pt x="4270813" y="519147"/>
                </a:cubicBezTo>
                <a:cubicBezTo>
                  <a:pt x="4273839" y="519580"/>
                  <a:pt x="4277156" y="518860"/>
                  <a:pt x="4280330" y="518896"/>
                </a:cubicBezTo>
                <a:close/>
                <a:moveTo>
                  <a:pt x="10198237" y="513586"/>
                </a:moveTo>
                <a:lnTo>
                  <a:pt x="10197988" y="514002"/>
                </a:lnTo>
                <a:lnTo>
                  <a:pt x="10197698" y="513714"/>
                </a:lnTo>
                <a:close/>
                <a:moveTo>
                  <a:pt x="3288866" y="502749"/>
                </a:moveTo>
                <a:cubicBezTo>
                  <a:pt x="3293978" y="503974"/>
                  <a:pt x="3299295" y="503361"/>
                  <a:pt x="3304406" y="503770"/>
                </a:cubicBezTo>
                <a:cubicBezTo>
                  <a:pt x="3308701" y="503974"/>
                  <a:pt x="3312995" y="504383"/>
                  <a:pt x="3316880" y="507041"/>
                </a:cubicBezTo>
                <a:cubicBezTo>
                  <a:pt x="3318516" y="508266"/>
                  <a:pt x="3319742" y="507857"/>
                  <a:pt x="3320970" y="506427"/>
                </a:cubicBezTo>
                <a:cubicBezTo>
                  <a:pt x="3321583" y="505405"/>
                  <a:pt x="3322197" y="504587"/>
                  <a:pt x="3323015" y="503770"/>
                </a:cubicBezTo>
                <a:cubicBezTo>
                  <a:pt x="3323832" y="502953"/>
                  <a:pt x="3325263" y="502135"/>
                  <a:pt x="3326287" y="502953"/>
                </a:cubicBezTo>
                <a:cubicBezTo>
                  <a:pt x="3327513" y="503770"/>
                  <a:pt x="3327104" y="505405"/>
                  <a:pt x="3326491" y="506632"/>
                </a:cubicBezTo>
                <a:cubicBezTo>
                  <a:pt x="3326287" y="507244"/>
                  <a:pt x="3325878" y="507653"/>
                  <a:pt x="3325468" y="508266"/>
                </a:cubicBezTo>
                <a:cubicBezTo>
                  <a:pt x="3322197" y="512967"/>
                  <a:pt x="3323423" y="516033"/>
                  <a:pt x="3328944" y="516646"/>
                </a:cubicBezTo>
                <a:cubicBezTo>
                  <a:pt x="3329966" y="516850"/>
                  <a:pt x="3330990" y="516850"/>
                  <a:pt x="3331807" y="517055"/>
                </a:cubicBezTo>
                <a:cubicBezTo>
                  <a:pt x="3333238" y="517464"/>
                  <a:pt x="3334874" y="517055"/>
                  <a:pt x="3335284" y="519302"/>
                </a:cubicBezTo>
                <a:cubicBezTo>
                  <a:pt x="3335693" y="520938"/>
                  <a:pt x="3334874" y="521756"/>
                  <a:pt x="3333647" y="522572"/>
                </a:cubicBezTo>
                <a:cubicBezTo>
                  <a:pt x="3331399" y="524208"/>
                  <a:pt x="3331603" y="525639"/>
                  <a:pt x="3333852" y="527478"/>
                </a:cubicBezTo>
                <a:cubicBezTo>
                  <a:pt x="3336715" y="529726"/>
                  <a:pt x="3339373" y="532587"/>
                  <a:pt x="3339168" y="536675"/>
                </a:cubicBezTo>
                <a:cubicBezTo>
                  <a:pt x="3338964" y="539945"/>
                  <a:pt x="3339782" y="541580"/>
                  <a:pt x="3343462" y="540763"/>
                </a:cubicBezTo>
                <a:cubicBezTo>
                  <a:pt x="3344280" y="540558"/>
                  <a:pt x="3345303" y="540763"/>
                  <a:pt x="3345712" y="541989"/>
                </a:cubicBezTo>
                <a:cubicBezTo>
                  <a:pt x="3346121" y="543010"/>
                  <a:pt x="3345099" y="543624"/>
                  <a:pt x="3344485" y="544237"/>
                </a:cubicBezTo>
                <a:cubicBezTo>
                  <a:pt x="3343054" y="545668"/>
                  <a:pt x="3341418" y="547098"/>
                  <a:pt x="3340396" y="548733"/>
                </a:cubicBezTo>
                <a:cubicBezTo>
                  <a:pt x="3337124" y="553026"/>
                  <a:pt x="3337328" y="555478"/>
                  <a:pt x="3340396" y="559974"/>
                </a:cubicBezTo>
                <a:cubicBezTo>
                  <a:pt x="3342849" y="563448"/>
                  <a:pt x="3344689" y="567127"/>
                  <a:pt x="3344895" y="571624"/>
                </a:cubicBezTo>
                <a:cubicBezTo>
                  <a:pt x="3345099" y="574894"/>
                  <a:pt x="3343462" y="575302"/>
                  <a:pt x="3340805" y="574280"/>
                </a:cubicBezTo>
                <a:cubicBezTo>
                  <a:pt x="3338964" y="573668"/>
                  <a:pt x="3337942" y="571828"/>
                  <a:pt x="3336511" y="570806"/>
                </a:cubicBezTo>
                <a:cubicBezTo>
                  <a:pt x="3334874" y="569580"/>
                  <a:pt x="3332625" y="567945"/>
                  <a:pt x="3330990" y="569580"/>
                </a:cubicBezTo>
                <a:cubicBezTo>
                  <a:pt x="3329149" y="571624"/>
                  <a:pt x="3330171" y="574077"/>
                  <a:pt x="3332012" y="575916"/>
                </a:cubicBezTo>
                <a:cubicBezTo>
                  <a:pt x="3332830" y="576734"/>
                  <a:pt x="3334056" y="577551"/>
                  <a:pt x="3334874" y="578572"/>
                </a:cubicBezTo>
                <a:cubicBezTo>
                  <a:pt x="3335897" y="579595"/>
                  <a:pt x="3336715" y="580821"/>
                  <a:pt x="3335488" y="582251"/>
                </a:cubicBezTo>
                <a:cubicBezTo>
                  <a:pt x="3334465" y="583478"/>
                  <a:pt x="3333238" y="582865"/>
                  <a:pt x="3332012" y="581843"/>
                </a:cubicBezTo>
                <a:cubicBezTo>
                  <a:pt x="3330785" y="581026"/>
                  <a:pt x="3329558" y="580004"/>
                  <a:pt x="3328331" y="579390"/>
                </a:cubicBezTo>
                <a:cubicBezTo>
                  <a:pt x="3326491" y="578164"/>
                  <a:pt x="3324446" y="578777"/>
                  <a:pt x="3323015" y="580004"/>
                </a:cubicBezTo>
                <a:cubicBezTo>
                  <a:pt x="3321583" y="581230"/>
                  <a:pt x="3322401" y="583069"/>
                  <a:pt x="3323015" y="584500"/>
                </a:cubicBezTo>
                <a:cubicBezTo>
                  <a:pt x="3326082" y="591653"/>
                  <a:pt x="3336306" y="594719"/>
                  <a:pt x="3343258" y="590426"/>
                </a:cubicBezTo>
                <a:cubicBezTo>
                  <a:pt x="3346530" y="588383"/>
                  <a:pt x="3347757" y="588996"/>
                  <a:pt x="3348166" y="592266"/>
                </a:cubicBezTo>
                <a:cubicBezTo>
                  <a:pt x="3348779" y="597580"/>
                  <a:pt x="3351233" y="601055"/>
                  <a:pt x="3356550" y="602894"/>
                </a:cubicBezTo>
                <a:cubicBezTo>
                  <a:pt x="3357981" y="603303"/>
                  <a:pt x="3360231" y="604325"/>
                  <a:pt x="3359617" y="606572"/>
                </a:cubicBezTo>
                <a:cubicBezTo>
                  <a:pt x="3358390" y="611682"/>
                  <a:pt x="3360435" y="615974"/>
                  <a:pt x="3363093" y="620062"/>
                </a:cubicBezTo>
                <a:cubicBezTo>
                  <a:pt x="3365138" y="623127"/>
                  <a:pt x="3365751" y="625988"/>
                  <a:pt x="3363502" y="629667"/>
                </a:cubicBezTo>
                <a:cubicBezTo>
                  <a:pt x="3361048" y="633550"/>
                  <a:pt x="3362479" y="635799"/>
                  <a:pt x="3367387" y="636616"/>
                </a:cubicBezTo>
                <a:cubicBezTo>
                  <a:pt x="3367591" y="636616"/>
                  <a:pt x="3367796" y="636616"/>
                  <a:pt x="3368000" y="636616"/>
                </a:cubicBezTo>
                <a:cubicBezTo>
                  <a:pt x="3369841" y="636820"/>
                  <a:pt x="3371681" y="637229"/>
                  <a:pt x="3371886" y="639069"/>
                </a:cubicBezTo>
                <a:cubicBezTo>
                  <a:pt x="3372294" y="640908"/>
                  <a:pt x="3370046" y="640703"/>
                  <a:pt x="3369022" y="641317"/>
                </a:cubicBezTo>
                <a:cubicBezTo>
                  <a:pt x="3362479" y="644587"/>
                  <a:pt x="3359822" y="649696"/>
                  <a:pt x="3361048" y="657054"/>
                </a:cubicBezTo>
                <a:cubicBezTo>
                  <a:pt x="3361457" y="659507"/>
                  <a:pt x="3360639" y="660937"/>
                  <a:pt x="3358594" y="661959"/>
                </a:cubicBezTo>
                <a:cubicBezTo>
                  <a:pt x="3357367" y="662573"/>
                  <a:pt x="3356141" y="662981"/>
                  <a:pt x="3354914" y="663595"/>
                </a:cubicBezTo>
                <a:cubicBezTo>
                  <a:pt x="3353278" y="664411"/>
                  <a:pt x="3352664" y="665638"/>
                  <a:pt x="3353073" y="667478"/>
                </a:cubicBezTo>
                <a:lnTo>
                  <a:pt x="3353988" y="668776"/>
                </a:lnTo>
                <a:lnTo>
                  <a:pt x="3338006" y="684670"/>
                </a:lnTo>
                <a:lnTo>
                  <a:pt x="3338350" y="681580"/>
                </a:lnTo>
                <a:cubicBezTo>
                  <a:pt x="3338759" y="679944"/>
                  <a:pt x="3338759" y="679126"/>
                  <a:pt x="3336919" y="678105"/>
                </a:cubicBezTo>
                <a:cubicBezTo>
                  <a:pt x="3334874" y="677288"/>
                  <a:pt x="3334056" y="678310"/>
                  <a:pt x="3333238" y="679535"/>
                </a:cubicBezTo>
                <a:cubicBezTo>
                  <a:pt x="3332625" y="680353"/>
                  <a:pt x="3332421" y="681171"/>
                  <a:pt x="3332012" y="682193"/>
                </a:cubicBezTo>
                <a:cubicBezTo>
                  <a:pt x="3330171" y="686485"/>
                  <a:pt x="3328944" y="686689"/>
                  <a:pt x="3325878" y="683214"/>
                </a:cubicBezTo>
                <a:cubicBezTo>
                  <a:pt x="3325263" y="682397"/>
                  <a:pt x="3324446" y="681375"/>
                  <a:pt x="3323219" y="681375"/>
                </a:cubicBezTo>
                <a:cubicBezTo>
                  <a:pt x="3321788" y="681580"/>
                  <a:pt x="3321788" y="683214"/>
                  <a:pt x="3321379" y="684236"/>
                </a:cubicBezTo>
                <a:cubicBezTo>
                  <a:pt x="3320970" y="685054"/>
                  <a:pt x="3320765" y="685872"/>
                  <a:pt x="3320765" y="686689"/>
                </a:cubicBezTo>
                <a:cubicBezTo>
                  <a:pt x="3320459" y="688427"/>
                  <a:pt x="3319794" y="689243"/>
                  <a:pt x="3318925" y="689423"/>
                </a:cubicBezTo>
                <a:cubicBezTo>
                  <a:pt x="3318056" y="689602"/>
                  <a:pt x="3316982" y="689142"/>
                  <a:pt x="3315857" y="688324"/>
                </a:cubicBezTo>
                <a:cubicBezTo>
                  <a:pt x="3313608" y="686485"/>
                  <a:pt x="3311359" y="684236"/>
                  <a:pt x="3309110" y="682397"/>
                </a:cubicBezTo>
                <a:cubicBezTo>
                  <a:pt x="3306452" y="680149"/>
                  <a:pt x="3303384" y="678514"/>
                  <a:pt x="3300112" y="680353"/>
                </a:cubicBezTo>
                <a:cubicBezTo>
                  <a:pt x="3297455" y="681580"/>
                  <a:pt x="3296227" y="680557"/>
                  <a:pt x="3294796" y="678719"/>
                </a:cubicBezTo>
                <a:cubicBezTo>
                  <a:pt x="3291729" y="674631"/>
                  <a:pt x="3288048" y="671566"/>
                  <a:pt x="3282323" y="672791"/>
                </a:cubicBezTo>
                <a:cubicBezTo>
                  <a:pt x="3280891" y="673200"/>
                  <a:pt x="3280482" y="672587"/>
                  <a:pt x="3280278" y="671157"/>
                </a:cubicBezTo>
                <a:cubicBezTo>
                  <a:pt x="3279460" y="661142"/>
                  <a:pt x="3275166" y="652557"/>
                  <a:pt x="3269440" y="644791"/>
                </a:cubicBezTo>
                <a:cubicBezTo>
                  <a:pt x="3268009" y="642952"/>
                  <a:pt x="3268418" y="641726"/>
                  <a:pt x="3269236" y="639887"/>
                </a:cubicBezTo>
                <a:cubicBezTo>
                  <a:pt x="3271280" y="636208"/>
                  <a:pt x="3273530" y="632120"/>
                  <a:pt x="3272098" y="628033"/>
                </a:cubicBezTo>
                <a:cubicBezTo>
                  <a:pt x="3270667" y="623945"/>
                  <a:pt x="3271689" y="621083"/>
                  <a:pt x="3273735" y="617813"/>
                </a:cubicBezTo>
                <a:cubicBezTo>
                  <a:pt x="3274348" y="616792"/>
                  <a:pt x="3274757" y="615770"/>
                  <a:pt x="3275370" y="614543"/>
                </a:cubicBezTo>
                <a:cubicBezTo>
                  <a:pt x="3278029" y="608617"/>
                  <a:pt x="3281095" y="603098"/>
                  <a:pt x="3287435" y="600237"/>
                </a:cubicBezTo>
                <a:cubicBezTo>
                  <a:pt x="3288662" y="599828"/>
                  <a:pt x="3288662" y="599011"/>
                  <a:pt x="3288662" y="597988"/>
                </a:cubicBezTo>
                <a:cubicBezTo>
                  <a:pt x="3288457" y="594923"/>
                  <a:pt x="3282936" y="587565"/>
                  <a:pt x="3280073" y="586748"/>
                </a:cubicBezTo>
                <a:cubicBezTo>
                  <a:pt x="3275575" y="585727"/>
                  <a:pt x="3271689" y="583478"/>
                  <a:pt x="3268623" y="580004"/>
                </a:cubicBezTo>
                <a:cubicBezTo>
                  <a:pt x="3264328" y="575507"/>
                  <a:pt x="3260647" y="570806"/>
                  <a:pt x="3256558" y="566106"/>
                </a:cubicBezTo>
                <a:cubicBezTo>
                  <a:pt x="3255331" y="564880"/>
                  <a:pt x="3255944" y="564062"/>
                  <a:pt x="3256762" y="563040"/>
                </a:cubicBezTo>
                <a:cubicBezTo>
                  <a:pt x="3260443" y="558543"/>
                  <a:pt x="3260443" y="558543"/>
                  <a:pt x="3255944" y="555478"/>
                </a:cubicBezTo>
                <a:cubicBezTo>
                  <a:pt x="3251854" y="552412"/>
                  <a:pt x="3251650" y="550368"/>
                  <a:pt x="3255331" y="546485"/>
                </a:cubicBezTo>
                <a:cubicBezTo>
                  <a:pt x="3256966" y="544850"/>
                  <a:pt x="3258603" y="543010"/>
                  <a:pt x="3257989" y="540149"/>
                </a:cubicBezTo>
                <a:cubicBezTo>
                  <a:pt x="3256149" y="532996"/>
                  <a:pt x="3258807" y="527069"/>
                  <a:pt x="3263511" y="521756"/>
                </a:cubicBezTo>
                <a:cubicBezTo>
                  <a:pt x="3266577" y="518281"/>
                  <a:pt x="3270258" y="515010"/>
                  <a:pt x="3272507" y="510924"/>
                </a:cubicBezTo>
                <a:cubicBezTo>
                  <a:pt x="3272917" y="510106"/>
                  <a:pt x="3273530" y="509288"/>
                  <a:pt x="3274552" y="509493"/>
                </a:cubicBezTo>
                <a:cubicBezTo>
                  <a:pt x="3279664" y="511127"/>
                  <a:pt x="3282323" y="507857"/>
                  <a:pt x="3285185" y="504587"/>
                </a:cubicBezTo>
                <a:cubicBezTo>
                  <a:pt x="3286003" y="503565"/>
                  <a:pt x="3287026" y="502340"/>
                  <a:pt x="3288866" y="502749"/>
                </a:cubicBezTo>
                <a:close/>
                <a:moveTo>
                  <a:pt x="6433558" y="499121"/>
                </a:moveTo>
                <a:cubicBezTo>
                  <a:pt x="6436511" y="499154"/>
                  <a:pt x="6439330" y="499891"/>
                  <a:pt x="6441612" y="503107"/>
                </a:cubicBezTo>
                <a:cubicBezTo>
                  <a:pt x="6442414" y="504180"/>
                  <a:pt x="6444025" y="505519"/>
                  <a:pt x="6446170" y="505519"/>
                </a:cubicBezTo>
                <a:cubicBezTo>
                  <a:pt x="6449124" y="505251"/>
                  <a:pt x="6450736" y="506859"/>
                  <a:pt x="6451270" y="509808"/>
                </a:cubicBezTo>
                <a:cubicBezTo>
                  <a:pt x="6451807" y="511684"/>
                  <a:pt x="6453151" y="512756"/>
                  <a:pt x="6454491" y="514096"/>
                </a:cubicBezTo>
                <a:cubicBezTo>
                  <a:pt x="6457980" y="517313"/>
                  <a:pt x="6459590" y="521065"/>
                  <a:pt x="6458246" y="525889"/>
                </a:cubicBezTo>
                <a:cubicBezTo>
                  <a:pt x="6457442" y="528570"/>
                  <a:pt x="6458246" y="531518"/>
                  <a:pt x="6460931" y="533126"/>
                </a:cubicBezTo>
                <a:cubicBezTo>
                  <a:pt x="6460931" y="534198"/>
                  <a:pt x="6460931" y="535270"/>
                  <a:pt x="6460931" y="536343"/>
                </a:cubicBezTo>
                <a:cubicBezTo>
                  <a:pt x="6458515" y="537683"/>
                  <a:pt x="6457442" y="539291"/>
                  <a:pt x="6457713" y="542775"/>
                </a:cubicBezTo>
                <a:cubicBezTo>
                  <a:pt x="6457980" y="547600"/>
                  <a:pt x="6455832" y="551352"/>
                  <a:pt x="6450468" y="552424"/>
                </a:cubicBezTo>
                <a:cubicBezTo>
                  <a:pt x="6448051" y="552692"/>
                  <a:pt x="6448586" y="554568"/>
                  <a:pt x="6448586" y="556176"/>
                </a:cubicBezTo>
                <a:cubicBezTo>
                  <a:pt x="6448586" y="558857"/>
                  <a:pt x="6447513" y="559393"/>
                  <a:pt x="6445369" y="557517"/>
                </a:cubicBezTo>
                <a:cubicBezTo>
                  <a:pt x="6442146" y="554836"/>
                  <a:pt x="6440000" y="554836"/>
                  <a:pt x="6439194" y="559393"/>
                </a:cubicBezTo>
                <a:cubicBezTo>
                  <a:pt x="6438926" y="560465"/>
                  <a:pt x="6438122" y="561805"/>
                  <a:pt x="6437048" y="560465"/>
                </a:cubicBezTo>
                <a:cubicBezTo>
                  <a:pt x="6433561" y="556981"/>
                  <a:pt x="6431144" y="559125"/>
                  <a:pt x="6428461" y="561537"/>
                </a:cubicBezTo>
                <a:cubicBezTo>
                  <a:pt x="6428193" y="562073"/>
                  <a:pt x="6427119" y="562073"/>
                  <a:pt x="6426583" y="562073"/>
                </a:cubicBezTo>
                <a:cubicBezTo>
                  <a:pt x="6420140" y="558321"/>
                  <a:pt x="6413969" y="554032"/>
                  <a:pt x="6407529" y="550011"/>
                </a:cubicBezTo>
                <a:cubicBezTo>
                  <a:pt x="6404574" y="548135"/>
                  <a:pt x="6402965" y="543043"/>
                  <a:pt x="6401624" y="539022"/>
                </a:cubicBezTo>
                <a:cubicBezTo>
                  <a:pt x="6401086" y="537414"/>
                  <a:pt x="6401357" y="535806"/>
                  <a:pt x="6399744" y="534467"/>
                </a:cubicBezTo>
                <a:cubicBezTo>
                  <a:pt x="6398135" y="533126"/>
                  <a:pt x="6398405" y="531518"/>
                  <a:pt x="6399477" y="529910"/>
                </a:cubicBezTo>
                <a:cubicBezTo>
                  <a:pt x="6400012" y="528838"/>
                  <a:pt x="6401086" y="527497"/>
                  <a:pt x="6400283" y="526426"/>
                </a:cubicBezTo>
                <a:cubicBezTo>
                  <a:pt x="6397597" y="523210"/>
                  <a:pt x="6397331" y="520797"/>
                  <a:pt x="6401624" y="519189"/>
                </a:cubicBezTo>
                <a:cubicBezTo>
                  <a:pt x="6402698" y="518921"/>
                  <a:pt x="6402965" y="517313"/>
                  <a:pt x="6401892" y="516508"/>
                </a:cubicBezTo>
                <a:cubicBezTo>
                  <a:pt x="6398405" y="513560"/>
                  <a:pt x="6402160" y="512220"/>
                  <a:pt x="6402698" y="510075"/>
                </a:cubicBezTo>
                <a:cubicBezTo>
                  <a:pt x="6404574" y="502839"/>
                  <a:pt x="6412897" y="504983"/>
                  <a:pt x="6416114" y="499623"/>
                </a:cubicBezTo>
                <a:cubicBezTo>
                  <a:pt x="6417189" y="497747"/>
                  <a:pt x="6422288" y="499086"/>
                  <a:pt x="6424702" y="499355"/>
                </a:cubicBezTo>
                <a:cubicBezTo>
                  <a:pt x="6427521" y="499757"/>
                  <a:pt x="6430606" y="499087"/>
                  <a:pt x="6433558" y="499121"/>
                </a:cubicBezTo>
                <a:close/>
                <a:moveTo>
                  <a:pt x="8788828" y="487582"/>
                </a:moveTo>
                <a:cubicBezTo>
                  <a:pt x="8792344" y="488359"/>
                  <a:pt x="8795467" y="489137"/>
                  <a:pt x="8798980" y="489137"/>
                </a:cubicBezTo>
                <a:cubicBezTo>
                  <a:pt x="8802496" y="489137"/>
                  <a:pt x="8806008" y="491470"/>
                  <a:pt x="8807572" y="494579"/>
                </a:cubicBezTo>
                <a:cubicBezTo>
                  <a:pt x="8808744" y="497300"/>
                  <a:pt x="8809914" y="498854"/>
                  <a:pt x="8812256" y="500021"/>
                </a:cubicBezTo>
                <a:cubicBezTo>
                  <a:pt x="8812256" y="504686"/>
                  <a:pt x="8812256" y="509351"/>
                  <a:pt x="8812256" y="514015"/>
                </a:cubicBezTo>
                <a:cubicBezTo>
                  <a:pt x="8808352" y="515958"/>
                  <a:pt x="8805228" y="519068"/>
                  <a:pt x="8803666" y="522567"/>
                </a:cubicBezTo>
                <a:cubicBezTo>
                  <a:pt x="8801715" y="525677"/>
                  <a:pt x="8800152" y="529175"/>
                  <a:pt x="8798199" y="532674"/>
                </a:cubicBezTo>
                <a:cubicBezTo>
                  <a:pt x="8796246" y="535784"/>
                  <a:pt x="8794295" y="539282"/>
                  <a:pt x="8793904" y="543169"/>
                </a:cubicBezTo>
                <a:cubicBezTo>
                  <a:pt x="8793123" y="546667"/>
                  <a:pt x="8790780" y="548223"/>
                  <a:pt x="8788048" y="550167"/>
                </a:cubicBezTo>
                <a:cubicBezTo>
                  <a:pt x="8785314" y="552109"/>
                  <a:pt x="8781408" y="551721"/>
                  <a:pt x="8779456" y="554442"/>
                </a:cubicBezTo>
                <a:cubicBezTo>
                  <a:pt x="8776724" y="554442"/>
                  <a:pt x="8774380" y="554442"/>
                  <a:pt x="8771646" y="554442"/>
                </a:cubicBezTo>
                <a:cubicBezTo>
                  <a:pt x="8771646" y="553276"/>
                  <a:pt x="8771256" y="552888"/>
                  <a:pt x="8770476" y="552888"/>
                </a:cubicBezTo>
                <a:cubicBezTo>
                  <a:pt x="8764617" y="552888"/>
                  <a:pt x="8761494" y="549000"/>
                  <a:pt x="8759542" y="544335"/>
                </a:cubicBezTo>
                <a:cubicBezTo>
                  <a:pt x="8757588" y="540060"/>
                  <a:pt x="8755244" y="536172"/>
                  <a:pt x="8756028" y="531119"/>
                </a:cubicBezTo>
                <a:cubicBezTo>
                  <a:pt x="8757200" y="525677"/>
                  <a:pt x="8756808" y="519846"/>
                  <a:pt x="8761494" y="515570"/>
                </a:cubicBezTo>
                <a:cubicBezTo>
                  <a:pt x="8763055" y="514015"/>
                  <a:pt x="8764617" y="512849"/>
                  <a:pt x="8767352" y="512072"/>
                </a:cubicBezTo>
                <a:cubicBezTo>
                  <a:pt x="8771256" y="510905"/>
                  <a:pt x="8775942" y="508961"/>
                  <a:pt x="8774770" y="502742"/>
                </a:cubicBezTo>
                <a:cubicBezTo>
                  <a:pt x="8774380" y="500410"/>
                  <a:pt x="8776724" y="499633"/>
                  <a:pt x="8777115" y="498466"/>
                </a:cubicBezTo>
                <a:cubicBezTo>
                  <a:pt x="8779068" y="492247"/>
                  <a:pt x="8783751" y="489526"/>
                  <a:pt x="8788828" y="487582"/>
                </a:cubicBezTo>
                <a:close/>
                <a:moveTo>
                  <a:pt x="5326723" y="485591"/>
                </a:moveTo>
                <a:lnTo>
                  <a:pt x="5327190" y="485702"/>
                </a:lnTo>
                <a:lnTo>
                  <a:pt x="5326938" y="485952"/>
                </a:lnTo>
                <a:close/>
                <a:moveTo>
                  <a:pt x="7668546" y="465737"/>
                </a:moveTo>
                <a:cubicBezTo>
                  <a:pt x="7672794" y="465688"/>
                  <a:pt x="7677236" y="466653"/>
                  <a:pt x="7681293" y="466075"/>
                </a:cubicBezTo>
                <a:cubicBezTo>
                  <a:pt x="7684772" y="465689"/>
                  <a:pt x="7692116" y="463759"/>
                  <a:pt x="7693660" y="466461"/>
                </a:cubicBezTo>
                <a:cubicBezTo>
                  <a:pt x="7698295" y="474178"/>
                  <a:pt x="7710275" y="471091"/>
                  <a:pt x="7712977" y="481509"/>
                </a:cubicBezTo>
                <a:cubicBezTo>
                  <a:pt x="7713752" y="484596"/>
                  <a:pt x="7719158" y="486526"/>
                  <a:pt x="7714136" y="490770"/>
                </a:cubicBezTo>
                <a:cubicBezTo>
                  <a:pt x="7712593" y="491928"/>
                  <a:pt x="7712977" y="494243"/>
                  <a:pt x="7714523" y="494629"/>
                </a:cubicBezTo>
                <a:cubicBezTo>
                  <a:pt x="7720706" y="496945"/>
                  <a:pt x="7720320" y="500418"/>
                  <a:pt x="7716454" y="505048"/>
                </a:cubicBezTo>
                <a:cubicBezTo>
                  <a:pt x="7715295" y="506591"/>
                  <a:pt x="7716841" y="508521"/>
                  <a:pt x="7717613" y="510065"/>
                </a:cubicBezTo>
                <a:cubicBezTo>
                  <a:pt x="7719158" y="512380"/>
                  <a:pt x="7719545" y="514694"/>
                  <a:pt x="7717228" y="516624"/>
                </a:cubicBezTo>
                <a:cubicBezTo>
                  <a:pt x="7714913" y="518554"/>
                  <a:pt x="7715295" y="520869"/>
                  <a:pt x="7714523" y="523184"/>
                </a:cubicBezTo>
                <a:cubicBezTo>
                  <a:pt x="7712593" y="528972"/>
                  <a:pt x="7710275" y="536304"/>
                  <a:pt x="7706024" y="539005"/>
                </a:cubicBezTo>
                <a:cubicBezTo>
                  <a:pt x="7696752" y="544793"/>
                  <a:pt x="7687864" y="550967"/>
                  <a:pt x="7678590" y="556370"/>
                </a:cubicBezTo>
                <a:cubicBezTo>
                  <a:pt x="7677817" y="556370"/>
                  <a:pt x="7676273" y="556370"/>
                  <a:pt x="7675888" y="555598"/>
                </a:cubicBezTo>
                <a:cubicBezTo>
                  <a:pt x="7672021" y="552125"/>
                  <a:pt x="7668542" y="549037"/>
                  <a:pt x="7663524" y="554054"/>
                </a:cubicBezTo>
                <a:cubicBezTo>
                  <a:pt x="7661978" y="555984"/>
                  <a:pt x="7660815" y="554054"/>
                  <a:pt x="7660440" y="552511"/>
                </a:cubicBezTo>
                <a:cubicBezTo>
                  <a:pt x="7659278" y="545951"/>
                  <a:pt x="7656177" y="545951"/>
                  <a:pt x="7651544" y="549809"/>
                </a:cubicBezTo>
                <a:cubicBezTo>
                  <a:pt x="7648459" y="552511"/>
                  <a:pt x="7646913" y="551739"/>
                  <a:pt x="7646913" y="547881"/>
                </a:cubicBezTo>
                <a:cubicBezTo>
                  <a:pt x="7646913" y="545565"/>
                  <a:pt x="7647694" y="542864"/>
                  <a:pt x="7644217" y="542478"/>
                </a:cubicBezTo>
                <a:cubicBezTo>
                  <a:pt x="7636497" y="540934"/>
                  <a:pt x="7633397" y="535533"/>
                  <a:pt x="7633787" y="528586"/>
                </a:cubicBezTo>
                <a:cubicBezTo>
                  <a:pt x="7634183" y="523570"/>
                  <a:pt x="7632626" y="521255"/>
                  <a:pt x="7629147" y="519325"/>
                </a:cubicBezTo>
                <a:cubicBezTo>
                  <a:pt x="7629147" y="517782"/>
                  <a:pt x="7629147" y="516238"/>
                  <a:pt x="7629147" y="514694"/>
                </a:cubicBezTo>
                <a:cubicBezTo>
                  <a:pt x="7633018" y="512380"/>
                  <a:pt x="7634183" y="508135"/>
                  <a:pt x="7633018" y="504276"/>
                </a:cubicBezTo>
                <a:cubicBezTo>
                  <a:pt x="7631075" y="497330"/>
                  <a:pt x="7633397" y="491928"/>
                  <a:pt x="7638423" y="487298"/>
                </a:cubicBezTo>
                <a:cubicBezTo>
                  <a:pt x="7640346" y="485368"/>
                  <a:pt x="7642286" y="483825"/>
                  <a:pt x="7643060" y="481123"/>
                </a:cubicBezTo>
                <a:cubicBezTo>
                  <a:pt x="7643823" y="476879"/>
                  <a:pt x="7646139" y="474564"/>
                  <a:pt x="7650388" y="474950"/>
                </a:cubicBezTo>
                <a:cubicBezTo>
                  <a:pt x="7653485" y="474950"/>
                  <a:pt x="7655808" y="473020"/>
                  <a:pt x="7656964" y="471476"/>
                </a:cubicBezTo>
                <a:cubicBezTo>
                  <a:pt x="7660244" y="466846"/>
                  <a:pt x="7664298" y="465785"/>
                  <a:pt x="7668546" y="465737"/>
                </a:cubicBezTo>
                <a:close/>
                <a:moveTo>
                  <a:pt x="10118432" y="433327"/>
                </a:moveTo>
                <a:cubicBezTo>
                  <a:pt x="10125580" y="436063"/>
                  <a:pt x="10132176" y="439896"/>
                  <a:pt x="10134928" y="448654"/>
                </a:cubicBezTo>
                <a:cubicBezTo>
                  <a:pt x="10135476" y="450296"/>
                  <a:pt x="10138776" y="451391"/>
                  <a:pt x="10138226" y="454676"/>
                </a:cubicBezTo>
                <a:cubicBezTo>
                  <a:pt x="10136577" y="463435"/>
                  <a:pt x="10143175" y="466171"/>
                  <a:pt x="10148675" y="467813"/>
                </a:cubicBezTo>
                <a:cubicBezTo>
                  <a:pt x="10152523" y="468908"/>
                  <a:pt x="10154722" y="470550"/>
                  <a:pt x="10156921" y="472740"/>
                </a:cubicBezTo>
                <a:cubicBezTo>
                  <a:pt x="10163520" y="478762"/>
                  <a:pt x="10162970" y="486973"/>
                  <a:pt x="10164620" y="494637"/>
                </a:cubicBezTo>
                <a:cubicBezTo>
                  <a:pt x="10165721" y="501753"/>
                  <a:pt x="10162422" y="507226"/>
                  <a:pt x="10159672" y="513248"/>
                </a:cubicBezTo>
                <a:cubicBezTo>
                  <a:pt x="10156921" y="519817"/>
                  <a:pt x="10152523" y="525291"/>
                  <a:pt x="10144275" y="525291"/>
                </a:cubicBezTo>
                <a:cubicBezTo>
                  <a:pt x="10143175" y="525291"/>
                  <a:pt x="10142625" y="525839"/>
                  <a:pt x="10142625" y="527481"/>
                </a:cubicBezTo>
                <a:cubicBezTo>
                  <a:pt x="10138776" y="527481"/>
                  <a:pt x="10135476" y="527481"/>
                  <a:pt x="10131628" y="527481"/>
                </a:cubicBezTo>
                <a:cubicBezTo>
                  <a:pt x="10128880" y="523649"/>
                  <a:pt x="10123381" y="524197"/>
                  <a:pt x="10119530" y="521459"/>
                </a:cubicBezTo>
                <a:cubicBezTo>
                  <a:pt x="10115681" y="518722"/>
                  <a:pt x="10112382" y="516532"/>
                  <a:pt x="10111283" y="511606"/>
                </a:cubicBezTo>
                <a:cubicBezTo>
                  <a:pt x="10110733" y="506132"/>
                  <a:pt x="10107982" y="501205"/>
                  <a:pt x="10105235" y="496826"/>
                </a:cubicBezTo>
                <a:cubicBezTo>
                  <a:pt x="10102484" y="491899"/>
                  <a:pt x="10100285" y="486973"/>
                  <a:pt x="10097534" y="482594"/>
                </a:cubicBezTo>
                <a:cubicBezTo>
                  <a:pt x="10095335" y="477666"/>
                  <a:pt x="10090937" y="473288"/>
                  <a:pt x="10085437" y="470550"/>
                </a:cubicBezTo>
                <a:cubicBezTo>
                  <a:pt x="10085437" y="463981"/>
                  <a:pt x="10085437" y="457413"/>
                  <a:pt x="10085437" y="450844"/>
                </a:cubicBezTo>
                <a:cubicBezTo>
                  <a:pt x="10088737" y="449202"/>
                  <a:pt x="10090388" y="447012"/>
                  <a:pt x="10092036" y="443180"/>
                </a:cubicBezTo>
                <a:cubicBezTo>
                  <a:pt x="10094236" y="438801"/>
                  <a:pt x="10099184" y="435517"/>
                  <a:pt x="10104134" y="435517"/>
                </a:cubicBezTo>
                <a:cubicBezTo>
                  <a:pt x="10109082" y="435517"/>
                  <a:pt x="10113482" y="434421"/>
                  <a:pt x="10118432" y="433327"/>
                </a:cubicBezTo>
                <a:close/>
                <a:moveTo>
                  <a:pt x="9450766" y="431533"/>
                </a:moveTo>
                <a:cubicBezTo>
                  <a:pt x="9455714" y="432627"/>
                  <a:pt x="9460115" y="433723"/>
                  <a:pt x="9465064" y="433723"/>
                </a:cubicBezTo>
                <a:cubicBezTo>
                  <a:pt x="9470014" y="433723"/>
                  <a:pt x="9474961" y="437007"/>
                  <a:pt x="9477162" y="441386"/>
                </a:cubicBezTo>
                <a:cubicBezTo>
                  <a:pt x="9478809" y="445218"/>
                  <a:pt x="9480459" y="447408"/>
                  <a:pt x="9483757" y="449050"/>
                </a:cubicBezTo>
                <a:cubicBezTo>
                  <a:pt x="9483757" y="455619"/>
                  <a:pt x="9483757" y="462187"/>
                  <a:pt x="9483757" y="468756"/>
                </a:cubicBezTo>
                <a:cubicBezTo>
                  <a:pt x="9478260" y="471494"/>
                  <a:pt x="9473861" y="475872"/>
                  <a:pt x="9471663" y="480800"/>
                </a:cubicBezTo>
                <a:cubicBezTo>
                  <a:pt x="9468916" y="485179"/>
                  <a:pt x="9466714" y="490105"/>
                  <a:pt x="9463963" y="495032"/>
                </a:cubicBezTo>
                <a:cubicBezTo>
                  <a:pt x="9461214" y="499411"/>
                  <a:pt x="9458466" y="504338"/>
                  <a:pt x="9457913" y="509812"/>
                </a:cubicBezTo>
                <a:cubicBezTo>
                  <a:pt x="9456814" y="514738"/>
                  <a:pt x="9453515" y="516928"/>
                  <a:pt x="9449667" y="519665"/>
                </a:cubicBezTo>
                <a:cubicBezTo>
                  <a:pt x="9445818" y="522403"/>
                  <a:pt x="9440320" y="521855"/>
                  <a:pt x="9437569" y="525687"/>
                </a:cubicBezTo>
                <a:cubicBezTo>
                  <a:pt x="9433719" y="525687"/>
                  <a:pt x="9430420" y="525687"/>
                  <a:pt x="9426572" y="525687"/>
                </a:cubicBezTo>
                <a:cubicBezTo>
                  <a:pt x="9426572" y="524045"/>
                  <a:pt x="9426021" y="523497"/>
                  <a:pt x="9424922" y="523497"/>
                </a:cubicBezTo>
                <a:cubicBezTo>
                  <a:pt x="9416674" y="523497"/>
                  <a:pt x="9412275" y="518023"/>
                  <a:pt x="9409526" y="511454"/>
                </a:cubicBezTo>
                <a:cubicBezTo>
                  <a:pt x="9406776" y="505432"/>
                  <a:pt x="9403478" y="499959"/>
                  <a:pt x="9404576" y="492843"/>
                </a:cubicBezTo>
                <a:cubicBezTo>
                  <a:pt x="9406226" y="485179"/>
                  <a:pt x="9405677" y="476968"/>
                  <a:pt x="9412275" y="470946"/>
                </a:cubicBezTo>
                <a:cubicBezTo>
                  <a:pt x="9414476" y="468756"/>
                  <a:pt x="9416674" y="467114"/>
                  <a:pt x="9420523" y="466019"/>
                </a:cubicBezTo>
                <a:cubicBezTo>
                  <a:pt x="9426021" y="464377"/>
                  <a:pt x="9432621" y="461641"/>
                  <a:pt x="9430969" y="452882"/>
                </a:cubicBezTo>
                <a:cubicBezTo>
                  <a:pt x="9430420" y="449597"/>
                  <a:pt x="9433719" y="448502"/>
                  <a:pt x="9434268" y="446860"/>
                </a:cubicBezTo>
                <a:cubicBezTo>
                  <a:pt x="9437020" y="438102"/>
                  <a:pt x="9443622" y="434269"/>
                  <a:pt x="9450766" y="431533"/>
                </a:cubicBezTo>
                <a:close/>
                <a:moveTo>
                  <a:pt x="8279557" y="404265"/>
                </a:moveTo>
                <a:cubicBezTo>
                  <a:pt x="8281397" y="403856"/>
                  <a:pt x="8282417" y="405082"/>
                  <a:pt x="8283237" y="406104"/>
                </a:cubicBezTo>
                <a:cubicBezTo>
                  <a:pt x="8286101" y="409374"/>
                  <a:pt x="8288757" y="412644"/>
                  <a:pt x="8293871" y="411009"/>
                </a:cubicBezTo>
                <a:cubicBezTo>
                  <a:pt x="8294890" y="410805"/>
                  <a:pt x="8295504" y="411623"/>
                  <a:pt x="8295912" y="412440"/>
                </a:cubicBezTo>
                <a:cubicBezTo>
                  <a:pt x="8298164" y="416527"/>
                  <a:pt x="8301843" y="419798"/>
                  <a:pt x="8304910" y="423272"/>
                </a:cubicBezTo>
                <a:cubicBezTo>
                  <a:pt x="8309611" y="428585"/>
                  <a:pt x="8312274" y="434513"/>
                  <a:pt x="8310432" y="441666"/>
                </a:cubicBezTo>
                <a:cubicBezTo>
                  <a:pt x="8309817" y="444527"/>
                  <a:pt x="8311453" y="446367"/>
                  <a:pt x="8313088" y="448001"/>
                </a:cubicBezTo>
                <a:cubicBezTo>
                  <a:pt x="8316768" y="451885"/>
                  <a:pt x="8316566" y="453929"/>
                  <a:pt x="8312478" y="456994"/>
                </a:cubicBezTo>
                <a:cubicBezTo>
                  <a:pt x="8307979" y="460060"/>
                  <a:pt x="8307979" y="460060"/>
                  <a:pt x="8311659" y="464556"/>
                </a:cubicBezTo>
                <a:cubicBezTo>
                  <a:pt x="8312478" y="465578"/>
                  <a:pt x="8313088" y="466396"/>
                  <a:pt x="8311863" y="467622"/>
                </a:cubicBezTo>
                <a:cubicBezTo>
                  <a:pt x="8307775" y="472323"/>
                  <a:pt x="8304095" y="477024"/>
                  <a:pt x="8299802" y="481520"/>
                </a:cubicBezTo>
                <a:cubicBezTo>
                  <a:pt x="8296733" y="484994"/>
                  <a:pt x="8292846" y="487242"/>
                  <a:pt x="8288349" y="488264"/>
                </a:cubicBezTo>
                <a:cubicBezTo>
                  <a:pt x="8285485" y="489082"/>
                  <a:pt x="8279965" y="496439"/>
                  <a:pt x="8279763" y="499505"/>
                </a:cubicBezTo>
                <a:cubicBezTo>
                  <a:pt x="8279763" y="500527"/>
                  <a:pt x="8279763" y="501345"/>
                  <a:pt x="8280988" y="501754"/>
                </a:cubicBezTo>
                <a:cubicBezTo>
                  <a:pt x="8287327" y="504615"/>
                  <a:pt x="8290393" y="510132"/>
                  <a:pt x="8293054" y="516060"/>
                </a:cubicBezTo>
                <a:cubicBezTo>
                  <a:pt x="8293664" y="517286"/>
                  <a:pt x="8294075" y="518308"/>
                  <a:pt x="8294687" y="519330"/>
                </a:cubicBezTo>
                <a:cubicBezTo>
                  <a:pt x="8296733" y="522600"/>
                  <a:pt x="8297753" y="525461"/>
                  <a:pt x="8296321" y="529548"/>
                </a:cubicBezTo>
                <a:cubicBezTo>
                  <a:pt x="8294890" y="533636"/>
                  <a:pt x="8297142" y="537723"/>
                  <a:pt x="8299184" y="541402"/>
                </a:cubicBezTo>
                <a:cubicBezTo>
                  <a:pt x="8300005" y="543242"/>
                  <a:pt x="8300413" y="544469"/>
                  <a:pt x="8298983" y="546308"/>
                </a:cubicBezTo>
                <a:lnTo>
                  <a:pt x="8289215" y="570066"/>
                </a:lnTo>
                <a:lnTo>
                  <a:pt x="8297712" y="565573"/>
                </a:lnTo>
                <a:cubicBezTo>
                  <a:pt x="8316193" y="539515"/>
                  <a:pt x="8343373" y="553630"/>
                  <a:pt x="8366204" y="550372"/>
                </a:cubicBezTo>
                <a:cubicBezTo>
                  <a:pt x="8375985" y="549287"/>
                  <a:pt x="8396640" y="543858"/>
                  <a:pt x="8400990" y="551458"/>
                </a:cubicBezTo>
                <a:cubicBezTo>
                  <a:pt x="8414034" y="573173"/>
                  <a:pt x="8447735" y="564487"/>
                  <a:pt x="8455344" y="593802"/>
                </a:cubicBezTo>
                <a:cubicBezTo>
                  <a:pt x="8457520" y="602488"/>
                  <a:pt x="8472742" y="607916"/>
                  <a:pt x="8458606" y="619860"/>
                </a:cubicBezTo>
                <a:cubicBezTo>
                  <a:pt x="8454258" y="623116"/>
                  <a:pt x="8455344" y="629631"/>
                  <a:pt x="8459693" y="630717"/>
                </a:cubicBezTo>
                <a:cubicBezTo>
                  <a:pt x="8477088" y="637231"/>
                  <a:pt x="8476001" y="647003"/>
                  <a:pt x="8465128" y="660032"/>
                </a:cubicBezTo>
                <a:cubicBezTo>
                  <a:pt x="8461868" y="664374"/>
                  <a:pt x="8466218" y="669803"/>
                  <a:pt x="8468392" y="674146"/>
                </a:cubicBezTo>
                <a:cubicBezTo>
                  <a:pt x="8472742" y="680660"/>
                  <a:pt x="8473828" y="687175"/>
                  <a:pt x="8467305" y="692604"/>
                </a:cubicBezTo>
                <a:cubicBezTo>
                  <a:pt x="8460780" y="698032"/>
                  <a:pt x="8461868" y="704546"/>
                  <a:pt x="8459693" y="711061"/>
                </a:cubicBezTo>
                <a:cubicBezTo>
                  <a:pt x="8454258" y="727347"/>
                  <a:pt x="8447735" y="747975"/>
                  <a:pt x="8435778" y="755575"/>
                </a:cubicBezTo>
                <a:cubicBezTo>
                  <a:pt x="8409688" y="771861"/>
                  <a:pt x="8384681" y="789233"/>
                  <a:pt x="8358590" y="804433"/>
                </a:cubicBezTo>
                <a:cubicBezTo>
                  <a:pt x="8356417" y="804433"/>
                  <a:pt x="8352066" y="804433"/>
                  <a:pt x="8350980" y="802262"/>
                </a:cubicBezTo>
                <a:cubicBezTo>
                  <a:pt x="8340110" y="792491"/>
                  <a:pt x="8330326" y="783805"/>
                  <a:pt x="8316193" y="797919"/>
                </a:cubicBezTo>
                <a:cubicBezTo>
                  <a:pt x="8311846" y="803348"/>
                  <a:pt x="8308582" y="797919"/>
                  <a:pt x="8307494" y="793576"/>
                </a:cubicBezTo>
                <a:cubicBezTo>
                  <a:pt x="8304237" y="775119"/>
                  <a:pt x="8295537" y="775119"/>
                  <a:pt x="8282496" y="785976"/>
                </a:cubicBezTo>
                <a:cubicBezTo>
                  <a:pt x="8273797" y="793576"/>
                  <a:pt x="8269447" y="791405"/>
                  <a:pt x="8269447" y="780547"/>
                </a:cubicBezTo>
                <a:cubicBezTo>
                  <a:pt x="8269447" y="774033"/>
                  <a:pt x="8271622" y="766434"/>
                  <a:pt x="8261838" y="765347"/>
                </a:cubicBezTo>
                <a:cubicBezTo>
                  <a:pt x="8240095" y="761005"/>
                  <a:pt x="8231398" y="745804"/>
                  <a:pt x="8232485" y="726261"/>
                </a:cubicBezTo>
                <a:cubicBezTo>
                  <a:pt x="8233570" y="712147"/>
                  <a:pt x="8229224" y="705632"/>
                  <a:pt x="8219438" y="700204"/>
                </a:cubicBezTo>
                <a:cubicBezTo>
                  <a:pt x="8219438" y="695861"/>
                  <a:pt x="8219438" y="691517"/>
                  <a:pt x="8219438" y="687175"/>
                </a:cubicBezTo>
                <a:cubicBezTo>
                  <a:pt x="8230309" y="680660"/>
                  <a:pt x="8233570" y="668718"/>
                  <a:pt x="8230309" y="657860"/>
                </a:cubicBezTo>
                <a:cubicBezTo>
                  <a:pt x="8224873" y="638317"/>
                  <a:pt x="8231398" y="623116"/>
                  <a:pt x="8245530" y="610088"/>
                </a:cubicBezTo>
                <a:cubicBezTo>
                  <a:pt x="8250965" y="604659"/>
                  <a:pt x="8256402" y="600316"/>
                  <a:pt x="8258577" y="592717"/>
                </a:cubicBezTo>
                <a:lnTo>
                  <a:pt x="8263346" y="582998"/>
                </a:lnTo>
                <a:lnTo>
                  <a:pt x="8259312" y="583914"/>
                </a:lnTo>
                <a:cubicBezTo>
                  <a:pt x="8257064" y="585753"/>
                  <a:pt x="8254808" y="588002"/>
                  <a:pt x="8252564" y="589840"/>
                </a:cubicBezTo>
                <a:cubicBezTo>
                  <a:pt x="8251439" y="590658"/>
                  <a:pt x="8250365" y="591118"/>
                  <a:pt x="8249498" y="590939"/>
                </a:cubicBezTo>
                <a:cubicBezTo>
                  <a:pt x="8248626" y="590760"/>
                  <a:pt x="8247962" y="589943"/>
                  <a:pt x="8247654" y="588206"/>
                </a:cubicBezTo>
                <a:cubicBezTo>
                  <a:pt x="8247654" y="587388"/>
                  <a:pt x="8247451" y="586571"/>
                  <a:pt x="8247044" y="585753"/>
                </a:cubicBezTo>
                <a:cubicBezTo>
                  <a:pt x="8246634" y="584731"/>
                  <a:pt x="8246634" y="583096"/>
                  <a:pt x="8245203" y="582892"/>
                </a:cubicBezTo>
                <a:cubicBezTo>
                  <a:pt x="8243974" y="582892"/>
                  <a:pt x="8243158" y="583914"/>
                  <a:pt x="8242546" y="584731"/>
                </a:cubicBezTo>
                <a:cubicBezTo>
                  <a:pt x="8239477" y="588206"/>
                  <a:pt x="8238250" y="588002"/>
                  <a:pt x="8236409" y="583710"/>
                </a:cubicBezTo>
                <a:cubicBezTo>
                  <a:pt x="8236000" y="582687"/>
                  <a:pt x="8235796" y="581870"/>
                  <a:pt x="8235182" y="581052"/>
                </a:cubicBezTo>
                <a:cubicBezTo>
                  <a:pt x="8234364" y="579826"/>
                  <a:pt x="8233545" y="578804"/>
                  <a:pt x="8231501" y="579622"/>
                </a:cubicBezTo>
                <a:cubicBezTo>
                  <a:pt x="8229660" y="580643"/>
                  <a:pt x="8229660" y="581461"/>
                  <a:pt x="8230070" y="583096"/>
                </a:cubicBezTo>
                <a:lnTo>
                  <a:pt x="8230415" y="586187"/>
                </a:lnTo>
                <a:lnTo>
                  <a:pt x="8214432" y="570292"/>
                </a:lnTo>
                <a:lnTo>
                  <a:pt x="8215348" y="568994"/>
                </a:lnTo>
                <a:cubicBezTo>
                  <a:pt x="8215757" y="567155"/>
                  <a:pt x="8215144" y="565928"/>
                  <a:pt x="8213506" y="565111"/>
                </a:cubicBezTo>
                <a:cubicBezTo>
                  <a:pt x="8212278" y="564498"/>
                  <a:pt x="8211054" y="564089"/>
                  <a:pt x="8209824" y="563476"/>
                </a:cubicBezTo>
                <a:cubicBezTo>
                  <a:pt x="8207783" y="562454"/>
                  <a:pt x="8206963" y="561023"/>
                  <a:pt x="8207373" y="558570"/>
                </a:cubicBezTo>
                <a:cubicBezTo>
                  <a:pt x="8208599" y="551213"/>
                  <a:pt x="8205942" y="546103"/>
                  <a:pt x="8199396" y="542833"/>
                </a:cubicBezTo>
                <a:cubicBezTo>
                  <a:pt x="8198374" y="542220"/>
                  <a:pt x="8196124" y="542424"/>
                  <a:pt x="8196535" y="540586"/>
                </a:cubicBezTo>
                <a:cubicBezTo>
                  <a:pt x="8196738" y="538746"/>
                  <a:pt x="8198581" y="538337"/>
                  <a:pt x="8200422" y="538132"/>
                </a:cubicBezTo>
                <a:cubicBezTo>
                  <a:pt x="8200626" y="538132"/>
                  <a:pt x="8200831" y="538132"/>
                  <a:pt x="8201035" y="538132"/>
                </a:cubicBezTo>
                <a:cubicBezTo>
                  <a:pt x="8205942" y="537315"/>
                  <a:pt x="8207373" y="535067"/>
                  <a:pt x="8204920" y="531184"/>
                </a:cubicBezTo>
                <a:cubicBezTo>
                  <a:pt x="8202669" y="527505"/>
                  <a:pt x="8203282" y="524644"/>
                  <a:pt x="8205329" y="521577"/>
                </a:cubicBezTo>
                <a:cubicBezTo>
                  <a:pt x="8207987" y="517490"/>
                  <a:pt x="8210030" y="513199"/>
                  <a:pt x="8208804" y="508089"/>
                </a:cubicBezTo>
                <a:cubicBezTo>
                  <a:pt x="8208193" y="505840"/>
                  <a:pt x="8210441" y="504819"/>
                  <a:pt x="8211871" y="504410"/>
                </a:cubicBezTo>
                <a:cubicBezTo>
                  <a:pt x="8217188" y="502570"/>
                  <a:pt x="8219641" y="499096"/>
                  <a:pt x="8220253" y="493783"/>
                </a:cubicBezTo>
                <a:cubicBezTo>
                  <a:pt x="8220662" y="490512"/>
                  <a:pt x="8221892" y="489900"/>
                  <a:pt x="8225165" y="491943"/>
                </a:cubicBezTo>
                <a:cubicBezTo>
                  <a:pt x="8232118" y="496235"/>
                  <a:pt x="8242341" y="493170"/>
                  <a:pt x="8245407" y="486017"/>
                </a:cubicBezTo>
                <a:cubicBezTo>
                  <a:pt x="8246022" y="484585"/>
                  <a:pt x="8246836" y="482746"/>
                  <a:pt x="8245407" y="481520"/>
                </a:cubicBezTo>
                <a:cubicBezTo>
                  <a:pt x="8243974" y="480293"/>
                  <a:pt x="8241931" y="479680"/>
                  <a:pt x="8240090" y="480907"/>
                </a:cubicBezTo>
                <a:cubicBezTo>
                  <a:pt x="8238864" y="481520"/>
                  <a:pt x="8237632" y="482541"/>
                  <a:pt x="8236409" y="483359"/>
                </a:cubicBezTo>
                <a:cubicBezTo>
                  <a:pt x="8235182" y="484381"/>
                  <a:pt x="8233955" y="484994"/>
                  <a:pt x="8232935" y="483768"/>
                </a:cubicBezTo>
                <a:cubicBezTo>
                  <a:pt x="8231706" y="482338"/>
                  <a:pt x="8232524" y="481111"/>
                  <a:pt x="8233545" y="480089"/>
                </a:cubicBezTo>
                <a:cubicBezTo>
                  <a:pt x="8234364" y="479067"/>
                  <a:pt x="8235593" y="478250"/>
                  <a:pt x="8236409" y="477432"/>
                </a:cubicBezTo>
                <a:cubicBezTo>
                  <a:pt x="8238250" y="475593"/>
                  <a:pt x="8239272" y="473140"/>
                  <a:pt x="8237431" y="471096"/>
                </a:cubicBezTo>
                <a:cubicBezTo>
                  <a:pt x="8235796" y="469462"/>
                  <a:pt x="8233545" y="471096"/>
                  <a:pt x="8231911" y="472323"/>
                </a:cubicBezTo>
                <a:cubicBezTo>
                  <a:pt x="8230478" y="473345"/>
                  <a:pt x="8229458" y="475184"/>
                  <a:pt x="8227617" y="475797"/>
                </a:cubicBezTo>
                <a:cubicBezTo>
                  <a:pt x="8224957" y="476819"/>
                  <a:pt x="8223322" y="476410"/>
                  <a:pt x="8223523" y="473140"/>
                </a:cubicBezTo>
                <a:cubicBezTo>
                  <a:pt x="8223732" y="468644"/>
                  <a:pt x="8225571" y="464965"/>
                  <a:pt x="8228027" y="461491"/>
                </a:cubicBezTo>
                <a:cubicBezTo>
                  <a:pt x="8231092" y="456994"/>
                  <a:pt x="8231297" y="454542"/>
                  <a:pt x="8228027" y="450250"/>
                </a:cubicBezTo>
                <a:cubicBezTo>
                  <a:pt x="8227002" y="448615"/>
                  <a:pt x="8225366" y="447185"/>
                  <a:pt x="8223932" y="445754"/>
                </a:cubicBezTo>
                <a:cubicBezTo>
                  <a:pt x="8223322" y="445140"/>
                  <a:pt x="8222301" y="444527"/>
                  <a:pt x="8222710" y="443506"/>
                </a:cubicBezTo>
                <a:cubicBezTo>
                  <a:pt x="8223117" y="442279"/>
                  <a:pt x="8224141" y="442075"/>
                  <a:pt x="8224957" y="442279"/>
                </a:cubicBezTo>
                <a:cubicBezTo>
                  <a:pt x="8228637" y="443097"/>
                  <a:pt x="8229458" y="441462"/>
                  <a:pt x="8229252" y="438192"/>
                </a:cubicBezTo>
                <a:cubicBezTo>
                  <a:pt x="8229047" y="434104"/>
                  <a:pt x="8231706" y="431243"/>
                  <a:pt x="8234571" y="428994"/>
                </a:cubicBezTo>
                <a:cubicBezTo>
                  <a:pt x="8236819" y="427155"/>
                  <a:pt x="8237023" y="425724"/>
                  <a:pt x="8234774" y="424089"/>
                </a:cubicBezTo>
                <a:cubicBezTo>
                  <a:pt x="8233545" y="423272"/>
                  <a:pt x="8232728" y="422455"/>
                  <a:pt x="8233137" y="420819"/>
                </a:cubicBezTo>
                <a:cubicBezTo>
                  <a:pt x="8233545" y="418571"/>
                  <a:pt x="8235182" y="418980"/>
                  <a:pt x="8236613" y="418571"/>
                </a:cubicBezTo>
                <a:cubicBezTo>
                  <a:pt x="8237431" y="418367"/>
                  <a:pt x="8238457" y="418367"/>
                  <a:pt x="8239477" y="418162"/>
                </a:cubicBezTo>
                <a:cubicBezTo>
                  <a:pt x="8244999" y="417549"/>
                  <a:pt x="8246223" y="414484"/>
                  <a:pt x="8242953" y="409783"/>
                </a:cubicBezTo>
                <a:cubicBezTo>
                  <a:pt x="8242546" y="409169"/>
                  <a:pt x="8242138" y="408761"/>
                  <a:pt x="8241931" y="408148"/>
                </a:cubicBezTo>
                <a:cubicBezTo>
                  <a:pt x="8241317" y="406922"/>
                  <a:pt x="8240908" y="405286"/>
                  <a:pt x="8242138" y="404470"/>
                </a:cubicBezTo>
                <a:cubicBezTo>
                  <a:pt x="8243158" y="403652"/>
                  <a:pt x="8244589" y="404470"/>
                  <a:pt x="8245407" y="405286"/>
                </a:cubicBezTo>
                <a:cubicBezTo>
                  <a:pt x="8246223" y="406104"/>
                  <a:pt x="8246836" y="406922"/>
                  <a:pt x="8247451" y="407944"/>
                </a:cubicBezTo>
                <a:cubicBezTo>
                  <a:pt x="8248680" y="409374"/>
                  <a:pt x="8249906" y="409783"/>
                  <a:pt x="8251542" y="408557"/>
                </a:cubicBezTo>
                <a:cubicBezTo>
                  <a:pt x="8255426" y="405900"/>
                  <a:pt x="8259720" y="405491"/>
                  <a:pt x="8264017" y="405286"/>
                </a:cubicBezTo>
                <a:cubicBezTo>
                  <a:pt x="8269130" y="404877"/>
                  <a:pt x="8274444" y="405491"/>
                  <a:pt x="8279557" y="404265"/>
                </a:cubicBezTo>
                <a:close/>
                <a:moveTo>
                  <a:pt x="5434097" y="377756"/>
                </a:moveTo>
                <a:cubicBezTo>
                  <a:pt x="5438348" y="377708"/>
                  <a:pt x="5442792" y="378673"/>
                  <a:pt x="5446849" y="378094"/>
                </a:cubicBezTo>
                <a:cubicBezTo>
                  <a:pt x="5450326" y="377708"/>
                  <a:pt x="5457667" y="375779"/>
                  <a:pt x="5459212" y="378480"/>
                </a:cubicBezTo>
                <a:cubicBezTo>
                  <a:pt x="5463849" y="386197"/>
                  <a:pt x="5475826" y="383110"/>
                  <a:pt x="5478530" y="393529"/>
                </a:cubicBezTo>
                <a:cubicBezTo>
                  <a:pt x="5479303" y="396616"/>
                  <a:pt x="5484713" y="398545"/>
                  <a:pt x="5479690" y="402789"/>
                </a:cubicBezTo>
                <a:cubicBezTo>
                  <a:pt x="5478142" y="403947"/>
                  <a:pt x="5478530" y="406263"/>
                  <a:pt x="5480075" y="406648"/>
                </a:cubicBezTo>
                <a:cubicBezTo>
                  <a:pt x="5486259" y="408964"/>
                  <a:pt x="5485871" y="412437"/>
                  <a:pt x="5482008" y="417067"/>
                </a:cubicBezTo>
                <a:cubicBezTo>
                  <a:pt x="5480850" y="418611"/>
                  <a:pt x="5482393" y="420540"/>
                  <a:pt x="5483166" y="422084"/>
                </a:cubicBezTo>
                <a:cubicBezTo>
                  <a:pt x="5484713" y="424399"/>
                  <a:pt x="5485099" y="426714"/>
                  <a:pt x="5482780" y="428643"/>
                </a:cubicBezTo>
                <a:cubicBezTo>
                  <a:pt x="5480461" y="430573"/>
                  <a:pt x="5480850" y="432888"/>
                  <a:pt x="5480075" y="435204"/>
                </a:cubicBezTo>
                <a:cubicBezTo>
                  <a:pt x="5478142" y="440991"/>
                  <a:pt x="5475826" y="448324"/>
                  <a:pt x="5471575" y="451024"/>
                </a:cubicBezTo>
                <a:cubicBezTo>
                  <a:pt x="5462303" y="456813"/>
                  <a:pt x="5453416" y="462986"/>
                  <a:pt x="5444142" y="468389"/>
                </a:cubicBezTo>
                <a:cubicBezTo>
                  <a:pt x="5443370" y="468389"/>
                  <a:pt x="5441826" y="468389"/>
                  <a:pt x="5441439" y="467617"/>
                </a:cubicBezTo>
                <a:cubicBezTo>
                  <a:pt x="5437576" y="464144"/>
                  <a:pt x="5434097" y="461057"/>
                  <a:pt x="5429074" y="466074"/>
                </a:cubicBezTo>
                <a:cubicBezTo>
                  <a:pt x="5427529" y="468003"/>
                  <a:pt x="5426370" y="466074"/>
                  <a:pt x="5425985" y="464530"/>
                </a:cubicBezTo>
                <a:cubicBezTo>
                  <a:pt x="5424826" y="457971"/>
                  <a:pt x="5421734" y="457971"/>
                  <a:pt x="5417098" y="461829"/>
                </a:cubicBezTo>
                <a:cubicBezTo>
                  <a:pt x="5414007" y="464530"/>
                  <a:pt x="5412461" y="463758"/>
                  <a:pt x="5412461" y="459900"/>
                </a:cubicBezTo>
                <a:cubicBezTo>
                  <a:pt x="5412461" y="457585"/>
                  <a:pt x="5413234" y="454883"/>
                  <a:pt x="5409756" y="454497"/>
                </a:cubicBezTo>
                <a:cubicBezTo>
                  <a:pt x="5402029" y="452954"/>
                  <a:pt x="5398938" y="447552"/>
                  <a:pt x="5399325" y="440606"/>
                </a:cubicBezTo>
                <a:cubicBezTo>
                  <a:pt x="5399710" y="435590"/>
                  <a:pt x="5398165" y="433274"/>
                  <a:pt x="5394689" y="431345"/>
                </a:cubicBezTo>
                <a:cubicBezTo>
                  <a:pt x="5394689" y="429801"/>
                  <a:pt x="5394689" y="428257"/>
                  <a:pt x="5394689" y="426714"/>
                </a:cubicBezTo>
                <a:cubicBezTo>
                  <a:pt x="5398552" y="424399"/>
                  <a:pt x="5399710" y="420154"/>
                  <a:pt x="5398552" y="416295"/>
                </a:cubicBezTo>
                <a:cubicBezTo>
                  <a:pt x="5396619" y="409350"/>
                  <a:pt x="5398938" y="403947"/>
                  <a:pt x="5403961" y="399317"/>
                </a:cubicBezTo>
                <a:cubicBezTo>
                  <a:pt x="5405893" y="397388"/>
                  <a:pt x="5407825" y="395844"/>
                  <a:pt x="5408596" y="393143"/>
                </a:cubicBezTo>
                <a:cubicBezTo>
                  <a:pt x="5409371" y="388899"/>
                  <a:pt x="5411690" y="386583"/>
                  <a:pt x="5415940" y="386969"/>
                </a:cubicBezTo>
                <a:cubicBezTo>
                  <a:pt x="5419029" y="386969"/>
                  <a:pt x="5421348" y="385040"/>
                  <a:pt x="5422507" y="383496"/>
                </a:cubicBezTo>
                <a:cubicBezTo>
                  <a:pt x="5425791" y="378866"/>
                  <a:pt x="5429848" y="377804"/>
                  <a:pt x="5434097" y="377756"/>
                </a:cubicBezTo>
                <a:close/>
                <a:moveTo>
                  <a:pt x="6212256" y="376863"/>
                </a:moveTo>
                <a:cubicBezTo>
                  <a:pt x="6215428" y="376900"/>
                  <a:pt x="6218457" y="377692"/>
                  <a:pt x="6220907" y="381148"/>
                </a:cubicBezTo>
                <a:cubicBezTo>
                  <a:pt x="6221774" y="382300"/>
                  <a:pt x="6223502" y="383740"/>
                  <a:pt x="6225813" y="383740"/>
                </a:cubicBezTo>
                <a:cubicBezTo>
                  <a:pt x="6228982" y="383452"/>
                  <a:pt x="6230715" y="385179"/>
                  <a:pt x="6231291" y="388348"/>
                </a:cubicBezTo>
                <a:cubicBezTo>
                  <a:pt x="6231867" y="390365"/>
                  <a:pt x="6233310" y="391516"/>
                  <a:pt x="6234751" y="392957"/>
                </a:cubicBezTo>
                <a:cubicBezTo>
                  <a:pt x="6238499" y="396412"/>
                  <a:pt x="6240230" y="400445"/>
                  <a:pt x="6238787" y="405630"/>
                </a:cubicBezTo>
                <a:cubicBezTo>
                  <a:pt x="6237922" y="408509"/>
                  <a:pt x="6238787" y="411678"/>
                  <a:pt x="6241671" y="413406"/>
                </a:cubicBezTo>
                <a:cubicBezTo>
                  <a:pt x="6241671" y="414558"/>
                  <a:pt x="6241671" y="415710"/>
                  <a:pt x="6241671" y="416863"/>
                </a:cubicBezTo>
                <a:cubicBezTo>
                  <a:pt x="6239076" y="418302"/>
                  <a:pt x="6237922" y="420031"/>
                  <a:pt x="6238210" y="423775"/>
                </a:cubicBezTo>
                <a:cubicBezTo>
                  <a:pt x="6238499" y="428959"/>
                  <a:pt x="6236193" y="432992"/>
                  <a:pt x="6230425" y="434143"/>
                </a:cubicBezTo>
                <a:cubicBezTo>
                  <a:pt x="6227831" y="434432"/>
                  <a:pt x="6228406" y="436448"/>
                  <a:pt x="6228406" y="438176"/>
                </a:cubicBezTo>
                <a:cubicBezTo>
                  <a:pt x="6228406" y="441056"/>
                  <a:pt x="6227253" y="441632"/>
                  <a:pt x="6224946" y="439616"/>
                </a:cubicBezTo>
                <a:cubicBezTo>
                  <a:pt x="6221484" y="436736"/>
                  <a:pt x="6219176" y="436736"/>
                  <a:pt x="6218313" y="441632"/>
                </a:cubicBezTo>
                <a:cubicBezTo>
                  <a:pt x="6218023" y="442784"/>
                  <a:pt x="6217159" y="444224"/>
                  <a:pt x="6216005" y="442784"/>
                </a:cubicBezTo>
                <a:cubicBezTo>
                  <a:pt x="6212257" y="439040"/>
                  <a:pt x="6209661" y="441345"/>
                  <a:pt x="6206777" y="443937"/>
                </a:cubicBezTo>
                <a:cubicBezTo>
                  <a:pt x="6206488" y="444513"/>
                  <a:pt x="6205336" y="444513"/>
                  <a:pt x="6204758" y="444513"/>
                </a:cubicBezTo>
                <a:cubicBezTo>
                  <a:pt x="6197839" y="440480"/>
                  <a:pt x="6191206" y="435872"/>
                  <a:pt x="6184282" y="431551"/>
                </a:cubicBezTo>
                <a:cubicBezTo>
                  <a:pt x="6181111" y="429535"/>
                  <a:pt x="6179380" y="424063"/>
                  <a:pt x="6177939" y="419742"/>
                </a:cubicBezTo>
                <a:cubicBezTo>
                  <a:pt x="6177362" y="418015"/>
                  <a:pt x="6177650" y="416286"/>
                  <a:pt x="6175922" y="414847"/>
                </a:cubicBezTo>
                <a:cubicBezTo>
                  <a:pt x="6174190" y="413406"/>
                  <a:pt x="6174479" y="411678"/>
                  <a:pt x="6175631" y="409950"/>
                </a:cubicBezTo>
                <a:cubicBezTo>
                  <a:pt x="6176209" y="408798"/>
                  <a:pt x="6177362" y="407358"/>
                  <a:pt x="6176498" y="406206"/>
                </a:cubicBezTo>
                <a:cubicBezTo>
                  <a:pt x="6173612" y="402749"/>
                  <a:pt x="6173324" y="400157"/>
                  <a:pt x="6177939" y="398428"/>
                </a:cubicBezTo>
                <a:cubicBezTo>
                  <a:pt x="6179092" y="398141"/>
                  <a:pt x="6179380" y="396412"/>
                  <a:pt x="6178227" y="395549"/>
                </a:cubicBezTo>
                <a:cubicBezTo>
                  <a:pt x="6174479" y="392381"/>
                  <a:pt x="6178516" y="390940"/>
                  <a:pt x="6179092" y="388636"/>
                </a:cubicBezTo>
                <a:cubicBezTo>
                  <a:pt x="6181111" y="380859"/>
                  <a:pt x="6190051" y="383164"/>
                  <a:pt x="6193512" y="377403"/>
                </a:cubicBezTo>
                <a:cubicBezTo>
                  <a:pt x="6194666" y="375387"/>
                  <a:pt x="6200144" y="376827"/>
                  <a:pt x="6202740" y="377115"/>
                </a:cubicBezTo>
                <a:cubicBezTo>
                  <a:pt x="6205769" y="377547"/>
                  <a:pt x="6209085" y="376827"/>
                  <a:pt x="6212256" y="376863"/>
                </a:cubicBezTo>
                <a:close/>
                <a:moveTo>
                  <a:pt x="10320459" y="369493"/>
                </a:moveTo>
                <a:cubicBezTo>
                  <a:pt x="10322582" y="369021"/>
                  <a:pt x="10323763" y="370436"/>
                  <a:pt x="10324706" y="371616"/>
                </a:cubicBezTo>
                <a:cubicBezTo>
                  <a:pt x="10328010" y="375388"/>
                  <a:pt x="10331076" y="379162"/>
                  <a:pt x="10336976" y="377275"/>
                </a:cubicBezTo>
                <a:cubicBezTo>
                  <a:pt x="10338155" y="377039"/>
                  <a:pt x="10338864" y="377983"/>
                  <a:pt x="10339336" y="378926"/>
                </a:cubicBezTo>
                <a:cubicBezTo>
                  <a:pt x="10341931" y="383642"/>
                  <a:pt x="10346178" y="387416"/>
                  <a:pt x="10349717" y="391425"/>
                </a:cubicBezTo>
                <a:cubicBezTo>
                  <a:pt x="10355144" y="397557"/>
                  <a:pt x="10358212" y="404396"/>
                  <a:pt x="10356089" y="412650"/>
                </a:cubicBezTo>
                <a:cubicBezTo>
                  <a:pt x="10355382" y="415952"/>
                  <a:pt x="10357268" y="418074"/>
                  <a:pt x="10359156" y="419961"/>
                </a:cubicBezTo>
                <a:cubicBezTo>
                  <a:pt x="10363402" y="424442"/>
                  <a:pt x="10363166" y="426800"/>
                  <a:pt x="10358449" y="430338"/>
                </a:cubicBezTo>
                <a:cubicBezTo>
                  <a:pt x="10353257" y="433875"/>
                  <a:pt x="10353257" y="433875"/>
                  <a:pt x="10357506" y="439063"/>
                </a:cubicBezTo>
                <a:cubicBezTo>
                  <a:pt x="10358449" y="440243"/>
                  <a:pt x="10359156" y="441186"/>
                  <a:pt x="10357740" y="442601"/>
                </a:cubicBezTo>
                <a:cubicBezTo>
                  <a:pt x="10353021" y="448024"/>
                  <a:pt x="10348774" y="453449"/>
                  <a:pt x="10343818" y="458637"/>
                </a:cubicBezTo>
                <a:cubicBezTo>
                  <a:pt x="10340280" y="462646"/>
                  <a:pt x="10335797" y="465241"/>
                  <a:pt x="10330605" y="466419"/>
                </a:cubicBezTo>
                <a:cubicBezTo>
                  <a:pt x="10327302" y="467363"/>
                  <a:pt x="10320931" y="475853"/>
                  <a:pt x="10320694" y="479390"/>
                </a:cubicBezTo>
                <a:cubicBezTo>
                  <a:pt x="10320694" y="480569"/>
                  <a:pt x="10320694" y="481512"/>
                  <a:pt x="10322111" y="481985"/>
                </a:cubicBezTo>
                <a:cubicBezTo>
                  <a:pt x="10329425" y="485286"/>
                  <a:pt x="10332964" y="491653"/>
                  <a:pt x="10336032" y="498493"/>
                </a:cubicBezTo>
                <a:cubicBezTo>
                  <a:pt x="10336740" y="499907"/>
                  <a:pt x="10337212" y="501087"/>
                  <a:pt x="10337920" y="502265"/>
                </a:cubicBezTo>
                <a:cubicBezTo>
                  <a:pt x="10340280" y="506039"/>
                  <a:pt x="10341459" y="509341"/>
                  <a:pt x="10339807" y="514057"/>
                </a:cubicBezTo>
                <a:cubicBezTo>
                  <a:pt x="10338155" y="518774"/>
                  <a:pt x="10340752" y="523491"/>
                  <a:pt x="10343111" y="527736"/>
                </a:cubicBezTo>
                <a:cubicBezTo>
                  <a:pt x="10344054" y="529858"/>
                  <a:pt x="10344527" y="531273"/>
                  <a:pt x="10342875" y="533395"/>
                </a:cubicBezTo>
                <a:cubicBezTo>
                  <a:pt x="10336268" y="542357"/>
                  <a:pt x="10331313" y="552261"/>
                  <a:pt x="10330369" y="563818"/>
                </a:cubicBezTo>
                <a:cubicBezTo>
                  <a:pt x="10330133" y="565469"/>
                  <a:pt x="10329662" y="566176"/>
                  <a:pt x="10328010" y="565705"/>
                </a:cubicBezTo>
                <a:cubicBezTo>
                  <a:pt x="10321404" y="564289"/>
                  <a:pt x="10317155" y="567827"/>
                  <a:pt x="10313616" y="572543"/>
                </a:cubicBezTo>
                <a:cubicBezTo>
                  <a:pt x="10311966" y="574666"/>
                  <a:pt x="10310549" y="575845"/>
                  <a:pt x="10307482" y="574430"/>
                </a:cubicBezTo>
                <a:cubicBezTo>
                  <a:pt x="10303707" y="572308"/>
                  <a:pt x="10300168" y="574194"/>
                  <a:pt x="10297100" y="576788"/>
                </a:cubicBezTo>
                <a:cubicBezTo>
                  <a:pt x="10294506" y="578912"/>
                  <a:pt x="10291909" y="581506"/>
                  <a:pt x="10289314" y="583628"/>
                </a:cubicBezTo>
                <a:cubicBezTo>
                  <a:pt x="10288017" y="584571"/>
                  <a:pt x="10286778" y="585102"/>
                  <a:pt x="10285775" y="584896"/>
                </a:cubicBezTo>
                <a:cubicBezTo>
                  <a:pt x="10284772" y="584689"/>
                  <a:pt x="10284005" y="583746"/>
                  <a:pt x="10283651" y="581741"/>
                </a:cubicBezTo>
                <a:cubicBezTo>
                  <a:pt x="10283651" y="580797"/>
                  <a:pt x="10283414" y="579855"/>
                  <a:pt x="10282944" y="578912"/>
                </a:cubicBezTo>
                <a:cubicBezTo>
                  <a:pt x="10282471" y="577732"/>
                  <a:pt x="10282471" y="575845"/>
                  <a:pt x="10280819" y="575610"/>
                </a:cubicBezTo>
                <a:cubicBezTo>
                  <a:pt x="10279404" y="575610"/>
                  <a:pt x="10278460" y="576788"/>
                  <a:pt x="10277753" y="577732"/>
                </a:cubicBezTo>
                <a:cubicBezTo>
                  <a:pt x="10274213" y="581741"/>
                  <a:pt x="10272797" y="581506"/>
                  <a:pt x="10270673" y="576553"/>
                </a:cubicBezTo>
                <a:cubicBezTo>
                  <a:pt x="10270202" y="575374"/>
                  <a:pt x="10269966" y="574430"/>
                  <a:pt x="10269258" y="573487"/>
                </a:cubicBezTo>
                <a:cubicBezTo>
                  <a:pt x="10268315" y="572072"/>
                  <a:pt x="10267369" y="570892"/>
                  <a:pt x="10265012" y="571836"/>
                </a:cubicBezTo>
                <a:cubicBezTo>
                  <a:pt x="10262887" y="573015"/>
                  <a:pt x="10262887" y="573959"/>
                  <a:pt x="10263358" y="575845"/>
                </a:cubicBezTo>
                <a:lnTo>
                  <a:pt x="10263756" y="579412"/>
                </a:lnTo>
                <a:lnTo>
                  <a:pt x="10245315" y="561071"/>
                </a:lnTo>
                <a:lnTo>
                  <a:pt x="10246370" y="559573"/>
                </a:lnTo>
                <a:cubicBezTo>
                  <a:pt x="10246842" y="557450"/>
                  <a:pt x="10246134" y="556035"/>
                  <a:pt x="10244247" y="555092"/>
                </a:cubicBezTo>
                <a:cubicBezTo>
                  <a:pt x="10242831" y="554384"/>
                  <a:pt x="10241416" y="553912"/>
                  <a:pt x="10240001" y="553205"/>
                </a:cubicBezTo>
                <a:cubicBezTo>
                  <a:pt x="10237642" y="552026"/>
                  <a:pt x="10236697" y="550376"/>
                  <a:pt x="10237170" y="547545"/>
                </a:cubicBezTo>
                <a:cubicBezTo>
                  <a:pt x="10238584" y="539055"/>
                  <a:pt x="10235518" y="533159"/>
                  <a:pt x="10227968" y="529386"/>
                </a:cubicBezTo>
                <a:cubicBezTo>
                  <a:pt x="10226788" y="528679"/>
                  <a:pt x="10224192" y="528914"/>
                  <a:pt x="10224664" y="526792"/>
                </a:cubicBezTo>
                <a:cubicBezTo>
                  <a:pt x="10224901" y="524669"/>
                  <a:pt x="10227023" y="524198"/>
                  <a:pt x="10229147" y="523962"/>
                </a:cubicBezTo>
                <a:cubicBezTo>
                  <a:pt x="10229384" y="523962"/>
                  <a:pt x="10229618" y="523962"/>
                  <a:pt x="10229856" y="523962"/>
                </a:cubicBezTo>
                <a:cubicBezTo>
                  <a:pt x="10235518" y="523018"/>
                  <a:pt x="10237170" y="520425"/>
                  <a:pt x="10234338" y="515944"/>
                </a:cubicBezTo>
                <a:cubicBezTo>
                  <a:pt x="10231742" y="511699"/>
                  <a:pt x="10232450" y="508397"/>
                  <a:pt x="10234809" y="504860"/>
                </a:cubicBezTo>
                <a:cubicBezTo>
                  <a:pt x="10237877" y="500143"/>
                  <a:pt x="10240236" y="495191"/>
                  <a:pt x="10238820" y="489295"/>
                </a:cubicBezTo>
                <a:cubicBezTo>
                  <a:pt x="10238113" y="486701"/>
                  <a:pt x="10240708" y="485521"/>
                  <a:pt x="10242359" y="485050"/>
                </a:cubicBezTo>
                <a:cubicBezTo>
                  <a:pt x="10248493" y="482927"/>
                  <a:pt x="10251324" y="478918"/>
                  <a:pt x="10252033" y="472787"/>
                </a:cubicBezTo>
                <a:cubicBezTo>
                  <a:pt x="10252504" y="469013"/>
                  <a:pt x="10253919" y="468306"/>
                  <a:pt x="10257696" y="470664"/>
                </a:cubicBezTo>
                <a:cubicBezTo>
                  <a:pt x="10265718" y="475617"/>
                  <a:pt x="10277516" y="472080"/>
                  <a:pt x="10281055" y="463825"/>
                </a:cubicBezTo>
                <a:cubicBezTo>
                  <a:pt x="10281764" y="462174"/>
                  <a:pt x="10282707" y="460052"/>
                  <a:pt x="10281055" y="458637"/>
                </a:cubicBezTo>
                <a:cubicBezTo>
                  <a:pt x="10279404" y="457222"/>
                  <a:pt x="10277044" y="456514"/>
                  <a:pt x="10274921" y="457930"/>
                </a:cubicBezTo>
                <a:cubicBezTo>
                  <a:pt x="10273506" y="458637"/>
                  <a:pt x="10272089" y="459816"/>
                  <a:pt x="10270673" y="460759"/>
                </a:cubicBezTo>
                <a:cubicBezTo>
                  <a:pt x="10269258" y="461939"/>
                  <a:pt x="10267842" y="462646"/>
                  <a:pt x="10266662" y="461232"/>
                </a:cubicBezTo>
                <a:cubicBezTo>
                  <a:pt x="10265247" y="459581"/>
                  <a:pt x="10266190" y="458165"/>
                  <a:pt x="10267369" y="456987"/>
                </a:cubicBezTo>
                <a:cubicBezTo>
                  <a:pt x="10268315" y="455807"/>
                  <a:pt x="10269730" y="454864"/>
                  <a:pt x="10270673" y="453920"/>
                </a:cubicBezTo>
                <a:cubicBezTo>
                  <a:pt x="10272797" y="451798"/>
                  <a:pt x="10273977" y="448968"/>
                  <a:pt x="10271852" y="446610"/>
                </a:cubicBezTo>
                <a:cubicBezTo>
                  <a:pt x="10269966" y="444723"/>
                  <a:pt x="10267369" y="446610"/>
                  <a:pt x="10265483" y="448024"/>
                </a:cubicBezTo>
                <a:cubicBezTo>
                  <a:pt x="10263829" y="449204"/>
                  <a:pt x="10262651" y="451326"/>
                  <a:pt x="10260526" y="452034"/>
                </a:cubicBezTo>
                <a:cubicBezTo>
                  <a:pt x="10257460" y="453213"/>
                  <a:pt x="10255572" y="452742"/>
                  <a:pt x="10255809" y="448968"/>
                </a:cubicBezTo>
                <a:cubicBezTo>
                  <a:pt x="10256044" y="443779"/>
                  <a:pt x="10258167" y="439535"/>
                  <a:pt x="10260999" y="435525"/>
                </a:cubicBezTo>
                <a:cubicBezTo>
                  <a:pt x="10264536" y="430338"/>
                  <a:pt x="10264776" y="427507"/>
                  <a:pt x="10260999" y="422555"/>
                </a:cubicBezTo>
                <a:cubicBezTo>
                  <a:pt x="10259818" y="420668"/>
                  <a:pt x="10257931" y="419017"/>
                  <a:pt x="10256279" y="417367"/>
                </a:cubicBezTo>
                <a:cubicBezTo>
                  <a:pt x="10255572" y="416659"/>
                  <a:pt x="10254394" y="415952"/>
                  <a:pt x="10254866" y="414772"/>
                </a:cubicBezTo>
                <a:cubicBezTo>
                  <a:pt x="10255336" y="413358"/>
                  <a:pt x="10256516" y="413122"/>
                  <a:pt x="10257460" y="413358"/>
                </a:cubicBezTo>
                <a:cubicBezTo>
                  <a:pt x="10261707" y="414301"/>
                  <a:pt x="10262651" y="412414"/>
                  <a:pt x="10262414" y="408641"/>
                </a:cubicBezTo>
                <a:cubicBezTo>
                  <a:pt x="10262178" y="403924"/>
                  <a:pt x="10265247" y="400623"/>
                  <a:pt x="10268551" y="398028"/>
                </a:cubicBezTo>
                <a:cubicBezTo>
                  <a:pt x="10271145" y="395906"/>
                  <a:pt x="10271381" y="394256"/>
                  <a:pt x="10268787" y="392369"/>
                </a:cubicBezTo>
                <a:cubicBezTo>
                  <a:pt x="10267369" y="391425"/>
                  <a:pt x="10266427" y="390482"/>
                  <a:pt x="10266898" y="388596"/>
                </a:cubicBezTo>
                <a:cubicBezTo>
                  <a:pt x="10267369" y="386002"/>
                  <a:pt x="10269258" y="386473"/>
                  <a:pt x="10270909" y="386002"/>
                </a:cubicBezTo>
                <a:cubicBezTo>
                  <a:pt x="10271852" y="385765"/>
                  <a:pt x="10273033" y="385765"/>
                  <a:pt x="10274213" y="385529"/>
                </a:cubicBezTo>
                <a:cubicBezTo>
                  <a:pt x="10280583" y="384822"/>
                  <a:pt x="10282000" y="381284"/>
                  <a:pt x="10278224" y="375861"/>
                </a:cubicBezTo>
                <a:cubicBezTo>
                  <a:pt x="10277753" y="375153"/>
                  <a:pt x="10277280" y="374681"/>
                  <a:pt x="10277044" y="373974"/>
                </a:cubicBezTo>
                <a:cubicBezTo>
                  <a:pt x="10276337" y="372559"/>
                  <a:pt x="10275866" y="370672"/>
                  <a:pt x="10277280" y="369729"/>
                </a:cubicBezTo>
                <a:cubicBezTo>
                  <a:pt x="10278460" y="368785"/>
                  <a:pt x="10280112" y="369729"/>
                  <a:pt x="10281055" y="370672"/>
                </a:cubicBezTo>
                <a:cubicBezTo>
                  <a:pt x="10282000" y="371616"/>
                  <a:pt x="10282707" y="372559"/>
                  <a:pt x="10283414" y="373738"/>
                </a:cubicBezTo>
                <a:cubicBezTo>
                  <a:pt x="10284830" y="375388"/>
                  <a:pt x="10286247" y="375861"/>
                  <a:pt x="10288134" y="374446"/>
                </a:cubicBezTo>
                <a:cubicBezTo>
                  <a:pt x="10292618" y="371379"/>
                  <a:pt x="10297572" y="370908"/>
                  <a:pt x="10302528" y="370672"/>
                </a:cubicBezTo>
                <a:cubicBezTo>
                  <a:pt x="10308426" y="370201"/>
                  <a:pt x="10314560" y="370908"/>
                  <a:pt x="10320459" y="369493"/>
                </a:cubicBezTo>
                <a:close/>
                <a:moveTo>
                  <a:pt x="3421293" y="364029"/>
                </a:moveTo>
                <a:cubicBezTo>
                  <a:pt x="3424808" y="364806"/>
                  <a:pt x="3427932" y="365583"/>
                  <a:pt x="3431446" y="365583"/>
                </a:cubicBezTo>
                <a:cubicBezTo>
                  <a:pt x="3434960" y="365583"/>
                  <a:pt x="3438475" y="367916"/>
                  <a:pt x="3440037" y="371025"/>
                </a:cubicBezTo>
                <a:cubicBezTo>
                  <a:pt x="3441208" y="373746"/>
                  <a:pt x="3442380" y="375301"/>
                  <a:pt x="3444723" y="376467"/>
                </a:cubicBezTo>
                <a:cubicBezTo>
                  <a:pt x="3444723" y="381132"/>
                  <a:pt x="3444723" y="385797"/>
                  <a:pt x="3444723" y="390462"/>
                </a:cubicBezTo>
                <a:cubicBezTo>
                  <a:pt x="3440818" y="392405"/>
                  <a:pt x="3437694" y="395515"/>
                  <a:pt x="3436132" y="399013"/>
                </a:cubicBezTo>
                <a:cubicBezTo>
                  <a:pt x="3434179" y="402124"/>
                  <a:pt x="3432617" y="405622"/>
                  <a:pt x="3430666" y="409120"/>
                </a:cubicBezTo>
                <a:cubicBezTo>
                  <a:pt x="3428713" y="412231"/>
                  <a:pt x="3426761" y="415729"/>
                  <a:pt x="3426370" y="419615"/>
                </a:cubicBezTo>
                <a:cubicBezTo>
                  <a:pt x="3425589" y="423114"/>
                  <a:pt x="3423246" y="424669"/>
                  <a:pt x="3420513" y="426613"/>
                </a:cubicBezTo>
                <a:cubicBezTo>
                  <a:pt x="3417780" y="428556"/>
                  <a:pt x="3413875" y="428168"/>
                  <a:pt x="3411922" y="430889"/>
                </a:cubicBezTo>
                <a:cubicBezTo>
                  <a:pt x="3409189" y="430889"/>
                  <a:pt x="3406846" y="430889"/>
                  <a:pt x="3404113" y="430889"/>
                </a:cubicBezTo>
                <a:cubicBezTo>
                  <a:pt x="3404113" y="429722"/>
                  <a:pt x="3403723" y="429334"/>
                  <a:pt x="3402941" y="429334"/>
                </a:cubicBezTo>
                <a:cubicBezTo>
                  <a:pt x="3397085" y="429334"/>
                  <a:pt x="3393960" y="425447"/>
                  <a:pt x="3392009" y="420782"/>
                </a:cubicBezTo>
                <a:cubicBezTo>
                  <a:pt x="3390056" y="416506"/>
                  <a:pt x="3387713" y="412619"/>
                  <a:pt x="3388494" y="407566"/>
                </a:cubicBezTo>
                <a:cubicBezTo>
                  <a:pt x="3389666" y="402124"/>
                  <a:pt x="3389275" y="396292"/>
                  <a:pt x="3393960" y="392017"/>
                </a:cubicBezTo>
                <a:cubicBezTo>
                  <a:pt x="3395522" y="390462"/>
                  <a:pt x="3397085" y="389295"/>
                  <a:pt x="3399818" y="388518"/>
                </a:cubicBezTo>
                <a:cubicBezTo>
                  <a:pt x="3403723" y="387352"/>
                  <a:pt x="3408409" y="385408"/>
                  <a:pt x="3407237" y="379189"/>
                </a:cubicBezTo>
                <a:cubicBezTo>
                  <a:pt x="3406846" y="376857"/>
                  <a:pt x="3409189" y="376079"/>
                  <a:pt x="3409579" y="374913"/>
                </a:cubicBezTo>
                <a:cubicBezTo>
                  <a:pt x="3411532" y="368693"/>
                  <a:pt x="3416218" y="365972"/>
                  <a:pt x="3421293" y="364029"/>
                </a:cubicBezTo>
                <a:close/>
                <a:moveTo>
                  <a:pt x="5220801" y="360716"/>
                </a:moveTo>
                <a:cubicBezTo>
                  <a:pt x="5225913" y="361942"/>
                  <a:pt x="5231231" y="361328"/>
                  <a:pt x="5236342" y="361737"/>
                </a:cubicBezTo>
                <a:cubicBezTo>
                  <a:pt x="5240636" y="361942"/>
                  <a:pt x="5244930" y="362350"/>
                  <a:pt x="5248816" y="365008"/>
                </a:cubicBezTo>
                <a:cubicBezTo>
                  <a:pt x="5250452" y="366234"/>
                  <a:pt x="5251678" y="365825"/>
                  <a:pt x="5252907" y="364395"/>
                </a:cubicBezTo>
                <a:cubicBezTo>
                  <a:pt x="5253519" y="363373"/>
                  <a:pt x="5254133" y="362555"/>
                  <a:pt x="5254951" y="361737"/>
                </a:cubicBezTo>
                <a:cubicBezTo>
                  <a:pt x="5255768" y="360920"/>
                  <a:pt x="5257199" y="360103"/>
                  <a:pt x="5258223" y="360920"/>
                </a:cubicBezTo>
                <a:cubicBezTo>
                  <a:pt x="5259450" y="361737"/>
                  <a:pt x="5259042" y="363373"/>
                  <a:pt x="5258426" y="364599"/>
                </a:cubicBezTo>
                <a:cubicBezTo>
                  <a:pt x="5258223" y="365211"/>
                  <a:pt x="5257815" y="365620"/>
                  <a:pt x="5257403" y="366234"/>
                </a:cubicBezTo>
                <a:cubicBezTo>
                  <a:pt x="5254133" y="370935"/>
                  <a:pt x="5255358" y="374000"/>
                  <a:pt x="5260878" y="374613"/>
                </a:cubicBezTo>
                <a:cubicBezTo>
                  <a:pt x="5261902" y="374818"/>
                  <a:pt x="5262926" y="374818"/>
                  <a:pt x="5263742" y="375022"/>
                </a:cubicBezTo>
                <a:cubicBezTo>
                  <a:pt x="5265175" y="375431"/>
                  <a:pt x="5266810" y="375022"/>
                  <a:pt x="5267219" y="377270"/>
                </a:cubicBezTo>
                <a:cubicBezTo>
                  <a:pt x="5267628" y="378905"/>
                  <a:pt x="5266810" y="379723"/>
                  <a:pt x="5265584" y="380540"/>
                </a:cubicBezTo>
                <a:cubicBezTo>
                  <a:pt x="5263333" y="382175"/>
                  <a:pt x="5263537" y="383606"/>
                  <a:pt x="5265788" y="385445"/>
                </a:cubicBezTo>
                <a:cubicBezTo>
                  <a:pt x="5268649" y="387694"/>
                  <a:pt x="5271309" y="390555"/>
                  <a:pt x="5271104" y="394643"/>
                </a:cubicBezTo>
                <a:cubicBezTo>
                  <a:pt x="5270900" y="397912"/>
                  <a:pt x="5271717" y="399548"/>
                  <a:pt x="5275399" y="398730"/>
                </a:cubicBezTo>
                <a:cubicBezTo>
                  <a:pt x="5276217" y="398526"/>
                  <a:pt x="5277239" y="398730"/>
                  <a:pt x="5277648" y="399957"/>
                </a:cubicBezTo>
                <a:cubicBezTo>
                  <a:pt x="5278057" y="400978"/>
                  <a:pt x="5277035" y="401591"/>
                  <a:pt x="5276421" y="402204"/>
                </a:cubicBezTo>
                <a:cubicBezTo>
                  <a:pt x="5274991" y="403636"/>
                  <a:pt x="5273353" y="405065"/>
                  <a:pt x="5272331" y="406701"/>
                </a:cubicBezTo>
                <a:cubicBezTo>
                  <a:pt x="5269059" y="410993"/>
                  <a:pt x="5269263" y="413445"/>
                  <a:pt x="5272331" y="417942"/>
                </a:cubicBezTo>
                <a:cubicBezTo>
                  <a:pt x="5274786" y="421416"/>
                  <a:pt x="5276626" y="425095"/>
                  <a:pt x="5276831" y="429591"/>
                </a:cubicBezTo>
                <a:cubicBezTo>
                  <a:pt x="5277035" y="432861"/>
                  <a:pt x="5275399" y="433270"/>
                  <a:pt x="5272740" y="432248"/>
                </a:cubicBezTo>
                <a:cubicBezTo>
                  <a:pt x="5270900" y="431634"/>
                  <a:pt x="5269878" y="429796"/>
                  <a:pt x="5268445" y="428773"/>
                </a:cubicBezTo>
                <a:cubicBezTo>
                  <a:pt x="5266810" y="427547"/>
                  <a:pt x="5264561" y="425912"/>
                  <a:pt x="5262926" y="427547"/>
                </a:cubicBezTo>
                <a:cubicBezTo>
                  <a:pt x="5261084" y="429591"/>
                  <a:pt x="5262106" y="432043"/>
                  <a:pt x="5263946" y="433883"/>
                </a:cubicBezTo>
                <a:cubicBezTo>
                  <a:pt x="5264765" y="434701"/>
                  <a:pt x="5265992" y="435518"/>
                  <a:pt x="5266810" y="436540"/>
                </a:cubicBezTo>
                <a:cubicBezTo>
                  <a:pt x="5267832" y="437562"/>
                  <a:pt x="5268649" y="438789"/>
                  <a:pt x="5267423" y="440219"/>
                </a:cubicBezTo>
                <a:cubicBezTo>
                  <a:pt x="5266400" y="441445"/>
                  <a:pt x="5265175" y="440832"/>
                  <a:pt x="5263946" y="439810"/>
                </a:cubicBezTo>
                <a:cubicBezTo>
                  <a:pt x="5262722" y="438992"/>
                  <a:pt x="5261494" y="437971"/>
                  <a:pt x="5260265" y="437358"/>
                </a:cubicBezTo>
                <a:cubicBezTo>
                  <a:pt x="5258426" y="436131"/>
                  <a:pt x="5256382" y="436744"/>
                  <a:pt x="5254951" y="437971"/>
                </a:cubicBezTo>
                <a:cubicBezTo>
                  <a:pt x="5253519" y="439196"/>
                  <a:pt x="5254337" y="441036"/>
                  <a:pt x="5254951" y="442467"/>
                </a:cubicBezTo>
                <a:cubicBezTo>
                  <a:pt x="5258019" y="449620"/>
                  <a:pt x="5268241" y="452686"/>
                  <a:pt x="5275195" y="448394"/>
                </a:cubicBezTo>
                <a:cubicBezTo>
                  <a:pt x="5278466" y="446351"/>
                  <a:pt x="5279692" y="446963"/>
                  <a:pt x="5280102" y="450234"/>
                </a:cubicBezTo>
                <a:cubicBezTo>
                  <a:pt x="5280714" y="455547"/>
                  <a:pt x="5283169" y="459021"/>
                  <a:pt x="5288485" y="460861"/>
                </a:cubicBezTo>
                <a:cubicBezTo>
                  <a:pt x="5289918" y="461270"/>
                  <a:pt x="5292164" y="462291"/>
                  <a:pt x="5291553" y="464540"/>
                </a:cubicBezTo>
                <a:cubicBezTo>
                  <a:pt x="5290325" y="469650"/>
                  <a:pt x="5292370" y="473941"/>
                  <a:pt x="5295028" y="478028"/>
                </a:cubicBezTo>
                <a:cubicBezTo>
                  <a:pt x="5297072" y="481095"/>
                  <a:pt x="5297687" y="483956"/>
                  <a:pt x="5295437" y="487635"/>
                </a:cubicBezTo>
                <a:cubicBezTo>
                  <a:pt x="5292984" y="491518"/>
                  <a:pt x="5294415" y="493765"/>
                  <a:pt x="5299323" y="494583"/>
                </a:cubicBezTo>
                <a:cubicBezTo>
                  <a:pt x="5299528" y="494583"/>
                  <a:pt x="5299732" y="494583"/>
                  <a:pt x="5299936" y="494583"/>
                </a:cubicBezTo>
                <a:cubicBezTo>
                  <a:pt x="5301775" y="494788"/>
                  <a:pt x="5303616" y="495196"/>
                  <a:pt x="5303822" y="497036"/>
                </a:cubicBezTo>
                <a:cubicBezTo>
                  <a:pt x="5304231" y="498875"/>
                  <a:pt x="5301982" y="498671"/>
                  <a:pt x="5300959" y="499284"/>
                </a:cubicBezTo>
                <a:cubicBezTo>
                  <a:pt x="5294415" y="502554"/>
                  <a:pt x="5291756" y="507664"/>
                  <a:pt x="5292984" y="515021"/>
                </a:cubicBezTo>
                <a:cubicBezTo>
                  <a:pt x="5293393" y="517473"/>
                  <a:pt x="5292575" y="518904"/>
                  <a:pt x="5290529" y="519927"/>
                </a:cubicBezTo>
                <a:cubicBezTo>
                  <a:pt x="5289302" y="520540"/>
                  <a:pt x="5288077" y="520948"/>
                  <a:pt x="5286851" y="521561"/>
                </a:cubicBezTo>
                <a:cubicBezTo>
                  <a:pt x="5285214" y="522379"/>
                  <a:pt x="5284599" y="523605"/>
                  <a:pt x="5285010" y="525444"/>
                </a:cubicBezTo>
                <a:lnTo>
                  <a:pt x="5285924" y="526743"/>
                </a:lnTo>
                <a:lnTo>
                  <a:pt x="5269943" y="542638"/>
                </a:lnTo>
                <a:lnTo>
                  <a:pt x="5270287" y="539547"/>
                </a:lnTo>
                <a:cubicBezTo>
                  <a:pt x="5270695" y="537911"/>
                  <a:pt x="5270695" y="537094"/>
                  <a:pt x="5268853" y="536072"/>
                </a:cubicBezTo>
                <a:cubicBezTo>
                  <a:pt x="5266810" y="535255"/>
                  <a:pt x="5265992" y="536276"/>
                  <a:pt x="5265175" y="537503"/>
                </a:cubicBezTo>
                <a:cubicBezTo>
                  <a:pt x="5264561" y="538320"/>
                  <a:pt x="5264357" y="539138"/>
                  <a:pt x="5263946" y="540159"/>
                </a:cubicBezTo>
                <a:cubicBezTo>
                  <a:pt x="5262106" y="544451"/>
                  <a:pt x="5260878" y="544656"/>
                  <a:pt x="5257815" y="541181"/>
                </a:cubicBezTo>
                <a:cubicBezTo>
                  <a:pt x="5257199" y="540364"/>
                  <a:pt x="5256382" y="539343"/>
                  <a:pt x="5255155" y="539343"/>
                </a:cubicBezTo>
                <a:cubicBezTo>
                  <a:pt x="5253723" y="539547"/>
                  <a:pt x="5253723" y="541181"/>
                  <a:pt x="5253315" y="542204"/>
                </a:cubicBezTo>
                <a:cubicBezTo>
                  <a:pt x="5252907" y="543021"/>
                  <a:pt x="5252700" y="543839"/>
                  <a:pt x="5252700" y="544656"/>
                </a:cubicBezTo>
                <a:cubicBezTo>
                  <a:pt x="5252395" y="546393"/>
                  <a:pt x="5251729" y="547211"/>
                  <a:pt x="5250860" y="547390"/>
                </a:cubicBezTo>
                <a:cubicBezTo>
                  <a:pt x="5249993" y="547568"/>
                  <a:pt x="5248920" y="547109"/>
                  <a:pt x="5247793" y="546291"/>
                </a:cubicBezTo>
                <a:cubicBezTo>
                  <a:pt x="5245544" y="544451"/>
                  <a:pt x="5243296" y="542204"/>
                  <a:pt x="5241045" y="540364"/>
                </a:cubicBezTo>
                <a:cubicBezTo>
                  <a:pt x="5238386" y="538116"/>
                  <a:pt x="5235319" y="536480"/>
                  <a:pt x="5232047" y="538320"/>
                </a:cubicBezTo>
                <a:cubicBezTo>
                  <a:pt x="5229392" y="539547"/>
                  <a:pt x="5228163" y="538525"/>
                  <a:pt x="5226731" y="536685"/>
                </a:cubicBezTo>
                <a:cubicBezTo>
                  <a:pt x="5223665" y="532597"/>
                  <a:pt x="5219985" y="529532"/>
                  <a:pt x="5214259" y="530758"/>
                </a:cubicBezTo>
                <a:cubicBezTo>
                  <a:pt x="5212827" y="531167"/>
                  <a:pt x="5212419" y="530554"/>
                  <a:pt x="5212214" y="529123"/>
                </a:cubicBezTo>
                <a:cubicBezTo>
                  <a:pt x="5211396" y="519109"/>
                  <a:pt x="5207102" y="510525"/>
                  <a:pt x="5201377" y="502758"/>
                </a:cubicBezTo>
                <a:cubicBezTo>
                  <a:pt x="5199946" y="500920"/>
                  <a:pt x="5200354" y="499693"/>
                  <a:pt x="5201172" y="497853"/>
                </a:cubicBezTo>
                <a:cubicBezTo>
                  <a:pt x="5203216" y="494174"/>
                  <a:pt x="5205467" y="490087"/>
                  <a:pt x="5204034" y="485999"/>
                </a:cubicBezTo>
                <a:cubicBezTo>
                  <a:pt x="5202603" y="481911"/>
                  <a:pt x="5203624" y="479050"/>
                  <a:pt x="5205671" y="475781"/>
                </a:cubicBezTo>
                <a:cubicBezTo>
                  <a:pt x="5206283" y="474758"/>
                  <a:pt x="5206693" y="473737"/>
                  <a:pt x="5207307" y="472511"/>
                </a:cubicBezTo>
                <a:cubicBezTo>
                  <a:pt x="5209966" y="466583"/>
                  <a:pt x="5213031" y="461066"/>
                  <a:pt x="5219370" y="458205"/>
                </a:cubicBezTo>
                <a:cubicBezTo>
                  <a:pt x="5220597" y="457796"/>
                  <a:pt x="5220597" y="456978"/>
                  <a:pt x="5220597" y="455956"/>
                </a:cubicBezTo>
                <a:cubicBezTo>
                  <a:pt x="5220393" y="452890"/>
                  <a:pt x="5214872" y="445533"/>
                  <a:pt x="5212010" y="444715"/>
                </a:cubicBezTo>
                <a:cubicBezTo>
                  <a:pt x="5207511" y="443693"/>
                  <a:pt x="5203624" y="441445"/>
                  <a:pt x="5200559" y="437971"/>
                </a:cubicBezTo>
                <a:cubicBezTo>
                  <a:pt x="5196264" y="433474"/>
                  <a:pt x="5192582" y="428773"/>
                  <a:pt x="5188495" y="424073"/>
                </a:cubicBezTo>
                <a:cubicBezTo>
                  <a:pt x="5187267" y="422847"/>
                  <a:pt x="5187879" y="422029"/>
                  <a:pt x="5188698" y="421007"/>
                </a:cubicBezTo>
                <a:cubicBezTo>
                  <a:pt x="5192378" y="416511"/>
                  <a:pt x="5192378" y="416511"/>
                  <a:pt x="5187879" y="413445"/>
                </a:cubicBezTo>
                <a:cubicBezTo>
                  <a:pt x="5183791" y="410380"/>
                  <a:pt x="5183587" y="408335"/>
                  <a:pt x="5187267" y="404452"/>
                </a:cubicBezTo>
                <a:cubicBezTo>
                  <a:pt x="5188902" y="402818"/>
                  <a:pt x="5190539" y="400978"/>
                  <a:pt x="5189925" y="398117"/>
                </a:cubicBezTo>
                <a:cubicBezTo>
                  <a:pt x="5188085" y="390964"/>
                  <a:pt x="5190743" y="385036"/>
                  <a:pt x="5195447" y="379723"/>
                </a:cubicBezTo>
                <a:cubicBezTo>
                  <a:pt x="5198513" y="376249"/>
                  <a:pt x="5202193" y="372978"/>
                  <a:pt x="5204444" y="368891"/>
                </a:cubicBezTo>
                <a:cubicBezTo>
                  <a:pt x="5204852" y="368074"/>
                  <a:pt x="5205467" y="367256"/>
                  <a:pt x="5206487" y="367460"/>
                </a:cubicBezTo>
                <a:cubicBezTo>
                  <a:pt x="5211601" y="369095"/>
                  <a:pt x="5214259" y="365825"/>
                  <a:pt x="5217121" y="362555"/>
                </a:cubicBezTo>
                <a:cubicBezTo>
                  <a:pt x="5217940" y="361533"/>
                  <a:pt x="5218962" y="360307"/>
                  <a:pt x="5220801" y="360716"/>
                </a:cubicBezTo>
                <a:close/>
                <a:moveTo>
                  <a:pt x="8035907" y="359979"/>
                </a:moveTo>
                <a:cubicBezTo>
                  <a:pt x="8040981" y="361923"/>
                  <a:pt x="8045669" y="364644"/>
                  <a:pt x="8047622" y="370863"/>
                </a:cubicBezTo>
                <a:cubicBezTo>
                  <a:pt x="8048011" y="372030"/>
                  <a:pt x="8050355" y="372807"/>
                  <a:pt x="8049964" y="375139"/>
                </a:cubicBezTo>
                <a:cubicBezTo>
                  <a:pt x="8048792" y="381359"/>
                  <a:pt x="8053478" y="383302"/>
                  <a:pt x="8057382" y="384469"/>
                </a:cubicBezTo>
                <a:cubicBezTo>
                  <a:pt x="8060117" y="385246"/>
                  <a:pt x="8061680" y="386413"/>
                  <a:pt x="8063241" y="387967"/>
                </a:cubicBezTo>
                <a:cubicBezTo>
                  <a:pt x="8067927" y="392243"/>
                  <a:pt x="8067535" y="398074"/>
                  <a:pt x="8068708" y="403516"/>
                </a:cubicBezTo>
                <a:cubicBezTo>
                  <a:pt x="8069489" y="408569"/>
                  <a:pt x="8067144" y="412457"/>
                  <a:pt x="8065194" y="416733"/>
                </a:cubicBezTo>
                <a:cubicBezTo>
                  <a:pt x="8063241" y="421397"/>
                  <a:pt x="8060117" y="425285"/>
                  <a:pt x="8054258" y="425285"/>
                </a:cubicBezTo>
                <a:cubicBezTo>
                  <a:pt x="8053478" y="425285"/>
                  <a:pt x="8053089" y="425673"/>
                  <a:pt x="8053089" y="426840"/>
                </a:cubicBezTo>
                <a:cubicBezTo>
                  <a:pt x="8050355" y="426840"/>
                  <a:pt x="8048011" y="426840"/>
                  <a:pt x="8045280" y="426840"/>
                </a:cubicBezTo>
                <a:cubicBezTo>
                  <a:pt x="8043326" y="424118"/>
                  <a:pt x="8039419" y="424507"/>
                  <a:pt x="8036690" y="422564"/>
                </a:cubicBezTo>
                <a:cubicBezTo>
                  <a:pt x="8033953" y="420620"/>
                  <a:pt x="8031614" y="419064"/>
                  <a:pt x="8030831" y="415566"/>
                </a:cubicBezTo>
                <a:cubicBezTo>
                  <a:pt x="8030440" y="411680"/>
                  <a:pt x="8028489" y="408181"/>
                  <a:pt x="8026537" y="405071"/>
                </a:cubicBezTo>
                <a:cubicBezTo>
                  <a:pt x="8024584" y="401573"/>
                  <a:pt x="8023020" y="398074"/>
                  <a:pt x="8021067" y="394964"/>
                </a:cubicBezTo>
                <a:cubicBezTo>
                  <a:pt x="8019507" y="391466"/>
                  <a:pt x="8016384" y="388355"/>
                  <a:pt x="8012479" y="386413"/>
                </a:cubicBezTo>
                <a:cubicBezTo>
                  <a:pt x="8012479" y="381748"/>
                  <a:pt x="8012479" y="377083"/>
                  <a:pt x="8012479" y="372418"/>
                </a:cubicBezTo>
                <a:cubicBezTo>
                  <a:pt x="8014820" y="371252"/>
                  <a:pt x="8015992" y="369697"/>
                  <a:pt x="8017162" y="366976"/>
                </a:cubicBezTo>
                <a:cubicBezTo>
                  <a:pt x="8018727" y="363867"/>
                  <a:pt x="8022239" y="361534"/>
                  <a:pt x="8025756" y="361534"/>
                </a:cubicBezTo>
                <a:cubicBezTo>
                  <a:pt x="8029271" y="361534"/>
                  <a:pt x="8032392" y="360756"/>
                  <a:pt x="8035907" y="359979"/>
                </a:cubicBezTo>
                <a:close/>
                <a:moveTo>
                  <a:pt x="4470161" y="359479"/>
                </a:moveTo>
                <a:cubicBezTo>
                  <a:pt x="4473333" y="359515"/>
                  <a:pt x="4476361" y="360307"/>
                  <a:pt x="4478815" y="363763"/>
                </a:cubicBezTo>
                <a:cubicBezTo>
                  <a:pt x="4479678" y="364915"/>
                  <a:pt x="4481409" y="366355"/>
                  <a:pt x="4483716" y="366355"/>
                </a:cubicBezTo>
                <a:cubicBezTo>
                  <a:pt x="4486889" y="366067"/>
                  <a:pt x="4488619" y="367795"/>
                  <a:pt x="4489194" y="370963"/>
                </a:cubicBezTo>
                <a:cubicBezTo>
                  <a:pt x="4489774" y="372980"/>
                  <a:pt x="4491215" y="374131"/>
                  <a:pt x="4492655" y="375572"/>
                </a:cubicBezTo>
                <a:cubicBezTo>
                  <a:pt x="4496404" y="379028"/>
                  <a:pt x="4498135" y="383061"/>
                  <a:pt x="4496693" y="388245"/>
                </a:cubicBezTo>
                <a:cubicBezTo>
                  <a:pt x="4495828" y="391124"/>
                  <a:pt x="4496693" y="394294"/>
                  <a:pt x="4499578" y="396021"/>
                </a:cubicBezTo>
                <a:cubicBezTo>
                  <a:pt x="4499578" y="397173"/>
                  <a:pt x="4499578" y="398326"/>
                  <a:pt x="4499578" y="399478"/>
                </a:cubicBezTo>
                <a:cubicBezTo>
                  <a:pt x="4496980" y="400918"/>
                  <a:pt x="4495828" y="402646"/>
                  <a:pt x="4496116" y="406390"/>
                </a:cubicBezTo>
                <a:cubicBezTo>
                  <a:pt x="4496404" y="411575"/>
                  <a:pt x="4494097" y="415608"/>
                  <a:pt x="4488332" y="416759"/>
                </a:cubicBezTo>
                <a:cubicBezTo>
                  <a:pt x="4485734" y="417047"/>
                  <a:pt x="4486310" y="419063"/>
                  <a:pt x="4486310" y="420792"/>
                </a:cubicBezTo>
                <a:cubicBezTo>
                  <a:pt x="4486310" y="423671"/>
                  <a:pt x="4485157" y="424247"/>
                  <a:pt x="4482851" y="422232"/>
                </a:cubicBezTo>
                <a:cubicBezTo>
                  <a:pt x="4479391" y="419351"/>
                  <a:pt x="4477082" y="419351"/>
                  <a:pt x="4476216" y="424247"/>
                </a:cubicBezTo>
                <a:cubicBezTo>
                  <a:pt x="4475931" y="425400"/>
                  <a:pt x="4475064" y="426840"/>
                  <a:pt x="4473910" y="425400"/>
                </a:cubicBezTo>
                <a:cubicBezTo>
                  <a:pt x="4470161" y="421655"/>
                  <a:pt x="4467566" y="423960"/>
                  <a:pt x="4464683" y="426552"/>
                </a:cubicBezTo>
                <a:cubicBezTo>
                  <a:pt x="4464392" y="427128"/>
                  <a:pt x="4463241" y="427128"/>
                  <a:pt x="4462661" y="427128"/>
                </a:cubicBezTo>
                <a:cubicBezTo>
                  <a:pt x="4455742" y="423095"/>
                  <a:pt x="4449109" y="418487"/>
                  <a:pt x="4442187" y="414167"/>
                </a:cubicBezTo>
                <a:cubicBezTo>
                  <a:pt x="4439015" y="412151"/>
                  <a:pt x="4437285" y="406678"/>
                  <a:pt x="4435842" y="402358"/>
                </a:cubicBezTo>
                <a:cubicBezTo>
                  <a:pt x="4435267" y="400630"/>
                  <a:pt x="4435557" y="398902"/>
                  <a:pt x="4433825" y="397462"/>
                </a:cubicBezTo>
                <a:cubicBezTo>
                  <a:pt x="4432094" y="396021"/>
                  <a:pt x="4432382" y="394294"/>
                  <a:pt x="4433536" y="392565"/>
                </a:cubicBezTo>
                <a:cubicBezTo>
                  <a:pt x="4434114" y="391413"/>
                  <a:pt x="4435267" y="389973"/>
                  <a:pt x="4434399" y="388821"/>
                </a:cubicBezTo>
                <a:cubicBezTo>
                  <a:pt x="4431518" y="385364"/>
                  <a:pt x="4431231" y="382772"/>
                  <a:pt x="4435842" y="381044"/>
                </a:cubicBezTo>
                <a:cubicBezTo>
                  <a:pt x="4436997" y="380756"/>
                  <a:pt x="4437285" y="379028"/>
                  <a:pt x="4436130" y="378164"/>
                </a:cubicBezTo>
                <a:cubicBezTo>
                  <a:pt x="4432382" y="374996"/>
                  <a:pt x="4436419" y="373555"/>
                  <a:pt x="4436997" y="371252"/>
                </a:cubicBezTo>
                <a:cubicBezTo>
                  <a:pt x="4439015" y="363474"/>
                  <a:pt x="4447954" y="365779"/>
                  <a:pt x="4451414" y="360019"/>
                </a:cubicBezTo>
                <a:cubicBezTo>
                  <a:pt x="4452569" y="358003"/>
                  <a:pt x="4458050" y="359442"/>
                  <a:pt x="4460643" y="359730"/>
                </a:cubicBezTo>
                <a:cubicBezTo>
                  <a:pt x="4463672" y="360162"/>
                  <a:pt x="4466989" y="359443"/>
                  <a:pt x="4470161" y="359479"/>
                </a:cubicBezTo>
                <a:close/>
                <a:moveTo>
                  <a:pt x="5732626" y="355434"/>
                </a:moveTo>
                <a:cubicBezTo>
                  <a:pt x="5735578" y="355467"/>
                  <a:pt x="5738395" y="356204"/>
                  <a:pt x="5740676" y="359421"/>
                </a:cubicBezTo>
                <a:cubicBezTo>
                  <a:pt x="5741480" y="360493"/>
                  <a:pt x="5743090" y="361832"/>
                  <a:pt x="5745238" y="361832"/>
                </a:cubicBezTo>
                <a:cubicBezTo>
                  <a:pt x="5748192" y="361564"/>
                  <a:pt x="5749801" y="363173"/>
                  <a:pt x="5750337" y="366121"/>
                </a:cubicBezTo>
                <a:cubicBezTo>
                  <a:pt x="5750873" y="367997"/>
                  <a:pt x="5752217" y="369069"/>
                  <a:pt x="5753559" y="370410"/>
                </a:cubicBezTo>
                <a:cubicBezTo>
                  <a:pt x="5757046" y="373626"/>
                  <a:pt x="5758656" y="377378"/>
                  <a:pt x="5757316" y="382203"/>
                </a:cubicBezTo>
                <a:cubicBezTo>
                  <a:pt x="5756509" y="384883"/>
                  <a:pt x="5757316" y="387832"/>
                  <a:pt x="5760000" y="389440"/>
                </a:cubicBezTo>
                <a:cubicBezTo>
                  <a:pt x="5760000" y="390511"/>
                  <a:pt x="5760000" y="391584"/>
                  <a:pt x="5760000" y="392656"/>
                </a:cubicBezTo>
                <a:cubicBezTo>
                  <a:pt x="5757584" y="393996"/>
                  <a:pt x="5756509" y="395605"/>
                  <a:pt x="5756778" y="399089"/>
                </a:cubicBezTo>
                <a:cubicBezTo>
                  <a:pt x="5757046" y="403913"/>
                  <a:pt x="5754900" y="407665"/>
                  <a:pt x="5749532" y="408738"/>
                </a:cubicBezTo>
                <a:cubicBezTo>
                  <a:pt x="5747117" y="409006"/>
                  <a:pt x="5747654" y="410881"/>
                  <a:pt x="5747654" y="412490"/>
                </a:cubicBezTo>
                <a:cubicBezTo>
                  <a:pt x="5747654" y="415170"/>
                  <a:pt x="5746582" y="415706"/>
                  <a:pt x="5744435" y="413830"/>
                </a:cubicBezTo>
                <a:cubicBezTo>
                  <a:pt x="5741213" y="411149"/>
                  <a:pt x="5739066" y="411149"/>
                  <a:pt x="5738261" y="415706"/>
                </a:cubicBezTo>
                <a:cubicBezTo>
                  <a:pt x="5737992" y="416778"/>
                  <a:pt x="5737188" y="418119"/>
                  <a:pt x="5736113" y="416778"/>
                </a:cubicBezTo>
                <a:cubicBezTo>
                  <a:pt x="5732626" y="413294"/>
                  <a:pt x="5730209" y="415438"/>
                  <a:pt x="5727528" y="417851"/>
                </a:cubicBezTo>
                <a:cubicBezTo>
                  <a:pt x="5727257" y="418387"/>
                  <a:pt x="5726184" y="418387"/>
                  <a:pt x="5725646" y="418387"/>
                </a:cubicBezTo>
                <a:cubicBezTo>
                  <a:pt x="5719207" y="414635"/>
                  <a:pt x="5713033" y="410346"/>
                  <a:pt x="5706593" y="406325"/>
                </a:cubicBezTo>
                <a:cubicBezTo>
                  <a:pt x="5703644" y="404449"/>
                  <a:pt x="5702032" y="399357"/>
                  <a:pt x="5700688" y="395336"/>
                </a:cubicBezTo>
                <a:cubicBezTo>
                  <a:pt x="5700152" y="393727"/>
                  <a:pt x="5700421" y="392119"/>
                  <a:pt x="5698810" y="390780"/>
                </a:cubicBezTo>
                <a:cubicBezTo>
                  <a:pt x="5697200" y="389440"/>
                  <a:pt x="5697469" y="387832"/>
                  <a:pt x="5698543" y="386223"/>
                </a:cubicBezTo>
                <a:cubicBezTo>
                  <a:pt x="5699079" y="385151"/>
                  <a:pt x="5700152" y="383811"/>
                  <a:pt x="5699347" y="382739"/>
                </a:cubicBezTo>
                <a:cubicBezTo>
                  <a:pt x="5696662" y="379523"/>
                  <a:pt x="5696395" y="377110"/>
                  <a:pt x="5700688" y="375502"/>
                </a:cubicBezTo>
                <a:cubicBezTo>
                  <a:pt x="5701762" y="375234"/>
                  <a:pt x="5702032" y="373626"/>
                  <a:pt x="5700958" y="372821"/>
                </a:cubicBezTo>
                <a:cubicBezTo>
                  <a:pt x="5697469" y="369873"/>
                  <a:pt x="5701225" y="368534"/>
                  <a:pt x="5701762" y="366389"/>
                </a:cubicBezTo>
                <a:cubicBezTo>
                  <a:pt x="5703644" y="359153"/>
                  <a:pt x="5711960" y="361297"/>
                  <a:pt x="5715181" y="355936"/>
                </a:cubicBezTo>
                <a:cubicBezTo>
                  <a:pt x="5716254" y="354060"/>
                  <a:pt x="5721355" y="355400"/>
                  <a:pt x="5723770" y="355669"/>
                </a:cubicBezTo>
                <a:cubicBezTo>
                  <a:pt x="5726588" y="356071"/>
                  <a:pt x="5729672" y="355400"/>
                  <a:pt x="5732626" y="355434"/>
                </a:cubicBezTo>
                <a:close/>
                <a:moveTo>
                  <a:pt x="2269712" y="349840"/>
                </a:moveTo>
                <a:cubicBezTo>
                  <a:pt x="2272335" y="349634"/>
                  <a:pt x="2274701" y="349840"/>
                  <a:pt x="2275524" y="351279"/>
                </a:cubicBezTo>
                <a:cubicBezTo>
                  <a:pt x="2280463" y="359497"/>
                  <a:pt x="2293218" y="356210"/>
                  <a:pt x="2296099" y="367304"/>
                </a:cubicBezTo>
                <a:cubicBezTo>
                  <a:pt x="2296921" y="370593"/>
                  <a:pt x="2302681" y="372647"/>
                  <a:pt x="2297333" y="377168"/>
                </a:cubicBezTo>
                <a:cubicBezTo>
                  <a:pt x="2295687" y="378401"/>
                  <a:pt x="2296099" y="380866"/>
                  <a:pt x="2297744" y="381277"/>
                </a:cubicBezTo>
                <a:cubicBezTo>
                  <a:pt x="2304328" y="383743"/>
                  <a:pt x="2303917" y="387442"/>
                  <a:pt x="2299801" y="392373"/>
                </a:cubicBezTo>
                <a:cubicBezTo>
                  <a:pt x="2298566" y="394016"/>
                  <a:pt x="2300213" y="396072"/>
                  <a:pt x="2301036" y="397716"/>
                </a:cubicBezTo>
                <a:cubicBezTo>
                  <a:pt x="2302681" y="400181"/>
                  <a:pt x="2303094" y="402648"/>
                  <a:pt x="2300624" y="404702"/>
                </a:cubicBezTo>
                <a:cubicBezTo>
                  <a:pt x="2298156" y="406756"/>
                  <a:pt x="2298566" y="409222"/>
                  <a:pt x="2297744" y="411688"/>
                </a:cubicBezTo>
                <a:cubicBezTo>
                  <a:pt x="2295687" y="417851"/>
                  <a:pt x="2293218" y="425661"/>
                  <a:pt x="2288692" y="428537"/>
                </a:cubicBezTo>
                <a:cubicBezTo>
                  <a:pt x="2278816" y="434701"/>
                  <a:pt x="2269352" y="441276"/>
                  <a:pt x="2259477" y="447029"/>
                </a:cubicBezTo>
                <a:cubicBezTo>
                  <a:pt x="2258654" y="447029"/>
                  <a:pt x="2257008" y="447029"/>
                  <a:pt x="2256597" y="446207"/>
                </a:cubicBezTo>
                <a:cubicBezTo>
                  <a:pt x="2252482" y="442509"/>
                  <a:pt x="2248779" y="439222"/>
                  <a:pt x="2243429" y="444563"/>
                </a:cubicBezTo>
                <a:cubicBezTo>
                  <a:pt x="2241784" y="446618"/>
                  <a:pt x="2240549" y="444563"/>
                  <a:pt x="2240138" y="442920"/>
                </a:cubicBezTo>
                <a:cubicBezTo>
                  <a:pt x="2238903" y="435933"/>
                  <a:pt x="2235611" y="435933"/>
                  <a:pt x="2230673" y="440043"/>
                </a:cubicBezTo>
                <a:cubicBezTo>
                  <a:pt x="2227383" y="442920"/>
                  <a:pt x="2225736" y="442099"/>
                  <a:pt x="2225736" y="437989"/>
                </a:cubicBezTo>
                <a:cubicBezTo>
                  <a:pt x="2225736" y="435522"/>
                  <a:pt x="2226559" y="432646"/>
                  <a:pt x="2222855" y="432235"/>
                </a:cubicBezTo>
                <a:cubicBezTo>
                  <a:pt x="2214626" y="430591"/>
                  <a:pt x="2211336" y="424839"/>
                  <a:pt x="2211747" y="417440"/>
                </a:cubicBezTo>
                <a:cubicBezTo>
                  <a:pt x="2212157" y="412098"/>
                  <a:pt x="2210512" y="409633"/>
                  <a:pt x="2206808" y="407577"/>
                </a:cubicBezTo>
                <a:cubicBezTo>
                  <a:pt x="2206808" y="405934"/>
                  <a:pt x="2206808" y="404291"/>
                  <a:pt x="2206808" y="402648"/>
                </a:cubicBezTo>
                <a:cubicBezTo>
                  <a:pt x="2210923" y="400181"/>
                  <a:pt x="2212157" y="395660"/>
                  <a:pt x="2210923" y="391552"/>
                </a:cubicBezTo>
                <a:cubicBezTo>
                  <a:pt x="2208866" y="384154"/>
                  <a:pt x="2211336" y="378401"/>
                  <a:pt x="2216684" y="373470"/>
                </a:cubicBezTo>
                <a:cubicBezTo>
                  <a:pt x="2218741" y="371414"/>
                  <a:pt x="2220798" y="369771"/>
                  <a:pt x="2221621" y="366894"/>
                </a:cubicBezTo>
                <a:cubicBezTo>
                  <a:pt x="2222444" y="362374"/>
                  <a:pt x="2224913" y="359908"/>
                  <a:pt x="2229439" y="360319"/>
                </a:cubicBezTo>
                <a:cubicBezTo>
                  <a:pt x="2232731" y="360319"/>
                  <a:pt x="2235201" y="358264"/>
                  <a:pt x="2236435" y="356621"/>
                </a:cubicBezTo>
                <a:cubicBezTo>
                  <a:pt x="2239932" y="351689"/>
                  <a:pt x="2244253" y="350559"/>
                  <a:pt x="2248779" y="350508"/>
                </a:cubicBezTo>
                <a:cubicBezTo>
                  <a:pt x="2253306" y="350457"/>
                  <a:pt x="2258038" y="351484"/>
                  <a:pt x="2262357" y="350868"/>
                </a:cubicBezTo>
                <a:cubicBezTo>
                  <a:pt x="2264209" y="350662"/>
                  <a:pt x="2267089" y="350046"/>
                  <a:pt x="2269712" y="349840"/>
                </a:cubicBezTo>
                <a:close/>
                <a:moveTo>
                  <a:pt x="4750901" y="309773"/>
                </a:moveTo>
                <a:cubicBezTo>
                  <a:pt x="4758047" y="312510"/>
                  <a:pt x="4764646" y="316343"/>
                  <a:pt x="4767396" y="325101"/>
                </a:cubicBezTo>
                <a:cubicBezTo>
                  <a:pt x="4767948" y="326743"/>
                  <a:pt x="4771246" y="327838"/>
                  <a:pt x="4770696" y="331122"/>
                </a:cubicBezTo>
                <a:cubicBezTo>
                  <a:pt x="4769046" y="339881"/>
                  <a:pt x="4775644" y="342617"/>
                  <a:pt x="4781143" y="344260"/>
                </a:cubicBezTo>
                <a:cubicBezTo>
                  <a:pt x="4784994" y="345355"/>
                  <a:pt x="4787192" y="346997"/>
                  <a:pt x="4789392" y="349187"/>
                </a:cubicBezTo>
                <a:cubicBezTo>
                  <a:pt x="4795990" y="355208"/>
                  <a:pt x="4795441" y="363420"/>
                  <a:pt x="4797092" y="371083"/>
                </a:cubicBezTo>
                <a:cubicBezTo>
                  <a:pt x="4798190" y="378199"/>
                  <a:pt x="4794892" y="383673"/>
                  <a:pt x="4792140" y="389695"/>
                </a:cubicBezTo>
                <a:cubicBezTo>
                  <a:pt x="4789392" y="396264"/>
                  <a:pt x="4784994" y="401738"/>
                  <a:pt x="4776745" y="401738"/>
                </a:cubicBezTo>
                <a:cubicBezTo>
                  <a:pt x="4775644" y="401738"/>
                  <a:pt x="4775094" y="402285"/>
                  <a:pt x="4775094" y="403927"/>
                </a:cubicBezTo>
                <a:cubicBezTo>
                  <a:pt x="4771246" y="403927"/>
                  <a:pt x="4767948" y="403927"/>
                  <a:pt x="4764096" y="403927"/>
                </a:cubicBezTo>
                <a:cubicBezTo>
                  <a:pt x="4761348" y="400096"/>
                  <a:pt x="4755849" y="400643"/>
                  <a:pt x="4751999" y="397906"/>
                </a:cubicBezTo>
                <a:cubicBezTo>
                  <a:pt x="4748151" y="395168"/>
                  <a:pt x="4744852" y="392979"/>
                  <a:pt x="4743752" y="388052"/>
                </a:cubicBezTo>
                <a:cubicBezTo>
                  <a:pt x="4743203" y="382579"/>
                  <a:pt x="4740454" y="377651"/>
                  <a:pt x="4737703" y="373273"/>
                </a:cubicBezTo>
                <a:cubicBezTo>
                  <a:pt x="4734954" y="368346"/>
                  <a:pt x="4732753" y="363420"/>
                  <a:pt x="4730004" y="359040"/>
                </a:cubicBezTo>
                <a:cubicBezTo>
                  <a:pt x="4727805" y="354113"/>
                  <a:pt x="4723408" y="349734"/>
                  <a:pt x="4717908" y="346997"/>
                </a:cubicBezTo>
                <a:cubicBezTo>
                  <a:pt x="4717908" y="340428"/>
                  <a:pt x="4717908" y="333860"/>
                  <a:pt x="4717908" y="327290"/>
                </a:cubicBezTo>
                <a:cubicBezTo>
                  <a:pt x="4721207" y="325648"/>
                  <a:pt x="4722856" y="323458"/>
                  <a:pt x="4724508" y="319627"/>
                </a:cubicBezTo>
                <a:cubicBezTo>
                  <a:pt x="4726705" y="315247"/>
                  <a:pt x="4731654" y="311963"/>
                  <a:pt x="4736603" y="311963"/>
                </a:cubicBezTo>
                <a:cubicBezTo>
                  <a:pt x="4741551" y="311963"/>
                  <a:pt x="4745951" y="310868"/>
                  <a:pt x="4750901" y="309773"/>
                </a:cubicBezTo>
                <a:close/>
                <a:moveTo>
                  <a:pt x="4083241" y="307979"/>
                </a:moveTo>
                <a:cubicBezTo>
                  <a:pt x="4088190" y="309074"/>
                  <a:pt x="4092589" y="310169"/>
                  <a:pt x="4097537" y="310169"/>
                </a:cubicBezTo>
                <a:cubicBezTo>
                  <a:pt x="4102486" y="310169"/>
                  <a:pt x="4107435" y="313453"/>
                  <a:pt x="4109635" y="317833"/>
                </a:cubicBezTo>
                <a:cubicBezTo>
                  <a:pt x="4111285" y="321664"/>
                  <a:pt x="4112934" y="323854"/>
                  <a:pt x="4116234" y="325496"/>
                </a:cubicBezTo>
                <a:cubicBezTo>
                  <a:pt x="4116234" y="332066"/>
                  <a:pt x="4116234" y="338634"/>
                  <a:pt x="4116234" y="345203"/>
                </a:cubicBezTo>
                <a:cubicBezTo>
                  <a:pt x="4110735" y="347940"/>
                  <a:pt x="4106336" y="352319"/>
                  <a:pt x="4104136" y="357246"/>
                </a:cubicBezTo>
                <a:cubicBezTo>
                  <a:pt x="4101386" y="361626"/>
                  <a:pt x="4099187" y="366552"/>
                  <a:pt x="4096437" y="371479"/>
                </a:cubicBezTo>
                <a:cubicBezTo>
                  <a:pt x="4093689" y="375857"/>
                  <a:pt x="4090939" y="380785"/>
                  <a:pt x="4090390" y="386258"/>
                </a:cubicBezTo>
                <a:cubicBezTo>
                  <a:pt x="4089290" y="391185"/>
                  <a:pt x="4085990" y="393374"/>
                  <a:pt x="4082141" y="396112"/>
                </a:cubicBezTo>
                <a:cubicBezTo>
                  <a:pt x="4078292" y="398849"/>
                  <a:pt x="4072793" y="398302"/>
                  <a:pt x="4070043" y="402133"/>
                </a:cubicBezTo>
                <a:cubicBezTo>
                  <a:pt x="4066195" y="402133"/>
                  <a:pt x="4062896" y="402133"/>
                  <a:pt x="4059046" y="402133"/>
                </a:cubicBezTo>
                <a:cubicBezTo>
                  <a:pt x="4059046" y="400491"/>
                  <a:pt x="4058497" y="399944"/>
                  <a:pt x="4057397" y="399944"/>
                </a:cubicBezTo>
                <a:cubicBezTo>
                  <a:pt x="4049148" y="399944"/>
                  <a:pt x="4044749" y="394470"/>
                  <a:pt x="4042001" y="387901"/>
                </a:cubicBezTo>
                <a:cubicBezTo>
                  <a:pt x="4039251" y="381879"/>
                  <a:pt x="4035952" y="376405"/>
                  <a:pt x="4037052" y="369289"/>
                </a:cubicBezTo>
                <a:cubicBezTo>
                  <a:pt x="4038701" y="361626"/>
                  <a:pt x="4038151" y="353414"/>
                  <a:pt x="4044749" y="347393"/>
                </a:cubicBezTo>
                <a:cubicBezTo>
                  <a:pt x="4046949" y="345203"/>
                  <a:pt x="4049148" y="343561"/>
                  <a:pt x="4052998" y="342466"/>
                </a:cubicBezTo>
                <a:cubicBezTo>
                  <a:pt x="4058497" y="340823"/>
                  <a:pt x="4065095" y="338087"/>
                  <a:pt x="4063446" y="329328"/>
                </a:cubicBezTo>
                <a:cubicBezTo>
                  <a:pt x="4062896" y="326044"/>
                  <a:pt x="4066195" y="324949"/>
                  <a:pt x="4066745" y="323306"/>
                </a:cubicBezTo>
                <a:cubicBezTo>
                  <a:pt x="4069493" y="314549"/>
                  <a:pt x="4076092" y="310716"/>
                  <a:pt x="4083241" y="307979"/>
                </a:cubicBezTo>
                <a:close/>
                <a:moveTo>
                  <a:pt x="10833001" y="305092"/>
                </a:moveTo>
                <a:cubicBezTo>
                  <a:pt x="10839932" y="304549"/>
                  <a:pt x="10846183" y="305092"/>
                  <a:pt x="10848358" y="308892"/>
                </a:cubicBezTo>
                <a:cubicBezTo>
                  <a:pt x="10861402" y="330607"/>
                  <a:pt x="10895102" y="321921"/>
                  <a:pt x="10902712" y="351235"/>
                </a:cubicBezTo>
                <a:cubicBezTo>
                  <a:pt x="10904888" y="359921"/>
                  <a:pt x="10920107" y="365350"/>
                  <a:pt x="10905974" y="377294"/>
                </a:cubicBezTo>
                <a:cubicBezTo>
                  <a:pt x="10901626" y="380551"/>
                  <a:pt x="10902712" y="387065"/>
                  <a:pt x="10907062" y="388151"/>
                </a:cubicBezTo>
                <a:cubicBezTo>
                  <a:pt x="10924455" y="394665"/>
                  <a:pt x="10923368" y="404437"/>
                  <a:pt x="10912497" y="417465"/>
                </a:cubicBezTo>
                <a:cubicBezTo>
                  <a:pt x="10909236" y="421808"/>
                  <a:pt x="10913585" y="427237"/>
                  <a:pt x="10915758" y="431580"/>
                </a:cubicBezTo>
                <a:cubicBezTo>
                  <a:pt x="10920107" y="438094"/>
                  <a:pt x="10921194" y="444609"/>
                  <a:pt x="10914670" y="450037"/>
                </a:cubicBezTo>
                <a:cubicBezTo>
                  <a:pt x="10908149" y="455466"/>
                  <a:pt x="10909236" y="461981"/>
                  <a:pt x="10907062" y="468495"/>
                </a:cubicBezTo>
                <a:lnTo>
                  <a:pt x="10904160" y="476276"/>
                </a:lnTo>
                <a:lnTo>
                  <a:pt x="10909369" y="475478"/>
                </a:lnTo>
                <a:cubicBezTo>
                  <a:pt x="10914446" y="477421"/>
                  <a:pt x="10919133" y="480143"/>
                  <a:pt x="10921086" y="486362"/>
                </a:cubicBezTo>
                <a:cubicBezTo>
                  <a:pt x="10921475" y="487528"/>
                  <a:pt x="10923819" y="488306"/>
                  <a:pt x="10923427" y="490638"/>
                </a:cubicBezTo>
                <a:cubicBezTo>
                  <a:pt x="10922255" y="496857"/>
                  <a:pt x="10926941" y="498801"/>
                  <a:pt x="10930846" y="499967"/>
                </a:cubicBezTo>
                <a:cubicBezTo>
                  <a:pt x="10933579" y="500745"/>
                  <a:pt x="10935141" y="501911"/>
                  <a:pt x="10936705" y="503466"/>
                </a:cubicBezTo>
                <a:cubicBezTo>
                  <a:pt x="10941388" y="507741"/>
                  <a:pt x="10940999" y="513573"/>
                  <a:pt x="10942170" y="519015"/>
                </a:cubicBezTo>
                <a:cubicBezTo>
                  <a:pt x="10942950" y="524068"/>
                  <a:pt x="10940608" y="527955"/>
                  <a:pt x="10938655" y="532231"/>
                </a:cubicBezTo>
                <a:cubicBezTo>
                  <a:pt x="10936705" y="536896"/>
                  <a:pt x="10933579" y="540783"/>
                  <a:pt x="10927723" y="540783"/>
                </a:cubicBezTo>
                <a:cubicBezTo>
                  <a:pt x="10926941" y="540783"/>
                  <a:pt x="10926551" y="541172"/>
                  <a:pt x="10926551" y="542338"/>
                </a:cubicBezTo>
                <a:cubicBezTo>
                  <a:pt x="10923819" y="542338"/>
                  <a:pt x="10921475" y="542338"/>
                  <a:pt x="10918742" y="542338"/>
                </a:cubicBezTo>
                <a:cubicBezTo>
                  <a:pt x="10916789" y="539617"/>
                  <a:pt x="10912884" y="540005"/>
                  <a:pt x="10910151" y="538062"/>
                </a:cubicBezTo>
                <a:cubicBezTo>
                  <a:pt x="10907417" y="536119"/>
                  <a:pt x="10905075" y="534563"/>
                  <a:pt x="10904294" y="531065"/>
                </a:cubicBezTo>
                <a:cubicBezTo>
                  <a:pt x="10903903" y="527178"/>
                  <a:pt x="10901950" y="523680"/>
                  <a:pt x="10899998" y="520569"/>
                </a:cubicBezTo>
                <a:cubicBezTo>
                  <a:pt x="10898046" y="517071"/>
                  <a:pt x="10896484" y="513573"/>
                  <a:pt x="10894532" y="510462"/>
                </a:cubicBezTo>
                <a:lnTo>
                  <a:pt x="10889142" y="505098"/>
                </a:lnTo>
                <a:lnTo>
                  <a:pt x="10883145" y="513010"/>
                </a:lnTo>
                <a:cubicBezTo>
                  <a:pt x="10857054" y="529296"/>
                  <a:pt x="10832050" y="546667"/>
                  <a:pt x="10805956" y="561868"/>
                </a:cubicBezTo>
                <a:cubicBezTo>
                  <a:pt x="10803781" y="561868"/>
                  <a:pt x="10799433" y="561868"/>
                  <a:pt x="10798346" y="559696"/>
                </a:cubicBezTo>
                <a:cubicBezTo>
                  <a:pt x="10787475" y="549924"/>
                  <a:pt x="10777692" y="541238"/>
                  <a:pt x="10763558" y="555353"/>
                </a:cubicBezTo>
                <a:cubicBezTo>
                  <a:pt x="10759210" y="560782"/>
                  <a:pt x="10755948" y="555353"/>
                  <a:pt x="10754863" y="551011"/>
                </a:cubicBezTo>
                <a:cubicBezTo>
                  <a:pt x="10751601" y="532552"/>
                  <a:pt x="10742903" y="532552"/>
                  <a:pt x="10729857" y="543410"/>
                </a:cubicBezTo>
                <a:cubicBezTo>
                  <a:pt x="10721160" y="551011"/>
                  <a:pt x="10716812" y="548838"/>
                  <a:pt x="10716812" y="537981"/>
                </a:cubicBezTo>
                <a:cubicBezTo>
                  <a:pt x="10716812" y="531467"/>
                  <a:pt x="10718987" y="523867"/>
                  <a:pt x="10709202" y="522781"/>
                </a:cubicBezTo>
                <a:cubicBezTo>
                  <a:pt x="10687459" y="518439"/>
                  <a:pt x="10678762" y="503238"/>
                  <a:pt x="10679850" y="483694"/>
                </a:cubicBezTo>
                <a:cubicBezTo>
                  <a:pt x="10680937" y="469581"/>
                  <a:pt x="10676589" y="463066"/>
                  <a:pt x="10666805" y="457637"/>
                </a:cubicBezTo>
                <a:cubicBezTo>
                  <a:pt x="10666805" y="453295"/>
                  <a:pt x="10666805" y="448951"/>
                  <a:pt x="10666805" y="444609"/>
                </a:cubicBezTo>
                <a:cubicBezTo>
                  <a:pt x="10677677" y="438094"/>
                  <a:pt x="10680937" y="426151"/>
                  <a:pt x="10677677" y="415294"/>
                </a:cubicBezTo>
                <a:cubicBezTo>
                  <a:pt x="10672239" y="395751"/>
                  <a:pt x="10678762" y="380551"/>
                  <a:pt x="10692895" y="367521"/>
                </a:cubicBezTo>
                <a:cubicBezTo>
                  <a:pt x="10698332" y="362094"/>
                  <a:pt x="10703766" y="357750"/>
                  <a:pt x="10705940" y="350150"/>
                </a:cubicBezTo>
                <a:cubicBezTo>
                  <a:pt x="10708115" y="338207"/>
                  <a:pt x="10714637" y="331693"/>
                  <a:pt x="10726596" y="332778"/>
                </a:cubicBezTo>
                <a:cubicBezTo>
                  <a:pt x="10735293" y="332778"/>
                  <a:pt x="10741816" y="327350"/>
                  <a:pt x="10745078" y="323007"/>
                </a:cubicBezTo>
                <a:cubicBezTo>
                  <a:pt x="10763558" y="296950"/>
                  <a:pt x="10790736" y="311064"/>
                  <a:pt x="10813569" y="307807"/>
                </a:cubicBezTo>
                <a:cubicBezTo>
                  <a:pt x="10818461" y="307264"/>
                  <a:pt x="10826071" y="305635"/>
                  <a:pt x="10833001" y="305092"/>
                </a:cubicBezTo>
                <a:close/>
                <a:moveTo>
                  <a:pt x="9079830" y="266277"/>
                </a:moveTo>
                <a:cubicBezTo>
                  <a:pt x="9084080" y="266229"/>
                  <a:pt x="9088523" y="267194"/>
                  <a:pt x="9092580" y="266615"/>
                </a:cubicBezTo>
                <a:cubicBezTo>
                  <a:pt x="9096058" y="266230"/>
                  <a:pt x="9103400" y="264300"/>
                  <a:pt x="9104944" y="267001"/>
                </a:cubicBezTo>
                <a:cubicBezTo>
                  <a:pt x="9109579" y="274719"/>
                  <a:pt x="9121560" y="271631"/>
                  <a:pt x="9124263" y="282050"/>
                </a:cubicBezTo>
                <a:cubicBezTo>
                  <a:pt x="9125035" y="285137"/>
                  <a:pt x="9130442" y="287067"/>
                  <a:pt x="9125421" y="291311"/>
                </a:cubicBezTo>
                <a:cubicBezTo>
                  <a:pt x="9123875" y="292468"/>
                  <a:pt x="9124263" y="294784"/>
                  <a:pt x="9125807" y="295170"/>
                </a:cubicBezTo>
                <a:cubicBezTo>
                  <a:pt x="9131988" y="297485"/>
                  <a:pt x="9131601" y="300959"/>
                  <a:pt x="9127740" y="305588"/>
                </a:cubicBezTo>
                <a:cubicBezTo>
                  <a:pt x="9126578" y="307132"/>
                  <a:pt x="9128124" y="309062"/>
                  <a:pt x="9128898" y="310605"/>
                </a:cubicBezTo>
                <a:cubicBezTo>
                  <a:pt x="9130442" y="312921"/>
                  <a:pt x="9130829" y="315235"/>
                  <a:pt x="9128509" y="317165"/>
                </a:cubicBezTo>
                <a:cubicBezTo>
                  <a:pt x="9126194" y="319094"/>
                  <a:pt x="9126578" y="321410"/>
                  <a:pt x="9125807" y="323725"/>
                </a:cubicBezTo>
                <a:cubicBezTo>
                  <a:pt x="9123875" y="329513"/>
                  <a:pt x="9121560" y="336845"/>
                  <a:pt x="9117309" y="339545"/>
                </a:cubicBezTo>
                <a:cubicBezTo>
                  <a:pt x="9108035" y="345334"/>
                  <a:pt x="9099149" y="351508"/>
                  <a:pt x="9089875" y="356910"/>
                </a:cubicBezTo>
                <a:cubicBezTo>
                  <a:pt x="9089104" y="356910"/>
                  <a:pt x="9087558" y="356910"/>
                  <a:pt x="9087170" y="356139"/>
                </a:cubicBezTo>
                <a:cubicBezTo>
                  <a:pt x="9083307" y="352665"/>
                  <a:pt x="9079828" y="349578"/>
                  <a:pt x="9074808" y="354595"/>
                </a:cubicBezTo>
                <a:cubicBezTo>
                  <a:pt x="9073262" y="356525"/>
                  <a:pt x="9072104" y="354595"/>
                  <a:pt x="9071716" y="353051"/>
                </a:cubicBezTo>
                <a:cubicBezTo>
                  <a:pt x="9070558" y="346492"/>
                  <a:pt x="9067468" y="346492"/>
                  <a:pt x="9062831" y="350350"/>
                </a:cubicBezTo>
                <a:cubicBezTo>
                  <a:pt x="9059739" y="353051"/>
                  <a:pt x="9058196" y="352280"/>
                  <a:pt x="9058196" y="348421"/>
                </a:cubicBezTo>
                <a:cubicBezTo>
                  <a:pt x="9058196" y="346106"/>
                  <a:pt x="9058967" y="343405"/>
                  <a:pt x="9055488" y="343019"/>
                </a:cubicBezTo>
                <a:cubicBezTo>
                  <a:pt x="9047764" y="341475"/>
                  <a:pt x="9044672" y="336073"/>
                  <a:pt x="9045059" y="329127"/>
                </a:cubicBezTo>
                <a:cubicBezTo>
                  <a:pt x="9045444" y="324111"/>
                  <a:pt x="9043900" y="321796"/>
                  <a:pt x="9040424" y="319866"/>
                </a:cubicBezTo>
                <a:cubicBezTo>
                  <a:pt x="9040424" y="318322"/>
                  <a:pt x="9040424" y="316779"/>
                  <a:pt x="9040424" y="315235"/>
                </a:cubicBezTo>
                <a:cubicBezTo>
                  <a:pt x="9044287" y="312921"/>
                  <a:pt x="9045444" y="308676"/>
                  <a:pt x="9044287" y="304817"/>
                </a:cubicBezTo>
                <a:cubicBezTo>
                  <a:pt x="9042354" y="297871"/>
                  <a:pt x="9044672" y="292468"/>
                  <a:pt x="9049694" y="287839"/>
                </a:cubicBezTo>
                <a:cubicBezTo>
                  <a:pt x="9051627" y="285909"/>
                  <a:pt x="9053558" y="284365"/>
                  <a:pt x="9054332" y="281664"/>
                </a:cubicBezTo>
                <a:cubicBezTo>
                  <a:pt x="9055104" y="277420"/>
                  <a:pt x="9057422" y="275104"/>
                  <a:pt x="9061672" y="275490"/>
                </a:cubicBezTo>
                <a:cubicBezTo>
                  <a:pt x="9064762" y="275490"/>
                  <a:pt x="9067081" y="273561"/>
                  <a:pt x="9068240" y="272017"/>
                </a:cubicBezTo>
                <a:cubicBezTo>
                  <a:pt x="9071524" y="267387"/>
                  <a:pt x="9075580" y="266326"/>
                  <a:pt x="9079830" y="266277"/>
                </a:cubicBezTo>
                <a:close/>
                <a:moveTo>
                  <a:pt x="6762630" y="248000"/>
                </a:moveTo>
                <a:lnTo>
                  <a:pt x="6762380" y="248416"/>
                </a:lnTo>
                <a:lnTo>
                  <a:pt x="6762093" y="248128"/>
                </a:lnTo>
                <a:close/>
                <a:moveTo>
                  <a:pt x="5353229" y="221996"/>
                </a:moveTo>
                <a:cubicBezTo>
                  <a:pt x="5356745" y="222773"/>
                  <a:pt x="5359869" y="223551"/>
                  <a:pt x="5363382" y="223551"/>
                </a:cubicBezTo>
                <a:cubicBezTo>
                  <a:pt x="5366896" y="223551"/>
                  <a:pt x="5370412" y="225884"/>
                  <a:pt x="5371975" y="228993"/>
                </a:cubicBezTo>
                <a:cubicBezTo>
                  <a:pt x="5373144" y="231714"/>
                  <a:pt x="5374316" y="233268"/>
                  <a:pt x="5376658" y="234435"/>
                </a:cubicBezTo>
                <a:cubicBezTo>
                  <a:pt x="5376658" y="239100"/>
                  <a:pt x="5376658" y="243765"/>
                  <a:pt x="5376658" y="248429"/>
                </a:cubicBezTo>
                <a:cubicBezTo>
                  <a:pt x="5372754" y="250372"/>
                  <a:pt x="5369628" y="253482"/>
                  <a:pt x="5368067" y="256981"/>
                </a:cubicBezTo>
                <a:cubicBezTo>
                  <a:pt x="5366114" y="260091"/>
                  <a:pt x="5364553" y="263589"/>
                  <a:pt x="5362602" y="267088"/>
                </a:cubicBezTo>
                <a:cubicBezTo>
                  <a:pt x="5360649" y="270198"/>
                  <a:pt x="5358696" y="273696"/>
                  <a:pt x="5358307" y="277583"/>
                </a:cubicBezTo>
                <a:cubicBezTo>
                  <a:pt x="5357525" y="281081"/>
                  <a:pt x="5355182" y="282637"/>
                  <a:pt x="5352449" y="284581"/>
                </a:cubicBezTo>
                <a:cubicBezTo>
                  <a:pt x="5349714" y="286523"/>
                  <a:pt x="5345810" y="286135"/>
                  <a:pt x="5343858" y="288856"/>
                </a:cubicBezTo>
                <a:cubicBezTo>
                  <a:pt x="5341124" y="288856"/>
                  <a:pt x="5338782" y="288856"/>
                  <a:pt x="5336048" y="288856"/>
                </a:cubicBezTo>
                <a:cubicBezTo>
                  <a:pt x="5336048" y="287690"/>
                  <a:pt x="5335657" y="287302"/>
                  <a:pt x="5334878" y="287302"/>
                </a:cubicBezTo>
                <a:cubicBezTo>
                  <a:pt x="5329021" y="287302"/>
                  <a:pt x="5325897" y="283414"/>
                  <a:pt x="5323944" y="278749"/>
                </a:cubicBezTo>
                <a:cubicBezTo>
                  <a:pt x="5321993" y="274474"/>
                  <a:pt x="5319650" y="270586"/>
                  <a:pt x="5320430" y="265533"/>
                </a:cubicBezTo>
                <a:cubicBezTo>
                  <a:pt x="5321601" y="260091"/>
                  <a:pt x="5321210" y="254260"/>
                  <a:pt x="5325897" y="249984"/>
                </a:cubicBezTo>
                <a:cubicBezTo>
                  <a:pt x="5327460" y="248429"/>
                  <a:pt x="5329021" y="247263"/>
                  <a:pt x="5331753" y="246486"/>
                </a:cubicBezTo>
                <a:cubicBezTo>
                  <a:pt x="5335657" y="245319"/>
                  <a:pt x="5340344" y="243375"/>
                  <a:pt x="5339173" y="237156"/>
                </a:cubicBezTo>
                <a:cubicBezTo>
                  <a:pt x="5338782" y="234824"/>
                  <a:pt x="5341124" y="234047"/>
                  <a:pt x="5341514" y="232880"/>
                </a:cubicBezTo>
                <a:cubicBezTo>
                  <a:pt x="5343468" y="226661"/>
                  <a:pt x="5348153" y="223940"/>
                  <a:pt x="5353229" y="221996"/>
                </a:cubicBezTo>
                <a:close/>
                <a:moveTo>
                  <a:pt x="6402088" y="217446"/>
                </a:moveTo>
                <a:cubicBezTo>
                  <a:pt x="6405261" y="217482"/>
                  <a:pt x="6408289" y="218274"/>
                  <a:pt x="6410741" y="221730"/>
                </a:cubicBezTo>
                <a:cubicBezTo>
                  <a:pt x="6411605" y="222883"/>
                  <a:pt x="6413334" y="224322"/>
                  <a:pt x="6415640" y="224322"/>
                </a:cubicBezTo>
                <a:cubicBezTo>
                  <a:pt x="6418813" y="224035"/>
                  <a:pt x="6420545" y="225762"/>
                  <a:pt x="6421122" y="228930"/>
                </a:cubicBezTo>
                <a:cubicBezTo>
                  <a:pt x="6421699" y="230947"/>
                  <a:pt x="6423141" y="232099"/>
                  <a:pt x="6424584" y="233540"/>
                </a:cubicBezTo>
                <a:cubicBezTo>
                  <a:pt x="6428329" y="236995"/>
                  <a:pt x="6430062" y="241028"/>
                  <a:pt x="6428621" y="246212"/>
                </a:cubicBezTo>
                <a:cubicBezTo>
                  <a:pt x="6427754" y="249092"/>
                  <a:pt x="6428621" y="252261"/>
                  <a:pt x="6431504" y="253989"/>
                </a:cubicBezTo>
                <a:cubicBezTo>
                  <a:pt x="6431504" y="255141"/>
                  <a:pt x="6431504" y="256293"/>
                  <a:pt x="6431504" y="257445"/>
                </a:cubicBezTo>
                <a:cubicBezTo>
                  <a:pt x="6428908" y="258885"/>
                  <a:pt x="6427754" y="260614"/>
                  <a:pt x="6428042" y="264358"/>
                </a:cubicBezTo>
                <a:cubicBezTo>
                  <a:pt x="6428329" y="269542"/>
                  <a:pt x="6426023" y="273575"/>
                  <a:pt x="6420256" y="274726"/>
                </a:cubicBezTo>
                <a:cubicBezTo>
                  <a:pt x="6417660" y="275015"/>
                  <a:pt x="6418238" y="277031"/>
                  <a:pt x="6418238" y="278759"/>
                </a:cubicBezTo>
                <a:cubicBezTo>
                  <a:pt x="6418238" y="281639"/>
                  <a:pt x="6417082" y="282215"/>
                  <a:pt x="6414777" y="280199"/>
                </a:cubicBezTo>
                <a:cubicBezTo>
                  <a:pt x="6411315" y="277318"/>
                  <a:pt x="6409010" y="277318"/>
                  <a:pt x="6408143" y="282215"/>
                </a:cubicBezTo>
                <a:cubicBezTo>
                  <a:pt x="6407856" y="283367"/>
                  <a:pt x="6406992" y="284807"/>
                  <a:pt x="6405836" y="283367"/>
                </a:cubicBezTo>
                <a:cubicBezTo>
                  <a:pt x="6402086" y="279623"/>
                  <a:pt x="6399492" y="281927"/>
                  <a:pt x="6396609" y="284519"/>
                </a:cubicBezTo>
                <a:cubicBezTo>
                  <a:pt x="6396320" y="285096"/>
                  <a:pt x="6395167" y="285096"/>
                  <a:pt x="6394592" y="285096"/>
                </a:cubicBezTo>
                <a:cubicBezTo>
                  <a:pt x="6387668" y="281063"/>
                  <a:pt x="6381035" y="276455"/>
                  <a:pt x="6374113" y="272134"/>
                </a:cubicBezTo>
                <a:cubicBezTo>
                  <a:pt x="6370941" y="270118"/>
                  <a:pt x="6369211" y="264645"/>
                  <a:pt x="6367769" y="260325"/>
                </a:cubicBezTo>
                <a:cubicBezTo>
                  <a:pt x="6367192" y="258598"/>
                  <a:pt x="6367481" y="256869"/>
                  <a:pt x="6365751" y="255429"/>
                </a:cubicBezTo>
                <a:cubicBezTo>
                  <a:pt x="6364019" y="253989"/>
                  <a:pt x="6364312" y="252261"/>
                  <a:pt x="6365462" y="250533"/>
                </a:cubicBezTo>
                <a:cubicBezTo>
                  <a:pt x="6366038" y="249381"/>
                  <a:pt x="6367192" y="247941"/>
                  <a:pt x="6366326" y="246789"/>
                </a:cubicBezTo>
                <a:cubicBezTo>
                  <a:pt x="6363444" y="243332"/>
                  <a:pt x="6363156" y="240740"/>
                  <a:pt x="6367769" y="239011"/>
                </a:cubicBezTo>
                <a:cubicBezTo>
                  <a:pt x="6368923" y="238724"/>
                  <a:pt x="6369211" y="236995"/>
                  <a:pt x="6368057" y="236132"/>
                </a:cubicBezTo>
                <a:cubicBezTo>
                  <a:pt x="6364312" y="232963"/>
                  <a:pt x="6368346" y="231523"/>
                  <a:pt x="6368923" y="229219"/>
                </a:cubicBezTo>
                <a:cubicBezTo>
                  <a:pt x="6370941" y="221442"/>
                  <a:pt x="6379883" y="223746"/>
                  <a:pt x="6383344" y="217986"/>
                </a:cubicBezTo>
                <a:cubicBezTo>
                  <a:pt x="6384498" y="215970"/>
                  <a:pt x="6389977" y="217410"/>
                  <a:pt x="6392572" y="217697"/>
                </a:cubicBezTo>
                <a:cubicBezTo>
                  <a:pt x="6395601" y="218130"/>
                  <a:pt x="6398916" y="217410"/>
                  <a:pt x="6402088" y="217446"/>
                </a:cubicBezTo>
                <a:close/>
                <a:moveTo>
                  <a:pt x="4970801" y="215227"/>
                </a:moveTo>
                <a:cubicBezTo>
                  <a:pt x="4976408" y="213982"/>
                  <a:pt x="4979522" y="217717"/>
                  <a:pt x="4982015" y="220831"/>
                </a:cubicBezTo>
                <a:cubicBezTo>
                  <a:pt x="4990735" y="230793"/>
                  <a:pt x="4998835" y="240755"/>
                  <a:pt x="5014407" y="235774"/>
                </a:cubicBezTo>
                <a:cubicBezTo>
                  <a:pt x="5017524" y="235151"/>
                  <a:pt x="5019393" y="237642"/>
                  <a:pt x="5020638" y="240133"/>
                </a:cubicBezTo>
                <a:cubicBezTo>
                  <a:pt x="5027491" y="252586"/>
                  <a:pt x="5038704" y="262548"/>
                  <a:pt x="5048047" y="273133"/>
                </a:cubicBezTo>
                <a:cubicBezTo>
                  <a:pt x="5062377" y="289322"/>
                  <a:pt x="5070477" y="307379"/>
                  <a:pt x="5064868" y="329173"/>
                </a:cubicBezTo>
                <a:cubicBezTo>
                  <a:pt x="5063000" y="337889"/>
                  <a:pt x="5067984" y="343493"/>
                  <a:pt x="5072969" y="348475"/>
                </a:cubicBezTo>
                <a:cubicBezTo>
                  <a:pt x="5084182" y="360305"/>
                  <a:pt x="5083559" y="366532"/>
                  <a:pt x="5071098" y="375872"/>
                </a:cubicBezTo>
                <a:cubicBezTo>
                  <a:pt x="5057394" y="385211"/>
                  <a:pt x="5057394" y="385211"/>
                  <a:pt x="5068607" y="398909"/>
                </a:cubicBezTo>
                <a:cubicBezTo>
                  <a:pt x="5071098" y="402023"/>
                  <a:pt x="5072969" y="404513"/>
                  <a:pt x="5069230" y="408249"/>
                </a:cubicBezTo>
                <a:cubicBezTo>
                  <a:pt x="5056770" y="422570"/>
                  <a:pt x="5045556" y="436892"/>
                  <a:pt x="5032474" y="450590"/>
                </a:cubicBezTo>
                <a:cubicBezTo>
                  <a:pt x="5023131" y="461175"/>
                  <a:pt x="5011293" y="468024"/>
                  <a:pt x="4997588" y="471138"/>
                </a:cubicBezTo>
                <a:cubicBezTo>
                  <a:pt x="4988867" y="473628"/>
                  <a:pt x="4972048" y="496044"/>
                  <a:pt x="4971424" y="505383"/>
                </a:cubicBezTo>
                <a:cubicBezTo>
                  <a:pt x="4971424" y="508497"/>
                  <a:pt x="4971424" y="510987"/>
                  <a:pt x="4975163" y="512232"/>
                </a:cubicBezTo>
                <a:cubicBezTo>
                  <a:pt x="4994473" y="520950"/>
                  <a:pt x="5003819" y="537762"/>
                  <a:pt x="5011917" y="555819"/>
                </a:cubicBezTo>
                <a:cubicBezTo>
                  <a:pt x="5013786" y="559554"/>
                  <a:pt x="5015032" y="562668"/>
                  <a:pt x="5016902" y="565781"/>
                </a:cubicBezTo>
                <a:cubicBezTo>
                  <a:pt x="5023131" y="575744"/>
                  <a:pt x="5026246" y="584461"/>
                  <a:pt x="5021883" y="596915"/>
                </a:cubicBezTo>
                <a:cubicBezTo>
                  <a:pt x="5017524" y="609368"/>
                  <a:pt x="5024376" y="621820"/>
                  <a:pt x="5030606" y="633028"/>
                </a:cubicBezTo>
                <a:cubicBezTo>
                  <a:pt x="5033098" y="638632"/>
                  <a:pt x="5034343" y="642368"/>
                  <a:pt x="5029984" y="647971"/>
                </a:cubicBezTo>
                <a:lnTo>
                  <a:pt x="5014537" y="685550"/>
                </a:lnTo>
                <a:lnTo>
                  <a:pt x="5084787" y="676707"/>
                </a:lnTo>
                <a:cubicBezTo>
                  <a:pt x="5161517" y="670751"/>
                  <a:pt x="5238478" y="668919"/>
                  <a:pt x="5315437" y="672584"/>
                </a:cubicBezTo>
                <a:cubicBezTo>
                  <a:pt x="5507833" y="679914"/>
                  <a:pt x="5689240" y="734889"/>
                  <a:pt x="5870643" y="797194"/>
                </a:cubicBezTo>
                <a:cubicBezTo>
                  <a:pt x="6182146" y="905312"/>
                  <a:pt x="6477155" y="1044582"/>
                  <a:pt x="6737349" y="1249822"/>
                </a:cubicBezTo>
                <a:cubicBezTo>
                  <a:pt x="6812019" y="1309378"/>
                  <a:pt x="6882793" y="1372027"/>
                  <a:pt x="6949760" y="1437768"/>
                </a:cubicBezTo>
                <a:lnTo>
                  <a:pt x="7135575" y="1640186"/>
                </a:lnTo>
                <a:lnTo>
                  <a:pt x="7155702" y="1617195"/>
                </a:lnTo>
                <a:lnTo>
                  <a:pt x="7149127" y="1606185"/>
                </a:lnTo>
                <a:cubicBezTo>
                  <a:pt x="7144914" y="1605235"/>
                  <a:pt x="7139479" y="1607950"/>
                  <a:pt x="7132956" y="1613378"/>
                </a:cubicBezTo>
                <a:cubicBezTo>
                  <a:pt x="7124260" y="1620978"/>
                  <a:pt x="7119911" y="1618807"/>
                  <a:pt x="7119911" y="1607949"/>
                </a:cubicBezTo>
                <a:cubicBezTo>
                  <a:pt x="7119911" y="1601434"/>
                  <a:pt x="7122084" y="1593835"/>
                  <a:pt x="7112301" y="1592748"/>
                </a:cubicBezTo>
                <a:cubicBezTo>
                  <a:pt x="7090557" y="1588406"/>
                  <a:pt x="7081860" y="1573206"/>
                  <a:pt x="7082952" y="1553663"/>
                </a:cubicBezTo>
                <a:cubicBezTo>
                  <a:pt x="7084034" y="1539548"/>
                  <a:pt x="7079687" y="1533033"/>
                  <a:pt x="7069901" y="1527606"/>
                </a:cubicBezTo>
                <a:cubicBezTo>
                  <a:pt x="7069901" y="1523262"/>
                  <a:pt x="7069901" y="1518919"/>
                  <a:pt x="7069901" y="1514576"/>
                </a:cubicBezTo>
                <a:cubicBezTo>
                  <a:pt x="7080773" y="1508062"/>
                  <a:pt x="7084034" y="1496119"/>
                  <a:pt x="7080773" y="1485261"/>
                </a:cubicBezTo>
                <a:cubicBezTo>
                  <a:pt x="7075339" y="1465718"/>
                  <a:pt x="7081860" y="1450518"/>
                  <a:pt x="7095993" y="1437490"/>
                </a:cubicBezTo>
                <a:cubicBezTo>
                  <a:pt x="7101430" y="1432061"/>
                  <a:pt x="7106866" y="1427717"/>
                  <a:pt x="7109038" y="1420118"/>
                </a:cubicBezTo>
                <a:cubicBezTo>
                  <a:pt x="7111214" y="1408175"/>
                  <a:pt x="7117735" y="1401660"/>
                  <a:pt x="7129695" y="1402746"/>
                </a:cubicBezTo>
                <a:lnTo>
                  <a:pt x="7132509" y="1401258"/>
                </a:lnTo>
                <a:lnTo>
                  <a:pt x="7077965" y="1343957"/>
                </a:lnTo>
                <a:cubicBezTo>
                  <a:pt x="7055011" y="1322338"/>
                  <a:pt x="7031610" y="1300718"/>
                  <a:pt x="7011807" y="1277298"/>
                </a:cubicBezTo>
                <a:cubicBezTo>
                  <a:pt x="7001005" y="1262883"/>
                  <a:pt x="7001005" y="1273694"/>
                  <a:pt x="6990206" y="1266487"/>
                </a:cubicBezTo>
                <a:cubicBezTo>
                  <a:pt x="6972204" y="1248471"/>
                  <a:pt x="6965005" y="1237661"/>
                  <a:pt x="6957804" y="1226851"/>
                </a:cubicBezTo>
                <a:cubicBezTo>
                  <a:pt x="6943402" y="1212439"/>
                  <a:pt x="6936199" y="1216041"/>
                  <a:pt x="6921802" y="1205231"/>
                </a:cubicBezTo>
                <a:cubicBezTo>
                  <a:pt x="6911000" y="1190819"/>
                  <a:pt x="6900199" y="1176405"/>
                  <a:pt x="6889398" y="1161993"/>
                </a:cubicBezTo>
                <a:cubicBezTo>
                  <a:pt x="6889398" y="1161993"/>
                  <a:pt x="6889398" y="1161993"/>
                  <a:pt x="6896598" y="1154786"/>
                </a:cubicBezTo>
                <a:cubicBezTo>
                  <a:pt x="6889398" y="1147579"/>
                  <a:pt x="6878597" y="1136769"/>
                  <a:pt x="6867795" y="1129563"/>
                </a:cubicBezTo>
                <a:cubicBezTo>
                  <a:pt x="6867795" y="1129563"/>
                  <a:pt x="6867795" y="1129563"/>
                  <a:pt x="6867795" y="1133166"/>
                </a:cubicBezTo>
                <a:cubicBezTo>
                  <a:pt x="6871396" y="1133166"/>
                  <a:pt x="6874997" y="1136769"/>
                  <a:pt x="6871396" y="1136769"/>
                </a:cubicBezTo>
                <a:cubicBezTo>
                  <a:pt x="6871396" y="1136769"/>
                  <a:pt x="6867795" y="1136769"/>
                  <a:pt x="6867795" y="1136769"/>
                </a:cubicBezTo>
                <a:cubicBezTo>
                  <a:pt x="6867795" y="1140373"/>
                  <a:pt x="6878597" y="1147579"/>
                  <a:pt x="6871396" y="1147579"/>
                </a:cubicBezTo>
                <a:cubicBezTo>
                  <a:pt x="6856993" y="1140373"/>
                  <a:pt x="6860596" y="1136769"/>
                  <a:pt x="6849795" y="1129563"/>
                </a:cubicBezTo>
                <a:cubicBezTo>
                  <a:pt x="6849795" y="1129563"/>
                  <a:pt x="6849795" y="1129563"/>
                  <a:pt x="6846193" y="1129563"/>
                </a:cubicBezTo>
                <a:cubicBezTo>
                  <a:pt x="6846193" y="1129563"/>
                  <a:pt x="6846193" y="1129563"/>
                  <a:pt x="6846193" y="1125960"/>
                </a:cubicBezTo>
                <a:cubicBezTo>
                  <a:pt x="6842591" y="1125960"/>
                  <a:pt x="6838994" y="1122356"/>
                  <a:pt x="6838994" y="1122356"/>
                </a:cubicBezTo>
                <a:cubicBezTo>
                  <a:pt x="6838994" y="1118753"/>
                  <a:pt x="6838994" y="1118753"/>
                  <a:pt x="6838994" y="1118753"/>
                </a:cubicBezTo>
                <a:cubicBezTo>
                  <a:pt x="6828193" y="1115151"/>
                  <a:pt x="6810190" y="1104341"/>
                  <a:pt x="6795790" y="1093531"/>
                </a:cubicBezTo>
                <a:cubicBezTo>
                  <a:pt x="6781388" y="1079117"/>
                  <a:pt x="6770585" y="1068307"/>
                  <a:pt x="6770588" y="1061101"/>
                </a:cubicBezTo>
                <a:cubicBezTo>
                  <a:pt x="6766987" y="1061101"/>
                  <a:pt x="6766986" y="1057497"/>
                  <a:pt x="6766986" y="1057497"/>
                </a:cubicBezTo>
                <a:cubicBezTo>
                  <a:pt x="6763386" y="1057497"/>
                  <a:pt x="6759786" y="1053894"/>
                  <a:pt x="6759786" y="1050291"/>
                </a:cubicBezTo>
                <a:cubicBezTo>
                  <a:pt x="6759786" y="1050291"/>
                  <a:pt x="6759786" y="1050291"/>
                  <a:pt x="6763386" y="1050291"/>
                </a:cubicBezTo>
                <a:cubicBezTo>
                  <a:pt x="6766987" y="1053894"/>
                  <a:pt x="6766987" y="1053894"/>
                  <a:pt x="6766987" y="1053894"/>
                </a:cubicBezTo>
                <a:cubicBezTo>
                  <a:pt x="6766987" y="1053894"/>
                  <a:pt x="6766987" y="1053894"/>
                  <a:pt x="6770588" y="1053894"/>
                </a:cubicBezTo>
                <a:cubicBezTo>
                  <a:pt x="6756185" y="1043084"/>
                  <a:pt x="6756185" y="1046688"/>
                  <a:pt x="6745385" y="1039481"/>
                </a:cubicBezTo>
                <a:cubicBezTo>
                  <a:pt x="6745385" y="1039481"/>
                  <a:pt x="6748983" y="1043084"/>
                  <a:pt x="6748983" y="1043084"/>
                </a:cubicBezTo>
                <a:cubicBezTo>
                  <a:pt x="6748983" y="1043084"/>
                  <a:pt x="6748983" y="1043084"/>
                  <a:pt x="6745385" y="1043084"/>
                </a:cubicBezTo>
                <a:cubicBezTo>
                  <a:pt x="6745385" y="1043084"/>
                  <a:pt x="6745385" y="1043084"/>
                  <a:pt x="6741784" y="1043084"/>
                </a:cubicBezTo>
                <a:cubicBezTo>
                  <a:pt x="6741784" y="1043084"/>
                  <a:pt x="6748985" y="1046688"/>
                  <a:pt x="6745385" y="1050291"/>
                </a:cubicBezTo>
                <a:cubicBezTo>
                  <a:pt x="6734584" y="1043084"/>
                  <a:pt x="6723783" y="1035878"/>
                  <a:pt x="6727382" y="1032275"/>
                </a:cubicBezTo>
                <a:cubicBezTo>
                  <a:pt x="6727382" y="1032275"/>
                  <a:pt x="6723783" y="1032275"/>
                  <a:pt x="6723785" y="1028671"/>
                </a:cubicBezTo>
                <a:cubicBezTo>
                  <a:pt x="6723783" y="1025068"/>
                  <a:pt x="6720182" y="1025068"/>
                  <a:pt x="6720182" y="1025068"/>
                </a:cubicBezTo>
                <a:lnTo>
                  <a:pt x="6719746" y="1025507"/>
                </a:lnTo>
                <a:lnTo>
                  <a:pt x="6640974" y="963812"/>
                </a:lnTo>
                <a:cubicBezTo>
                  <a:pt x="6640974" y="963812"/>
                  <a:pt x="6637376" y="963812"/>
                  <a:pt x="6637376" y="960209"/>
                </a:cubicBezTo>
                <a:cubicBezTo>
                  <a:pt x="6633774" y="960209"/>
                  <a:pt x="6630173" y="956607"/>
                  <a:pt x="6630173" y="956607"/>
                </a:cubicBezTo>
                <a:cubicBezTo>
                  <a:pt x="6630173" y="956607"/>
                  <a:pt x="6630173" y="956607"/>
                  <a:pt x="6633772" y="956607"/>
                </a:cubicBezTo>
                <a:cubicBezTo>
                  <a:pt x="6622972" y="953002"/>
                  <a:pt x="6604972" y="945797"/>
                  <a:pt x="6597771" y="945797"/>
                </a:cubicBezTo>
                <a:cubicBezTo>
                  <a:pt x="6601371" y="945797"/>
                  <a:pt x="6601371" y="945797"/>
                  <a:pt x="6604972" y="949399"/>
                </a:cubicBezTo>
                <a:cubicBezTo>
                  <a:pt x="6604972" y="949399"/>
                  <a:pt x="6604972" y="953002"/>
                  <a:pt x="6604972" y="953002"/>
                </a:cubicBezTo>
                <a:cubicBezTo>
                  <a:pt x="6601371" y="953002"/>
                  <a:pt x="6601371" y="953002"/>
                  <a:pt x="6597771" y="949399"/>
                </a:cubicBezTo>
                <a:lnTo>
                  <a:pt x="6596462" y="949399"/>
                </a:lnTo>
                <a:lnTo>
                  <a:pt x="6594621" y="948048"/>
                </a:lnTo>
                <a:cubicBezTo>
                  <a:pt x="6593269" y="946698"/>
                  <a:pt x="6592371" y="945797"/>
                  <a:pt x="6590570" y="945797"/>
                </a:cubicBezTo>
                <a:cubicBezTo>
                  <a:pt x="6594172" y="945797"/>
                  <a:pt x="6594172" y="949399"/>
                  <a:pt x="6594172" y="949399"/>
                </a:cubicBezTo>
                <a:lnTo>
                  <a:pt x="6596462" y="949399"/>
                </a:lnTo>
                <a:lnTo>
                  <a:pt x="6601371" y="953002"/>
                </a:lnTo>
                <a:cubicBezTo>
                  <a:pt x="6554567" y="938589"/>
                  <a:pt x="6504164" y="898954"/>
                  <a:pt x="6457358" y="880937"/>
                </a:cubicBezTo>
                <a:cubicBezTo>
                  <a:pt x="6457358" y="877334"/>
                  <a:pt x="6442960" y="870128"/>
                  <a:pt x="6439357" y="866524"/>
                </a:cubicBezTo>
                <a:cubicBezTo>
                  <a:pt x="6439357" y="870128"/>
                  <a:pt x="6439357" y="870128"/>
                  <a:pt x="6432157" y="870127"/>
                </a:cubicBezTo>
                <a:cubicBezTo>
                  <a:pt x="6432157" y="870127"/>
                  <a:pt x="6432157" y="866524"/>
                  <a:pt x="6428556" y="866524"/>
                </a:cubicBezTo>
                <a:cubicBezTo>
                  <a:pt x="6424957" y="866524"/>
                  <a:pt x="6424957" y="862921"/>
                  <a:pt x="6421355" y="862922"/>
                </a:cubicBezTo>
                <a:cubicBezTo>
                  <a:pt x="6385352" y="848510"/>
                  <a:pt x="6378151" y="837699"/>
                  <a:pt x="6360150" y="826889"/>
                </a:cubicBezTo>
                <a:cubicBezTo>
                  <a:pt x="6360150" y="826889"/>
                  <a:pt x="6363751" y="826890"/>
                  <a:pt x="6363751" y="830492"/>
                </a:cubicBezTo>
                <a:cubicBezTo>
                  <a:pt x="6363751" y="830492"/>
                  <a:pt x="6363751" y="834095"/>
                  <a:pt x="6360149" y="834095"/>
                </a:cubicBezTo>
                <a:cubicBezTo>
                  <a:pt x="6360149" y="834095"/>
                  <a:pt x="6356551" y="830493"/>
                  <a:pt x="6356551" y="830493"/>
                </a:cubicBezTo>
                <a:cubicBezTo>
                  <a:pt x="6352949" y="830492"/>
                  <a:pt x="6352949" y="830492"/>
                  <a:pt x="6352949" y="830492"/>
                </a:cubicBezTo>
                <a:cubicBezTo>
                  <a:pt x="6343949" y="830492"/>
                  <a:pt x="6328646" y="825087"/>
                  <a:pt x="6316047" y="818331"/>
                </a:cubicBezTo>
                <a:lnTo>
                  <a:pt x="6310544" y="812943"/>
                </a:lnTo>
                <a:lnTo>
                  <a:pt x="6309341" y="813999"/>
                </a:lnTo>
                <a:cubicBezTo>
                  <a:pt x="6308383" y="814696"/>
                  <a:pt x="6307468" y="815088"/>
                  <a:pt x="6306727" y="814935"/>
                </a:cubicBezTo>
                <a:cubicBezTo>
                  <a:pt x="6305987" y="814783"/>
                  <a:pt x="6305418" y="814086"/>
                  <a:pt x="6305159" y="812605"/>
                </a:cubicBezTo>
                <a:cubicBezTo>
                  <a:pt x="6305159" y="811909"/>
                  <a:pt x="6304984" y="811212"/>
                  <a:pt x="6304635" y="810515"/>
                </a:cubicBezTo>
                <a:cubicBezTo>
                  <a:pt x="6304286" y="809644"/>
                  <a:pt x="6304286" y="808251"/>
                  <a:pt x="6303065" y="808076"/>
                </a:cubicBezTo>
                <a:cubicBezTo>
                  <a:pt x="6302019" y="808076"/>
                  <a:pt x="6301322" y="808947"/>
                  <a:pt x="6300800" y="809644"/>
                </a:cubicBezTo>
                <a:cubicBezTo>
                  <a:pt x="6298187" y="812605"/>
                  <a:pt x="6297141" y="812432"/>
                  <a:pt x="6295574" y="808774"/>
                </a:cubicBezTo>
                <a:cubicBezTo>
                  <a:pt x="6295224" y="807902"/>
                  <a:pt x="6295049" y="807206"/>
                  <a:pt x="6294527" y="806508"/>
                </a:cubicBezTo>
                <a:cubicBezTo>
                  <a:pt x="6293831" y="805464"/>
                  <a:pt x="6293131" y="804593"/>
                  <a:pt x="6291390" y="805289"/>
                </a:cubicBezTo>
                <a:cubicBezTo>
                  <a:pt x="6289824" y="806161"/>
                  <a:pt x="6289824" y="806857"/>
                  <a:pt x="6290170" y="808251"/>
                </a:cubicBezTo>
                <a:lnTo>
                  <a:pt x="6290462" y="810886"/>
                </a:lnTo>
                <a:lnTo>
                  <a:pt x="6276844" y="797338"/>
                </a:lnTo>
                <a:lnTo>
                  <a:pt x="6277624" y="796232"/>
                </a:lnTo>
                <a:cubicBezTo>
                  <a:pt x="6277971" y="794664"/>
                  <a:pt x="6277447" y="793619"/>
                  <a:pt x="6276056" y="792923"/>
                </a:cubicBezTo>
                <a:cubicBezTo>
                  <a:pt x="6275009" y="792400"/>
                  <a:pt x="6273961" y="792051"/>
                  <a:pt x="6272917" y="791529"/>
                </a:cubicBezTo>
                <a:lnTo>
                  <a:pt x="6272760" y="791213"/>
                </a:lnTo>
                <a:lnTo>
                  <a:pt x="6250789" y="784550"/>
                </a:lnTo>
                <a:cubicBezTo>
                  <a:pt x="6235039" y="779145"/>
                  <a:pt x="6219737" y="772839"/>
                  <a:pt x="6208935" y="765633"/>
                </a:cubicBezTo>
                <a:cubicBezTo>
                  <a:pt x="6217936" y="767434"/>
                  <a:pt x="6229637" y="769236"/>
                  <a:pt x="6242689" y="771938"/>
                </a:cubicBezTo>
                <a:lnTo>
                  <a:pt x="6266377" y="778566"/>
                </a:lnTo>
                <a:lnTo>
                  <a:pt x="6264029" y="773935"/>
                </a:lnTo>
                <a:cubicBezTo>
                  <a:pt x="6263157" y="773413"/>
                  <a:pt x="6261244" y="773588"/>
                  <a:pt x="6261589" y="772020"/>
                </a:cubicBezTo>
                <a:cubicBezTo>
                  <a:pt x="6261763" y="770452"/>
                  <a:pt x="6263334" y="770104"/>
                  <a:pt x="6264902" y="769930"/>
                </a:cubicBezTo>
                <a:cubicBezTo>
                  <a:pt x="6265075" y="769930"/>
                  <a:pt x="6265251" y="769930"/>
                  <a:pt x="6265423" y="769930"/>
                </a:cubicBezTo>
                <a:cubicBezTo>
                  <a:pt x="6269606" y="769233"/>
                  <a:pt x="6270828" y="767317"/>
                  <a:pt x="6268733" y="764008"/>
                </a:cubicBezTo>
                <a:cubicBezTo>
                  <a:pt x="6266820" y="760872"/>
                  <a:pt x="6267342" y="758433"/>
                  <a:pt x="6269085" y="755820"/>
                </a:cubicBezTo>
                <a:cubicBezTo>
                  <a:pt x="6271351" y="752336"/>
                  <a:pt x="6273092" y="748678"/>
                  <a:pt x="6272045" y="744324"/>
                </a:cubicBezTo>
                <a:cubicBezTo>
                  <a:pt x="6271523" y="742407"/>
                  <a:pt x="6273440" y="741537"/>
                  <a:pt x="6274660" y="741188"/>
                </a:cubicBezTo>
                <a:cubicBezTo>
                  <a:pt x="6279191" y="739621"/>
                  <a:pt x="6281283" y="736660"/>
                  <a:pt x="6281805" y="732131"/>
                </a:cubicBezTo>
                <a:cubicBezTo>
                  <a:pt x="6282155" y="729344"/>
                  <a:pt x="6283199" y="728822"/>
                  <a:pt x="6285989" y="730563"/>
                </a:cubicBezTo>
                <a:cubicBezTo>
                  <a:pt x="6291913" y="734221"/>
                  <a:pt x="6300627" y="731608"/>
                  <a:pt x="6303242" y="725511"/>
                </a:cubicBezTo>
                <a:cubicBezTo>
                  <a:pt x="6303765" y="724292"/>
                  <a:pt x="6304461" y="722725"/>
                  <a:pt x="6303242" y="721680"/>
                </a:cubicBezTo>
                <a:cubicBezTo>
                  <a:pt x="6302019" y="720634"/>
                  <a:pt x="6300278" y="720112"/>
                  <a:pt x="6298709" y="721157"/>
                </a:cubicBezTo>
                <a:cubicBezTo>
                  <a:pt x="6297665" y="721680"/>
                  <a:pt x="6296617" y="722551"/>
                  <a:pt x="6295574" y="723247"/>
                </a:cubicBezTo>
                <a:cubicBezTo>
                  <a:pt x="6294527" y="724119"/>
                  <a:pt x="6293482" y="724641"/>
                  <a:pt x="6292608" y="723596"/>
                </a:cubicBezTo>
                <a:cubicBezTo>
                  <a:pt x="6291566" y="722376"/>
                  <a:pt x="6292259" y="721331"/>
                  <a:pt x="6293131" y="720461"/>
                </a:cubicBezTo>
                <a:cubicBezTo>
                  <a:pt x="6293831" y="719589"/>
                  <a:pt x="6294876" y="718893"/>
                  <a:pt x="6295574" y="718195"/>
                </a:cubicBezTo>
                <a:cubicBezTo>
                  <a:pt x="6297141" y="716628"/>
                  <a:pt x="6298013" y="714537"/>
                  <a:pt x="6296444" y="712796"/>
                </a:cubicBezTo>
                <a:cubicBezTo>
                  <a:pt x="6295049" y="711402"/>
                  <a:pt x="6293131" y="712796"/>
                  <a:pt x="6291738" y="713841"/>
                </a:cubicBezTo>
                <a:cubicBezTo>
                  <a:pt x="6290517" y="714712"/>
                  <a:pt x="6289647" y="716280"/>
                  <a:pt x="6288080" y="716803"/>
                </a:cubicBezTo>
                <a:cubicBezTo>
                  <a:pt x="6285815" y="717673"/>
                  <a:pt x="6284420" y="717325"/>
                  <a:pt x="6284594" y="714537"/>
                </a:cubicBezTo>
                <a:cubicBezTo>
                  <a:pt x="6284769" y="710706"/>
                  <a:pt x="6286335" y="707570"/>
                  <a:pt x="6288427" y="704610"/>
                </a:cubicBezTo>
                <a:cubicBezTo>
                  <a:pt x="6291041" y="700777"/>
                  <a:pt x="6291217" y="698687"/>
                  <a:pt x="6288427" y="695029"/>
                </a:cubicBezTo>
                <a:cubicBezTo>
                  <a:pt x="6287556" y="693636"/>
                  <a:pt x="6286161" y="692416"/>
                  <a:pt x="6284943" y="691197"/>
                </a:cubicBezTo>
                <a:cubicBezTo>
                  <a:pt x="6284420" y="690674"/>
                  <a:pt x="6283547" y="690152"/>
                  <a:pt x="6283898" y="689280"/>
                </a:cubicBezTo>
                <a:cubicBezTo>
                  <a:pt x="6284245" y="688235"/>
                  <a:pt x="6285117" y="688061"/>
                  <a:pt x="6285815" y="688235"/>
                </a:cubicBezTo>
                <a:cubicBezTo>
                  <a:pt x="6288951" y="688933"/>
                  <a:pt x="6289647" y="687539"/>
                  <a:pt x="6289475" y="684752"/>
                </a:cubicBezTo>
                <a:cubicBezTo>
                  <a:pt x="6289298" y="681268"/>
                  <a:pt x="6291566" y="678829"/>
                  <a:pt x="6294004" y="676914"/>
                </a:cubicBezTo>
                <a:cubicBezTo>
                  <a:pt x="6295921" y="675346"/>
                  <a:pt x="6296096" y="674127"/>
                  <a:pt x="6294179" y="672733"/>
                </a:cubicBezTo>
                <a:cubicBezTo>
                  <a:pt x="6293131" y="672037"/>
                  <a:pt x="6292437" y="671339"/>
                  <a:pt x="6292785" y="669946"/>
                </a:cubicBezTo>
                <a:cubicBezTo>
                  <a:pt x="6293131" y="668030"/>
                  <a:pt x="6294527" y="668379"/>
                  <a:pt x="6295747" y="668030"/>
                </a:cubicBezTo>
                <a:cubicBezTo>
                  <a:pt x="6296444" y="667856"/>
                  <a:pt x="6297314" y="667856"/>
                  <a:pt x="6298187" y="667681"/>
                </a:cubicBezTo>
                <a:cubicBezTo>
                  <a:pt x="6302893" y="667159"/>
                  <a:pt x="6303937" y="664546"/>
                  <a:pt x="6301149" y="660540"/>
                </a:cubicBezTo>
                <a:cubicBezTo>
                  <a:pt x="6300800" y="660018"/>
                  <a:pt x="6300451" y="659669"/>
                  <a:pt x="6300278" y="659146"/>
                </a:cubicBezTo>
                <a:cubicBezTo>
                  <a:pt x="6299756" y="658101"/>
                  <a:pt x="6299407" y="656707"/>
                  <a:pt x="6300451" y="656011"/>
                </a:cubicBezTo>
                <a:cubicBezTo>
                  <a:pt x="6301322" y="655315"/>
                  <a:pt x="6302543" y="656011"/>
                  <a:pt x="6303242" y="656707"/>
                </a:cubicBezTo>
                <a:cubicBezTo>
                  <a:pt x="6303937" y="657405"/>
                  <a:pt x="6304461" y="658101"/>
                  <a:pt x="6304984" y="658973"/>
                </a:cubicBezTo>
                <a:cubicBezTo>
                  <a:pt x="6306030" y="660191"/>
                  <a:pt x="6307074" y="660540"/>
                  <a:pt x="6308469" y="659495"/>
                </a:cubicBezTo>
                <a:cubicBezTo>
                  <a:pt x="6311781" y="657230"/>
                  <a:pt x="6315442" y="656882"/>
                  <a:pt x="6319100" y="656707"/>
                </a:cubicBezTo>
                <a:cubicBezTo>
                  <a:pt x="6323458" y="656360"/>
                  <a:pt x="6327989" y="656882"/>
                  <a:pt x="6332346" y="655837"/>
                </a:cubicBezTo>
                <a:cubicBezTo>
                  <a:pt x="6333913" y="655488"/>
                  <a:pt x="6334783" y="656534"/>
                  <a:pt x="6335484" y="657405"/>
                </a:cubicBezTo>
                <a:cubicBezTo>
                  <a:pt x="6337921" y="660191"/>
                  <a:pt x="6340189" y="662978"/>
                  <a:pt x="6344544" y="661585"/>
                </a:cubicBezTo>
                <a:cubicBezTo>
                  <a:pt x="6345415" y="661410"/>
                  <a:pt x="6345940" y="662108"/>
                  <a:pt x="6346287" y="662804"/>
                </a:cubicBezTo>
                <a:cubicBezTo>
                  <a:pt x="6348203" y="666288"/>
                  <a:pt x="6351340" y="669075"/>
                  <a:pt x="6353955" y="672037"/>
                </a:cubicBezTo>
                <a:cubicBezTo>
                  <a:pt x="6357964" y="676565"/>
                  <a:pt x="6360230" y="681617"/>
                  <a:pt x="6358662" y="687713"/>
                </a:cubicBezTo>
                <a:cubicBezTo>
                  <a:pt x="6358136" y="690152"/>
                  <a:pt x="6359531" y="691719"/>
                  <a:pt x="6360927" y="693113"/>
                </a:cubicBezTo>
                <a:cubicBezTo>
                  <a:pt x="6364064" y="696423"/>
                  <a:pt x="6363888" y="698164"/>
                  <a:pt x="6360403" y="700777"/>
                </a:cubicBezTo>
                <a:cubicBezTo>
                  <a:pt x="6356568" y="703390"/>
                  <a:pt x="6356568" y="703390"/>
                  <a:pt x="6359706" y="707223"/>
                </a:cubicBezTo>
                <a:cubicBezTo>
                  <a:pt x="6360403" y="708093"/>
                  <a:pt x="6360927" y="708789"/>
                  <a:pt x="6359880" y="709834"/>
                </a:cubicBezTo>
                <a:cubicBezTo>
                  <a:pt x="6356393" y="713841"/>
                  <a:pt x="6353259" y="717848"/>
                  <a:pt x="6349597" y="721680"/>
                </a:cubicBezTo>
                <a:cubicBezTo>
                  <a:pt x="6346983" y="724641"/>
                  <a:pt x="6343675" y="726557"/>
                  <a:pt x="6339838" y="727428"/>
                </a:cubicBezTo>
                <a:cubicBezTo>
                  <a:pt x="6337399" y="728124"/>
                  <a:pt x="6332693" y="734395"/>
                  <a:pt x="6332518" y="737008"/>
                </a:cubicBezTo>
                <a:cubicBezTo>
                  <a:pt x="6332518" y="737879"/>
                  <a:pt x="6332518" y="738576"/>
                  <a:pt x="6333566" y="738924"/>
                </a:cubicBezTo>
                <a:cubicBezTo>
                  <a:pt x="6338967" y="741362"/>
                  <a:pt x="6341583" y="746065"/>
                  <a:pt x="6343847" y="751117"/>
                </a:cubicBezTo>
                <a:cubicBezTo>
                  <a:pt x="6344370" y="752162"/>
                  <a:pt x="6344718" y="753034"/>
                  <a:pt x="6345241" y="753904"/>
                </a:cubicBezTo>
                <a:cubicBezTo>
                  <a:pt x="6346983" y="756692"/>
                  <a:pt x="6347855" y="759130"/>
                  <a:pt x="6346636" y="762614"/>
                </a:cubicBezTo>
                <a:cubicBezTo>
                  <a:pt x="6345415" y="766098"/>
                  <a:pt x="6347335" y="769581"/>
                  <a:pt x="6349076" y="772716"/>
                </a:cubicBezTo>
                <a:cubicBezTo>
                  <a:pt x="6349774" y="774284"/>
                  <a:pt x="6350121" y="775329"/>
                  <a:pt x="6348902" y="776897"/>
                </a:cubicBezTo>
                <a:cubicBezTo>
                  <a:pt x="6344021" y="783517"/>
                  <a:pt x="6340364" y="790832"/>
                  <a:pt x="6339665" y="799367"/>
                </a:cubicBezTo>
                <a:cubicBezTo>
                  <a:pt x="6339487" y="800586"/>
                  <a:pt x="6339142" y="801109"/>
                  <a:pt x="6337921" y="800761"/>
                </a:cubicBezTo>
                <a:lnTo>
                  <a:pt x="6327385" y="805767"/>
                </a:lnTo>
                <a:lnTo>
                  <a:pt x="6338547" y="816079"/>
                </a:lnTo>
                <a:cubicBezTo>
                  <a:pt x="6338547" y="812475"/>
                  <a:pt x="6338547" y="812475"/>
                  <a:pt x="6342149" y="812475"/>
                </a:cubicBezTo>
                <a:cubicBezTo>
                  <a:pt x="6345750" y="816079"/>
                  <a:pt x="6352950" y="816080"/>
                  <a:pt x="6352949" y="819682"/>
                </a:cubicBezTo>
                <a:cubicBezTo>
                  <a:pt x="6352949" y="819682"/>
                  <a:pt x="6356551" y="819683"/>
                  <a:pt x="6356549" y="823285"/>
                </a:cubicBezTo>
                <a:cubicBezTo>
                  <a:pt x="6356549" y="823285"/>
                  <a:pt x="6356549" y="823285"/>
                  <a:pt x="6356551" y="819683"/>
                </a:cubicBezTo>
                <a:cubicBezTo>
                  <a:pt x="6363751" y="812476"/>
                  <a:pt x="6385352" y="826890"/>
                  <a:pt x="6410555" y="841303"/>
                </a:cubicBezTo>
                <a:cubicBezTo>
                  <a:pt x="6410555" y="841303"/>
                  <a:pt x="6410555" y="841303"/>
                  <a:pt x="6414155" y="841302"/>
                </a:cubicBezTo>
                <a:cubicBezTo>
                  <a:pt x="6414155" y="837699"/>
                  <a:pt x="6414155" y="837699"/>
                  <a:pt x="6417757" y="841302"/>
                </a:cubicBezTo>
                <a:cubicBezTo>
                  <a:pt x="6417757" y="841302"/>
                  <a:pt x="6421355" y="841302"/>
                  <a:pt x="6421355" y="841302"/>
                </a:cubicBezTo>
                <a:cubicBezTo>
                  <a:pt x="6421355" y="844904"/>
                  <a:pt x="6421355" y="844904"/>
                  <a:pt x="6421355" y="844904"/>
                </a:cubicBezTo>
                <a:cubicBezTo>
                  <a:pt x="6421355" y="844904"/>
                  <a:pt x="6421355" y="844904"/>
                  <a:pt x="6424958" y="841302"/>
                </a:cubicBezTo>
                <a:cubicBezTo>
                  <a:pt x="6432157" y="844904"/>
                  <a:pt x="6435755" y="841302"/>
                  <a:pt x="6453761" y="848508"/>
                </a:cubicBezTo>
                <a:cubicBezTo>
                  <a:pt x="6453760" y="841302"/>
                  <a:pt x="6432157" y="834095"/>
                  <a:pt x="6442960" y="830492"/>
                </a:cubicBezTo>
                <a:cubicBezTo>
                  <a:pt x="6446556" y="832294"/>
                  <a:pt x="6448359" y="832294"/>
                  <a:pt x="6450159" y="832294"/>
                </a:cubicBezTo>
                <a:lnTo>
                  <a:pt x="6453760" y="833194"/>
                </a:lnTo>
                <a:lnTo>
                  <a:pt x="6453761" y="834095"/>
                </a:lnTo>
                <a:cubicBezTo>
                  <a:pt x="6457356" y="834095"/>
                  <a:pt x="6457356" y="834095"/>
                  <a:pt x="6457356" y="834095"/>
                </a:cubicBezTo>
                <a:lnTo>
                  <a:pt x="6453760" y="833194"/>
                </a:lnTo>
                <a:lnTo>
                  <a:pt x="6453760" y="830492"/>
                </a:lnTo>
                <a:cubicBezTo>
                  <a:pt x="6453760" y="830492"/>
                  <a:pt x="6457358" y="830492"/>
                  <a:pt x="6457358" y="830492"/>
                </a:cubicBezTo>
                <a:cubicBezTo>
                  <a:pt x="6460959" y="830492"/>
                  <a:pt x="6460959" y="830492"/>
                  <a:pt x="6460959" y="830492"/>
                </a:cubicBezTo>
                <a:cubicBezTo>
                  <a:pt x="6464559" y="834095"/>
                  <a:pt x="6471759" y="837699"/>
                  <a:pt x="6478961" y="841302"/>
                </a:cubicBezTo>
                <a:cubicBezTo>
                  <a:pt x="6478961" y="841302"/>
                  <a:pt x="6482560" y="844904"/>
                  <a:pt x="6482560" y="844904"/>
                </a:cubicBezTo>
                <a:cubicBezTo>
                  <a:pt x="6482560" y="844904"/>
                  <a:pt x="6486164" y="844904"/>
                  <a:pt x="6489761" y="848508"/>
                </a:cubicBezTo>
                <a:cubicBezTo>
                  <a:pt x="6489761" y="848508"/>
                  <a:pt x="6493362" y="848508"/>
                  <a:pt x="6493362" y="852112"/>
                </a:cubicBezTo>
                <a:cubicBezTo>
                  <a:pt x="6489761" y="852112"/>
                  <a:pt x="6489761" y="852112"/>
                  <a:pt x="6486162" y="848508"/>
                </a:cubicBezTo>
                <a:cubicBezTo>
                  <a:pt x="6486162" y="848508"/>
                  <a:pt x="6482560" y="848508"/>
                  <a:pt x="6478959" y="844904"/>
                </a:cubicBezTo>
                <a:cubicBezTo>
                  <a:pt x="6486162" y="852112"/>
                  <a:pt x="6493362" y="855714"/>
                  <a:pt x="6496963" y="862921"/>
                </a:cubicBezTo>
                <a:cubicBezTo>
                  <a:pt x="6493362" y="866524"/>
                  <a:pt x="6482560" y="862921"/>
                  <a:pt x="6486164" y="873731"/>
                </a:cubicBezTo>
                <a:cubicBezTo>
                  <a:pt x="6540163" y="898954"/>
                  <a:pt x="6583371" y="916970"/>
                  <a:pt x="6633774" y="953002"/>
                </a:cubicBezTo>
                <a:cubicBezTo>
                  <a:pt x="6637376" y="953002"/>
                  <a:pt x="6637376" y="953002"/>
                  <a:pt x="6640974" y="956607"/>
                </a:cubicBezTo>
                <a:cubicBezTo>
                  <a:pt x="6644573" y="956607"/>
                  <a:pt x="6644573" y="960209"/>
                  <a:pt x="6644573" y="960209"/>
                </a:cubicBezTo>
                <a:cubicBezTo>
                  <a:pt x="6662578" y="967416"/>
                  <a:pt x="6684180" y="981829"/>
                  <a:pt x="6702181" y="996241"/>
                </a:cubicBezTo>
                <a:cubicBezTo>
                  <a:pt x="6720182" y="1003449"/>
                  <a:pt x="6748983" y="1017861"/>
                  <a:pt x="6774188" y="1039481"/>
                </a:cubicBezTo>
                <a:cubicBezTo>
                  <a:pt x="6802991" y="1057497"/>
                  <a:pt x="6828193" y="1079117"/>
                  <a:pt x="6842593" y="1093530"/>
                </a:cubicBezTo>
                <a:cubicBezTo>
                  <a:pt x="6874996" y="1118753"/>
                  <a:pt x="6911000" y="1147579"/>
                  <a:pt x="6943402" y="1172803"/>
                </a:cubicBezTo>
                <a:lnTo>
                  <a:pt x="6948504" y="1177734"/>
                </a:lnTo>
                <a:lnTo>
                  <a:pt x="6951854" y="1167214"/>
                </a:lnTo>
                <a:cubicBezTo>
                  <a:pt x="6953786" y="1165284"/>
                  <a:pt x="6955719" y="1163741"/>
                  <a:pt x="6956495" y="1161040"/>
                </a:cubicBezTo>
                <a:cubicBezTo>
                  <a:pt x="6957265" y="1156795"/>
                  <a:pt x="6959585" y="1154480"/>
                  <a:pt x="6963833" y="1154866"/>
                </a:cubicBezTo>
                <a:cubicBezTo>
                  <a:pt x="6966922" y="1154866"/>
                  <a:pt x="6969240" y="1152936"/>
                  <a:pt x="6970403" y="1151393"/>
                </a:cubicBezTo>
                <a:cubicBezTo>
                  <a:pt x="6976973" y="1142132"/>
                  <a:pt x="6986631" y="1147149"/>
                  <a:pt x="6994748" y="1145991"/>
                </a:cubicBezTo>
                <a:cubicBezTo>
                  <a:pt x="6998225" y="1145605"/>
                  <a:pt x="7005565" y="1143675"/>
                  <a:pt x="7007110" y="1146377"/>
                </a:cubicBezTo>
                <a:cubicBezTo>
                  <a:pt x="7011746" y="1154094"/>
                  <a:pt x="7023722" y="1151007"/>
                  <a:pt x="7026426" y="1161425"/>
                </a:cubicBezTo>
                <a:cubicBezTo>
                  <a:pt x="7027198" y="1164512"/>
                  <a:pt x="7032607" y="1166442"/>
                  <a:pt x="7027586" y="1170687"/>
                </a:cubicBezTo>
                <a:cubicBezTo>
                  <a:pt x="7026039" y="1171845"/>
                  <a:pt x="7026426" y="1174159"/>
                  <a:pt x="7027973" y="1174545"/>
                </a:cubicBezTo>
                <a:cubicBezTo>
                  <a:pt x="7034153" y="1176861"/>
                  <a:pt x="7033766" y="1180334"/>
                  <a:pt x="7029903" y="1184964"/>
                </a:cubicBezTo>
                <a:cubicBezTo>
                  <a:pt x="7028744" y="1186507"/>
                  <a:pt x="7030290" y="1188437"/>
                  <a:pt x="7031062" y="1189981"/>
                </a:cubicBezTo>
                <a:cubicBezTo>
                  <a:pt x="7032607" y="1192296"/>
                  <a:pt x="7032993" y="1194612"/>
                  <a:pt x="7030677" y="1196541"/>
                </a:cubicBezTo>
                <a:cubicBezTo>
                  <a:pt x="7028359" y="1198470"/>
                  <a:pt x="7028744" y="1200785"/>
                  <a:pt x="7027973" y="1203101"/>
                </a:cubicBezTo>
                <a:cubicBezTo>
                  <a:pt x="7026039" y="1208888"/>
                  <a:pt x="7023722" y="1216220"/>
                  <a:pt x="7019470" y="1218922"/>
                </a:cubicBezTo>
                <a:lnTo>
                  <a:pt x="6997569" y="1232784"/>
                </a:lnTo>
                <a:lnTo>
                  <a:pt x="7008208" y="1248471"/>
                </a:lnTo>
                <a:cubicBezTo>
                  <a:pt x="7004609" y="1244867"/>
                  <a:pt x="7001005" y="1241264"/>
                  <a:pt x="6997405" y="1237661"/>
                </a:cubicBezTo>
                <a:cubicBezTo>
                  <a:pt x="6997405" y="1237661"/>
                  <a:pt x="6997405" y="1237661"/>
                  <a:pt x="7001005" y="1244867"/>
                </a:cubicBezTo>
                <a:cubicBezTo>
                  <a:pt x="7004609" y="1244867"/>
                  <a:pt x="7004609" y="1248471"/>
                  <a:pt x="7004609" y="1248471"/>
                </a:cubicBezTo>
                <a:cubicBezTo>
                  <a:pt x="7001005" y="1248471"/>
                  <a:pt x="7001005" y="1248471"/>
                  <a:pt x="6997406" y="1244867"/>
                </a:cubicBezTo>
                <a:cubicBezTo>
                  <a:pt x="6997406" y="1244867"/>
                  <a:pt x="6997406" y="1244867"/>
                  <a:pt x="6993807" y="1244867"/>
                </a:cubicBezTo>
                <a:cubicBezTo>
                  <a:pt x="7019007" y="1270091"/>
                  <a:pt x="7047811" y="1298916"/>
                  <a:pt x="7076615" y="1320535"/>
                </a:cubicBezTo>
                <a:cubicBezTo>
                  <a:pt x="7082016" y="1333147"/>
                  <a:pt x="7092814" y="1347560"/>
                  <a:pt x="7104966" y="1362874"/>
                </a:cubicBezTo>
                <a:lnTo>
                  <a:pt x="7133764" y="1400593"/>
                </a:lnTo>
                <a:lnTo>
                  <a:pt x="7148176" y="1392974"/>
                </a:lnTo>
                <a:cubicBezTo>
                  <a:pt x="7166654" y="1366917"/>
                  <a:pt x="7193833" y="1381032"/>
                  <a:pt x="7216664" y="1377774"/>
                </a:cubicBezTo>
                <a:cubicBezTo>
                  <a:pt x="7226446" y="1376688"/>
                  <a:pt x="7247104" y="1371260"/>
                  <a:pt x="7251450" y="1378861"/>
                </a:cubicBezTo>
                <a:cubicBezTo>
                  <a:pt x="7264496" y="1400574"/>
                  <a:pt x="7298195" y="1391889"/>
                  <a:pt x="7305807" y="1421204"/>
                </a:cubicBezTo>
                <a:cubicBezTo>
                  <a:pt x="7307981" y="1429890"/>
                  <a:pt x="7323200" y="1435318"/>
                  <a:pt x="7309068" y="1447261"/>
                </a:cubicBezTo>
                <a:lnTo>
                  <a:pt x="7309326" y="1449835"/>
                </a:lnTo>
                <a:lnTo>
                  <a:pt x="7350188" y="1406717"/>
                </a:lnTo>
                <a:cubicBezTo>
                  <a:pt x="7395815" y="1360304"/>
                  <a:pt x="7443866" y="1316358"/>
                  <a:pt x="7498986" y="1279882"/>
                </a:cubicBezTo>
                <a:lnTo>
                  <a:pt x="7534700" y="1257005"/>
                </a:lnTo>
                <a:lnTo>
                  <a:pt x="7527867" y="1250208"/>
                </a:lnTo>
                <a:lnTo>
                  <a:pt x="7528782" y="1248911"/>
                </a:lnTo>
                <a:cubicBezTo>
                  <a:pt x="7529190" y="1247071"/>
                  <a:pt x="7528588" y="1245844"/>
                  <a:pt x="7526944" y="1245027"/>
                </a:cubicBezTo>
                <a:cubicBezTo>
                  <a:pt x="7525715" y="1244414"/>
                  <a:pt x="7524499" y="1244005"/>
                  <a:pt x="7523274" y="1243392"/>
                </a:cubicBezTo>
                <a:cubicBezTo>
                  <a:pt x="7521221" y="1242370"/>
                  <a:pt x="7520400" y="1240940"/>
                  <a:pt x="7520810" y="1238486"/>
                </a:cubicBezTo>
                <a:cubicBezTo>
                  <a:pt x="7522041" y="1231129"/>
                  <a:pt x="7519385" y="1226019"/>
                  <a:pt x="7512842" y="1222749"/>
                </a:cubicBezTo>
                <a:cubicBezTo>
                  <a:pt x="7511825" y="1222136"/>
                  <a:pt x="7509573" y="1222340"/>
                  <a:pt x="7509977" y="1220502"/>
                </a:cubicBezTo>
                <a:cubicBezTo>
                  <a:pt x="7510185" y="1218662"/>
                  <a:pt x="7512021" y="1218253"/>
                  <a:pt x="7513857" y="1218048"/>
                </a:cubicBezTo>
                <a:cubicBezTo>
                  <a:pt x="7514073" y="1218048"/>
                  <a:pt x="7514268" y="1218048"/>
                  <a:pt x="7514485" y="1218048"/>
                </a:cubicBezTo>
                <a:cubicBezTo>
                  <a:pt x="7519385" y="1217232"/>
                  <a:pt x="7520810" y="1214983"/>
                  <a:pt x="7518364" y="1211100"/>
                </a:cubicBezTo>
                <a:cubicBezTo>
                  <a:pt x="7516110" y="1207421"/>
                  <a:pt x="7516732" y="1204560"/>
                  <a:pt x="7518766" y="1201495"/>
                </a:cubicBezTo>
                <a:cubicBezTo>
                  <a:pt x="7521433" y="1197407"/>
                  <a:pt x="7523468" y="1193115"/>
                  <a:pt x="7522241" y="1188005"/>
                </a:cubicBezTo>
                <a:cubicBezTo>
                  <a:pt x="7521631" y="1185757"/>
                  <a:pt x="7523877" y="1184735"/>
                  <a:pt x="7525310" y="1184326"/>
                </a:cubicBezTo>
                <a:cubicBezTo>
                  <a:pt x="7530632" y="1182488"/>
                  <a:pt x="7533079" y="1179012"/>
                  <a:pt x="7533699" y="1173699"/>
                </a:cubicBezTo>
                <a:cubicBezTo>
                  <a:pt x="7534101" y="1170429"/>
                  <a:pt x="7535324" y="1169816"/>
                  <a:pt x="7538609" y="1171859"/>
                </a:cubicBezTo>
                <a:cubicBezTo>
                  <a:pt x="7545562" y="1176151"/>
                  <a:pt x="7555778" y="1173086"/>
                  <a:pt x="7558845" y="1165933"/>
                </a:cubicBezTo>
                <a:cubicBezTo>
                  <a:pt x="7559455" y="1164502"/>
                  <a:pt x="7560275" y="1162663"/>
                  <a:pt x="7558845" y="1161436"/>
                </a:cubicBezTo>
                <a:cubicBezTo>
                  <a:pt x="7557421" y="1160209"/>
                  <a:pt x="7555366" y="1159596"/>
                  <a:pt x="7553535" y="1160823"/>
                </a:cubicBezTo>
                <a:cubicBezTo>
                  <a:pt x="7552298" y="1161436"/>
                  <a:pt x="7551069" y="1162458"/>
                  <a:pt x="7549843" y="1163276"/>
                </a:cubicBezTo>
                <a:cubicBezTo>
                  <a:pt x="7548626" y="1164297"/>
                  <a:pt x="7547401" y="1164910"/>
                  <a:pt x="7546376" y="1163684"/>
                </a:cubicBezTo>
                <a:cubicBezTo>
                  <a:pt x="7545152" y="1162254"/>
                  <a:pt x="7545967" y="1161027"/>
                  <a:pt x="7546988" y="1160005"/>
                </a:cubicBezTo>
                <a:cubicBezTo>
                  <a:pt x="7547809" y="1158984"/>
                  <a:pt x="7549040" y="1158166"/>
                  <a:pt x="7549843" y="1157348"/>
                </a:cubicBezTo>
                <a:cubicBezTo>
                  <a:pt x="7551696" y="1155510"/>
                  <a:pt x="7552712" y="1153056"/>
                  <a:pt x="7550877" y="1151013"/>
                </a:cubicBezTo>
                <a:cubicBezTo>
                  <a:pt x="7549231" y="1149378"/>
                  <a:pt x="7546988" y="1151013"/>
                  <a:pt x="7545341" y="1152239"/>
                </a:cubicBezTo>
                <a:cubicBezTo>
                  <a:pt x="7543918" y="1153261"/>
                  <a:pt x="7542899" y="1155101"/>
                  <a:pt x="7541048" y="1155713"/>
                </a:cubicBezTo>
                <a:cubicBezTo>
                  <a:pt x="7538392" y="1156735"/>
                  <a:pt x="7536767" y="1156326"/>
                  <a:pt x="7536967" y="1153056"/>
                </a:cubicBezTo>
                <a:cubicBezTo>
                  <a:pt x="7537167" y="1148560"/>
                  <a:pt x="7539019" y="1144881"/>
                  <a:pt x="7541460" y="1141407"/>
                </a:cubicBezTo>
                <a:cubicBezTo>
                  <a:pt x="7544526" y="1136910"/>
                  <a:pt x="7544745" y="1134458"/>
                  <a:pt x="7541460" y="1130166"/>
                </a:cubicBezTo>
                <a:cubicBezTo>
                  <a:pt x="7540443" y="1128531"/>
                  <a:pt x="7538803" y="1127101"/>
                  <a:pt x="7537376" y="1125670"/>
                </a:cubicBezTo>
                <a:cubicBezTo>
                  <a:pt x="7536767" y="1125056"/>
                  <a:pt x="7535733" y="1124444"/>
                  <a:pt x="7536141" y="1123422"/>
                </a:cubicBezTo>
                <a:cubicBezTo>
                  <a:pt x="7536552" y="1122195"/>
                  <a:pt x="7537576" y="1121991"/>
                  <a:pt x="7538392" y="1122195"/>
                </a:cubicBezTo>
                <a:cubicBezTo>
                  <a:pt x="7542087" y="1123013"/>
                  <a:pt x="7542899" y="1121378"/>
                  <a:pt x="7542687" y="1118108"/>
                </a:cubicBezTo>
                <a:cubicBezTo>
                  <a:pt x="7542496" y="1114020"/>
                  <a:pt x="7545152" y="1111159"/>
                  <a:pt x="7548005" y="1108910"/>
                </a:cubicBezTo>
                <a:cubicBezTo>
                  <a:pt x="7550254" y="1107072"/>
                  <a:pt x="7550466" y="1105640"/>
                  <a:pt x="7548220" y="1104006"/>
                </a:cubicBezTo>
                <a:cubicBezTo>
                  <a:pt x="7546988" y="1103188"/>
                  <a:pt x="7546165" y="1102371"/>
                  <a:pt x="7546575" y="1100736"/>
                </a:cubicBezTo>
                <a:cubicBezTo>
                  <a:pt x="7546988" y="1098487"/>
                  <a:pt x="7548626" y="1098896"/>
                  <a:pt x="7550056" y="1098487"/>
                </a:cubicBezTo>
                <a:cubicBezTo>
                  <a:pt x="7550877" y="1098283"/>
                  <a:pt x="7551890" y="1098283"/>
                  <a:pt x="7552912" y="1098079"/>
                </a:cubicBezTo>
                <a:cubicBezTo>
                  <a:pt x="7558434" y="1097465"/>
                  <a:pt x="7559672" y="1094400"/>
                  <a:pt x="7556386" y="1089699"/>
                </a:cubicBezTo>
                <a:cubicBezTo>
                  <a:pt x="7555976" y="1089087"/>
                  <a:pt x="7555570" y="1088678"/>
                  <a:pt x="7555366" y="1088064"/>
                </a:cubicBezTo>
                <a:cubicBezTo>
                  <a:pt x="7554764" y="1086838"/>
                  <a:pt x="7554354" y="1085203"/>
                  <a:pt x="7555570" y="1084386"/>
                </a:cubicBezTo>
                <a:cubicBezTo>
                  <a:pt x="7556602" y="1083568"/>
                  <a:pt x="7558024" y="1084386"/>
                  <a:pt x="7558845" y="1085203"/>
                </a:cubicBezTo>
                <a:cubicBezTo>
                  <a:pt x="7559672" y="1086020"/>
                  <a:pt x="7560275" y="1086838"/>
                  <a:pt x="7560900" y="1087860"/>
                </a:cubicBezTo>
                <a:cubicBezTo>
                  <a:pt x="7562119" y="1089291"/>
                  <a:pt x="7563341" y="1089699"/>
                  <a:pt x="7564981" y="1088473"/>
                </a:cubicBezTo>
                <a:cubicBezTo>
                  <a:pt x="7568875" y="1085816"/>
                  <a:pt x="7573170" y="1085408"/>
                  <a:pt x="7577466" y="1085203"/>
                </a:cubicBezTo>
                <a:cubicBezTo>
                  <a:pt x="7582565" y="1084795"/>
                  <a:pt x="7587878" y="1085408"/>
                  <a:pt x="7592997" y="1084181"/>
                </a:cubicBezTo>
                <a:cubicBezTo>
                  <a:pt x="7594831" y="1083772"/>
                  <a:pt x="7595870" y="1084999"/>
                  <a:pt x="7596671" y="1086020"/>
                </a:cubicBezTo>
                <a:cubicBezTo>
                  <a:pt x="7599547" y="1089291"/>
                  <a:pt x="7602199" y="1092561"/>
                  <a:pt x="7607318" y="1090925"/>
                </a:cubicBezTo>
                <a:cubicBezTo>
                  <a:pt x="7608334" y="1090721"/>
                  <a:pt x="7608941" y="1091539"/>
                  <a:pt x="7609352" y="1092357"/>
                </a:cubicBezTo>
                <a:cubicBezTo>
                  <a:pt x="7611614" y="1096444"/>
                  <a:pt x="7615296" y="1099714"/>
                  <a:pt x="7618364" y="1103188"/>
                </a:cubicBezTo>
                <a:cubicBezTo>
                  <a:pt x="7623071" y="1108503"/>
                  <a:pt x="7625728" y="1114429"/>
                  <a:pt x="7623885" y="1121582"/>
                </a:cubicBezTo>
                <a:cubicBezTo>
                  <a:pt x="7623259" y="1124444"/>
                  <a:pt x="7624907" y="1126283"/>
                  <a:pt x="7626549" y="1127918"/>
                </a:cubicBezTo>
                <a:cubicBezTo>
                  <a:pt x="7630219" y="1131802"/>
                  <a:pt x="7630021" y="1133845"/>
                  <a:pt x="7625918" y="1136910"/>
                </a:cubicBezTo>
                <a:cubicBezTo>
                  <a:pt x="7621433" y="1139976"/>
                  <a:pt x="7621433" y="1139976"/>
                  <a:pt x="7625103" y="1144472"/>
                </a:cubicBezTo>
                <a:cubicBezTo>
                  <a:pt x="7625918" y="1145494"/>
                  <a:pt x="7626549" y="1146312"/>
                  <a:pt x="7625317" y="1147539"/>
                </a:cubicBezTo>
                <a:cubicBezTo>
                  <a:pt x="7621216" y="1152239"/>
                  <a:pt x="7617536" y="1156940"/>
                  <a:pt x="7613239" y="1161436"/>
                </a:cubicBezTo>
                <a:cubicBezTo>
                  <a:pt x="7610170" y="1164910"/>
                  <a:pt x="7606284" y="1167159"/>
                  <a:pt x="7601786" y="1168180"/>
                </a:cubicBezTo>
                <a:cubicBezTo>
                  <a:pt x="7598933" y="1168998"/>
                  <a:pt x="7593412" y="1176356"/>
                  <a:pt x="7593194" y="1179421"/>
                </a:cubicBezTo>
                <a:cubicBezTo>
                  <a:pt x="7593194" y="1180443"/>
                  <a:pt x="7593194" y="1181261"/>
                  <a:pt x="7594422" y="1181670"/>
                </a:cubicBezTo>
                <a:cubicBezTo>
                  <a:pt x="7600779" y="1184531"/>
                  <a:pt x="7603846" y="1190049"/>
                  <a:pt x="7606502" y="1195976"/>
                </a:cubicBezTo>
                <a:cubicBezTo>
                  <a:pt x="7607100" y="1197203"/>
                  <a:pt x="7607511" y="1198225"/>
                  <a:pt x="7608139" y="1199246"/>
                </a:cubicBezTo>
                <a:lnTo>
                  <a:pt x="7609682" y="1208978"/>
                </a:lnTo>
                <a:lnTo>
                  <a:pt x="7711936" y="1143485"/>
                </a:lnTo>
                <a:cubicBezTo>
                  <a:pt x="7926513" y="1009986"/>
                  <a:pt x="8147376" y="887789"/>
                  <a:pt x="8386838" y="800356"/>
                </a:cubicBezTo>
                <a:cubicBezTo>
                  <a:pt x="8470729" y="769426"/>
                  <a:pt x="8556102" y="744523"/>
                  <a:pt x="8642502" y="723473"/>
                </a:cubicBezTo>
                <a:lnTo>
                  <a:pt x="8655782" y="720746"/>
                </a:lnTo>
                <a:lnTo>
                  <a:pt x="8652892" y="715079"/>
                </a:lnTo>
                <a:cubicBezTo>
                  <a:pt x="8651129" y="712754"/>
                  <a:pt x="8649031" y="710710"/>
                  <a:pt x="8647600" y="710301"/>
                </a:cubicBezTo>
                <a:cubicBezTo>
                  <a:pt x="8643102" y="709280"/>
                  <a:pt x="8639217" y="707031"/>
                  <a:pt x="8636152" y="703557"/>
                </a:cubicBezTo>
                <a:cubicBezTo>
                  <a:pt x="8631855" y="699061"/>
                  <a:pt x="8628176" y="694360"/>
                  <a:pt x="8624086" y="689660"/>
                </a:cubicBezTo>
                <a:cubicBezTo>
                  <a:pt x="8622859" y="688433"/>
                  <a:pt x="8623472" y="687615"/>
                  <a:pt x="8624289" y="686593"/>
                </a:cubicBezTo>
                <a:cubicBezTo>
                  <a:pt x="8627970" y="682097"/>
                  <a:pt x="8627970" y="682097"/>
                  <a:pt x="8623472" y="679031"/>
                </a:cubicBezTo>
                <a:cubicBezTo>
                  <a:pt x="8619382" y="675966"/>
                  <a:pt x="8619178" y="673923"/>
                  <a:pt x="8622859" y="670039"/>
                </a:cubicBezTo>
                <a:cubicBezTo>
                  <a:pt x="8624496" y="668404"/>
                  <a:pt x="8626131" y="666565"/>
                  <a:pt x="8625520" y="663703"/>
                </a:cubicBezTo>
                <a:cubicBezTo>
                  <a:pt x="8623676" y="656550"/>
                  <a:pt x="8626333" y="650623"/>
                  <a:pt x="8631040" y="645309"/>
                </a:cubicBezTo>
                <a:cubicBezTo>
                  <a:pt x="8634103" y="641835"/>
                  <a:pt x="8637786" y="638565"/>
                  <a:pt x="8640035" y="634477"/>
                </a:cubicBezTo>
                <a:cubicBezTo>
                  <a:pt x="8640444" y="633660"/>
                  <a:pt x="8641058" y="632842"/>
                  <a:pt x="8642079" y="633046"/>
                </a:cubicBezTo>
                <a:cubicBezTo>
                  <a:pt x="8647192" y="634682"/>
                  <a:pt x="8649851" y="631412"/>
                  <a:pt x="8652713" y="628141"/>
                </a:cubicBezTo>
                <a:cubicBezTo>
                  <a:pt x="8653530" y="627120"/>
                  <a:pt x="8654553" y="625893"/>
                  <a:pt x="8656393" y="626302"/>
                </a:cubicBezTo>
                <a:cubicBezTo>
                  <a:pt x="8661506" y="627529"/>
                  <a:pt x="8666822" y="626915"/>
                  <a:pt x="8671936" y="627324"/>
                </a:cubicBezTo>
                <a:cubicBezTo>
                  <a:pt x="8676228" y="627529"/>
                  <a:pt x="8680526" y="627937"/>
                  <a:pt x="8684410" y="630594"/>
                </a:cubicBezTo>
                <a:cubicBezTo>
                  <a:pt x="8686044" y="631820"/>
                  <a:pt x="8687272" y="631412"/>
                  <a:pt x="8688500" y="629981"/>
                </a:cubicBezTo>
                <a:cubicBezTo>
                  <a:pt x="8689114" y="628959"/>
                  <a:pt x="8689727" y="628141"/>
                  <a:pt x="8690544" y="627324"/>
                </a:cubicBezTo>
                <a:cubicBezTo>
                  <a:pt x="8691364" y="626507"/>
                  <a:pt x="8692794" y="625689"/>
                  <a:pt x="8693816" y="626507"/>
                </a:cubicBezTo>
                <a:cubicBezTo>
                  <a:pt x="8695042" y="627324"/>
                  <a:pt x="8694634" y="628959"/>
                  <a:pt x="8694021" y="630185"/>
                </a:cubicBezTo>
                <a:cubicBezTo>
                  <a:pt x="8693816" y="630799"/>
                  <a:pt x="8693406" y="631208"/>
                  <a:pt x="8692999" y="631820"/>
                </a:cubicBezTo>
                <a:cubicBezTo>
                  <a:pt x="8689727" y="636521"/>
                  <a:pt x="8690954" y="639586"/>
                  <a:pt x="8696476" y="640199"/>
                </a:cubicBezTo>
                <a:cubicBezTo>
                  <a:pt x="8697496" y="640404"/>
                  <a:pt x="8698520" y="640404"/>
                  <a:pt x="8699338" y="640608"/>
                </a:cubicBezTo>
                <a:cubicBezTo>
                  <a:pt x="8700770" y="641017"/>
                  <a:pt x="8702406" y="640608"/>
                  <a:pt x="8702815" y="642857"/>
                </a:cubicBezTo>
                <a:cubicBezTo>
                  <a:pt x="8703224" y="644491"/>
                  <a:pt x="8702406" y="645309"/>
                  <a:pt x="8701178" y="646127"/>
                </a:cubicBezTo>
                <a:cubicBezTo>
                  <a:pt x="8698928" y="647761"/>
                  <a:pt x="8699133" y="649192"/>
                  <a:pt x="8701383" y="651031"/>
                </a:cubicBezTo>
                <a:cubicBezTo>
                  <a:pt x="8704245" y="653280"/>
                  <a:pt x="8706902" y="656141"/>
                  <a:pt x="8706698" y="660229"/>
                </a:cubicBezTo>
                <a:cubicBezTo>
                  <a:pt x="8706494" y="663499"/>
                  <a:pt x="8707312" y="665134"/>
                  <a:pt x="8710994" y="664316"/>
                </a:cubicBezTo>
                <a:cubicBezTo>
                  <a:pt x="8711812" y="664112"/>
                  <a:pt x="8712834" y="664316"/>
                  <a:pt x="8713242" y="665543"/>
                </a:cubicBezTo>
                <a:cubicBezTo>
                  <a:pt x="8713652" y="666565"/>
                  <a:pt x="8712630" y="667177"/>
                  <a:pt x="8712016" y="667791"/>
                </a:cubicBezTo>
                <a:cubicBezTo>
                  <a:pt x="8710586" y="669222"/>
                  <a:pt x="8708948" y="670652"/>
                  <a:pt x="8707926" y="672287"/>
                </a:cubicBezTo>
                <a:cubicBezTo>
                  <a:pt x="8704655" y="676579"/>
                  <a:pt x="8704860" y="679031"/>
                  <a:pt x="8707926" y="683528"/>
                </a:cubicBezTo>
                <a:cubicBezTo>
                  <a:pt x="8710380" y="687002"/>
                  <a:pt x="8712220" y="690681"/>
                  <a:pt x="8712426" y="695177"/>
                </a:cubicBezTo>
                <a:cubicBezTo>
                  <a:pt x="8712630" y="698447"/>
                  <a:pt x="8710994" y="698856"/>
                  <a:pt x="8708336" y="697834"/>
                </a:cubicBezTo>
                <a:cubicBezTo>
                  <a:pt x="8706494" y="697222"/>
                  <a:pt x="8705472" y="695382"/>
                  <a:pt x="8704040" y="694360"/>
                </a:cubicBezTo>
                <a:cubicBezTo>
                  <a:pt x="8702406" y="693134"/>
                  <a:pt x="8700156" y="691499"/>
                  <a:pt x="8698520" y="693134"/>
                </a:cubicBezTo>
                <a:cubicBezTo>
                  <a:pt x="8696678" y="695177"/>
                  <a:pt x="8697702" y="697631"/>
                  <a:pt x="8699543" y="699469"/>
                </a:cubicBezTo>
                <a:cubicBezTo>
                  <a:pt x="8700361" y="700287"/>
                  <a:pt x="8701588" y="701105"/>
                  <a:pt x="8702406" y="702126"/>
                </a:cubicBezTo>
                <a:cubicBezTo>
                  <a:pt x="8703428" y="703148"/>
                  <a:pt x="8704245" y="704375"/>
                  <a:pt x="8703020" y="705805"/>
                </a:cubicBezTo>
                <a:cubicBezTo>
                  <a:pt x="8701998" y="707031"/>
                  <a:pt x="8700770" y="706418"/>
                  <a:pt x="8699543" y="705397"/>
                </a:cubicBezTo>
                <a:cubicBezTo>
                  <a:pt x="8698316" y="704579"/>
                  <a:pt x="8697088" y="703557"/>
                  <a:pt x="8695861" y="702944"/>
                </a:cubicBezTo>
                <a:cubicBezTo>
                  <a:pt x="8694021" y="701717"/>
                  <a:pt x="8691977" y="702330"/>
                  <a:pt x="8690544" y="703557"/>
                </a:cubicBezTo>
                <a:cubicBezTo>
                  <a:pt x="8689114" y="704784"/>
                  <a:pt x="8689932" y="706622"/>
                  <a:pt x="8690544" y="708053"/>
                </a:cubicBezTo>
                <a:lnTo>
                  <a:pt x="8695871" y="712514"/>
                </a:lnTo>
                <a:lnTo>
                  <a:pt x="8833254" y="684302"/>
                </a:lnTo>
                <a:lnTo>
                  <a:pt x="8834152" y="681882"/>
                </a:lnTo>
                <a:cubicBezTo>
                  <a:pt x="8832220" y="674936"/>
                  <a:pt x="8834538" y="669534"/>
                  <a:pt x="8839562" y="664903"/>
                </a:cubicBezTo>
                <a:cubicBezTo>
                  <a:pt x="8841492" y="662974"/>
                  <a:pt x="8843426" y="661430"/>
                  <a:pt x="8844197" y="658730"/>
                </a:cubicBezTo>
                <a:cubicBezTo>
                  <a:pt x="8844971" y="654485"/>
                  <a:pt x="8847289" y="652169"/>
                  <a:pt x="8851540" y="652555"/>
                </a:cubicBezTo>
                <a:cubicBezTo>
                  <a:pt x="8854629" y="652555"/>
                  <a:pt x="8856948" y="650626"/>
                  <a:pt x="8858108" y="649082"/>
                </a:cubicBezTo>
                <a:cubicBezTo>
                  <a:pt x="8864676" y="639821"/>
                  <a:pt x="8874334" y="644838"/>
                  <a:pt x="8882448" y="643680"/>
                </a:cubicBezTo>
                <a:cubicBezTo>
                  <a:pt x="8885927" y="643294"/>
                  <a:pt x="8893267" y="641365"/>
                  <a:pt x="8894812" y="644066"/>
                </a:cubicBezTo>
                <a:cubicBezTo>
                  <a:pt x="8899448" y="651783"/>
                  <a:pt x="8911426" y="648696"/>
                  <a:pt x="8914130" y="659115"/>
                </a:cubicBezTo>
                <a:lnTo>
                  <a:pt x="8915251" y="668076"/>
                </a:lnTo>
                <a:lnTo>
                  <a:pt x="9085203" y="642648"/>
                </a:lnTo>
                <a:cubicBezTo>
                  <a:pt x="9097801" y="641352"/>
                  <a:pt x="9110955" y="640339"/>
                  <a:pt x="9124174" y="640237"/>
                </a:cubicBezTo>
                <a:lnTo>
                  <a:pt x="9136268" y="641172"/>
                </a:lnTo>
                <a:lnTo>
                  <a:pt x="9136283" y="641088"/>
                </a:lnTo>
                <a:cubicBezTo>
                  <a:pt x="9137356" y="640820"/>
                  <a:pt x="9137625" y="639212"/>
                  <a:pt x="9136550" y="638409"/>
                </a:cubicBezTo>
                <a:cubicBezTo>
                  <a:pt x="9133062" y="635460"/>
                  <a:pt x="9136819" y="634120"/>
                  <a:pt x="9137356" y="631976"/>
                </a:cubicBezTo>
                <a:cubicBezTo>
                  <a:pt x="9139235" y="624739"/>
                  <a:pt x="9147554" y="626883"/>
                  <a:pt x="9150774" y="621523"/>
                </a:cubicBezTo>
                <a:cubicBezTo>
                  <a:pt x="9151847" y="619647"/>
                  <a:pt x="9156946" y="620987"/>
                  <a:pt x="9159363" y="621255"/>
                </a:cubicBezTo>
                <a:cubicBezTo>
                  <a:pt x="9162178" y="621657"/>
                  <a:pt x="9165265" y="620987"/>
                  <a:pt x="9168217" y="621020"/>
                </a:cubicBezTo>
                <a:lnTo>
                  <a:pt x="9168219" y="621020"/>
                </a:lnTo>
                <a:cubicBezTo>
                  <a:pt x="9171171" y="621054"/>
                  <a:pt x="9173989" y="621790"/>
                  <a:pt x="9176268" y="625007"/>
                </a:cubicBezTo>
                <a:cubicBezTo>
                  <a:pt x="9177074" y="626079"/>
                  <a:pt x="9178684" y="627419"/>
                  <a:pt x="9180830" y="627419"/>
                </a:cubicBezTo>
                <a:cubicBezTo>
                  <a:pt x="9183784" y="627152"/>
                  <a:pt x="9185393" y="628760"/>
                  <a:pt x="9185932" y="631707"/>
                </a:cubicBezTo>
                <a:cubicBezTo>
                  <a:pt x="9186467" y="633584"/>
                  <a:pt x="9187809" y="634656"/>
                  <a:pt x="9189150" y="635996"/>
                </a:cubicBezTo>
                <a:lnTo>
                  <a:pt x="9191804" y="644325"/>
                </a:lnTo>
                <a:lnTo>
                  <a:pt x="9216932" y="645251"/>
                </a:lnTo>
                <a:cubicBezTo>
                  <a:pt x="9234573" y="643017"/>
                  <a:pt x="9251959" y="637844"/>
                  <a:pt x="9268811" y="629588"/>
                </a:cubicBezTo>
                <a:cubicBezTo>
                  <a:pt x="9287913" y="619673"/>
                  <a:pt x="9304697" y="619808"/>
                  <a:pt x="9319660" y="637272"/>
                </a:cubicBezTo>
                <a:cubicBezTo>
                  <a:pt x="9337399" y="657555"/>
                  <a:pt x="9359184" y="661648"/>
                  <a:pt x="9384428" y="653459"/>
                </a:cubicBezTo>
                <a:cubicBezTo>
                  <a:pt x="9423132" y="640906"/>
                  <a:pt x="9462838" y="642905"/>
                  <a:pt x="9502498" y="650498"/>
                </a:cubicBezTo>
                <a:cubicBezTo>
                  <a:pt x="9537132" y="656932"/>
                  <a:pt x="9571903" y="663786"/>
                  <a:pt x="9606748" y="670152"/>
                </a:cubicBezTo>
                <a:lnTo>
                  <a:pt x="9612232" y="671028"/>
                </a:lnTo>
                <a:lnTo>
                  <a:pt x="9613534" y="664016"/>
                </a:lnTo>
                <a:cubicBezTo>
                  <a:pt x="9614688" y="663727"/>
                  <a:pt x="9614976" y="661999"/>
                  <a:pt x="9613823" y="661135"/>
                </a:cubicBezTo>
                <a:cubicBezTo>
                  <a:pt x="9610074" y="657967"/>
                  <a:pt x="9614110" y="656527"/>
                  <a:pt x="9614688" y="654223"/>
                </a:cubicBezTo>
                <a:cubicBezTo>
                  <a:pt x="9616707" y="646446"/>
                  <a:pt x="9625646" y="648750"/>
                  <a:pt x="9629108" y="642990"/>
                </a:cubicBezTo>
                <a:cubicBezTo>
                  <a:pt x="9630261" y="640974"/>
                  <a:pt x="9635740" y="642413"/>
                  <a:pt x="9638335" y="642702"/>
                </a:cubicBezTo>
                <a:cubicBezTo>
                  <a:pt x="9644391" y="643566"/>
                  <a:pt x="9651602" y="639821"/>
                  <a:pt x="9656506" y="646734"/>
                </a:cubicBezTo>
                <a:cubicBezTo>
                  <a:pt x="9657370" y="647886"/>
                  <a:pt x="9659101" y="649326"/>
                  <a:pt x="9661408" y="649326"/>
                </a:cubicBezTo>
                <a:cubicBezTo>
                  <a:pt x="9664581" y="649039"/>
                  <a:pt x="9666310" y="650767"/>
                  <a:pt x="9666888" y="653935"/>
                </a:cubicBezTo>
                <a:cubicBezTo>
                  <a:pt x="9667464" y="655951"/>
                  <a:pt x="9668906" y="657103"/>
                  <a:pt x="9670348" y="658543"/>
                </a:cubicBezTo>
                <a:cubicBezTo>
                  <a:pt x="9674097" y="661999"/>
                  <a:pt x="9675828" y="666032"/>
                  <a:pt x="9674385" y="671216"/>
                </a:cubicBezTo>
                <a:cubicBezTo>
                  <a:pt x="9673520" y="674097"/>
                  <a:pt x="9674385" y="677265"/>
                  <a:pt x="9677270" y="678993"/>
                </a:cubicBezTo>
                <a:lnTo>
                  <a:pt x="9677270" y="681415"/>
                </a:lnTo>
                <a:lnTo>
                  <a:pt x="9711442" y="686872"/>
                </a:lnTo>
                <a:lnTo>
                  <a:pt x="9824543" y="708328"/>
                </a:lnTo>
                <a:lnTo>
                  <a:pt x="9827713" y="698989"/>
                </a:lnTo>
                <a:cubicBezTo>
                  <a:pt x="9833694" y="672065"/>
                  <a:pt x="9824723" y="648134"/>
                  <a:pt x="9815752" y="624202"/>
                </a:cubicBezTo>
                <a:cubicBezTo>
                  <a:pt x="9808276" y="606255"/>
                  <a:pt x="9804538" y="589054"/>
                  <a:pt x="9804912" y="572226"/>
                </a:cubicBezTo>
                <a:lnTo>
                  <a:pt x="9813791" y="540299"/>
                </a:lnTo>
                <a:lnTo>
                  <a:pt x="9809715" y="537720"/>
                </a:lnTo>
                <a:cubicBezTo>
                  <a:pt x="9806544" y="535704"/>
                  <a:pt x="9804813" y="530231"/>
                  <a:pt x="9803372" y="525911"/>
                </a:cubicBezTo>
                <a:cubicBezTo>
                  <a:pt x="9802794" y="524184"/>
                  <a:pt x="9803082" y="522455"/>
                  <a:pt x="9801352" y="521015"/>
                </a:cubicBezTo>
                <a:cubicBezTo>
                  <a:pt x="9799621" y="519575"/>
                  <a:pt x="9799911" y="517847"/>
                  <a:pt x="9801066" y="516119"/>
                </a:cubicBezTo>
                <a:cubicBezTo>
                  <a:pt x="9801642" y="514967"/>
                  <a:pt x="9802794" y="513527"/>
                  <a:pt x="9801928" y="512375"/>
                </a:cubicBezTo>
                <a:cubicBezTo>
                  <a:pt x="9799045" y="508918"/>
                  <a:pt x="9798756" y="506326"/>
                  <a:pt x="9803372" y="504597"/>
                </a:cubicBezTo>
                <a:cubicBezTo>
                  <a:pt x="9804527" y="504310"/>
                  <a:pt x="9804813" y="502581"/>
                  <a:pt x="9803659" y="501718"/>
                </a:cubicBezTo>
                <a:cubicBezTo>
                  <a:pt x="9799911" y="498549"/>
                  <a:pt x="9803948" y="497109"/>
                  <a:pt x="9804527" y="494805"/>
                </a:cubicBezTo>
                <a:cubicBezTo>
                  <a:pt x="9806544" y="487028"/>
                  <a:pt x="9815483" y="489332"/>
                  <a:pt x="9818944" y="483572"/>
                </a:cubicBezTo>
                <a:cubicBezTo>
                  <a:pt x="9820098" y="481556"/>
                  <a:pt x="9825577" y="482996"/>
                  <a:pt x="9828174" y="483283"/>
                </a:cubicBezTo>
                <a:cubicBezTo>
                  <a:pt x="9834229" y="484148"/>
                  <a:pt x="9841439" y="480404"/>
                  <a:pt x="9846342" y="487316"/>
                </a:cubicBezTo>
                <a:cubicBezTo>
                  <a:pt x="9847209" y="488469"/>
                  <a:pt x="9848938" y="489908"/>
                  <a:pt x="9851245" y="489908"/>
                </a:cubicBezTo>
                <a:cubicBezTo>
                  <a:pt x="9854418" y="489621"/>
                  <a:pt x="9856147" y="491348"/>
                  <a:pt x="9856724" y="494516"/>
                </a:cubicBezTo>
                <a:cubicBezTo>
                  <a:pt x="9857302" y="496533"/>
                  <a:pt x="9858744" y="497685"/>
                  <a:pt x="9860184" y="499126"/>
                </a:cubicBezTo>
                <a:cubicBezTo>
                  <a:pt x="9863934" y="502581"/>
                  <a:pt x="9865665" y="506614"/>
                  <a:pt x="9864224" y="511798"/>
                </a:cubicBezTo>
                <a:cubicBezTo>
                  <a:pt x="9863357" y="514678"/>
                  <a:pt x="9864224" y="517847"/>
                  <a:pt x="9867106" y="519575"/>
                </a:cubicBezTo>
                <a:cubicBezTo>
                  <a:pt x="9867106" y="520727"/>
                  <a:pt x="9867106" y="521879"/>
                  <a:pt x="9867106" y="523031"/>
                </a:cubicBezTo>
                <a:cubicBezTo>
                  <a:pt x="9864512" y="524471"/>
                  <a:pt x="9863357" y="526200"/>
                  <a:pt x="9863647" y="529944"/>
                </a:cubicBezTo>
                <a:cubicBezTo>
                  <a:pt x="9863934" y="535128"/>
                  <a:pt x="9861628" y="539161"/>
                  <a:pt x="9855860" y="540312"/>
                </a:cubicBezTo>
                <a:lnTo>
                  <a:pt x="9854626" y="542774"/>
                </a:lnTo>
                <a:lnTo>
                  <a:pt x="9854626" y="588306"/>
                </a:lnTo>
                <a:cubicBezTo>
                  <a:pt x="9854626" y="606255"/>
                  <a:pt x="9851636" y="624202"/>
                  <a:pt x="9857618" y="639160"/>
                </a:cubicBezTo>
                <a:cubicBezTo>
                  <a:pt x="9863599" y="670570"/>
                  <a:pt x="9875561" y="690014"/>
                  <a:pt x="9893130" y="698241"/>
                </a:cubicBezTo>
                <a:lnTo>
                  <a:pt x="9893504" y="698290"/>
                </a:lnTo>
                <a:lnTo>
                  <a:pt x="9896644" y="696735"/>
                </a:lnTo>
                <a:cubicBezTo>
                  <a:pt x="9900895" y="696687"/>
                  <a:pt x="9905339" y="697652"/>
                  <a:pt x="9909397" y="697073"/>
                </a:cubicBezTo>
                <a:cubicBezTo>
                  <a:pt x="9912874" y="696687"/>
                  <a:pt x="9920218" y="694758"/>
                  <a:pt x="9921764" y="697459"/>
                </a:cubicBezTo>
                <a:lnTo>
                  <a:pt x="9927482" y="701044"/>
                </a:lnTo>
                <a:lnTo>
                  <a:pt x="9962283" y="690014"/>
                </a:lnTo>
                <a:cubicBezTo>
                  <a:pt x="10001159" y="666083"/>
                  <a:pt x="10010130" y="669074"/>
                  <a:pt x="10037044" y="698989"/>
                </a:cubicBezTo>
                <a:cubicBezTo>
                  <a:pt x="10066949" y="734886"/>
                  <a:pt x="10087881" y="734886"/>
                  <a:pt x="10114796" y="695998"/>
                </a:cubicBezTo>
                <a:cubicBezTo>
                  <a:pt x="10117787" y="690014"/>
                  <a:pt x="10120777" y="681040"/>
                  <a:pt x="10123768" y="675058"/>
                </a:cubicBezTo>
                <a:cubicBezTo>
                  <a:pt x="10144700" y="630186"/>
                  <a:pt x="10177594" y="630186"/>
                  <a:pt x="10216470" y="663092"/>
                </a:cubicBezTo>
                <a:cubicBezTo>
                  <a:pt x="10225442" y="675058"/>
                  <a:pt x="10234414" y="687023"/>
                  <a:pt x="10243384" y="701981"/>
                </a:cubicBezTo>
                <a:cubicBezTo>
                  <a:pt x="10279270" y="749844"/>
                  <a:pt x="10309174" y="800698"/>
                  <a:pt x="10330107" y="857536"/>
                </a:cubicBezTo>
                <a:cubicBezTo>
                  <a:pt x="10333846" y="868006"/>
                  <a:pt x="10338144" y="876980"/>
                  <a:pt x="10343144" y="884365"/>
                </a:cubicBezTo>
                <a:lnTo>
                  <a:pt x="10358962" y="900231"/>
                </a:lnTo>
                <a:lnTo>
                  <a:pt x="10368416" y="904253"/>
                </a:lnTo>
                <a:lnTo>
                  <a:pt x="10382674" y="908858"/>
                </a:lnTo>
                <a:cubicBezTo>
                  <a:pt x="10391038" y="909511"/>
                  <a:pt x="10400382" y="908390"/>
                  <a:pt x="10410849" y="905399"/>
                </a:cubicBezTo>
                <a:cubicBezTo>
                  <a:pt x="10416830" y="905399"/>
                  <a:pt x="10422811" y="905399"/>
                  <a:pt x="10428792" y="905399"/>
                </a:cubicBezTo>
                <a:cubicBezTo>
                  <a:pt x="10445239" y="908390"/>
                  <a:pt x="10456454" y="912878"/>
                  <a:pt x="10462061" y="920355"/>
                </a:cubicBezTo>
                <a:lnTo>
                  <a:pt x="10461792" y="943976"/>
                </a:lnTo>
                <a:lnTo>
                  <a:pt x="10463990" y="944911"/>
                </a:lnTo>
                <a:lnTo>
                  <a:pt x="10501548" y="964264"/>
                </a:lnTo>
                <a:lnTo>
                  <a:pt x="10507371" y="939192"/>
                </a:lnTo>
                <a:cubicBezTo>
                  <a:pt x="10508182" y="919702"/>
                  <a:pt x="10513060" y="900211"/>
                  <a:pt x="10518746" y="880720"/>
                </a:cubicBezTo>
                <a:cubicBezTo>
                  <a:pt x="10521996" y="871787"/>
                  <a:pt x="10526871" y="866102"/>
                  <a:pt x="10536623" y="863665"/>
                </a:cubicBezTo>
                <a:cubicBezTo>
                  <a:pt x="10569934" y="853920"/>
                  <a:pt x="10603247" y="851485"/>
                  <a:pt x="10634124" y="872599"/>
                </a:cubicBezTo>
                <a:cubicBezTo>
                  <a:pt x="10645498" y="880720"/>
                  <a:pt x="10652810" y="889654"/>
                  <a:pt x="10651186" y="905084"/>
                </a:cubicBezTo>
                <a:cubicBezTo>
                  <a:pt x="10647936" y="927822"/>
                  <a:pt x="10659310" y="948125"/>
                  <a:pt x="10670686" y="967616"/>
                </a:cubicBezTo>
                <a:cubicBezTo>
                  <a:pt x="10673125" y="973301"/>
                  <a:pt x="10677998" y="974112"/>
                  <a:pt x="10683686" y="974924"/>
                </a:cubicBezTo>
                <a:cubicBezTo>
                  <a:pt x="10703187" y="977361"/>
                  <a:pt x="10722687" y="978986"/>
                  <a:pt x="10742187" y="978173"/>
                </a:cubicBezTo>
                <a:cubicBezTo>
                  <a:pt x="10754376" y="978173"/>
                  <a:pt x="10762500" y="982234"/>
                  <a:pt x="10769814" y="991167"/>
                </a:cubicBezTo>
                <a:cubicBezTo>
                  <a:pt x="10777127" y="999288"/>
                  <a:pt x="10783626" y="1008221"/>
                  <a:pt x="10794189" y="1013094"/>
                </a:cubicBezTo>
                <a:cubicBezTo>
                  <a:pt x="10805563" y="1017966"/>
                  <a:pt x="10815317" y="1019591"/>
                  <a:pt x="10827506" y="1011469"/>
                </a:cubicBezTo>
                <a:cubicBezTo>
                  <a:pt x="10842131" y="1000912"/>
                  <a:pt x="10855130" y="1005784"/>
                  <a:pt x="10860818" y="1023651"/>
                </a:cubicBezTo>
                <a:cubicBezTo>
                  <a:pt x="10871380" y="1054511"/>
                  <a:pt x="10886006" y="1057760"/>
                  <a:pt x="10911193" y="1035021"/>
                </a:cubicBezTo>
                <a:cubicBezTo>
                  <a:pt x="10925006" y="1023651"/>
                  <a:pt x="10933944" y="1008221"/>
                  <a:pt x="10946132" y="995227"/>
                </a:cubicBezTo>
                <a:cubicBezTo>
                  <a:pt x="10955882" y="985482"/>
                  <a:pt x="10965632" y="976549"/>
                  <a:pt x="10984320" y="974112"/>
                </a:cubicBezTo>
                <a:cubicBezTo>
                  <a:pt x="10968882" y="999288"/>
                  <a:pt x="10956694" y="1021215"/>
                  <a:pt x="10942069" y="1043954"/>
                </a:cubicBezTo>
                <a:cubicBezTo>
                  <a:pt x="10927445" y="1067505"/>
                  <a:pt x="10946945" y="1114607"/>
                  <a:pt x="10975382" y="1112171"/>
                </a:cubicBezTo>
                <a:cubicBezTo>
                  <a:pt x="11008696" y="1109735"/>
                  <a:pt x="11019258" y="1127601"/>
                  <a:pt x="11025758" y="1154400"/>
                </a:cubicBezTo>
                <a:cubicBezTo>
                  <a:pt x="11027382" y="1158461"/>
                  <a:pt x="11028196" y="1162522"/>
                  <a:pt x="11029820" y="1166582"/>
                </a:cubicBezTo>
                <a:cubicBezTo>
                  <a:pt x="11034695" y="1184449"/>
                  <a:pt x="11036321" y="1185260"/>
                  <a:pt x="11052572" y="1176327"/>
                </a:cubicBezTo>
                <a:cubicBezTo>
                  <a:pt x="11066384" y="1168207"/>
                  <a:pt x="11076946" y="1156837"/>
                  <a:pt x="11086698" y="1143843"/>
                </a:cubicBezTo>
                <a:cubicBezTo>
                  <a:pt x="11092384" y="1135722"/>
                  <a:pt x="11097259" y="1132473"/>
                  <a:pt x="11107822" y="1136535"/>
                </a:cubicBezTo>
                <a:cubicBezTo>
                  <a:pt x="11116759" y="1139783"/>
                  <a:pt x="11126510" y="1140595"/>
                  <a:pt x="11136260" y="1141407"/>
                </a:cubicBezTo>
                <a:cubicBezTo>
                  <a:pt x="11142760" y="1142219"/>
                  <a:pt x="11148449" y="1138970"/>
                  <a:pt x="11150072" y="1132473"/>
                </a:cubicBezTo>
                <a:cubicBezTo>
                  <a:pt x="11151698" y="1125165"/>
                  <a:pt x="11149260" y="1120292"/>
                  <a:pt x="11142760" y="1117043"/>
                </a:cubicBezTo>
                <a:cubicBezTo>
                  <a:pt x="11137885" y="1114607"/>
                  <a:pt x="11133010" y="1112983"/>
                  <a:pt x="11128134" y="1110547"/>
                </a:cubicBezTo>
                <a:cubicBezTo>
                  <a:pt x="11120009" y="1106486"/>
                  <a:pt x="11116759" y="1100801"/>
                  <a:pt x="11118385" y="1091056"/>
                </a:cubicBezTo>
                <a:cubicBezTo>
                  <a:pt x="11123259" y="1061820"/>
                  <a:pt x="11112696" y="1041518"/>
                  <a:pt x="11086698" y="1028524"/>
                </a:cubicBezTo>
                <a:cubicBezTo>
                  <a:pt x="11082635" y="1026088"/>
                  <a:pt x="11073696" y="1026899"/>
                  <a:pt x="11075321" y="1019591"/>
                </a:cubicBezTo>
                <a:cubicBezTo>
                  <a:pt x="11076134" y="1012281"/>
                  <a:pt x="11083447" y="1010658"/>
                  <a:pt x="11090760" y="1009846"/>
                </a:cubicBezTo>
                <a:cubicBezTo>
                  <a:pt x="11091572" y="1009846"/>
                  <a:pt x="11092384" y="1009846"/>
                  <a:pt x="11093196" y="1009846"/>
                </a:cubicBezTo>
                <a:cubicBezTo>
                  <a:pt x="11112696" y="1006597"/>
                  <a:pt x="11118385" y="997664"/>
                  <a:pt x="11108634" y="982234"/>
                </a:cubicBezTo>
                <a:cubicBezTo>
                  <a:pt x="11099697" y="967616"/>
                  <a:pt x="11102135" y="956246"/>
                  <a:pt x="11110260" y="944064"/>
                </a:cubicBezTo>
                <a:cubicBezTo>
                  <a:pt x="11120821" y="927822"/>
                  <a:pt x="11128949" y="910769"/>
                  <a:pt x="11124072" y="890465"/>
                </a:cubicBezTo>
                <a:cubicBezTo>
                  <a:pt x="11121635" y="881532"/>
                  <a:pt x="11130572" y="877472"/>
                  <a:pt x="11136260" y="875847"/>
                </a:cubicBezTo>
                <a:cubicBezTo>
                  <a:pt x="11157385" y="868539"/>
                  <a:pt x="11167135" y="854733"/>
                  <a:pt x="11169572" y="833618"/>
                </a:cubicBezTo>
                <a:cubicBezTo>
                  <a:pt x="11171198" y="820625"/>
                  <a:pt x="11176074" y="818188"/>
                  <a:pt x="11189073" y="826309"/>
                </a:cubicBezTo>
                <a:cubicBezTo>
                  <a:pt x="11216698" y="843363"/>
                  <a:pt x="11257324" y="831182"/>
                  <a:pt x="11269512" y="802758"/>
                </a:cubicBezTo>
                <a:cubicBezTo>
                  <a:pt x="11271950" y="797073"/>
                  <a:pt x="11275200" y="789764"/>
                  <a:pt x="11269512" y="784891"/>
                </a:cubicBezTo>
                <a:cubicBezTo>
                  <a:pt x="11263825" y="780018"/>
                  <a:pt x="11255700" y="777583"/>
                  <a:pt x="11248387" y="782455"/>
                </a:cubicBezTo>
                <a:cubicBezTo>
                  <a:pt x="11243511" y="784891"/>
                  <a:pt x="11238636" y="788952"/>
                  <a:pt x="11233763" y="792200"/>
                </a:cubicBezTo>
                <a:cubicBezTo>
                  <a:pt x="11228886" y="796261"/>
                  <a:pt x="11224011" y="798697"/>
                  <a:pt x="11219949" y="793825"/>
                </a:cubicBezTo>
                <a:cubicBezTo>
                  <a:pt x="11215074" y="788140"/>
                  <a:pt x="11218324" y="783267"/>
                  <a:pt x="11222388" y="779206"/>
                </a:cubicBezTo>
                <a:cubicBezTo>
                  <a:pt x="11225638" y="775146"/>
                  <a:pt x="11230512" y="771898"/>
                  <a:pt x="11233763" y="768649"/>
                </a:cubicBezTo>
                <a:cubicBezTo>
                  <a:pt x="11241074" y="761340"/>
                  <a:pt x="11245138" y="751595"/>
                  <a:pt x="11237824" y="743474"/>
                </a:cubicBezTo>
                <a:cubicBezTo>
                  <a:pt x="11231324" y="736976"/>
                  <a:pt x="11222388" y="743474"/>
                  <a:pt x="11215886" y="748346"/>
                </a:cubicBezTo>
                <a:cubicBezTo>
                  <a:pt x="11210199" y="752408"/>
                  <a:pt x="11206136" y="759716"/>
                  <a:pt x="11198824" y="762153"/>
                </a:cubicBezTo>
                <a:cubicBezTo>
                  <a:pt x="11188261" y="766213"/>
                  <a:pt x="11181761" y="764588"/>
                  <a:pt x="11182573" y="751595"/>
                </a:cubicBezTo>
                <a:cubicBezTo>
                  <a:pt x="11183385" y="733728"/>
                  <a:pt x="11190699" y="719111"/>
                  <a:pt x="11200449" y="705304"/>
                </a:cubicBezTo>
                <a:cubicBezTo>
                  <a:pt x="11212636" y="687439"/>
                  <a:pt x="11213448" y="677693"/>
                  <a:pt x="11200449" y="660639"/>
                </a:cubicBezTo>
                <a:cubicBezTo>
                  <a:pt x="11196386" y="654142"/>
                  <a:pt x="11189886" y="648457"/>
                  <a:pt x="11184198" y="642772"/>
                </a:cubicBezTo>
                <a:cubicBezTo>
                  <a:pt x="11181761" y="640336"/>
                  <a:pt x="11177698" y="637900"/>
                  <a:pt x="11179324" y="633839"/>
                </a:cubicBezTo>
                <a:cubicBezTo>
                  <a:pt x="11180947" y="628967"/>
                  <a:pt x="11185011" y="628154"/>
                  <a:pt x="11188261" y="628967"/>
                </a:cubicBezTo>
                <a:cubicBezTo>
                  <a:pt x="11202885" y="632215"/>
                  <a:pt x="11206136" y="625719"/>
                  <a:pt x="11205323" y="612724"/>
                </a:cubicBezTo>
                <a:cubicBezTo>
                  <a:pt x="11204511" y="596482"/>
                  <a:pt x="11215074" y="585112"/>
                  <a:pt x="11226449" y="576179"/>
                </a:cubicBezTo>
                <a:cubicBezTo>
                  <a:pt x="11235386" y="568870"/>
                  <a:pt x="11236199" y="563185"/>
                  <a:pt x="11227261" y="556688"/>
                </a:cubicBezTo>
                <a:cubicBezTo>
                  <a:pt x="11222388" y="553440"/>
                  <a:pt x="11219136" y="550192"/>
                  <a:pt x="11220761" y="543695"/>
                </a:cubicBezTo>
                <a:cubicBezTo>
                  <a:pt x="11222388" y="534762"/>
                  <a:pt x="11228886" y="536385"/>
                  <a:pt x="11234574" y="534762"/>
                </a:cubicBezTo>
                <a:cubicBezTo>
                  <a:pt x="11237824" y="533950"/>
                  <a:pt x="11241888" y="533950"/>
                  <a:pt x="11245949" y="533137"/>
                </a:cubicBezTo>
                <a:cubicBezTo>
                  <a:pt x="11267887" y="530700"/>
                  <a:pt x="11272763" y="518520"/>
                  <a:pt x="11259762" y="499841"/>
                </a:cubicBezTo>
                <a:cubicBezTo>
                  <a:pt x="11258137" y="497405"/>
                  <a:pt x="11256512" y="495780"/>
                  <a:pt x="11255700" y="493343"/>
                </a:cubicBezTo>
                <a:cubicBezTo>
                  <a:pt x="11253263" y="488471"/>
                  <a:pt x="11251636" y="481975"/>
                  <a:pt x="11256512" y="478726"/>
                </a:cubicBezTo>
                <a:cubicBezTo>
                  <a:pt x="11260574" y="475478"/>
                  <a:pt x="11266262" y="478726"/>
                  <a:pt x="11269512" y="481975"/>
                </a:cubicBezTo>
                <a:cubicBezTo>
                  <a:pt x="11272763" y="485223"/>
                  <a:pt x="11275200" y="488471"/>
                  <a:pt x="11277637" y="492532"/>
                </a:cubicBezTo>
                <a:cubicBezTo>
                  <a:pt x="11282513" y="498217"/>
                  <a:pt x="11287387" y="499841"/>
                  <a:pt x="11293888" y="494968"/>
                </a:cubicBezTo>
                <a:cubicBezTo>
                  <a:pt x="11309325" y="484411"/>
                  <a:pt x="11326389" y="482786"/>
                  <a:pt x="11343451" y="481975"/>
                </a:cubicBezTo>
                <a:cubicBezTo>
                  <a:pt x="11363763" y="480350"/>
                  <a:pt x="11384889" y="482786"/>
                  <a:pt x="11405201" y="477913"/>
                </a:cubicBezTo>
                <a:cubicBezTo>
                  <a:pt x="11412514" y="476290"/>
                  <a:pt x="11416578" y="481163"/>
                  <a:pt x="11419828" y="485223"/>
                </a:cubicBezTo>
                <a:cubicBezTo>
                  <a:pt x="11431203" y="498217"/>
                  <a:pt x="11441765" y="511210"/>
                  <a:pt x="11462078" y="504713"/>
                </a:cubicBezTo>
                <a:cubicBezTo>
                  <a:pt x="11466142" y="503901"/>
                  <a:pt x="11468578" y="507150"/>
                  <a:pt x="11470203" y="510398"/>
                </a:cubicBezTo>
                <a:cubicBezTo>
                  <a:pt x="11479140" y="526640"/>
                  <a:pt x="11493766" y="539634"/>
                  <a:pt x="11505953" y="553440"/>
                </a:cubicBezTo>
                <a:cubicBezTo>
                  <a:pt x="11524641" y="574555"/>
                  <a:pt x="11535204" y="598107"/>
                  <a:pt x="11527892" y="626530"/>
                </a:cubicBezTo>
                <a:cubicBezTo>
                  <a:pt x="11525454" y="637900"/>
                  <a:pt x="11531954" y="645209"/>
                  <a:pt x="11538454" y="651706"/>
                </a:cubicBezTo>
                <a:cubicBezTo>
                  <a:pt x="11553079" y="667136"/>
                  <a:pt x="11552267" y="675257"/>
                  <a:pt x="11536017" y="687439"/>
                </a:cubicBezTo>
                <a:cubicBezTo>
                  <a:pt x="11518142" y="699620"/>
                  <a:pt x="11518142" y="699620"/>
                  <a:pt x="11532766" y="717486"/>
                </a:cubicBezTo>
                <a:cubicBezTo>
                  <a:pt x="11536017" y="721546"/>
                  <a:pt x="11538454" y="724796"/>
                  <a:pt x="11533579" y="729668"/>
                </a:cubicBezTo>
                <a:cubicBezTo>
                  <a:pt x="11517328" y="748346"/>
                  <a:pt x="11502704" y="767025"/>
                  <a:pt x="11485642" y="784891"/>
                </a:cubicBezTo>
                <a:cubicBezTo>
                  <a:pt x="11473453" y="798697"/>
                  <a:pt x="11458015" y="807630"/>
                  <a:pt x="11440140" y="811691"/>
                </a:cubicBezTo>
                <a:cubicBezTo>
                  <a:pt x="11428765" y="814940"/>
                  <a:pt x="11406827" y="844175"/>
                  <a:pt x="11406015" y="856357"/>
                </a:cubicBezTo>
                <a:cubicBezTo>
                  <a:pt x="11406015" y="860417"/>
                  <a:pt x="11406015" y="863665"/>
                  <a:pt x="11410890" y="865290"/>
                </a:cubicBezTo>
                <a:cubicBezTo>
                  <a:pt x="11436078" y="876660"/>
                  <a:pt x="11448265" y="898587"/>
                  <a:pt x="11458828" y="922137"/>
                </a:cubicBezTo>
                <a:cubicBezTo>
                  <a:pt x="11461266" y="927010"/>
                  <a:pt x="11462890" y="931071"/>
                  <a:pt x="11465328" y="935132"/>
                </a:cubicBezTo>
                <a:cubicBezTo>
                  <a:pt x="11473453" y="948125"/>
                  <a:pt x="11477517" y="959494"/>
                  <a:pt x="11471828" y="975737"/>
                </a:cubicBezTo>
                <a:lnTo>
                  <a:pt x="11481872" y="1017329"/>
                </a:lnTo>
                <a:lnTo>
                  <a:pt x="11491053" y="1017615"/>
                </a:lnTo>
                <a:cubicBezTo>
                  <a:pt x="11495689" y="1025332"/>
                  <a:pt x="11507666" y="1022245"/>
                  <a:pt x="11510371" y="1032664"/>
                </a:cubicBezTo>
                <a:cubicBezTo>
                  <a:pt x="11511144" y="1035751"/>
                  <a:pt x="11516553" y="1037681"/>
                  <a:pt x="11511530" y="1041926"/>
                </a:cubicBezTo>
                <a:cubicBezTo>
                  <a:pt x="11509985" y="1043083"/>
                  <a:pt x="11510371" y="1045398"/>
                  <a:pt x="11511917" y="1045784"/>
                </a:cubicBezTo>
                <a:cubicBezTo>
                  <a:pt x="11518099" y="1048099"/>
                  <a:pt x="11517712" y="1051572"/>
                  <a:pt x="11513848" y="1056202"/>
                </a:cubicBezTo>
                <a:cubicBezTo>
                  <a:pt x="11512689" y="1057746"/>
                  <a:pt x="11514234" y="1059675"/>
                  <a:pt x="11515007" y="1061219"/>
                </a:cubicBezTo>
                <a:cubicBezTo>
                  <a:pt x="11516553" y="1063535"/>
                  <a:pt x="11516939" y="1065850"/>
                  <a:pt x="11514621" y="1067780"/>
                </a:cubicBezTo>
                <a:cubicBezTo>
                  <a:pt x="11512303" y="1069708"/>
                  <a:pt x="11512689" y="1072024"/>
                  <a:pt x="11511917" y="1074339"/>
                </a:cubicBezTo>
                <a:cubicBezTo>
                  <a:pt x="11509985" y="1080127"/>
                  <a:pt x="11507666" y="1087459"/>
                  <a:pt x="11503417" y="1090160"/>
                </a:cubicBezTo>
                <a:cubicBezTo>
                  <a:pt x="11494145" y="1095948"/>
                  <a:pt x="11485257" y="1102123"/>
                  <a:pt x="11475984" y="1107524"/>
                </a:cubicBezTo>
                <a:cubicBezTo>
                  <a:pt x="11475212" y="1107524"/>
                  <a:pt x="11473666" y="1107524"/>
                  <a:pt x="11473280" y="1106753"/>
                </a:cubicBezTo>
                <a:cubicBezTo>
                  <a:pt x="11469416" y="1103279"/>
                  <a:pt x="11465940" y="1100193"/>
                  <a:pt x="11460917" y="1105209"/>
                </a:cubicBezTo>
                <a:cubicBezTo>
                  <a:pt x="11459371" y="1107138"/>
                  <a:pt x="11458212" y="1105209"/>
                  <a:pt x="11457826" y="1103665"/>
                </a:cubicBezTo>
                <a:cubicBezTo>
                  <a:pt x="11457245" y="1100386"/>
                  <a:pt x="11456182" y="1098746"/>
                  <a:pt x="11454686" y="1098408"/>
                </a:cubicBezTo>
                <a:lnTo>
                  <a:pt x="11451372" y="1099882"/>
                </a:lnTo>
                <a:lnTo>
                  <a:pt x="11439328" y="1147092"/>
                </a:lnTo>
                <a:cubicBezTo>
                  <a:pt x="11438514" y="1152777"/>
                  <a:pt x="11436890" y="1155213"/>
                  <a:pt x="11431203" y="1153588"/>
                </a:cubicBezTo>
                <a:cubicBezTo>
                  <a:pt x="11408453" y="1148715"/>
                  <a:pt x="11393826" y="1160897"/>
                  <a:pt x="11381639" y="1177140"/>
                </a:cubicBezTo>
                <a:cubicBezTo>
                  <a:pt x="11375952" y="1184449"/>
                  <a:pt x="11371076" y="1188509"/>
                  <a:pt x="11360513" y="1183637"/>
                </a:cubicBezTo>
                <a:cubicBezTo>
                  <a:pt x="11347513" y="1176327"/>
                  <a:pt x="11335326" y="1182824"/>
                  <a:pt x="11324763" y="1191757"/>
                </a:cubicBezTo>
                <a:cubicBezTo>
                  <a:pt x="11315826" y="1199067"/>
                  <a:pt x="11306887" y="1208000"/>
                  <a:pt x="11297950" y="1215309"/>
                </a:cubicBezTo>
                <a:cubicBezTo>
                  <a:pt x="11289013" y="1221805"/>
                  <a:pt x="11280887" y="1222617"/>
                  <a:pt x="11278450" y="1208812"/>
                </a:cubicBezTo>
                <a:cubicBezTo>
                  <a:pt x="11278450" y="1205564"/>
                  <a:pt x="11277637" y="1202315"/>
                  <a:pt x="11276013" y="1199067"/>
                </a:cubicBezTo>
                <a:cubicBezTo>
                  <a:pt x="11274386" y="1195006"/>
                  <a:pt x="11274386" y="1188509"/>
                  <a:pt x="11268700" y="1187697"/>
                </a:cubicBezTo>
                <a:cubicBezTo>
                  <a:pt x="11263825" y="1187697"/>
                  <a:pt x="11260574" y="1191757"/>
                  <a:pt x="11258137" y="1195006"/>
                </a:cubicBezTo>
                <a:cubicBezTo>
                  <a:pt x="11245949" y="1208812"/>
                  <a:pt x="11241074" y="1208000"/>
                  <a:pt x="11233763" y="1190945"/>
                </a:cubicBezTo>
                <a:cubicBezTo>
                  <a:pt x="11232136" y="1186885"/>
                  <a:pt x="11231324" y="1183637"/>
                  <a:pt x="11228886" y="1180388"/>
                </a:cubicBezTo>
                <a:cubicBezTo>
                  <a:pt x="11225638" y="1175515"/>
                  <a:pt x="11222388" y="1171455"/>
                  <a:pt x="11214263" y="1174703"/>
                </a:cubicBezTo>
                <a:cubicBezTo>
                  <a:pt x="11206949" y="1178764"/>
                  <a:pt x="11206949" y="1182012"/>
                  <a:pt x="11208574" y="1188509"/>
                </a:cubicBezTo>
                <a:cubicBezTo>
                  <a:pt x="11216698" y="1225054"/>
                  <a:pt x="11207761" y="1256726"/>
                  <a:pt x="11185823" y="1286774"/>
                </a:cubicBezTo>
                <a:cubicBezTo>
                  <a:pt x="11172822" y="1304641"/>
                  <a:pt x="11155760" y="1316010"/>
                  <a:pt x="11133822" y="1319258"/>
                </a:cubicBezTo>
                <a:cubicBezTo>
                  <a:pt x="11124072" y="1320883"/>
                  <a:pt x="11122447" y="1324131"/>
                  <a:pt x="11125698" y="1333064"/>
                </a:cubicBezTo>
                <a:cubicBezTo>
                  <a:pt x="11129760" y="1343621"/>
                  <a:pt x="11133010" y="1355803"/>
                  <a:pt x="11140324" y="1364736"/>
                </a:cubicBezTo>
                <a:lnTo>
                  <a:pt x="11139266" y="1369228"/>
                </a:lnTo>
                <a:lnTo>
                  <a:pt x="11297806" y="1320298"/>
                </a:lnTo>
                <a:cubicBezTo>
                  <a:pt x="11346667" y="1306668"/>
                  <a:pt x="11395972" y="1298990"/>
                  <a:pt x="11446716" y="1297193"/>
                </a:cubicBezTo>
                <a:cubicBezTo>
                  <a:pt x="11450759" y="1297888"/>
                  <a:pt x="11454727" y="1297592"/>
                  <a:pt x="11458695" y="1297294"/>
                </a:cubicBezTo>
                <a:cubicBezTo>
                  <a:pt x="11464722" y="1297842"/>
                  <a:pt x="11469756" y="1298463"/>
                  <a:pt x="11471267" y="1305334"/>
                </a:cubicBezTo>
                <a:cubicBezTo>
                  <a:pt x="11472853" y="1313196"/>
                  <a:pt x="11467049" y="1315626"/>
                  <a:pt x="11461171" y="1317063"/>
                </a:cubicBezTo>
                <a:cubicBezTo>
                  <a:pt x="11447431" y="1320086"/>
                  <a:pt x="11433616" y="1322116"/>
                  <a:pt x="11419876" y="1325139"/>
                </a:cubicBezTo>
                <a:cubicBezTo>
                  <a:pt x="11414990" y="1326502"/>
                  <a:pt x="11410177" y="1328857"/>
                  <a:pt x="11405440" y="1332204"/>
                </a:cubicBezTo>
                <a:cubicBezTo>
                  <a:pt x="11422823" y="1337888"/>
                  <a:pt x="11439614" y="1335635"/>
                  <a:pt x="11456257" y="1331398"/>
                </a:cubicBezTo>
                <a:cubicBezTo>
                  <a:pt x="11537559" y="1311352"/>
                  <a:pt x="11620298" y="1297185"/>
                  <a:pt x="11703928" y="1294923"/>
                </a:cubicBezTo>
                <a:cubicBezTo>
                  <a:pt x="11808389" y="1291103"/>
                  <a:pt x="11908828" y="1313524"/>
                  <a:pt x="12009562" y="1339913"/>
                </a:cubicBezTo>
                <a:lnTo>
                  <a:pt x="12145400" y="1382661"/>
                </a:lnTo>
                <a:lnTo>
                  <a:pt x="12141852" y="1377822"/>
                </a:lnTo>
                <a:cubicBezTo>
                  <a:pt x="12137860" y="1376315"/>
                  <a:pt x="12136786" y="1373220"/>
                  <a:pt x="12137943" y="1369063"/>
                </a:cubicBezTo>
                <a:cubicBezTo>
                  <a:pt x="12138426" y="1366296"/>
                  <a:pt x="12137362" y="1364064"/>
                  <a:pt x="12136466" y="1361485"/>
                </a:cubicBezTo>
                <a:cubicBezTo>
                  <a:pt x="12133968" y="1355127"/>
                  <a:pt x="12134240" y="1349254"/>
                  <a:pt x="12139010" y="1343848"/>
                </a:cubicBezTo>
                <a:cubicBezTo>
                  <a:pt x="12141736" y="1340883"/>
                  <a:pt x="12142546" y="1336557"/>
                  <a:pt x="12140082" y="1332787"/>
                </a:cubicBezTo>
                <a:cubicBezTo>
                  <a:pt x="12140754" y="1331399"/>
                  <a:pt x="12141428" y="1330011"/>
                  <a:pt x="12142101" y="1328622"/>
                </a:cubicBezTo>
                <a:cubicBezTo>
                  <a:pt x="12146074" y="1328403"/>
                  <a:pt x="12148474" y="1326995"/>
                  <a:pt x="12150316" y="1322313"/>
                </a:cubicBezTo>
                <a:cubicBezTo>
                  <a:pt x="12153001" y="1315896"/>
                  <a:pt x="12158138" y="1312384"/>
                  <a:pt x="12165766" y="1314368"/>
                </a:cubicBezTo>
                <a:cubicBezTo>
                  <a:pt x="12169062" y="1315538"/>
                  <a:pt x="12169546" y="1312771"/>
                  <a:pt x="12170557" y="1310688"/>
                </a:cubicBezTo>
                <a:cubicBezTo>
                  <a:pt x="12172241" y="1307216"/>
                  <a:pt x="12173968" y="1307197"/>
                  <a:pt x="12175571" y="1310976"/>
                </a:cubicBezTo>
                <a:cubicBezTo>
                  <a:pt x="12178057" y="1316471"/>
                  <a:pt x="12180839" y="1317820"/>
                  <a:pt x="12184744" y="1312425"/>
                </a:cubicBezTo>
                <a:cubicBezTo>
                  <a:pt x="12185765" y="1311205"/>
                  <a:pt x="12187650" y="1309974"/>
                  <a:pt x="12188199" y="1312384"/>
                </a:cubicBezTo>
                <a:lnTo>
                  <a:pt x="12192528" y="1316854"/>
                </a:lnTo>
                <a:lnTo>
                  <a:pt x="12192528" y="1502417"/>
                </a:lnTo>
                <a:lnTo>
                  <a:pt x="12172292" y="1494365"/>
                </a:lnTo>
                <a:cubicBezTo>
                  <a:pt x="12133996" y="1481008"/>
                  <a:pt x="12095051" y="1469281"/>
                  <a:pt x="12055557" y="1459253"/>
                </a:cubicBezTo>
                <a:lnTo>
                  <a:pt x="12041903" y="1456628"/>
                </a:lnTo>
                <a:lnTo>
                  <a:pt x="12041538" y="1462401"/>
                </a:lnTo>
                <a:cubicBezTo>
                  <a:pt x="12041767" y="1466401"/>
                  <a:pt x="12041645" y="1470229"/>
                  <a:pt x="12042045" y="1473880"/>
                </a:cubicBezTo>
                <a:lnTo>
                  <a:pt x="12045528" y="1483851"/>
                </a:lnTo>
                <a:lnTo>
                  <a:pt x="12181815" y="1525576"/>
                </a:lnTo>
                <a:lnTo>
                  <a:pt x="12192528" y="1530531"/>
                </a:lnTo>
                <a:lnTo>
                  <a:pt x="12192528" y="1654878"/>
                </a:lnTo>
                <a:lnTo>
                  <a:pt x="12189630" y="1653690"/>
                </a:lnTo>
                <a:cubicBezTo>
                  <a:pt x="12185270" y="1651613"/>
                  <a:pt x="12182105" y="1649447"/>
                  <a:pt x="12176969" y="1645025"/>
                </a:cubicBezTo>
                <a:cubicBezTo>
                  <a:pt x="12176969" y="1645025"/>
                  <a:pt x="12174400" y="1642814"/>
                  <a:pt x="12174400" y="1642814"/>
                </a:cubicBezTo>
                <a:cubicBezTo>
                  <a:pt x="12174400" y="1642814"/>
                  <a:pt x="12174400" y="1642814"/>
                  <a:pt x="12172010" y="1642993"/>
                </a:cubicBezTo>
                <a:cubicBezTo>
                  <a:pt x="12172010" y="1642993"/>
                  <a:pt x="12172189" y="1645382"/>
                  <a:pt x="12172189" y="1645382"/>
                </a:cubicBezTo>
                <a:cubicBezTo>
                  <a:pt x="12172189" y="1645382"/>
                  <a:pt x="12169798" y="1645561"/>
                  <a:pt x="12167232" y="1643350"/>
                </a:cubicBezTo>
                <a:cubicBezTo>
                  <a:pt x="12167232" y="1643350"/>
                  <a:pt x="12167232" y="1643350"/>
                  <a:pt x="12169620" y="1643171"/>
                </a:cubicBezTo>
                <a:cubicBezTo>
                  <a:pt x="12169620" y="1643171"/>
                  <a:pt x="12169620" y="1643171"/>
                  <a:pt x="12169442" y="1640781"/>
                </a:cubicBezTo>
                <a:cubicBezTo>
                  <a:pt x="12167053" y="1640960"/>
                  <a:pt x="12167053" y="1640960"/>
                  <a:pt x="12164664" y="1641139"/>
                </a:cubicBezTo>
                <a:cubicBezTo>
                  <a:pt x="12162096" y="1638928"/>
                  <a:pt x="12162096" y="1638928"/>
                  <a:pt x="12162096" y="1638928"/>
                </a:cubicBezTo>
                <a:cubicBezTo>
                  <a:pt x="12159527" y="1636718"/>
                  <a:pt x="12147224" y="1632831"/>
                  <a:pt x="12154927" y="1639464"/>
                </a:cubicBezTo>
                <a:cubicBezTo>
                  <a:pt x="12152359" y="1637253"/>
                  <a:pt x="12152359" y="1637253"/>
                  <a:pt x="12149969" y="1637432"/>
                </a:cubicBezTo>
                <a:cubicBezTo>
                  <a:pt x="12149969" y="1637432"/>
                  <a:pt x="12150149" y="1639821"/>
                  <a:pt x="12152538" y="1639642"/>
                </a:cubicBezTo>
                <a:cubicBezTo>
                  <a:pt x="12152538" y="1639642"/>
                  <a:pt x="12152717" y="1642032"/>
                  <a:pt x="12155105" y="1641854"/>
                </a:cubicBezTo>
                <a:cubicBezTo>
                  <a:pt x="12152717" y="1642032"/>
                  <a:pt x="12150327" y="1642211"/>
                  <a:pt x="12150327" y="1642211"/>
                </a:cubicBezTo>
                <a:cubicBezTo>
                  <a:pt x="12147759" y="1640001"/>
                  <a:pt x="12142802" y="1637968"/>
                  <a:pt x="12135455" y="1636114"/>
                </a:cubicBezTo>
                <a:cubicBezTo>
                  <a:pt x="12125540" y="1632051"/>
                  <a:pt x="12115625" y="1627985"/>
                  <a:pt x="12108279" y="1626133"/>
                </a:cubicBezTo>
                <a:cubicBezTo>
                  <a:pt x="12105888" y="1626311"/>
                  <a:pt x="12105711" y="1623922"/>
                  <a:pt x="12105711" y="1623922"/>
                </a:cubicBezTo>
                <a:cubicBezTo>
                  <a:pt x="12105711" y="1623922"/>
                  <a:pt x="12103321" y="1624101"/>
                  <a:pt x="12103321" y="1624101"/>
                </a:cubicBezTo>
                <a:cubicBezTo>
                  <a:pt x="12098542" y="1624458"/>
                  <a:pt x="12093586" y="1622426"/>
                  <a:pt x="12091016" y="1620214"/>
                </a:cubicBezTo>
                <a:cubicBezTo>
                  <a:pt x="12088628" y="1620393"/>
                  <a:pt x="12083670" y="1618361"/>
                  <a:pt x="12081281" y="1618540"/>
                </a:cubicBezTo>
                <a:cubicBezTo>
                  <a:pt x="12076323" y="1616508"/>
                  <a:pt x="12068797" y="1612265"/>
                  <a:pt x="12063841" y="1610233"/>
                </a:cubicBezTo>
                <a:cubicBezTo>
                  <a:pt x="12063662" y="1607843"/>
                  <a:pt x="12063662" y="1607843"/>
                  <a:pt x="12063662" y="1607843"/>
                </a:cubicBezTo>
                <a:cubicBezTo>
                  <a:pt x="12061272" y="1608022"/>
                  <a:pt x="12061272" y="1608022"/>
                  <a:pt x="12058883" y="1608200"/>
                </a:cubicBezTo>
                <a:cubicBezTo>
                  <a:pt x="12056314" y="1605990"/>
                  <a:pt x="12056494" y="1608380"/>
                  <a:pt x="12056494" y="1608380"/>
                </a:cubicBezTo>
                <a:cubicBezTo>
                  <a:pt x="12059062" y="1610589"/>
                  <a:pt x="12059062" y="1610589"/>
                  <a:pt x="12059062" y="1610589"/>
                </a:cubicBezTo>
                <a:cubicBezTo>
                  <a:pt x="12054103" y="1608558"/>
                  <a:pt x="12046399" y="1601925"/>
                  <a:pt x="12041800" y="1604673"/>
                </a:cubicBezTo>
                <a:cubicBezTo>
                  <a:pt x="12041620" y="1602283"/>
                  <a:pt x="12041620" y="1602283"/>
                  <a:pt x="12039231" y="1602462"/>
                </a:cubicBezTo>
                <a:cubicBezTo>
                  <a:pt x="12036664" y="1600250"/>
                  <a:pt x="12036842" y="1602640"/>
                  <a:pt x="12036842" y="1602640"/>
                </a:cubicBezTo>
                <a:cubicBezTo>
                  <a:pt x="12029317" y="1598396"/>
                  <a:pt x="12022505" y="1603712"/>
                  <a:pt x="12019759" y="1599111"/>
                </a:cubicBezTo>
                <a:cubicBezTo>
                  <a:pt x="12022149" y="1598933"/>
                  <a:pt x="12022149" y="1598933"/>
                  <a:pt x="12022149" y="1598933"/>
                </a:cubicBezTo>
                <a:cubicBezTo>
                  <a:pt x="12027106" y="1600965"/>
                  <a:pt x="12029495" y="1600787"/>
                  <a:pt x="12029317" y="1598396"/>
                </a:cubicBezTo>
                <a:cubicBezTo>
                  <a:pt x="12029317" y="1598396"/>
                  <a:pt x="12026748" y="1596186"/>
                  <a:pt x="12024359" y="1596365"/>
                </a:cubicBezTo>
                <a:cubicBezTo>
                  <a:pt x="12021792" y="1594155"/>
                  <a:pt x="12021792" y="1594155"/>
                  <a:pt x="12021792" y="1594155"/>
                </a:cubicBezTo>
                <a:cubicBezTo>
                  <a:pt x="12021434" y="1589376"/>
                  <a:pt x="12028780" y="1591229"/>
                  <a:pt x="12031528" y="1595829"/>
                </a:cubicBezTo>
                <a:cubicBezTo>
                  <a:pt x="12028780" y="1591229"/>
                  <a:pt x="12040908" y="1592726"/>
                  <a:pt x="12033559" y="1590872"/>
                </a:cubicBezTo>
                <a:cubicBezTo>
                  <a:pt x="12029139" y="1596009"/>
                  <a:pt x="12025677" y="1581850"/>
                  <a:pt x="12016298" y="1584954"/>
                </a:cubicBezTo>
                <a:cubicBezTo>
                  <a:pt x="12013730" y="1582743"/>
                  <a:pt x="12013730" y="1582743"/>
                  <a:pt x="12013730" y="1582743"/>
                </a:cubicBezTo>
                <a:cubicBezTo>
                  <a:pt x="12013730" y="1582743"/>
                  <a:pt x="12011341" y="1582922"/>
                  <a:pt x="12011341" y="1582922"/>
                </a:cubicBezTo>
                <a:cubicBezTo>
                  <a:pt x="12008772" y="1580712"/>
                  <a:pt x="12008951" y="1583101"/>
                  <a:pt x="12008951" y="1583101"/>
                </a:cubicBezTo>
                <a:cubicBezTo>
                  <a:pt x="12011341" y="1582922"/>
                  <a:pt x="12011519" y="1585311"/>
                  <a:pt x="12011519" y="1585311"/>
                </a:cubicBezTo>
                <a:cubicBezTo>
                  <a:pt x="12009130" y="1585491"/>
                  <a:pt x="12004172" y="1583457"/>
                  <a:pt x="12004351" y="1585847"/>
                </a:cubicBezTo>
                <a:cubicBezTo>
                  <a:pt x="12006919" y="1588059"/>
                  <a:pt x="12001961" y="1586026"/>
                  <a:pt x="12002139" y="1588415"/>
                </a:cubicBezTo>
                <a:cubicBezTo>
                  <a:pt x="12007099" y="1590447"/>
                  <a:pt x="12009487" y="1590269"/>
                  <a:pt x="12014444" y="1592300"/>
                </a:cubicBezTo>
                <a:cubicBezTo>
                  <a:pt x="12012055" y="1592480"/>
                  <a:pt x="12012055" y="1592480"/>
                  <a:pt x="12012055" y="1592480"/>
                </a:cubicBezTo>
                <a:cubicBezTo>
                  <a:pt x="12009665" y="1592658"/>
                  <a:pt x="12007275" y="1592837"/>
                  <a:pt x="12007456" y="1595226"/>
                </a:cubicBezTo>
                <a:lnTo>
                  <a:pt x="12011728" y="1596978"/>
                </a:lnTo>
                <a:lnTo>
                  <a:pt x="12007291" y="1597041"/>
                </a:lnTo>
                <a:cubicBezTo>
                  <a:pt x="12003916" y="1596092"/>
                  <a:pt x="12000197" y="1594568"/>
                  <a:pt x="11995331" y="1593730"/>
                </a:cubicBezTo>
                <a:cubicBezTo>
                  <a:pt x="12010380" y="1602216"/>
                  <a:pt x="11993119" y="1596298"/>
                  <a:pt x="11988697" y="1601434"/>
                </a:cubicBezTo>
                <a:cubicBezTo>
                  <a:pt x="11986129" y="1599224"/>
                  <a:pt x="11990908" y="1598866"/>
                  <a:pt x="11990908" y="1598866"/>
                </a:cubicBezTo>
                <a:cubicBezTo>
                  <a:pt x="11990730" y="1596477"/>
                  <a:pt x="11990730" y="1596477"/>
                  <a:pt x="11990730" y="1596477"/>
                </a:cubicBezTo>
                <a:cubicBezTo>
                  <a:pt x="11993119" y="1596298"/>
                  <a:pt x="11993119" y="1596298"/>
                  <a:pt x="11990551" y="1594088"/>
                </a:cubicBezTo>
                <a:cubicBezTo>
                  <a:pt x="11990551" y="1594088"/>
                  <a:pt x="11988160" y="1594266"/>
                  <a:pt x="11985771" y="1594444"/>
                </a:cubicBezTo>
                <a:cubicBezTo>
                  <a:pt x="11983384" y="1594622"/>
                  <a:pt x="11983384" y="1594622"/>
                  <a:pt x="11983384" y="1594622"/>
                </a:cubicBezTo>
                <a:cubicBezTo>
                  <a:pt x="11980814" y="1592413"/>
                  <a:pt x="11983024" y="1589845"/>
                  <a:pt x="11978246" y="1590202"/>
                </a:cubicBezTo>
                <a:cubicBezTo>
                  <a:pt x="11980635" y="1590023"/>
                  <a:pt x="11980635" y="1590023"/>
                  <a:pt x="11983024" y="1589845"/>
                </a:cubicBezTo>
                <a:cubicBezTo>
                  <a:pt x="11985414" y="1589666"/>
                  <a:pt x="11985235" y="1587276"/>
                  <a:pt x="11982847" y="1587455"/>
                </a:cubicBezTo>
                <a:cubicBezTo>
                  <a:pt x="11982668" y="1585065"/>
                  <a:pt x="11980279" y="1585244"/>
                  <a:pt x="11977889" y="1585423"/>
                </a:cubicBezTo>
                <a:cubicBezTo>
                  <a:pt x="11975499" y="1585601"/>
                  <a:pt x="11975499" y="1585601"/>
                  <a:pt x="11973110" y="1585780"/>
                </a:cubicBezTo>
                <a:cubicBezTo>
                  <a:pt x="11968332" y="1586138"/>
                  <a:pt x="11963730" y="1588884"/>
                  <a:pt x="11968688" y="1590916"/>
                </a:cubicBezTo>
                <a:cubicBezTo>
                  <a:pt x="11966300" y="1591096"/>
                  <a:pt x="11966300" y="1591096"/>
                  <a:pt x="11966478" y="1593484"/>
                </a:cubicBezTo>
                <a:cubicBezTo>
                  <a:pt x="11966478" y="1593484"/>
                  <a:pt x="11966478" y="1593484"/>
                  <a:pt x="11969047" y="1595695"/>
                </a:cubicBezTo>
                <a:cubicBezTo>
                  <a:pt x="11966656" y="1595873"/>
                  <a:pt x="11961699" y="1593842"/>
                  <a:pt x="11956920" y="1594199"/>
                </a:cubicBezTo>
                <a:cubicBezTo>
                  <a:pt x="11961699" y="1593842"/>
                  <a:pt x="11966656" y="1595873"/>
                  <a:pt x="11964088" y="1593664"/>
                </a:cubicBezTo>
                <a:cubicBezTo>
                  <a:pt x="11961342" y="1589063"/>
                  <a:pt x="11956920" y="1594199"/>
                  <a:pt x="11954174" y="1589599"/>
                </a:cubicBezTo>
                <a:cubicBezTo>
                  <a:pt x="11953994" y="1587209"/>
                  <a:pt x="11953994" y="1587209"/>
                  <a:pt x="11953994" y="1587209"/>
                </a:cubicBezTo>
                <a:cubicBezTo>
                  <a:pt x="11953994" y="1587209"/>
                  <a:pt x="11953994" y="1587209"/>
                  <a:pt x="11951606" y="1587387"/>
                </a:cubicBezTo>
                <a:cubicBezTo>
                  <a:pt x="11951606" y="1587387"/>
                  <a:pt x="11951606" y="1587387"/>
                  <a:pt x="11949216" y="1587567"/>
                </a:cubicBezTo>
                <a:cubicBezTo>
                  <a:pt x="11949395" y="1589957"/>
                  <a:pt x="11949395" y="1589957"/>
                  <a:pt x="11949395" y="1589957"/>
                </a:cubicBezTo>
                <a:cubicBezTo>
                  <a:pt x="11946826" y="1587745"/>
                  <a:pt x="11946826" y="1587745"/>
                  <a:pt x="11944259" y="1585534"/>
                </a:cubicBezTo>
                <a:lnTo>
                  <a:pt x="11934701" y="1586249"/>
                </a:lnTo>
                <a:lnTo>
                  <a:pt x="11926526" y="1585359"/>
                </a:lnTo>
                <a:cubicBezTo>
                  <a:pt x="11925009" y="1585171"/>
                  <a:pt x="11923770" y="1584664"/>
                  <a:pt x="11920008" y="1582542"/>
                </a:cubicBezTo>
                <a:cubicBezTo>
                  <a:pt x="11922397" y="1582364"/>
                  <a:pt x="11922218" y="1579974"/>
                  <a:pt x="11922218" y="1579974"/>
                </a:cubicBezTo>
                <a:cubicBezTo>
                  <a:pt x="11922218" y="1579974"/>
                  <a:pt x="11919829" y="1580152"/>
                  <a:pt x="11919829" y="1580152"/>
                </a:cubicBezTo>
                <a:cubicBezTo>
                  <a:pt x="11919651" y="1577764"/>
                  <a:pt x="11919651" y="1577764"/>
                  <a:pt x="11919651" y="1577764"/>
                </a:cubicBezTo>
                <a:cubicBezTo>
                  <a:pt x="11934344" y="1581471"/>
                  <a:pt x="11922040" y="1577585"/>
                  <a:pt x="11921861" y="1575196"/>
                </a:cubicBezTo>
                <a:cubicBezTo>
                  <a:pt x="11929208" y="1577049"/>
                  <a:pt x="11936555" y="1578902"/>
                  <a:pt x="11943723" y="1578366"/>
                </a:cubicBezTo>
                <a:cubicBezTo>
                  <a:pt x="11943901" y="1580756"/>
                  <a:pt x="11943901" y="1580756"/>
                  <a:pt x="11943901" y="1580756"/>
                </a:cubicBezTo>
                <a:cubicBezTo>
                  <a:pt x="11948858" y="1582788"/>
                  <a:pt x="11951248" y="1582609"/>
                  <a:pt x="11953637" y="1582431"/>
                </a:cubicBezTo>
                <a:cubicBezTo>
                  <a:pt x="11948680" y="1580398"/>
                  <a:pt x="11946291" y="1580578"/>
                  <a:pt x="11946112" y="1578188"/>
                </a:cubicBezTo>
                <a:cubicBezTo>
                  <a:pt x="11953458" y="1580041"/>
                  <a:pt x="11953279" y="1577651"/>
                  <a:pt x="11958237" y="1579684"/>
                </a:cubicBezTo>
                <a:cubicBezTo>
                  <a:pt x="11958237" y="1579684"/>
                  <a:pt x="11960629" y="1579505"/>
                  <a:pt x="11960807" y="1581895"/>
                </a:cubicBezTo>
                <a:cubicBezTo>
                  <a:pt x="11963195" y="1581716"/>
                  <a:pt x="11963195" y="1581716"/>
                  <a:pt x="11963195" y="1581716"/>
                </a:cubicBezTo>
                <a:cubicBezTo>
                  <a:pt x="11965586" y="1581537"/>
                  <a:pt x="11967974" y="1581359"/>
                  <a:pt x="11965405" y="1579148"/>
                </a:cubicBezTo>
                <a:cubicBezTo>
                  <a:pt x="11962837" y="1576937"/>
                  <a:pt x="11962837" y="1576937"/>
                  <a:pt x="11962837" y="1576937"/>
                </a:cubicBezTo>
                <a:cubicBezTo>
                  <a:pt x="11962659" y="1574548"/>
                  <a:pt x="11960269" y="1574727"/>
                  <a:pt x="11957881" y="1574905"/>
                </a:cubicBezTo>
                <a:cubicBezTo>
                  <a:pt x="11955491" y="1575084"/>
                  <a:pt x="11955491" y="1575084"/>
                  <a:pt x="11955491" y="1575084"/>
                </a:cubicBezTo>
                <a:cubicBezTo>
                  <a:pt x="11955670" y="1577473"/>
                  <a:pt x="11955670" y="1577473"/>
                  <a:pt x="11955670" y="1577473"/>
                </a:cubicBezTo>
                <a:cubicBezTo>
                  <a:pt x="11948502" y="1578008"/>
                  <a:pt x="11931240" y="1572091"/>
                  <a:pt x="11921682" y="1572806"/>
                </a:cubicBezTo>
                <a:cubicBezTo>
                  <a:pt x="11919114" y="1570595"/>
                  <a:pt x="11919114" y="1570595"/>
                  <a:pt x="11919114" y="1570595"/>
                </a:cubicBezTo>
                <a:cubicBezTo>
                  <a:pt x="11919114" y="1570595"/>
                  <a:pt x="11919114" y="1570595"/>
                  <a:pt x="11916724" y="1570775"/>
                </a:cubicBezTo>
                <a:cubicBezTo>
                  <a:pt x="11916724" y="1570775"/>
                  <a:pt x="11914336" y="1570953"/>
                  <a:pt x="11914336" y="1570953"/>
                </a:cubicBezTo>
                <a:cubicBezTo>
                  <a:pt x="11909557" y="1571310"/>
                  <a:pt x="11902210" y="1569456"/>
                  <a:pt x="11899642" y="1567246"/>
                </a:cubicBezTo>
                <a:cubicBezTo>
                  <a:pt x="11899820" y="1569635"/>
                  <a:pt x="11899820" y="1569635"/>
                  <a:pt x="11899820" y="1569635"/>
                </a:cubicBezTo>
                <a:cubicBezTo>
                  <a:pt x="11897253" y="1567424"/>
                  <a:pt x="11897253" y="1567424"/>
                  <a:pt x="11897253" y="1567424"/>
                </a:cubicBezTo>
                <a:cubicBezTo>
                  <a:pt x="11897253" y="1567424"/>
                  <a:pt x="11894685" y="1565213"/>
                  <a:pt x="11892295" y="1565391"/>
                </a:cubicBezTo>
                <a:cubicBezTo>
                  <a:pt x="11892295" y="1565391"/>
                  <a:pt x="11889906" y="1565571"/>
                  <a:pt x="11890083" y="1567961"/>
                </a:cubicBezTo>
                <a:cubicBezTo>
                  <a:pt x="11866012" y="1567357"/>
                  <a:pt x="11853529" y="1561082"/>
                  <a:pt x="11836982" y="1564722"/>
                </a:cubicBezTo>
                <a:cubicBezTo>
                  <a:pt x="11836803" y="1562333"/>
                  <a:pt x="11834416" y="1562511"/>
                  <a:pt x="11832026" y="1562690"/>
                </a:cubicBezTo>
                <a:cubicBezTo>
                  <a:pt x="11832026" y="1562690"/>
                  <a:pt x="11829635" y="1562868"/>
                  <a:pt x="11829635" y="1562868"/>
                </a:cubicBezTo>
                <a:cubicBezTo>
                  <a:pt x="11829813" y="1565258"/>
                  <a:pt x="11829813" y="1565258"/>
                  <a:pt x="11829813" y="1565258"/>
                </a:cubicBezTo>
                <a:cubicBezTo>
                  <a:pt x="11827068" y="1560658"/>
                  <a:pt x="11819899" y="1561194"/>
                  <a:pt x="11815120" y="1561551"/>
                </a:cubicBezTo>
                <a:cubicBezTo>
                  <a:pt x="11815120" y="1561551"/>
                  <a:pt x="11812730" y="1561730"/>
                  <a:pt x="11812730" y="1561730"/>
                </a:cubicBezTo>
                <a:cubicBezTo>
                  <a:pt x="11810163" y="1559519"/>
                  <a:pt x="11810163" y="1559519"/>
                  <a:pt x="11807953" y="1562088"/>
                </a:cubicBezTo>
                <a:cubicBezTo>
                  <a:pt x="11805563" y="1562266"/>
                  <a:pt x="11805563" y="1562266"/>
                  <a:pt x="11805563" y="1562266"/>
                </a:cubicBezTo>
                <a:cubicBezTo>
                  <a:pt x="11805563" y="1562266"/>
                  <a:pt x="11805385" y="1559876"/>
                  <a:pt x="11802995" y="1560055"/>
                </a:cubicBezTo>
                <a:cubicBezTo>
                  <a:pt x="11802995" y="1560055"/>
                  <a:pt x="11802995" y="1560055"/>
                  <a:pt x="11800605" y="1560235"/>
                </a:cubicBezTo>
                <a:cubicBezTo>
                  <a:pt x="11796005" y="1562981"/>
                  <a:pt x="11785913" y="1556526"/>
                  <a:pt x="11786270" y="1561305"/>
                </a:cubicBezTo>
                <a:cubicBezTo>
                  <a:pt x="11786270" y="1561305"/>
                  <a:pt x="11786270" y="1561305"/>
                  <a:pt x="11783880" y="1561484"/>
                </a:cubicBezTo>
                <a:cubicBezTo>
                  <a:pt x="11781491" y="1561662"/>
                  <a:pt x="11779101" y="1561842"/>
                  <a:pt x="11779101" y="1561842"/>
                </a:cubicBezTo>
                <a:cubicBezTo>
                  <a:pt x="11779101" y="1561842"/>
                  <a:pt x="11776711" y="1562020"/>
                  <a:pt x="11776711" y="1562020"/>
                </a:cubicBezTo>
                <a:cubicBezTo>
                  <a:pt x="11773965" y="1557420"/>
                  <a:pt x="11764764" y="1562913"/>
                  <a:pt x="11759986" y="1563271"/>
                </a:cubicBezTo>
                <a:cubicBezTo>
                  <a:pt x="11752817" y="1563806"/>
                  <a:pt x="11757240" y="1558670"/>
                  <a:pt x="11750071" y="1559207"/>
                </a:cubicBezTo>
                <a:cubicBezTo>
                  <a:pt x="11750071" y="1559207"/>
                  <a:pt x="11747681" y="1559384"/>
                  <a:pt x="11747503" y="1556995"/>
                </a:cubicBezTo>
                <a:cubicBezTo>
                  <a:pt x="11747503" y="1556995"/>
                  <a:pt x="11745114" y="1557175"/>
                  <a:pt x="11745114" y="1557175"/>
                </a:cubicBezTo>
                <a:cubicBezTo>
                  <a:pt x="11742726" y="1557353"/>
                  <a:pt x="11742726" y="1557353"/>
                  <a:pt x="11745293" y="1559563"/>
                </a:cubicBezTo>
                <a:cubicBezTo>
                  <a:pt x="11745293" y="1559563"/>
                  <a:pt x="11745293" y="1559563"/>
                  <a:pt x="11747681" y="1559384"/>
                </a:cubicBezTo>
                <a:cubicBezTo>
                  <a:pt x="11743082" y="1562131"/>
                  <a:pt x="11738124" y="1560099"/>
                  <a:pt x="11738304" y="1562489"/>
                </a:cubicBezTo>
                <a:cubicBezTo>
                  <a:pt x="11730957" y="1560636"/>
                  <a:pt x="11738124" y="1560099"/>
                  <a:pt x="11737946" y="1557710"/>
                </a:cubicBezTo>
                <a:lnTo>
                  <a:pt x="11740023" y="1555298"/>
                </a:lnTo>
                <a:lnTo>
                  <a:pt x="11753411" y="1555164"/>
                </a:lnTo>
                <a:cubicBezTo>
                  <a:pt x="11766989" y="1554487"/>
                  <a:pt x="11775400" y="1552507"/>
                  <a:pt x="11787943" y="1551570"/>
                </a:cubicBezTo>
                <a:cubicBezTo>
                  <a:pt x="11787943" y="1551570"/>
                  <a:pt x="11788121" y="1553958"/>
                  <a:pt x="11790511" y="1553780"/>
                </a:cubicBezTo>
                <a:cubicBezTo>
                  <a:pt x="11790511" y="1553780"/>
                  <a:pt x="11792903" y="1553602"/>
                  <a:pt x="11792903" y="1553602"/>
                </a:cubicBezTo>
                <a:cubicBezTo>
                  <a:pt x="11800070" y="1553065"/>
                  <a:pt x="11802458" y="1552887"/>
                  <a:pt x="11804670" y="1550319"/>
                </a:cubicBezTo>
                <a:cubicBezTo>
                  <a:pt x="11795112" y="1551033"/>
                  <a:pt x="11795112" y="1551033"/>
                  <a:pt x="11795112" y="1551033"/>
                </a:cubicBezTo>
                <a:cubicBezTo>
                  <a:pt x="11795112" y="1551033"/>
                  <a:pt x="11797500" y="1550855"/>
                  <a:pt x="11797322" y="1548465"/>
                </a:cubicBezTo>
                <a:cubicBezTo>
                  <a:pt x="11797322" y="1548465"/>
                  <a:pt x="11794933" y="1548644"/>
                  <a:pt x="11794933" y="1548644"/>
                </a:cubicBezTo>
                <a:cubicBezTo>
                  <a:pt x="11792544" y="1548822"/>
                  <a:pt x="11792544" y="1548822"/>
                  <a:pt x="11792544" y="1548822"/>
                </a:cubicBezTo>
                <a:cubicBezTo>
                  <a:pt x="11790155" y="1549000"/>
                  <a:pt x="11790155" y="1549000"/>
                  <a:pt x="11790155" y="1549000"/>
                </a:cubicBezTo>
                <a:cubicBezTo>
                  <a:pt x="11785019" y="1544581"/>
                  <a:pt x="11782272" y="1539979"/>
                  <a:pt x="11765367" y="1538841"/>
                </a:cubicBezTo>
                <a:cubicBezTo>
                  <a:pt x="11752706" y="1530176"/>
                  <a:pt x="11728276" y="1524794"/>
                  <a:pt x="11711194" y="1521266"/>
                </a:cubicBezTo>
                <a:cubicBezTo>
                  <a:pt x="11708805" y="1521445"/>
                  <a:pt x="11708625" y="1519056"/>
                  <a:pt x="11708625" y="1519056"/>
                </a:cubicBezTo>
                <a:cubicBezTo>
                  <a:pt x="11708625" y="1519056"/>
                  <a:pt x="11708447" y="1516666"/>
                  <a:pt x="11706058" y="1516845"/>
                </a:cubicBezTo>
                <a:cubicBezTo>
                  <a:pt x="11706058" y="1516845"/>
                  <a:pt x="11708447" y="1516666"/>
                  <a:pt x="11708268" y="1514276"/>
                </a:cubicBezTo>
                <a:cubicBezTo>
                  <a:pt x="11703489" y="1514633"/>
                  <a:pt x="11701100" y="1514813"/>
                  <a:pt x="11701100" y="1514813"/>
                </a:cubicBezTo>
                <a:cubicBezTo>
                  <a:pt x="11686406" y="1511104"/>
                  <a:pt x="11667113" y="1510146"/>
                  <a:pt x="11654987" y="1508649"/>
                </a:cubicBezTo>
                <a:cubicBezTo>
                  <a:pt x="11652419" y="1506439"/>
                  <a:pt x="11657198" y="1506081"/>
                  <a:pt x="11659587" y="1505903"/>
                </a:cubicBezTo>
                <a:cubicBezTo>
                  <a:pt x="11652240" y="1504049"/>
                  <a:pt x="11623211" y="1501414"/>
                  <a:pt x="11629842" y="1493709"/>
                </a:cubicBezTo>
                <a:cubicBezTo>
                  <a:pt x="11634621" y="1493352"/>
                  <a:pt x="11634621" y="1493352"/>
                  <a:pt x="11634621" y="1493352"/>
                </a:cubicBezTo>
                <a:cubicBezTo>
                  <a:pt x="11637011" y="1493173"/>
                  <a:pt x="11637011" y="1493173"/>
                  <a:pt x="11637011" y="1493173"/>
                </a:cubicBezTo>
                <a:cubicBezTo>
                  <a:pt x="11637011" y="1493173"/>
                  <a:pt x="11636832" y="1490784"/>
                  <a:pt x="11634444" y="1490964"/>
                </a:cubicBezTo>
                <a:cubicBezTo>
                  <a:pt x="11629664" y="1491320"/>
                  <a:pt x="11629664" y="1491320"/>
                  <a:pt x="11629664" y="1491320"/>
                </a:cubicBezTo>
                <a:cubicBezTo>
                  <a:pt x="11639043" y="1488216"/>
                  <a:pt x="11653559" y="1489534"/>
                  <a:pt x="11667895" y="1488462"/>
                </a:cubicBezTo>
                <a:cubicBezTo>
                  <a:pt x="11678948" y="1475621"/>
                  <a:pt x="11637614" y="1469101"/>
                  <a:pt x="11603984" y="1469213"/>
                </a:cubicBezTo>
                <a:cubicBezTo>
                  <a:pt x="11601416" y="1467001"/>
                  <a:pt x="11603626" y="1464433"/>
                  <a:pt x="11596100" y="1460191"/>
                </a:cubicBezTo>
                <a:cubicBezTo>
                  <a:pt x="11603448" y="1462044"/>
                  <a:pt x="11603269" y="1459656"/>
                  <a:pt x="11603090" y="1457266"/>
                </a:cubicBezTo>
                <a:cubicBezTo>
                  <a:pt x="11622206" y="1455837"/>
                  <a:pt x="11641498" y="1456797"/>
                  <a:pt x="11660615" y="1455368"/>
                </a:cubicBezTo>
                <a:cubicBezTo>
                  <a:pt x="11672562" y="1454475"/>
                  <a:pt x="11660257" y="1450588"/>
                  <a:pt x="11669457" y="1445095"/>
                </a:cubicBezTo>
                <a:cubicBezTo>
                  <a:pt x="11681583" y="1446591"/>
                  <a:pt x="11686183" y="1443844"/>
                  <a:pt x="11700698" y="1445162"/>
                </a:cubicBezTo>
                <a:cubicBezTo>
                  <a:pt x="11700520" y="1442773"/>
                  <a:pt x="11695561" y="1440740"/>
                  <a:pt x="11686004" y="1441455"/>
                </a:cubicBezTo>
                <a:cubicBezTo>
                  <a:pt x="11690784" y="1441098"/>
                  <a:pt x="11695383" y="1438352"/>
                  <a:pt x="11705119" y="1440026"/>
                </a:cubicBezTo>
                <a:cubicBezTo>
                  <a:pt x="11700163" y="1437994"/>
                  <a:pt x="11702373" y="1435426"/>
                  <a:pt x="11695026" y="1433573"/>
                </a:cubicBezTo>
                <a:cubicBezTo>
                  <a:pt x="11736003" y="1435315"/>
                  <a:pt x="11776979" y="1437056"/>
                  <a:pt x="11818135" y="1441187"/>
                </a:cubicBezTo>
                <a:cubicBezTo>
                  <a:pt x="11822915" y="1440830"/>
                  <a:pt x="11827693" y="1440474"/>
                  <a:pt x="11830260" y="1442684"/>
                </a:cubicBezTo>
                <a:lnTo>
                  <a:pt x="12005870" y="1472296"/>
                </a:lnTo>
                <a:lnTo>
                  <a:pt x="12004793" y="1467472"/>
                </a:lnTo>
                <a:cubicBezTo>
                  <a:pt x="12002673" y="1465580"/>
                  <a:pt x="12001775" y="1463849"/>
                  <a:pt x="12001048" y="1461769"/>
                </a:cubicBezTo>
                <a:lnTo>
                  <a:pt x="12002499" y="1449052"/>
                </a:lnTo>
                <a:lnTo>
                  <a:pt x="11894890" y="1428363"/>
                </a:lnTo>
                <a:cubicBezTo>
                  <a:pt x="11840518" y="1421193"/>
                  <a:pt x="11785408" y="1417204"/>
                  <a:pt x="11729796" y="1416557"/>
                </a:cubicBezTo>
                <a:cubicBezTo>
                  <a:pt x="11698554" y="1416490"/>
                  <a:pt x="11669703" y="1416244"/>
                  <a:pt x="11638642" y="1418566"/>
                </a:cubicBezTo>
                <a:cubicBezTo>
                  <a:pt x="11638642" y="1418566"/>
                  <a:pt x="11638462" y="1416176"/>
                  <a:pt x="11636073" y="1416356"/>
                </a:cubicBezTo>
                <a:cubicBezTo>
                  <a:pt x="11628904" y="1416891"/>
                  <a:pt x="11628904" y="1416891"/>
                  <a:pt x="11628904" y="1416891"/>
                </a:cubicBezTo>
                <a:cubicBezTo>
                  <a:pt x="11628904" y="1416891"/>
                  <a:pt x="11626516" y="1417070"/>
                  <a:pt x="11626695" y="1419459"/>
                </a:cubicBezTo>
                <a:lnTo>
                  <a:pt x="11559791" y="1424462"/>
                </a:lnTo>
                <a:cubicBezTo>
                  <a:pt x="11507403" y="1430781"/>
                  <a:pt x="11457584" y="1439311"/>
                  <a:pt x="11405552" y="1450408"/>
                </a:cubicBezTo>
                <a:cubicBezTo>
                  <a:pt x="11363587" y="1459553"/>
                  <a:pt x="11322354" y="1470445"/>
                  <a:pt x="11281960" y="1483039"/>
                </a:cubicBezTo>
                <a:lnTo>
                  <a:pt x="11235063" y="1499986"/>
                </a:lnTo>
                <a:lnTo>
                  <a:pt x="11239348" y="1504926"/>
                </a:lnTo>
                <a:lnTo>
                  <a:pt x="11386016" y="1464785"/>
                </a:lnTo>
                <a:cubicBezTo>
                  <a:pt x="11439119" y="1453456"/>
                  <a:pt x="11493452" y="1445039"/>
                  <a:pt x="11548916" y="1439691"/>
                </a:cubicBezTo>
                <a:cubicBezTo>
                  <a:pt x="11549094" y="1442081"/>
                  <a:pt x="11549094" y="1442081"/>
                  <a:pt x="11549274" y="1444469"/>
                </a:cubicBezTo>
                <a:cubicBezTo>
                  <a:pt x="11516000" y="1449361"/>
                  <a:pt x="11502736" y="1464769"/>
                  <a:pt x="11481946" y="1475934"/>
                </a:cubicBezTo>
                <a:cubicBezTo>
                  <a:pt x="11481946" y="1475934"/>
                  <a:pt x="11486904" y="1477966"/>
                  <a:pt x="11491682" y="1477609"/>
                </a:cubicBezTo>
                <a:cubicBezTo>
                  <a:pt x="11482482" y="1483102"/>
                  <a:pt x="11463188" y="1482142"/>
                  <a:pt x="11449030" y="1485604"/>
                </a:cubicBezTo>
                <a:cubicBezTo>
                  <a:pt x="11437441" y="1491275"/>
                  <a:pt x="11418862" y="1499873"/>
                  <a:pt x="11418862" y="1499873"/>
                </a:cubicBezTo>
                <a:cubicBezTo>
                  <a:pt x="11421609" y="1504473"/>
                  <a:pt x="11431166" y="1503758"/>
                  <a:pt x="11443113" y="1502865"/>
                </a:cubicBezTo>
                <a:cubicBezTo>
                  <a:pt x="11443292" y="1505255"/>
                  <a:pt x="11440902" y="1505433"/>
                  <a:pt x="11440902" y="1505433"/>
                </a:cubicBezTo>
                <a:cubicBezTo>
                  <a:pt x="11438513" y="1505612"/>
                  <a:pt x="11438513" y="1505612"/>
                  <a:pt x="11438513" y="1505612"/>
                </a:cubicBezTo>
                <a:cubicBezTo>
                  <a:pt x="11438513" y="1505612"/>
                  <a:pt x="11436122" y="1505790"/>
                  <a:pt x="11436122" y="1505790"/>
                </a:cubicBezTo>
                <a:cubicBezTo>
                  <a:pt x="11436122" y="1505790"/>
                  <a:pt x="11433734" y="1505970"/>
                  <a:pt x="11431345" y="1506148"/>
                </a:cubicBezTo>
                <a:cubicBezTo>
                  <a:pt x="11431523" y="1508538"/>
                  <a:pt x="11431523" y="1508538"/>
                  <a:pt x="11433912" y="1508358"/>
                </a:cubicBezTo>
                <a:cubicBezTo>
                  <a:pt x="11433912" y="1508358"/>
                  <a:pt x="11436303" y="1508179"/>
                  <a:pt x="11436303" y="1508179"/>
                </a:cubicBezTo>
                <a:cubicBezTo>
                  <a:pt x="11438692" y="1508001"/>
                  <a:pt x="11438692" y="1508001"/>
                  <a:pt x="11438692" y="1508001"/>
                </a:cubicBezTo>
                <a:cubicBezTo>
                  <a:pt x="11424712" y="1513851"/>
                  <a:pt x="11443828" y="1512422"/>
                  <a:pt x="11446038" y="1509855"/>
                </a:cubicBezTo>
                <a:cubicBezTo>
                  <a:pt x="11448427" y="1509676"/>
                  <a:pt x="11448248" y="1507286"/>
                  <a:pt x="11448248" y="1507286"/>
                </a:cubicBezTo>
                <a:cubicBezTo>
                  <a:pt x="11448248" y="1507286"/>
                  <a:pt x="11445861" y="1507465"/>
                  <a:pt x="11445861" y="1507465"/>
                </a:cubicBezTo>
                <a:cubicBezTo>
                  <a:pt x="11443292" y="1505255"/>
                  <a:pt x="11443292" y="1505255"/>
                  <a:pt x="11443292" y="1505255"/>
                </a:cubicBezTo>
                <a:cubicBezTo>
                  <a:pt x="11443292" y="1505255"/>
                  <a:pt x="11448070" y="1504897"/>
                  <a:pt x="11450459" y="1504719"/>
                </a:cubicBezTo>
                <a:cubicBezTo>
                  <a:pt x="11452849" y="1504540"/>
                  <a:pt x="11452849" y="1504540"/>
                  <a:pt x="11452849" y="1504540"/>
                </a:cubicBezTo>
                <a:cubicBezTo>
                  <a:pt x="11469574" y="1503290"/>
                  <a:pt x="11481879" y="1507175"/>
                  <a:pt x="11472858" y="1515058"/>
                </a:cubicBezTo>
                <a:cubicBezTo>
                  <a:pt x="11460911" y="1515951"/>
                  <a:pt x="11461089" y="1518341"/>
                  <a:pt x="11444363" y="1519591"/>
                </a:cubicBezTo>
                <a:cubicBezTo>
                  <a:pt x="11442331" y="1524548"/>
                  <a:pt x="11451888" y="1523834"/>
                  <a:pt x="11454635" y="1528433"/>
                </a:cubicBezTo>
                <a:cubicBezTo>
                  <a:pt x="11433667" y="1537210"/>
                  <a:pt x="11398183" y="1544669"/>
                  <a:pt x="11399077" y="1556614"/>
                </a:cubicBezTo>
                <a:cubicBezTo>
                  <a:pt x="11399077" y="1556614"/>
                  <a:pt x="11396686" y="1556794"/>
                  <a:pt x="11396686" y="1556794"/>
                </a:cubicBezTo>
                <a:cubicBezTo>
                  <a:pt x="11396686" y="1556794"/>
                  <a:pt x="11391909" y="1557151"/>
                  <a:pt x="11391909" y="1557151"/>
                </a:cubicBezTo>
                <a:cubicBezTo>
                  <a:pt x="11389698" y="1559718"/>
                  <a:pt x="11387308" y="1559897"/>
                  <a:pt x="11389698" y="1559718"/>
                </a:cubicBezTo>
                <a:cubicBezTo>
                  <a:pt x="11385098" y="1562465"/>
                  <a:pt x="11377929" y="1563001"/>
                  <a:pt x="11363950" y="1568852"/>
                </a:cubicBezTo>
                <a:cubicBezTo>
                  <a:pt x="11359350" y="1571598"/>
                  <a:pt x="11356960" y="1571778"/>
                  <a:pt x="11354572" y="1571956"/>
                </a:cubicBezTo>
                <a:cubicBezTo>
                  <a:pt x="11354572" y="1571956"/>
                  <a:pt x="11352361" y="1574524"/>
                  <a:pt x="11352361" y="1574524"/>
                </a:cubicBezTo>
                <a:cubicBezTo>
                  <a:pt x="11349972" y="1574703"/>
                  <a:pt x="11349972" y="1574703"/>
                  <a:pt x="11349972" y="1574703"/>
                </a:cubicBezTo>
                <a:cubicBezTo>
                  <a:pt x="11347581" y="1574881"/>
                  <a:pt x="11350150" y="1577092"/>
                  <a:pt x="11350150" y="1577092"/>
                </a:cubicBezTo>
                <a:cubicBezTo>
                  <a:pt x="11347760" y="1577271"/>
                  <a:pt x="11347760" y="1577271"/>
                  <a:pt x="11347760" y="1577271"/>
                </a:cubicBezTo>
                <a:cubicBezTo>
                  <a:pt x="11347938" y="1579660"/>
                  <a:pt x="11338382" y="1580374"/>
                  <a:pt x="11338560" y="1582765"/>
                </a:cubicBezTo>
                <a:cubicBezTo>
                  <a:pt x="11350328" y="1579481"/>
                  <a:pt x="11340950" y="1582585"/>
                  <a:pt x="11345908" y="1584618"/>
                </a:cubicBezTo>
                <a:cubicBezTo>
                  <a:pt x="11331750" y="1588079"/>
                  <a:pt x="11350864" y="1586650"/>
                  <a:pt x="11341485" y="1589754"/>
                </a:cubicBezTo>
                <a:cubicBezTo>
                  <a:pt x="11327328" y="1593215"/>
                  <a:pt x="11327507" y="1595605"/>
                  <a:pt x="11320159" y="1593751"/>
                </a:cubicBezTo>
                <a:lnTo>
                  <a:pt x="11317664" y="1595200"/>
                </a:lnTo>
                <a:lnTo>
                  <a:pt x="11333078" y="1612970"/>
                </a:lnTo>
                <a:lnTo>
                  <a:pt x="11388303" y="1598219"/>
                </a:lnTo>
                <a:cubicBezTo>
                  <a:pt x="11407754" y="1593299"/>
                  <a:pt x="11427337" y="1589307"/>
                  <a:pt x="11447717" y="1588132"/>
                </a:cubicBezTo>
                <a:cubicBezTo>
                  <a:pt x="11451639" y="1587981"/>
                  <a:pt x="11455486" y="1585870"/>
                  <a:pt x="11458791" y="1590064"/>
                </a:cubicBezTo>
                <a:cubicBezTo>
                  <a:pt x="11460132" y="1594333"/>
                  <a:pt x="11456632" y="1595253"/>
                  <a:pt x="11454672" y="1595329"/>
                </a:cubicBezTo>
                <a:cubicBezTo>
                  <a:pt x="11422483" y="1600983"/>
                  <a:pt x="11390848" y="1608211"/>
                  <a:pt x="11359640" y="1616676"/>
                </a:cubicBezTo>
                <a:lnTo>
                  <a:pt x="11341256" y="1622396"/>
                </a:lnTo>
                <a:lnTo>
                  <a:pt x="11347775" y="1629910"/>
                </a:lnTo>
                <a:lnTo>
                  <a:pt x="11365669" y="1623987"/>
                </a:lnTo>
                <a:cubicBezTo>
                  <a:pt x="11370448" y="1623630"/>
                  <a:pt x="11375049" y="1620883"/>
                  <a:pt x="11382038" y="1617958"/>
                </a:cubicBezTo>
                <a:cubicBezTo>
                  <a:pt x="11389384" y="1619811"/>
                  <a:pt x="11389206" y="1617421"/>
                  <a:pt x="11389028" y="1615033"/>
                </a:cubicBezTo>
                <a:cubicBezTo>
                  <a:pt x="11391417" y="1614853"/>
                  <a:pt x="11391417" y="1614853"/>
                  <a:pt x="11391417" y="1614853"/>
                </a:cubicBezTo>
                <a:cubicBezTo>
                  <a:pt x="11393806" y="1614675"/>
                  <a:pt x="11396374" y="1616886"/>
                  <a:pt x="11398764" y="1616708"/>
                </a:cubicBezTo>
                <a:cubicBezTo>
                  <a:pt x="11398764" y="1616708"/>
                  <a:pt x="11401153" y="1616528"/>
                  <a:pt x="11401153" y="1616528"/>
                </a:cubicBezTo>
                <a:cubicBezTo>
                  <a:pt x="11403542" y="1616350"/>
                  <a:pt x="11403542" y="1616350"/>
                  <a:pt x="11405753" y="1613782"/>
                </a:cubicBezTo>
                <a:cubicBezTo>
                  <a:pt x="11405753" y="1613782"/>
                  <a:pt x="11405753" y="1613782"/>
                  <a:pt x="11405575" y="1611392"/>
                </a:cubicBezTo>
                <a:cubicBezTo>
                  <a:pt x="11417521" y="1610500"/>
                  <a:pt x="11417521" y="1610500"/>
                  <a:pt x="11417521" y="1610500"/>
                </a:cubicBezTo>
                <a:cubicBezTo>
                  <a:pt x="11417521" y="1610500"/>
                  <a:pt x="11419733" y="1607932"/>
                  <a:pt x="11419733" y="1607932"/>
                </a:cubicBezTo>
                <a:cubicBezTo>
                  <a:pt x="11419733" y="1607932"/>
                  <a:pt x="11417343" y="1608111"/>
                  <a:pt x="11417343" y="1608111"/>
                </a:cubicBezTo>
                <a:cubicBezTo>
                  <a:pt x="11405575" y="1611392"/>
                  <a:pt x="11405575" y="1611392"/>
                  <a:pt x="11405575" y="1611392"/>
                </a:cubicBezTo>
                <a:cubicBezTo>
                  <a:pt x="11405575" y="1611392"/>
                  <a:pt x="11405396" y="1609004"/>
                  <a:pt x="11405396" y="1609004"/>
                </a:cubicBezTo>
                <a:cubicBezTo>
                  <a:pt x="11407786" y="1608825"/>
                  <a:pt x="11410174" y="1608647"/>
                  <a:pt x="11410174" y="1608647"/>
                </a:cubicBezTo>
                <a:cubicBezTo>
                  <a:pt x="11412564" y="1608468"/>
                  <a:pt x="11412564" y="1608468"/>
                  <a:pt x="11412564" y="1608468"/>
                </a:cubicBezTo>
                <a:cubicBezTo>
                  <a:pt x="11414953" y="1608289"/>
                  <a:pt x="11417164" y="1605721"/>
                  <a:pt x="11419553" y="1605542"/>
                </a:cubicBezTo>
                <a:cubicBezTo>
                  <a:pt x="11421943" y="1605364"/>
                  <a:pt x="11424333" y="1605185"/>
                  <a:pt x="11429110" y="1604828"/>
                </a:cubicBezTo>
                <a:cubicBezTo>
                  <a:pt x="11426722" y="1605006"/>
                  <a:pt x="11426900" y="1607397"/>
                  <a:pt x="11426900" y="1607397"/>
                </a:cubicBezTo>
                <a:cubicBezTo>
                  <a:pt x="11426900" y="1607397"/>
                  <a:pt x="11429290" y="1607218"/>
                  <a:pt x="11431680" y="1607038"/>
                </a:cubicBezTo>
                <a:cubicBezTo>
                  <a:pt x="11431680" y="1607038"/>
                  <a:pt x="11434068" y="1606860"/>
                  <a:pt x="11436458" y="1606682"/>
                </a:cubicBezTo>
                <a:cubicBezTo>
                  <a:pt x="11438669" y="1604113"/>
                  <a:pt x="11441058" y="1603935"/>
                  <a:pt x="11443448" y="1603755"/>
                </a:cubicBezTo>
                <a:cubicBezTo>
                  <a:pt x="11445837" y="1603577"/>
                  <a:pt x="11445837" y="1603577"/>
                  <a:pt x="11448226" y="1603399"/>
                </a:cubicBezTo>
                <a:cubicBezTo>
                  <a:pt x="11450437" y="1600831"/>
                  <a:pt x="11450437" y="1600831"/>
                  <a:pt x="11450437" y="1600831"/>
                </a:cubicBezTo>
                <a:cubicBezTo>
                  <a:pt x="11452827" y="1600652"/>
                  <a:pt x="11455038" y="1598084"/>
                  <a:pt x="11457426" y="1597904"/>
                </a:cubicBezTo>
                <a:cubicBezTo>
                  <a:pt x="11459815" y="1597726"/>
                  <a:pt x="11462206" y="1597548"/>
                  <a:pt x="11462206" y="1597548"/>
                </a:cubicBezTo>
                <a:cubicBezTo>
                  <a:pt x="11462384" y="1599937"/>
                  <a:pt x="11462384" y="1599937"/>
                  <a:pt x="11464774" y="1599758"/>
                </a:cubicBezTo>
                <a:cubicBezTo>
                  <a:pt x="11464774" y="1599758"/>
                  <a:pt x="11467163" y="1599580"/>
                  <a:pt x="11466984" y="1597190"/>
                </a:cubicBezTo>
                <a:cubicBezTo>
                  <a:pt x="11466984" y="1597190"/>
                  <a:pt x="11469374" y="1597012"/>
                  <a:pt x="11471942" y="1599223"/>
                </a:cubicBezTo>
                <a:cubicBezTo>
                  <a:pt x="11476542" y="1596475"/>
                  <a:pt x="11476542" y="1596475"/>
                  <a:pt x="11476542" y="1596475"/>
                </a:cubicBezTo>
                <a:cubicBezTo>
                  <a:pt x="11476542" y="1596475"/>
                  <a:pt x="11474153" y="1596655"/>
                  <a:pt x="11473974" y="1594265"/>
                </a:cubicBezTo>
                <a:cubicBezTo>
                  <a:pt x="11476365" y="1594087"/>
                  <a:pt x="11478752" y="1593909"/>
                  <a:pt x="11481142" y="1593729"/>
                </a:cubicBezTo>
                <a:cubicBezTo>
                  <a:pt x="11483532" y="1593551"/>
                  <a:pt x="11483532" y="1593551"/>
                  <a:pt x="11483532" y="1593551"/>
                </a:cubicBezTo>
                <a:cubicBezTo>
                  <a:pt x="11488131" y="1590804"/>
                  <a:pt x="11490521" y="1590626"/>
                  <a:pt x="11492910" y="1590446"/>
                </a:cubicBezTo>
                <a:cubicBezTo>
                  <a:pt x="11497689" y="1590089"/>
                  <a:pt x="11500078" y="1589911"/>
                  <a:pt x="11502468" y="1589732"/>
                </a:cubicBezTo>
                <a:cubicBezTo>
                  <a:pt x="11504858" y="1589553"/>
                  <a:pt x="11504858" y="1589553"/>
                  <a:pt x="11509636" y="1589196"/>
                </a:cubicBezTo>
                <a:cubicBezTo>
                  <a:pt x="11512204" y="1591407"/>
                  <a:pt x="11519193" y="1588482"/>
                  <a:pt x="11523972" y="1588124"/>
                </a:cubicBezTo>
                <a:cubicBezTo>
                  <a:pt x="11526362" y="1587946"/>
                  <a:pt x="11528930" y="1590157"/>
                  <a:pt x="11531320" y="1589978"/>
                </a:cubicBezTo>
                <a:cubicBezTo>
                  <a:pt x="11531320" y="1589978"/>
                  <a:pt x="11529109" y="1592545"/>
                  <a:pt x="11529109" y="1592545"/>
                </a:cubicBezTo>
                <a:cubicBezTo>
                  <a:pt x="11526719" y="1592725"/>
                  <a:pt x="11526897" y="1595114"/>
                  <a:pt x="11526897" y="1595114"/>
                </a:cubicBezTo>
                <a:cubicBezTo>
                  <a:pt x="11526897" y="1595114"/>
                  <a:pt x="11526897" y="1595114"/>
                  <a:pt x="11529287" y="1594935"/>
                </a:cubicBezTo>
                <a:cubicBezTo>
                  <a:pt x="11531676" y="1594757"/>
                  <a:pt x="11531676" y="1594757"/>
                  <a:pt x="11531676" y="1594757"/>
                </a:cubicBezTo>
                <a:cubicBezTo>
                  <a:pt x="11534067" y="1594578"/>
                  <a:pt x="11534067" y="1594578"/>
                  <a:pt x="11533889" y="1592188"/>
                </a:cubicBezTo>
                <a:cubicBezTo>
                  <a:pt x="11533889" y="1592188"/>
                  <a:pt x="11536098" y="1589621"/>
                  <a:pt x="11536098" y="1589621"/>
                </a:cubicBezTo>
                <a:cubicBezTo>
                  <a:pt x="11535920" y="1587231"/>
                  <a:pt x="11535920" y="1587231"/>
                  <a:pt x="11535920" y="1587231"/>
                </a:cubicBezTo>
                <a:cubicBezTo>
                  <a:pt x="11533530" y="1587409"/>
                  <a:pt x="11528572" y="1585377"/>
                  <a:pt x="11523794" y="1585734"/>
                </a:cubicBezTo>
                <a:cubicBezTo>
                  <a:pt x="11521405" y="1585914"/>
                  <a:pt x="11521405" y="1585914"/>
                  <a:pt x="11521405" y="1585914"/>
                </a:cubicBezTo>
                <a:cubicBezTo>
                  <a:pt x="11519015" y="1586092"/>
                  <a:pt x="11514415" y="1588839"/>
                  <a:pt x="11511847" y="1586628"/>
                </a:cubicBezTo>
                <a:cubicBezTo>
                  <a:pt x="11509457" y="1586807"/>
                  <a:pt x="11509457" y="1586807"/>
                  <a:pt x="11507068" y="1586985"/>
                </a:cubicBezTo>
                <a:cubicBezTo>
                  <a:pt x="11509279" y="1584418"/>
                  <a:pt x="11514057" y="1584061"/>
                  <a:pt x="11518837" y="1583703"/>
                </a:cubicBezTo>
                <a:cubicBezTo>
                  <a:pt x="11523616" y="1583346"/>
                  <a:pt x="11528394" y="1582988"/>
                  <a:pt x="11532994" y="1580242"/>
                </a:cubicBezTo>
                <a:cubicBezTo>
                  <a:pt x="11535383" y="1580063"/>
                  <a:pt x="11535562" y="1582453"/>
                  <a:pt x="11537952" y="1582274"/>
                </a:cubicBezTo>
                <a:cubicBezTo>
                  <a:pt x="11542730" y="1581917"/>
                  <a:pt x="11542730" y="1581917"/>
                  <a:pt x="11542730" y="1581917"/>
                </a:cubicBezTo>
                <a:cubicBezTo>
                  <a:pt x="11547508" y="1581559"/>
                  <a:pt x="11549899" y="1581381"/>
                  <a:pt x="11554677" y="1581024"/>
                </a:cubicBezTo>
                <a:cubicBezTo>
                  <a:pt x="11552466" y="1583591"/>
                  <a:pt x="11552466" y="1583591"/>
                  <a:pt x="11552466" y="1583591"/>
                </a:cubicBezTo>
                <a:cubicBezTo>
                  <a:pt x="11550077" y="1583770"/>
                  <a:pt x="11550077" y="1583770"/>
                  <a:pt x="11552645" y="1585980"/>
                </a:cubicBezTo>
                <a:cubicBezTo>
                  <a:pt x="11552645" y="1585980"/>
                  <a:pt x="11552645" y="1585980"/>
                  <a:pt x="11555034" y="1585802"/>
                </a:cubicBezTo>
                <a:cubicBezTo>
                  <a:pt x="11555034" y="1585802"/>
                  <a:pt x="11557424" y="1585623"/>
                  <a:pt x="11557424" y="1585623"/>
                </a:cubicBezTo>
                <a:cubicBezTo>
                  <a:pt x="11559634" y="1583055"/>
                  <a:pt x="11559634" y="1583055"/>
                  <a:pt x="11559634" y="1583055"/>
                </a:cubicBezTo>
                <a:cubicBezTo>
                  <a:pt x="11559634" y="1583055"/>
                  <a:pt x="11562024" y="1582877"/>
                  <a:pt x="11562024" y="1582877"/>
                </a:cubicBezTo>
                <a:cubicBezTo>
                  <a:pt x="11562024" y="1582877"/>
                  <a:pt x="11562024" y="1582877"/>
                  <a:pt x="11564413" y="1582697"/>
                </a:cubicBezTo>
                <a:cubicBezTo>
                  <a:pt x="11566803" y="1582519"/>
                  <a:pt x="11571403" y="1579773"/>
                  <a:pt x="11573792" y="1579595"/>
                </a:cubicBezTo>
                <a:cubicBezTo>
                  <a:pt x="11580960" y="1579058"/>
                  <a:pt x="11583171" y="1576490"/>
                  <a:pt x="11585740" y="1578702"/>
                </a:cubicBezTo>
                <a:cubicBezTo>
                  <a:pt x="11585918" y="1581090"/>
                  <a:pt x="11588308" y="1580911"/>
                  <a:pt x="11588308" y="1580911"/>
                </a:cubicBezTo>
                <a:cubicBezTo>
                  <a:pt x="11588308" y="1580911"/>
                  <a:pt x="11588486" y="1583301"/>
                  <a:pt x="11586097" y="1583480"/>
                </a:cubicBezTo>
                <a:cubicBezTo>
                  <a:pt x="11576539" y="1584194"/>
                  <a:pt x="11566982" y="1584909"/>
                  <a:pt x="11557602" y="1588013"/>
                </a:cubicBezTo>
                <a:cubicBezTo>
                  <a:pt x="11555212" y="1588192"/>
                  <a:pt x="11555212" y="1588192"/>
                  <a:pt x="11555212" y="1588192"/>
                </a:cubicBezTo>
                <a:cubicBezTo>
                  <a:pt x="11555392" y="1590581"/>
                  <a:pt x="11557781" y="1590401"/>
                  <a:pt x="11557781" y="1590401"/>
                </a:cubicBezTo>
                <a:cubicBezTo>
                  <a:pt x="11567160" y="1587299"/>
                  <a:pt x="11576718" y="1586584"/>
                  <a:pt x="11586276" y="1585869"/>
                </a:cubicBezTo>
                <a:cubicBezTo>
                  <a:pt x="11586454" y="1588258"/>
                  <a:pt x="11586632" y="1590647"/>
                  <a:pt x="11591591" y="1592680"/>
                </a:cubicBezTo>
                <a:cubicBezTo>
                  <a:pt x="11603537" y="1591787"/>
                  <a:pt x="11606283" y="1596387"/>
                  <a:pt x="11618231" y="1595494"/>
                </a:cubicBezTo>
                <a:cubicBezTo>
                  <a:pt x="11650186" y="1605119"/>
                  <a:pt x="11688773" y="1607038"/>
                  <a:pt x="11715235" y="1607464"/>
                </a:cubicBezTo>
                <a:cubicBezTo>
                  <a:pt x="11717625" y="1607284"/>
                  <a:pt x="11717625" y="1607284"/>
                  <a:pt x="11717625" y="1607284"/>
                </a:cubicBezTo>
                <a:cubicBezTo>
                  <a:pt x="11717625" y="1607284"/>
                  <a:pt x="11720015" y="1607106"/>
                  <a:pt x="11720015" y="1607106"/>
                </a:cubicBezTo>
                <a:cubicBezTo>
                  <a:pt x="11719836" y="1604716"/>
                  <a:pt x="11719836" y="1604716"/>
                  <a:pt x="11717447" y="1604895"/>
                </a:cubicBezTo>
                <a:cubicBezTo>
                  <a:pt x="11690985" y="1604471"/>
                  <a:pt x="11654786" y="1602371"/>
                  <a:pt x="11622830" y="1592748"/>
                </a:cubicBezTo>
                <a:cubicBezTo>
                  <a:pt x="11625220" y="1592568"/>
                  <a:pt x="11625220" y="1592568"/>
                  <a:pt x="11625220" y="1592568"/>
                </a:cubicBezTo>
                <a:cubicBezTo>
                  <a:pt x="11625041" y="1590178"/>
                  <a:pt x="11622652" y="1590358"/>
                  <a:pt x="11620084" y="1588147"/>
                </a:cubicBezTo>
                <a:cubicBezTo>
                  <a:pt x="11622475" y="1587968"/>
                  <a:pt x="11624862" y="1587790"/>
                  <a:pt x="11627251" y="1587610"/>
                </a:cubicBezTo>
                <a:cubicBezTo>
                  <a:pt x="11627251" y="1587610"/>
                  <a:pt x="11627251" y="1587610"/>
                  <a:pt x="11627431" y="1590000"/>
                </a:cubicBezTo>
                <a:cubicBezTo>
                  <a:pt x="11629822" y="1589822"/>
                  <a:pt x="11629822" y="1589822"/>
                  <a:pt x="11629822" y="1589822"/>
                </a:cubicBezTo>
                <a:cubicBezTo>
                  <a:pt x="11629822" y="1589822"/>
                  <a:pt x="11629822" y="1589822"/>
                  <a:pt x="11632209" y="1589643"/>
                </a:cubicBezTo>
                <a:cubicBezTo>
                  <a:pt x="11632209" y="1589643"/>
                  <a:pt x="11632031" y="1587254"/>
                  <a:pt x="11632031" y="1587254"/>
                </a:cubicBezTo>
                <a:cubicBezTo>
                  <a:pt x="11636988" y="1589286"/>
                  <a:pt x="11641768" y="1588929"/>
                  <a:pt x="11644156" y="1588750"/>
                </a:cubicBezTo>
                <a:cubicBezTo>
                  <a:pt x="11646546" y="1588571"/>
                  <a:pt x="11646546" y="1588571"/>
                  <a:pt x="11648936" y="1588392"/>
                </a:cubicBezTo>
                <a:cubicBezTo>
                  <a:pt x="11651324" y="1588214"/>
                  <a:pt x="11653714" y="1588036"/>
                  <a:pt x="11656104" y="1587856"/>
                </a:cubicBezTo>
                <a:lnTo>
                  <a:pt x="11658493" y="1587678"/>
                </a:lnTo>
                <a:cubicBezTo>
                  <a:pt x="11658672" y="1590068"/>
                  <a:pt x="11658672" y="1590068"/>
                  <a:pt x="11661061" y="1589889"/>
                </a:cubicBezTo>
                <a:cubicBezTo>
                  <a:pt x="11663451" y="1589711"/>
                  <a:pt x="11663451" y="1589711"/>
                  <a:pt x="11665839" y="1589531"/>
                </a:cubicBezTo>
                <a:cubicBezTo>
                  <a:pt x="11665839" y="1589531"/>
                  <a:pt x="11668051" y="1586963"/>
                  <a:pt x="11668051" y="1586963"/>
                </a:cubicBezTo>
                <a:cubicBezTo>
                  <a:pt x="11686987" y="1583145"/>
                  <a:pt x="11706102" y="1581716"/>
                  <a:pt x="11725396" y="1582676"/>
                </a:cubicBezTo>
                <a:cubicBezTo>
                  <a:pt x="11735131" y="1584351"/>
                  <a:pt x="11742300" y="1583815"/>
                  <a:pt x="11752037" y="1585490"/>
                </a:cubicBezTo>
                <a:cubicBezTo>
                  <a:pt x="11752037" y="1585490"/>
                  <a:pt x="11751856" y="1583101"/>
                  <a:pt x="11749470" y="1583279"/>
                </a:cubicBezTo>
                <a:cubicBezTo>
                  <a:pt x="11766371" y="1584417"/>
                  <a:pt x="11780709" y="1583346"/>
                  <a:pt x="11797614" y="1584485"/>
                </a:cubicBezTo>
                <a:cubicBezTo>
                  <a:pt x="11800003" y="1584307"/>
                  <a:pt x="11800003" y="1584307"/>
                  <a:pt x="11799824" y="1581917"/>
                </a:cubicBezTo>
                <a:cubicBezTo>
                  <a:pt x="11804602" y="1581559"/>
                  <a:pt x="11807171" y="1583770"/>
                  <a:pt x="11811950" y="1583413"/>
                </a:cubicBezTo>
                <a:cubicBezTo>
                  <a:pt x="11809561" y="1583592"/>
                  <a:pt x="11812129" y="1585802"/>
                  <a:pt x="11814519" y="1585624"/>
                </a:cubicBezTo>
                <a:cubicBezTo>
                  <a:pt x="11814337" y="1583234"/>
                  <a:pt x="11816727" y="1583056"/>
                  <a:pt x="11819118" y="1582877"/>
                </a:cubicBezTo>
                <a:cubicBezTo>
                  <a:pt x="11823896" y="1582520"/>
                  <a:pt x="11828854" y="1584553"/>
                  <a:pt x="11833634" y="1584195"/>
                </a:cubicBezTo>
                <a:cubicBezTo>
                  <a:pt x="11833634" y="1584195"/>
                  <a:pt x="11836023" y="1584017"/>
                  <a:pt x="11836023" y="1584017"/>
                </a:cubicBezTo>
                <a:cubicBezTo>
                  <a:pt x="11838412" y="1583838"/>
                  <a:pt x="11840980" y="1586048"/>
                  <a:pt x="11843368" y="1585869"/>
                </a:cubicBezTo>
                <a:cubicBezTo>
                  <a:pt x="11845758" y="1585691"/>
                  <a:pt x="11845758" y="1585691"/>
                  <a:pt x="11845758" y="1585691"/>
                </a:cubicBezTo>
                <a:cubicBezTo>
                  <a:pt x="11845758" y="1585691"/>
                  <a:pt x="11848148" y="1585511"/>
                  <a:pt x="11848148" y="1585511"/>
                </a:cubicBezTo>
                <a:cubicBezTo>
                  <a:pt x="11862662" y="1586830"/>
                  <a:pt x="11877356" y="1590537"/>
                  <a:pt x="11889481" y="1592033"/>
                </a:cubicBezTo>
                <a:cubicBezTo>
                  <a:pt x="11889481" y="1592033"/>
                  <a:pt x="11894081" y="1589286"/>
                  <a:pt x="11896649" y="1591497"/>
                </a:cubicBezTo>
                <a:cubicBezTo>
                  <a:pt x="11896649" y="1591497"/>
                  <a:pt x="11899040" y="1591318"/>
                  <a:pt x="11899040" y="1591318"/>
                </a:cubicBezTo>
                <a:cubicBezTo>
                  <a:pt x="11896649" y="1591497"/>
                  <a:pt x="11903819" y="1590961"/>
                  <a:pt x="11908596" y="1590603"/>
                </a:cubicBezTo>
                <a:cubicBezTo>
                  <a:pt x="11918333" y="1592279"/>
                  <a:pt x="11928247" y="1596342"/>
                  <a:pt x="11935594" y="1598196"/>
                </a:cubicBezTo>
                <a:cubicBezTo>
                  <a:pt x="11977107" y="1607106"/>
                  <a:pt x="12008884" y="1614341"/>
                  <a:pt x="12038271" y="1621756"/>
                </a:cubicBezTo>
                <a:cubicBezTo>
                  <a:pt x="12040662" y="1621577"/>
                  <a:pt x="12040662" y="1621577"/>
                  <a:pt x="12040662" y="1621577"/>
                </a:cubicBezTo>
                <a:cubicBezTo>
                  <a:pt x="12043230" y="1623788"/>
                  <a:pt x="12043230" y="1623788"/>
                  <a:pt x="12043230" y="1623788"/>
                </a:cubicBezTo>
                <a:cubicBezTo>
                  <a:pt x="12054429" y="1628958"/>
                  <a:pt x="12065030" y="1634171"/>
                  <a:pt x="12076227" y="1639341"/>
                </a:cubicBezTo>
                <a:lnTo>
                  <a:pt x="12108878" y="1652983"/>
                </a:lnTo>
                <a:lnTo>
                  <a:pt x="12108167" y="1652759"/>
                </a:lnTo>
                <a:cubicBezTo>
                  <a:pt x="12105098" y="1651899"/>
                  <a:pt x="12102344" y="1651204"/>
                  <a:pt x="12100508" y="1650742"/>
                </a:cubicBezTo>
                <a:cubicBezTo>
                  <a:pt x="12098118" y="1650920"/>
                  <a:pt x="12095550" y="1648709"/>
                  <a:pt x="12095550" y="1648709"/>
                </a:cubicBezTo>
                <a:cubicBezTo>
                  <a:pt x="12085634" y="1644645"/>
                  <a:pt x="12080498" y="1640224"/>
                  <a:pt x="12078288" y="1642791"/>
                </a:cubicBezTo>
                <a:cubicBezTo>
                  <a:pt x="12075542" y="1638191"/>
                  <a:pt x="12060847" y="1634484"/>
                  <a:pt x="12048722" y="1632987"/>
                </a:cubicBezTo>
                <a:cubicBezTo>
                  <a:pt x="12046332" y="1633167"/>
                  <a:pt x="12043943" y="1633345"/>
                  <a:pt x="12043764" y="1630956"/>
                </a:cubicBezTo>
                <a:cubicBezTo>
                  <a:pt x="12043764" y="1630956"/>
                  <a:pt x="12041196" y="1628746"/>
                  <a:pt x="12038808" y="1628924"/>
                </a:cubicBezTo>
                <a:cubicBezTo>
                  <a:pt x="12036418" y="1629102"/>
                  <a:pt x="12034028" y="1629281"/>
                  <a:pt x="12036596" y="1631492"/>
                </a:cubicBezTo>
                <a:cubicBezTo>
                  <a:pt x="12036775" y="1633881"/>
                  <a:pt x="12041733" y="1635913"/>
                  <a:pt x="12046691" y="1637945"/>
                </a:cubicBezTo>
                <a:cubicBezTo>
                  <a:pt x="12049080" y="1637767"/>
                  <a:pt x="12049080" y="1637767"/>
                  <a:pt x="12049080" y="1637767"/>
                </a:cubicBezTo>
                <a:cubicBezTo>
                  <a:pt x="12068909" y="1645895"/>
                  <a:pt x="12076435" y="1650138"/>
                  <a:pt x="12093517" y="1653667"/>
                </a:cubicBezTo>
                <a:cubicBezTo>
                  <a:pt x="12093517" y="1653667"/>
                  <a:pt x="12095908" y="1653488"/>
                  <a:pt x="12095908" y="1653488"/>
                </a:cubicBezTo>
                <a:cubicBezTo>
                  <a:pt x="12098476" y="1655698"/>
                  <a:pt x="12106000" y="1659941"/>
                  <a:pt x="12108568" y="1662152"/>
                </a:cubicBezTo>
                <a:cubicBezTo>
                  <a:pt x="12113169" y="1659406"/>
                  <a:pt x="12113526" y="1664184"/>
                  <a:pt x="12123441" y="1668249"/>
                </a:cubicBezTo>
                <a:cubicBezTo>
                  <a:pt x="12132072" y="1671207"/>
                  <a:pt x="12142540" y="1674630"/>
                  <a:pt x="12153074" y="1678948"/>
                </a:cubicBezTo>
                <a:lnTo>
                  <a:pt x="12178245" y="1692420"/>
                </a:lnTo>
                <a:lnTo>
                  <a:pt x="12175762" y="1693170"/>
                </a:lnTo>
                <a:lnTo>
                  <a:pt x="12192528" y="1701733"/>
                </a:lnTo>
                <a:lnTo>
                  <a:pt x="12192528" y="1875532"/>
                </a:lnTo>
                <a:lnTo>
                  <a:pt x="12155044" y="1856672"/>
                </a:lnTo>
                <a:cubicBezTo>
                  <a:pt x="12144715" y="1849597"/>
                  <a:pt x="12132436" y="1842669"/>
                  <a:pt x="12122398" y="1839496"/>
                </a:cubicBezTo>
                <a:cubicBezTo>
                  <a:pt x="12122398" y="1839496"/>
                  <a:pt x="12122251" y="1837546"/>
                  <a:pt x="12120302" y="1837691"/>
                </a:cubicBezTo>
                <a:cubicBezTo>
                  <a:pt x="12118207" y="1835885"/>
                  <a:pt x="12118207" y="1835885"/>
                  <a:pt x="12116257" y="1836031"/>
                </a:cubicBezTo>
                <a:lnTo>
                  <a:pt x="12106796" y="1831249"/>
                </a:lnTo>
                <a:lnTo>
                  <a:pt x="12109476" y="1836130"/>
                </a:lnTo>
                <a:lnTo>
                  <a:pt x="12116404" y="1837982"/>
                </a:lnTo>
                <a:cubicBezTo>
                  <a:pt x="12114455" y="1838128"/>
                  <a:pt x="12114455" y="1838128"/>
                  <a:pt x="12114455" y="1838128"/>
                </a:cubicBezTo>
                <a:cubicBezTo>
                  <a:pt x="12114455" y="1838128"/>
                  <a:pt x="12116551" y="1839933"/>
                  <a:pt x="12118499" y="1839787"/>
                </a:cubicBezTo>
                <a:cubicBezTo>
                  <a:pt x="12118645" y="1841738"/>
                  <a:pt x="12120595" y="1841592"/>
                  <a:pt x="12120595" y="1841592"/>
                </a:cubicBezTo>
                <a:lnTo>
                  <a:pt x="12165737" y="1871806"/>
                </a:lnTo>
                <a:lnTo>
                  <a:pt x="12164154" y="1873647"/>
                </a:lnTo>
                <a:cubicBezTo>
                  <a:pt x="12164154" y="1873647"/>
                  <a:pt x="12166103" y="1873501"/>
                  <a:pt x="12166103" y="1873501"/>
                </a:cubicBezTo>
                <a:cubicBezTo>
                  <a:pt x="12166103" y="1873501"/>
                  <a:pt x="12166103" y="1873501"/>
                  <a:pt x="12168053" y="1873355"/>
                </a:cubicBezTo>
                <a:cubicBezTo>
                  <a:pt x="12168199" y="1875306"/>
                  <a:pt x="12170148" y="1875161"/>
                  <a:pt x="12170148" y="1875161"/>
                </a:cubicBezTo>
                <a:cubicBezTo>
                  <a:pt x="12168343" y="1877256"/>
                  <a:pt x="12174483" y="1880722"/>
                  <a:pt x="12180624" y="1884185"/>
                </a:cubicBezTo>
                <a:cubicBezTo>
                  <a:pt x="12182426" y="1882090"/>
                  <a:pt x="12178383" y="1880430"/>
                  <a:pt x="12178383" y="1880430"/>
                </a:cubicBezTo>
                <a:cubicBezTo>
                  <a:pt x="12180331" y="1880285"/>
                  <a:pt x="12180331" y="1880285"/>
                  <a:pt x="12180331" y="1880285"/>
                </a:cubicBezTo>
                <a:cubicBezTo>
                  <a:pt x="12182281" y="1880138"/>
                  <a:pt x="12182281" y="1880138"/>
                  <a:pt x="12182281" y="1880138"/>
                </a:cubicBezTo>
                <a:cubicBezTo>
                  <a:pt x="12182281" y="1880138"/>
                  <a:pt x="12180184" y="1878333"/>
                  <a:pt x="12180184" y="1878333"/>
                </a:cubicBezTo>
                <a:cubicBezTo>
                  <a:pt x="12183254" y="1880066"/>
                  <a:pt x="12184753" y="1880444"/>
                  <a:pt x="12186513" y="1881048"/>
                </a:cubicBezTo>
                <a:lnTo>
                  <a:pt x="12192528" y="1884146"/>
                </a:lnTo>
                <a:lnTo>
                  <a:pt x="12192528" y="1885258"/>
                </a:lnTo>
                <a:lnTo>
                  <a:pt x="12192465" y="1885262"/>
                </a:lnTo>
                <a:cubicBezTo>
                  <a:pt x="12192465" y="1885262"/>
                  <a:pt x="12192465" y="1885262"/>
                  <a:pt x="12190369" y="1883457"/>
                </a:cubicBezTo>
                <a:cubicBezTo>
                  <a:pt x="12188421" y="1883603"/>
                  <a:pt x="12188421" y="1883603"/>
                  <a:pt x="12188421" y="1883603"/>
                </a:cubicBezTo>
                <a:lnTo>
                  <a:pt x="12192528" y="1887143"/>
                </a:lnTo>
                <a:lnTo>
                  <a:pt x="12192528" y="1958759"/>
                </a:lnTo>
                <a:lnTo>
                  <a:pt x="12158038" y="1934428"/>
                </a:lnTo>
                <a:cubicBezTo>
                  <a:pt x="12117895" y="1910105"/>
                  <a:pt x="12075607" y="1888318"/>
                  <a:pt x="12031094" y="1869163"/>
                </a:cubicBezTo>
                <a:lnTo>
                  <a:pt x="11963817" y="1845439"/>
                </a:lnTo>
                <a:lnTo>
                  <a:pt x="11890564" y="1829006"/>
                </a:lnTo>
                <a:cubicBezTo>
                  <a:pt x="11864194" y="1823832"/>
                  <a:pt x="11837618" y="1819648"/>
                  <a:pt x="11810821" y="1817337"/>
                </a:cubicBezTo>
                <a:cubicBezTo>
                  <a:pt x="11803709" y="1816235"/>
                  <a:pt x="11796962" y="1814432"/>
                  <a:pt x="11790325" y="1814196"/>
                </a:cubicBezTo>
                <a:cubicBezTo>
                  <a:pt x="11783687" y="1813960"/>
                  <a:pt x="11777159" y="1815291"/>
                  <a:pt x="11770484" y="1820457"/>
                </a:cubicBezTo>
                <a:cubicBezTo>
                  <a:pt x="11762866" y="1826642"/>
                  <a:pt x="11750948" y="1823171"/>
                  <a:pt x="11740721" y="1822778"/>
                </a:cubicBezTo>
                <a:cubicBezTo>
                  <a:pt x="11686703" y="1817388"/>
                  <a:pt x="11632563" y="1819073"/>
                  <a:pt x="11578846" y="1821529"/>
                </a:cubicBezTo>
                <a:cubicBezTo>
                  <a:pt x="11574924" y="1821679"/>
                  <a:pt x="11571772" y="1821407"/>
                  <a:pt x="11569192" y="1825827"/>
                </a:cubicBezTo>
                <a:cubicBezTo>
                  <a:pt x="11571032" y="1832827"/>
                  <a:pt x="11577610" y="1830218"/>
                  <a:pt x="11581531" y="1830067"/>
                </a:cubicBezTo>
                <a:cubicBezTo>
                  <a:pt x="11664589" y="1824522"/>
                  <a:pt x="11746137" y="1830819"/>
                  <a:pt x="11827489" y="1842230"/>
                </a:cubicBezTo>
                <a:cubicBezTo>
                  <a:pt x="11830641" y="1842501"/>
                  <a:pt x="11833794" y="1842773"/>
                  <a:pt x="11836946" y="1843046"/>
                </a:cubicBezTo>
                <a:cubicBezTo>
                  <a:pt x="11841292" y="1843663"/>
                  <a:pt x="11844519" y="1845897"/>
                  <a:pt x="11842362" y="1851086"/>
                </a:cubicBezTo>
                <a:cubicBezTo>
                  <a:pt x="11841819" y="1857391"/>
                  <a:pt x="11838244" y="1856350"/>
                  <a:pt x="11833901" y="1855732"/>
                </a:cubicBezTo>
                <a:cubicBezTo>
                  <a:pt x="11817868" y="1852518"/>
                  <a:pt x="11801726" y="1850239"/>
                  <a:pt x="11785510" y="1848597"/>
                </a:cubicBezTo>
                <a:lnTo>
                  <a:pt x="11767387" y="1847364"/>
                </a:lnTo>
                <a:lnTo>
                  <a:pt x="11845289" y="1862300"/>
                </a:lnTo>
                <a:cubicBezTo>
                  <a:pt x="11970245" y="1894430"/>
                  <a:pt x="12086789" y="1949095"/>
                  <a:pt x="12189934" y="2022009"/>
                </a:cubicBezTo>
                <a:lnTo>
                  <a:pt x="12192528" y="2024036"/>
                </a:lnTo>
                <a:lnTo>
                  <a:pt x="12192528" y="3912503"/>
                </a:lnTo>
                <a:lnTo>
                  <a:pt x="8919422" y="3912503"/>
                </a:lnTo>
                <a:lnTo>
                  <a:pt x="7502493" y="3912503"/>
                </a:lnTo>
                <a:lnTo>
                  <a:pt x="7486248" y="3912503"/>
                </a:lnTo>
                <a:lnTo>
                  <a:pt x="6270700" y="3912503"/>
                </a:lnTo>
                <a:lnTo>
                  <a:pt x="2570428" y="3912503"/>
                </a:lnTo>
                <a:lnTo>
                  <a:pt x="2568147" y="3901375"/>
                </a:lnTo>
                <a:cubicBezTo>
                  <a:pt x="2570303" y="3898823"/>
                  <a:pt x="2570303" y="3898823"/>
                  <a:pt x="2570303" y="3898823"/>
                </a:cubicBezTo>
                <a:cubicBezTo>
                  <a:pt x="2570303" y="3898823"/>
                  <a:pt x="2567750" y="3896665"/>
                  <a:pt x="2567750" y="3896665"/>
                </a:cubicBezTo>
                <a:cubicBezTo>
                  <a:pt x="2569906" y="3894114"/>
                  <a:pt x="2566957" y="3887246"/>
                  <a:pt x="2566957" y="3887246"/>
                </a:cubicBezTo>
                <a:cubicBezTo>
                  <a:pt x="2566560" y="3882536"/>
                  <a:pt x="2564403" y="3885089"/>
                  <a:pt x="2564800" y="3889799"/>
                </a:cubicBezTo>
                <a:cubicBezTo>
                  <a:pt x="2562644" y="3892351"/>
                  <a:pt x="2562644" y="3892351"/>
                  <a:pt x="2565197" y="3894508"/>
                </a:cubicBezTo>
                <a:cubicBezTo>
                  <a:pt x="2559693" y="3885484"/>
                  <a:pt x="2562815" y="3866250"/>
                  <a:pt x="2555553" y="3864488"/>
                </a:cubicBezTo>
                <a:cubicBezTo>
                  <a:pt x="2556062" y="3884602"/>
                  <a:pt x="2551805" y="3897410"/>
                  <a:pt x="2548775" y="3910707"/>
                </a:cubicBezTo>
                <a:lnTo>
                  <a:pt x="2548533" y="3912503"/>
                </a:lnTo>
                <a:lnTo>
                  <a:pt x="528" y="3912503"/>
                </a:lnTo>
                <a:lnTo>
                  <a:pt x="528" y="2422816"/>
                </a:lnTo>
                <a:lnTo>
                  <a:pt x="562" y="2422797"/>
                </a:lnTo>
                <a:lnTo>
                  <a:pt x="562" y="2354170"/>
                </a:lnTo>
                <a:lnTo>
                  <a:pt x="528" y="2354165"/>
                </a:lnTo>
                <a:lnTo>
                  <a:pt x="528" y="2245643"/>
                </a:lnTo>
                <a:lnTo>
                  <a:pt x="562" y="2245615"/>
                </a:lnTo>
                <a:lnTo>
                  <a:pt x="562" y="2234827"/>
                </a:lnTo>
                <a:lnTo>
                  <a:pt x="528" y="2234823"/>
                </a:lnTo>
                <a:lnTo>
                  <a:pt x="528" y="2160151"/>
                </a:lnTo>
                <a:lnTo>
                  <a:pt x="562" y="2160070"/>
                </a:lnTo>
                <a:lnTo>
                  <a:pt x="562" y="2014682"/>
                </a:lnTo>
                <a:lnTo>
                  <a:pt x="528" y="2014748"/>
                </a:lnTo>
                <a:lnTo>
                  <a:pt x="528" y="1980386"/>
                </a:lnTo>
                <a:lnTo>
                  <a:pt x="562" y="1980516"/>
                </a:lnTo>
                <a:lnTo>
                  <a:pt x="562" y="1921057"/>
                </a:lnTo>
                <a:lnTo>
                  <a:pt x="65793" y="1885408"/>
                </a:lnTo>
                <a:lnTo>
                  <a:pt x="130401" y="1855429"/>
                </a:lnTo>
                <a:lnTo>
                  <a:pt x="147299" y="1842541"/>
                </a:lnTo>
                <a:cubicBezTo>
                  <a:pt x="155496" y="1837857"/>
                  <a:pt x="164083" y="1834346"/>
                  <a:pt x="172670" y="1832005"/>
                </a:cubicBezTo>
                <a:cubicBezTo>
                  <a:pt x="247615" y="1806244"/>
                  <a:pt x="321680" y="1773458"/>
                  <a:pt x="400135" y="1753406"/>
                </a:cubicBezTo>
                <a:lnTo>
                  <a:pt x="421747" y="1749338"/>
                </a:lnTo>
                <a:lnTo>
                  <a:pt x="454512" y="1738616"/>
                </a:lnTo>
                <a:lnTo>
                  <a:pt x="475466" y="1732990"/>
                </a:lnTo>
                <a:lnTo>
                  <a:pt x="472883" y="1730110"/>
                </a:lnTo>
                <a:cubicBezTo>
                  <a:pt x="464248" y="1724768"/>
                  <a:pt x="452538" y="1726232"/>
                  <a:pt x="444340" y="1718036"/>
                </a:cubicBezTo>
                <a:cubicBezTo>
                  <a:pt x="478690" y="1700861"/>
                  <a:pt x="514601" y="1693056"/>
                  <a:pt x="550512" y="1686811"/>
                </a:cubicBezTo>
                <a:lnTo>
                  <a:pt x="605595" y="1677864"/>
                </a:lnTo>
                <a:lnTo>
                  <a:pt x="611881" y="1672556"/>
                </a:lnTo>
                <a:cubicBezTo>
                  <a:pt x="617385" y="1670164"/>
                  <a:pt x="623228" y="1669384"/>
                  <a:pt x="629208" y="1669316"/>
                </a:cubicBezTo>
                <a:lnTo>
                  <a:pt x="654158" y="1669977"/>
                </a:lnTo>
                <a:lnTo>
                  <a:pt x="736748" y="1656562"/>
                </a:lnTo>
                <a:lnTo>
                  <a:pt x="784107" y="1651855"/>
                </a:lnTo>
                <a:lnTo>
                  <a:pt x="778563" y="1641534"/>
                </a:lnTo>
                <a:cubicBezTo>
                  <a:pt x="777948" y="1639694"/>
                  <a:pt x="778255" y="1637853"/>
                  <a:pt x="776413" y="1636320"/>
                </a:cubicBezTo>
                <a:cubicBezTo>
                  <a:pt x="774569" y="1634787"/>
                  <a:pt x="774877" y="1632945"/>
                  <a:pt x="776105" y="1631105"/>
                </a:cubicBezTo>
                <a:cubicBezTo>
                  <a:pt x="776719" y="1629878"/>
                  <a:pt x="777948" y="1628345"/>
                  <a:pt x="777027" y="1627118"/>
                </a:cubicBezTo>
                <a:lnTo>
                  <a:pt x="777210" y="1626130"/>
                </a:lnTo>
                <a:lnTo>
                  <a:pt x="752801" y="1628923"/>
                </a:lnTo>
                <a:cubicBezTo>
                  <a:pt x="604670" y="1651098"/>
                  <a:pt x="459174" y="1687982"/>
                  <a:pt x="316312" y="1733647"/>
                </a:cubicBezTo>
                <a:cubicBezTo>
                  <a:pt x="277279" y="1746137"/>
                  <a:pt x="236684" y="1758626"/>
                  <a:pt x="196090" y="1764871"/>
                </a:cubicBezTo>
                <a:cubicBezTo>
                  <a:pt x="341293" y="1701643"/>
                  <a:pt x="490400" y="1654024"/>
                  <a:pt x="643409" y="1622411"/>
                </a:cubicBezTo>
                <a:lnTo>
                  <a:pt x="789090" y="1600242"/>
                </a:lnTo>
                <a:lnTo>
                  <a:pt x="795148" y="1596443"/>
                </a:lnTo>
                <a:cubicBezTo>
                  <a:pt x="796377" y="1594296"/>
                  <a:pt x="802212" y="1595830"/>
                  <a:pt x="804975" y="1596138"/>
                </a:cubicBezTo>
                <a:cubicBezTo>
                  <a:pt x="808201" y="1596597"/>
                  <a:pt x="811731" y="1595830"/>
                  <a:pt x="815110" y="1595868"/>
                </a:cubicBezTo>
                <a:lnTo>
                  <a:pt x="815751" y="1596185"/>
                </a:lnTo>
                <a:lnTo>
                  <a:pt x="875852" y="1587040"/>
                </a:lnTo>
                <a:cubicBezTo>
                  <a:pt x="954309" y="1579282"/>
                  <a:pt x="1033742" y="1575574"/>
                  <a:pt x="1114150" y="1575965"/>
                </a:cubicBezTo>
                <a:cubicBezTo>
                  <a:pt x="1103221" y="1557230"/>
                  <a:pt x="1084484" y="1565036"/>
                  <a:pt x="1064186" y="1552546"/>
                </a:cubicBezTo>
                <a:cubicBezTo>
                  <a:pt x="1120395" y="1552546"/>
                  <a:pt x="1168796" y="1552546"/>
                  <a:pt x="1215635" y="1557230"/>
                </a:cubicBezTo>
                <a:cubicBezTo>
                  <a:pt x="1285896" y="1565036"/>
                  <a:pt x="1356155" y="1574404"/>
                  <a:pt x="1427976" y="1580649"/>
                </a:cubicBezTo>
                <a:cubicBezTo>
                  <a:pt x="1432659" y="1582209"/>
                  <a:pt x="1443590" y="1588454"/>
                  <a:pt x="1445151" y="1577525"/>
                </a:cubicBezTo>
                <a:lnTo>
                  <a:pt x="1444119" y="1575061"/>
                </a:lnTo>
                <a:lnTo>
                  <a:pt x="1439234" y="1568556"/>
                </a:lnTo>
                <a:lnTo>
                  <a:pt x="1431100" y="1566598"/>
                </a:lnTo>
                <a:cubicBezTo>
                  <a:pt x="1365524" y="1553717"/>
                  <a:pt x="1301704" y="1537325"/>
                  <a:pt x="1235689" y="1533226"/>
                </a:cubicBezTo>
                <a:lnTo>
                  <a:pt x="1229745" y="1533279"/>
                </a:lnTo>
                <a:lnTo>
                  <a:pt x="1229336" y="1534098"/>
                </a:lnTo>
                <a:cubicBezTo>
                  <a:pt x="1229336" y="1536953"/>
                  <a:pt x="1228192" y="1537524"/>
                  <a:pt x="1225906" y="1535526"/>
                </a:cubicBezTo>
                <a:cubicBezTo>
                  <a:pt x="1222476" y="1532672"/>
                  <a:pt x="1220189" y="1532672"/>
                  <a:pt x="1219332" y="1537524"/>
                </a:cubicBezTo>
                <a:cubicBezTo>
                  <a:pt x="1219047" y="1538665"/>
                  <a:pt x="1218189" y="1540092"/>
                  <a:pt x="1217045" y="1538665"/>
                </a:cubicBezTo>
                <a:cubicBezTo>
                  <a:pt x="1213331" y="1534955"/>
                  <a:pt x="1210759" y="1537238"/>
                  <a:pt x="1207900" y="1539807"/>
                </a:cubicBezTo>
                <a:cubicBezTo>
                  <a:pt x="1207614" y="1540378"/>
                  <a:pt x="1206470" y="1540378"/>
                  <a:pt x="1205899" y="1540378"/>
                </a:cubicBezTo>
                <a:lnTo>
                  <a:pt x="1195161" y="1533581"/>
                </a:lnTo>
                <a:lnTo>
                  <a:pt x="1168796" y="1533811"/>
                </a:lnTo>
                <a:cubicBezTo>
                  <a:pt x="1148499" y="1536934"/>
                  <a:pt x="1126640" y="1526006"/>
                  <a:pt x="1104782" y="1522884"/>
                </a:cubicBezTo>
                <a:cubicBezTo>
                  <a:pt x="1014225" y="1507271"/>
                  <a:pt x="925230" y="1526006"/>
                  <a:pt x="834671" y="1535372"/>
                </a:cubicBezTo>
                <a:lnTo>
                  <a:pt x="590413" y="1575123"/>
                </a:lnTo>
                <a:lnTo>
                  <a:pt x="586633" y="1580157"/>
                </a:lnTo>
                <a:cubicBezTo>
                  <a:pt x="583869" y="1580462"/>
                  <a:pt x="584483" y="1582609"/>
                  <a:pt x="584483" y="1584451"/>
                </a:cubicBezTo>
                <a:cubicBezTo>
                  <a:pt x="584483" y="1587518"/>
                  <a:pt x="583254" y="1588131"/>
                  <a:pt x="580797" y="1585983"/>
                </a:cubicBezTo>
                <a:cubicBezTo>
                  <a:pt x="577111" y="1582917"/>
                  <a:pt x="574654" y="1582917"/>
                  <a:pt x="573734" y="1588131"/>
                </a:cubicBezTo>
                <a:cubicBezTo>
                  <a:pt x="573427" y="1589358"/>
                  <a:pt x="572505" y="1590893"/>
                  <a:pt x="571276" y="1589358"/>
                </a:cubicBezTo>
                <a:cubicBezTo>
                  <a:pt x="567284" y="1585370"/>
                  <a:pt x="564520" y="1587825"/>
                  <a:pt x="561449" y="1590585"/>
                </a:cubicBezTo>
                <a:cubicBezTo>
                  <a:pt x="561141" y="1591198"/>
                  <a:pt x="559913" y="1591198"/>
                  <a:pt x="559299" y="1591198"/>
                </a:cubicBezTo>
                <a:lnTo>
                  <a:pt x="545458" y="1582437"/>
                </a:lnTo>
                <a:lnTo>
                  <a:pt x="536068" y="1583966"/>
                </a:lnTo>
                <a:lnTo>
                  <a:pt x="359357" y="1631156"/>
                </a:lnTo>
                <a:lnTo>
                  <a:pt x="355670" y="1635560"/>
                </a:lnTo>
                <a:cubicBezTo>
                  <a:pt x="352760" y="1637629"/>
                  <a:pt x="348601" y="1637215"/>
                  <a:pt x="346523" y="1640113"/>
                </a:cubicBezTo>
                <a:cubicBezTo>
                  <a:pt x="343612" y="1640113"/>
                  <a:pt x="341116" y="1640113"/>
                  <a:pt x="338206" y="1640113"/>
                </a:cubicBezTo>
                <a:cubicBezTo>
                  <a:pt x="338206" y="1638871"/>
                  <a:pt x="337789" y="1638458"/>
                  <a:pt x="336959" y="1638458"/>
                </a:cubicBezTo>
                <a:lnTo>
                  <a:pt x="335701" y="1637474"/>
                </a:lnTo>
                <a:lnTo>
                  <a:pt x="244491" y="1661832"/>
                </a:lnTo>
                <a:cubicBezTo>
                  <a:pt x="214436" y="1671199"/>
                  <a:pt x="185064" y="1682225"/>
                  <a:pt x="156106" y="1694300"/>
                </a:cubicBezTo>
                <a:lnTo>
                  <a:pt x="75309" y="1730759"/>
                </a:lnTo>
                <a:lnTo>
                  <a:pt x="77712" y="1732282"/>
                </a:lnTo>
                <a:cubicBezTo>
                  <a:pt x="78882" y="1735003"/>
                  <a:pt x="80054" y="1736559"/>
                  <a:pt x="82397" y="1737724"/>
                </a:cubicBezTo>
                <a:cubicBezTo>
                  <a:pt x="82397" y="1742389"/>
                  <a:pt x="82397" y="1747054"/>
                  <a:pt x="82397" y="1751718"/>
                </a:cubicBezTo>
                <a:cubicBezTo>
                  <a:pt x="78492" y="1753662"/>
                  <a:pt x="75369" y="1756771"/>
                  <a:pt x="73807" y="1760270"/>
                </a:cubicBezTo>
                <a:cubicBezTo>
                  <a:pt x="71854" y="1763380"/>
                  <a:pt x="70293" y="1766878"/>
                  <a:pt x="68340" y="1770377"/>
                </a:cubicBezTo>
                <a:lnTo>
                  <a:pt x="67944" y="1771344"/>
                </a:lnTo>
                <a:lnTo>
                  <a:pt x="69426" y="1780598"/>
                </a:lnTo>
                <a:cubicBezTo>
                  <a:pt x="67666" y="1785620"/>
                  <a:pt x="70430" y="1790642"/>
                  <a:pt x="72942" y="1795163"/>
                </a:cubicBezTo>
                <a:cubicBezTo>
                  <a:pt x="73949" y="1797424"/>
                  <a:pt x="74450" y="1798931"/>
                  <a:pt x="72692" y="1801191"/>
                </a:cubicBezTo>
                <a:cubicBezTo>
                  <a:pt x="65656" y="1810735"/>
                  <a:pt x="60379" y="1821284"/>
                  <a:pt x="59374" y="1833591"/>
                </a:cubicBezTo>
                <a:cubicBezTo>
                  <a:pt x="59123" y="1835348"/>
                  <a:pt x="58619" y="1836102"/>
                  <a:pt x="56861" y="1835600"/>
                </a:cubicBezTo>
                <a:cubicBezTo>
                  <a:pt x="49825" y="1834092"/>
                  <a:pt x="45302" y="1837860"/>
                  <a:pt x="41533" y="1842882"/>
                </a:cubicBezTo>
                <a:cubicBezTo>
                  <a:pt x="39774" y="1845143"/>
                  <a:pt x="38266" y="1846398"/>
                  <a:pt x="35000" y="1844892"/>
                </a:cubicBezTo>
                <a:cubicBezTo>
                  <a:pt x="30979" y="1842632"/>
                  <a:pt x="27210" y="1844641"/>
                  <a:pt x="23943" y="1847403"/>
                </a:cubicBezTo>
                <a:cubicBezTo>
                  <a:pt x="21179" y="1849664"/>
                  <a:pt x="18416" y="1852427"/>
                  <a:pt x="15651" y="1854687"/>
                </a:cubicBezTo>
                <a:cubicBezTo>
                  <a:pt x="14270" y="1855692"/>
                  <a:pt x="12950" y="1856256"/>
                  <a:pt x="11883" y="1856037"/>
                </a:cubicBezTo>
                <a:cubicBezTo>
                  <a:pt x="10814" y="1855818"/>
                  <a:pt x="9998" y="1854812"/>
                  <a:pt x="9620" y="1852677"/>
                </a:cubicBezTo>
                <a:cubicBezTo>
                  <a:pt x="9620" y="1851673"/>
                  <a:pt x="9369" y="1850669"/>
                  <a:pt x="8867" y="1849664"/>
                </a:cubicBezTo>
                <a:cubicBezTo>
                  <a:pt x="8364" y="1848408"/>
                  <a:pt x="8364" y="1846398"/>
                  <a:pt x="6605" y="1846148"/>
                </a:cubicBezTo>
                <a:cubicBezTo>
                  <a:pt x="5097" y="1846148"/>
                  <a:pt x="4093" y="1847403"/>
                  <a:pt x="3338" y="1848408"/>
                </a:cubicBezTo>
                <a:lnTo>
                  <a:pt x="562" y="1847945"/>
                </a:lnTo>
                <a:lnTo>
                  <a:pt x="562" y="1732372"/>
                </a:lnTo>
                <a:lnTo>
                  <a:pt x="6856" y="1727102"/>
                </a:lnTo>
                <a:cubicBezTo>
                  <a:pt x="7609" y="1725344"/>
                  <a:pt x="8616" y="1723083"/>
                  <a:pt x="6856" y="1721576"/>
                </a:cubicBezTo>
                <a:lnTo>
                  <a:pt x="562" y="1720849"/>
                </a:lnTo>
                <a:lnTo>
                  <a:pt x="562" y="1641326"/>
                </a:lnTo>
                <a:lnTo>
                  <a:pt x="3841" y="1633420"/>
                </a:lnTo>
                <a:cubicBezTo>
                  <a:pt x="3338" y="1632667"/>
                  <a:pt x="2836" y="1632166"/>
                  <a:pt x="2585" y="1631411"/>
                </a:cubicBezTo>
                <a:cubicBezTo>
                  <a:pt x="1830" y="1629905"/>
                  <a:pt x="1328" y="1627895"/>
                  <a:pt x="2836" y="1626890"/>
                </a:cubicBezTo>
                <a:cubicBezTo>
                  <a:pt x="4093" y="1625887"/>
                  <a:pt x="5852" y="1626890"/>
                  <a:pt x="6856" y="1627895"/>
                </a:cubicBezTo>
                <a:cubicBezTo>
                  <a:pt x="7861" y="1628900"/>
                  <a:pt x="8616" y="1629905"/>
                  <a:pt x="9369" y="1631160"/>
                </a:cubicBezTo>
                <a:cubicBezTo>
                  <a:pt x="10877" y="1632919"/>
                  <a:pt x="12385" y="1633420"/>
                  <a:pt x="14395" y="1631914"/>
                </a:cubicBezTo>
                <a:cubicBezTo>
                  <a:pt x="19170" y="1628649"/>
                  <a:pt x="24447" y="1628147"/>
                  <a:pt x="29723" y="1627895"/>
                </a:cubicBezTo>
                <a:cubicBezTo>
                  <a:pt x="36005" y="1627394"/>
                  <a:pt x="42538" y="1628147"/>
                  <a:pt x="48821" y="1626640"/>
                </a:cubicBezTo>
                <a:cubicBezTo>
                  <a:pt x="51082" y="1626137"/>
                  <a:pt x="52338" y="1627645"/>
                  <a:pt x="53344" y="1628900"/>
                </a:cubicBezTo>
                <a:cubicBezTo>
                  <a:pt x="56861" y="1632919"/>
                  <a:pt x="60128" y="1636937"/>
                  <a:pt x="66410" y="1634927"/>
                </a:cubicBezTo>
                <a:cubicBezTo>
                  <a:pt x="67666" y="1634677"/>
                  <a:pt x="68420" y="1635681"/>
                  <a:pt x="68922" y="1636686"/>
                </a:cubicBezTo>
                <a:cubicBezTo>
                  <a:pt x="71687" y="1641709"/>
                  <a:pt x="76210" y="1645727"/>
                  <a:pt x="79980" y="1649997"/>
                </a:cubicBezTo>
                <a:cubicBezTo>
                  <a:pt x="85759" y="1656527"/>
                  <a:pt x="89025" y="1663810"/>
                  <a:pt x="86763" y="1672601"/>
                </a:cubicBezTo>
                <a:cubicBezTo>
                  <a:pt x="86009" y="1676117"/>
                  <a:pt x="88020" y="1678378"/>
                  <a:pt x="90031" y="1680387"/>
                </a:cubicBezTo>
                <a:cubicBezTo>
                  <a:pt x="94554" y="1685159"/>
                  <a:pt x="94302" y="1687670"/>
                  <a:pt x="89276" y="1691438"/>
                </a:cubicBezTo>
                <a:cubicBezTo>
                  <a:pt x="83749" y="1695205"/>
                  <a:pt x="83749" y="1695205"/>
                  <a:pt x="88271" y="1700730"/>
                </a:cubicBezTo>
                <a:lnTo>
                  <a:pt x="88282" y="1700881"/>
                </a:lnTo>
                <a:lnTo>
                  <a:pt x="191406" y="1652464"/>
                </a:lnTo>
                <a:lnTo>
                  <a:pt x="323467" y="1609882"/>
                </a:lnTo>
                <a:lnTo>
                  <a:pt x="327394" y="1598715"/>
                </a:lnTo>
                <a:cubicBezTo>
                  <a:pt x="329057" y="1597059"/>
                  <a:pt x="330720" y="1595817"/>
                  <a:pt x="333631" y="1594990"/>
                </a:cubicBezTo>
                <a:lnTo>
                  <a:pt x="339777" y="1587261"/>
                </a:lnTo>
                <a:lnTo>
                  <a:pt x="338724" y="1585497"/>
                </a:lnTo>
                <a:cubicBezTo>
                  <a:pt x="337227" y="1585160"/>
                  <a:pt x="335295" y="1586124"/>
                  <a:pt x="332976" y="1588054"/>
                </a:cubicBezTo>
                <a:cubicBezTo>
                  <a:pt x="329886" y="1590754"/>
                  <a:pt x="328340" y="1589984"/>
                  <a:pt x="328340" y="1586124"/>
                </a:cubicBezTo>
                <a:cubicBezTo>
                  <a:pt x="328340" y="1583809"/>
                  <a:pt x="329113" y="1581108"/>
                  <a:pt x="325635" y="1580722"/>
                </a:cubicBezTo>
                <a:cubicBezTo>
                  <a:pt x="317908" y="1579178"/>
                  <a:pt x="314818" y="1573776"/>
                  <a:pt x="315204" y="1566830"/>
                </a:cubicBezTo>
                <a:cubicBezTo>
                  <a:pt x="315590" y="1561814"/>
                  <a:pt x="314045" y="1559499"/>
                  <a:pt x="310567" y="1557569"/>
                </a:cubicBezTo>
                <a:cubicBezTo>
                  <a:pt x="310567" y="1556025"/>
                  <a:pt x="310567" y="1554483"/>
                  <a:pt x="310567" y="1552939"/>
                </a:cubicBezTo>
                <a:cubicBezTo>
                  <a:pt x="314431" y="1550624"/>
                  <a:pt x="315590" y="1546379"/>
                  <a:pt x="314431" y="1542521"/>
                </a:cubicBezTo>
                <a:cubicBezTo>
                  <a:pt x="312499" y="1535574"/>
                  <a:pt x="314818" y="1530172"/>
                  <a:pt x="319840" y="1525542"/>
                </a:cubicBezTo>
                <a:cubicBezTo>
                  <a:pt x="321772" y="1523612"/>
                  <a:pt x="323704" y="1522068"/>
                  <a:pt x="324476" y="1519368"/>
                </a:cubicBezTo>
                <a:cubicBezTo>
                  <a:pt x="325249" y="1515123"/>
                  <a:pt x="327567" y="1512807"/>
                  <a:pt x="331818" y="1513193"/>
                </a:cubicBezTo>
                <a:cubicBezTo>
                  <a:pt x="334908" y="1513193"/>
                  <a:pt x="337227" y="1511264"/>
                  <a:pt x="338386" y="1509720"/>
                </a:cubicBezTo>
                <a:cubicBezTo>
                  <a:pt x="341670" y="1505090"/>
                  <a:pt x="345727" y="1504029"/>
                  <a:pt x="349977" y="1503980"/>
                </a:cubicBezTo>
                <a:cubicBezTo>
                  <a:pt x="354228" y="1503932"/>
                  <a:pt x="358671" y="1504897"/>
                  <a:pt x="362727" y="1504318"/>
                </a:cubicBezTo>
                <a:cubicBezTo>
                  <a:pt x="366204" y="1503933"/>
                  <a:pt x="373545" y="1502003"/>
                  <a:pt x="375091" y="1504704"/>
                </a:cubicBezTo>
                <a:cubicBezTo>
                  <a:pt x="379728" y="1512422"/>
                  <a:pt x="391705" y="1509334"/>
                  <a:pt x="394410" y="1519753"/>
                </a:cubicBezTo>
                <a:cubicBezTo>
                  <a:pt x="395182" y="1522840"/>
                  <a:pt x="400591" y="1524770"/>
                  <a:pt x="395569" y="1529015"/>
                </a:cubicBezTo>
                <a:cubicBezTo>
                  <a:pt x="394023" y="1530172"/>
                  <a:pt x="394410" y="1532487"/>
                  <a:pt x="395955" y="1532873"/>
                </a:cubicBezTo>
                <a:cubicBezTo>
                  <a:pt x="402137" y="1535188"/>
                  <a:pt x="401751" y="1538661"/>
                  <a:pt x="397886" y="1543291"/>
                </a:cubicBezTo>
                <a:cubicBezTo>
                  <a:pt x="396728" y="1544835"/>
                  <a:pt x="398273" y="1546765"/>
                  <a:pt x="399046" y="1548308"/>
                </a:cubicBezTo>
                <a:cubicBezTo>
                  <a:pt x="400591" y="1550624"/>
                  <a:pt x="400978" y="1552939"/>
                  <a:pt x="398659" y="1554869"/>
                </a:cubicBezTo>
                <a:cubicBezTo>
                  <a:pt x="396342" y="1556797"/>
                  <a:pt x="396728" y="1559113"/>
                  <a:pt x="395955" y="1561428"/>
                </a:cubicBezTo>
                <a:cubicBezTo>
                  <a:pt x="394023" y="1567216"/>
                  <a:pt x="391705" y="1574548"/>
                  <a:pt x="387455" y="1577250"/>
                </a:cubicBezTo>
                <a:lnTo>
                  <a:pt x="380836" y="1581439"/>
                </a:lnTo>
                <a:lnTo>
                  <a:pt x="381453" y="1582156"/>
                </a:lnTo>
                <a:lnTo>
                  <a:pt x="381453" y="1591186"/>
                </a:lnTo>
                <a:lnTo>
                  <a:pt x="426240" y="1576746"/>
                </a:lnTo>
                <a:lnTo>
                  <a:pt x="528308" y="1554876"/>
                </a:lnTo>
                <a:lnTo>
                  <a:pt x="528278" y="1554390"/>
                </a:lnTo>
                <a:cubicBezTo>
                  <a:pt x="528894" y="1553163"/>
                  <a:pt x="530121" y="1551629"/>
                  <a:pt x="529200" y="1550402"/>
                </a:cubicBezTo>
                <a:cubicBezTo>
                  <a:pt x="526129" y="1546722"/>
                  <a:pt x="525822" y="1543960"/>
                  <a:pt x="530736" y="1542121"/>
                </a:cubicBezTo>
                <a:cubicBezTo>
                  <a:pt x="531965" y="1541813"/>
                  <a:pt x="532272" y="1539973"/>
                  <a:pt x="531043" y="1539053"/>
                </a:cubicBezTo>
                <a:cubicBezTo>
                  <a:pt x="527050" y="1535679"/>
                  <a:pt x="531349" y="1534146"/>
                  <a:pt x="531965" y="1531691"/>
                </a:cubicBezTo>
                <a:cubicBezTo>
                  <a:pt x="534114" y="1523410"/>
                  <a:pt x="543635" y="1525863"/>
                  <a:pt x="547321" y="1519728"/>
                </a:cubicBezTo>
                <a:cubicBezTo>
                  <a:pt x="548550" y="1517582"/>
                  <a:pt x="554385" y="1519115"/>
                  <a:pt x="557148" y="1519422"/>
                </a:cubicBezTo>
                <a:cubicBezTo>
                  <a:pt x="563599" y="1520343"/>
                  <a:pt x="571276" y="1516354"/>
                  <a:pt x="576498" y="1523716"/>
                </a:cubicBezTo>
                <a:cubicBezTo>
                  <a:pt x="577419" y="1524943"/>
                  <a:pt x="579262" y="1526477"/>
                  <a:pt x="581718" y="1526477"/>
                </a:cubicBezTo>
                <a:cubicBezTo>
                  <a:pt x="585098" y="1526170"/>
                  <a:pt x="586940" y="1528011"/>
                  <a:pt x="587553" y="1531385"/>
                </a:cubicBezTo>
                <a:cubicBezTo>
                  <a:pt x="588169" y="1533532"/>
                  <a:pt x="589705" y="1534759"/>
                  <a:pt x="591240" y="1536293"/>
                </a:cubicBezTo>
                <a:lnTo>
                  <a:pt x="592760" y="1541067"/>
                </a:lnTo>
                <a:lnTo>
                  <a:pt x="664878" y="1525615"/>
                </a:lnTo>
                <a:cubicBezTo>
                  <a:pt x="825303" y="1499856"/>
                  <a:pt x="988463" y="1490878"/>
                  <a:pt x="1154743" y="1499465"/>
                </a:cubicBezTo>
                <a:lnTo>
                  <a:pt x="1178003" y="1501806"/>
                </a:lnTo>
                <a:lnTo>
                  <a:pt x="1179320" y="1494708"/>
                </a:lnTo>
                <a:cubicBezTo>
                  <a:pt x="1180463" y="1494422"/>
                  <a:pt x="1180749" y="1492710"/>
                  <a:pt x="1179605" y="1491853"/>
                </a:cubicBezTo>
                <a:cubicBezTo>
                  <a:pt x="1175889" y="1488714"/>
                  <a:pt x="1179892" y="1487286"/>
                  <a:pt x="1180463" y="1485004"/>
                </a:cubicBezTo>
                <a:cubicBezTo>
                  <a:pt x="1181463" y="1481149"/>
                  <a:pt x="1184178" y="1479793"/>
                  <a:pt x="1187073" y="1478687"/>
                </a:cubicBezTo>
                <a:lnTo>
                  <a:pt x="1190229" y="1476707"/>
                </a:lnTo>
                <a:lnTo>
                  <a:pt x="1159428" y="1474486"/>
                </a:lnTo>
                <a:cubicBezTo>
                  <a:pt x="1009541" y="1471363"/>
                  <a:pt x="859654" y="1468241"/>
                  <a:pt x="711328" y="1491660"/>
                </a:cubicBezTo>
                <a:cubicBezTo>
                  <a:pt x="653558" y="1502588"/>
                  <a:pt x="594229" y="1494782"/>
                  <a:pt x="536460" y="1494781"/>
                </a:cubicBezTo>
                <a:cubicBezTo>
                  <a:pt x="725380" y="1460435"/>
                  <a:pt x="915860" y="1440139"/>
                  <a:pt x="1107905" y="1440139"/>
                </a:cubicBezTo>
                <a:cubicBezTo>
                  <a:pt x="1301508" y="1441701"/>
                  <a:pt x="1490429" y="1465118"/>
                  <a:pt x="1677788" y="1516639"/>
                </a:cubicBezTo>
                <a:cubicBezTo>
                  <a:pt x="1512287" y="1458874"/>
                  <a:pt x="1337419" y="1433895"/>
                  <a:pt x="1167234" y="1397987"/>
                </a:cubicBezTo>
                <a:cubicBezTo>
                  <a:pt x="1167234" y="1394864"/>
                  <a:pt x="1168796" y="1391742"/>
                  <a:pt x="1168796" y="1390180"/>
                </a:cubicBezTo>
                <a:cubicBezTo>
                  <a:pt x="1217197" y="1394864"/>
                  <a:pt x="1265599" y="1399548"/>
                  <a:pt x="1315562" y="1405792"/>
                </a:cubicBezTo>
                <a:cubicBezTo>
                  <a:pt x="1391091" y="1416037"/>
                  <a:pt x="1465577" y="1429302"/>
                  <a:pt x="1539021" y="1445523"/>
                </a:cubicBezTo>
                <a:lnTo>
                  <a:pt x="1712598" y="1491453"/>
                </a:lnTo>
                <a:lnTo>
                  <a:pt x="1708390" y="1487758"/>
                </a:lnTo>
                <a:cubicBezTo>
                  <a:pt x="1705733" y="1485509"/>
                  <a:pt x="1702665" y="1483875"/>
                  <a:pt x="1699393" y="1485714"/>
                </a:cubicBezTo>
                <a:cubicBezTo>
                  <a:pt x="1696735" y="1486940"/>
                  <a:pt x="1695509" y="1485918"/>
                  <a:pt x="1694076" y="1484079"/>
                </a:cubicBezTo>
                <a:cubicBezTo>
                  <a:pt x="1691010" y="1479992"/>
                  <a:pt x="1687329" y="1476926"/>
                  <a:pt x="1681604" y="1478152"/>
                </a:cubicBezTo>
                <a:cubicBezTo>
                  <a:pt x="1680173" y="1478561"/>
                  <a:pt x="1679763" y="1477947"/>
                  <a:pt x="1679558" y="1476517"/>
                </a:cubicBezTo>
                <a:cubicBezTo>
                  <a:pt x="1678740" y="1466502"/>
                  <a:pt x="1674446" y="1457918"/>
                  <a:pt x="1668721" y="1450152"/>
                </a:cubicBezTo>
                <a:cubicBezTo>
                  <a:pt x="1667290" y="1448313"/>
                  <a:pt x="1667699" y="1447086"/>
                  <a:pt x="1668516" y="1445247"/>
                </a:cubicBezTo>
                <a:cubicBezTo>
                  <a:pt x="1670561" y="1441569"/>
                  <a:pt x="1672811" y="1437481"/>
                  <a:pt x="1671380" y="1433394"/>
                </a:cubicBezTo>
                <a:cubicBezTo>
                  <a:pt x="1669948" y="1429306"/>
                  <a:pt x="1670971" y="1426444"/>
                  <a:pt x="1673015" y="1423174"/>
                </a:cubicBezTo>
                <a:cubicBezTo>
                  <a:pt x="1673628" y="1422153"/>
                  <a:pt x="1674037" y="1421131"/>
                  <a:pt x="1674651" y="1419904"/>
                </a:cubicBezTo>
                <a:cubicBezTo>
                  <a:pt x="1677309" y="1413978"/>
                  <a:pt x="1680377" y="1408459"/>
                  <a:pt x="1686716" y="1405598"/>
                </a:cubicBezTo>
                <a:cubicBezTo>
                  <a:pt x="1687942" y="1405189"/>
                  <a:pt x="1687942" y="1404371"/>
                  <a:pt x="1687942" y="1403349"/>
                </a:cubicBezTo>
                <a:cubicBezTo>
                  <a:pt x="1687738" y="1400284"/>
                  <a:pt x="1682217" y="1392926"/>
                  <a:pt x="1679354" y="1392108"/>
                </a:cubicBezTo>
                <a:cubicBezTo>
                  <a:pt x="1674855" y="1391087"/>
                  <a:pt x="1670971" y="1388839"/>
                  <a:pt x="1667903" y="1385364"/>
                </a:cubicBezTo>
                <a:cubicBezTo>
                  <a:pt x="1663609" y="1380868"/>
                  <a:pt x="1659928" y="1376167"/>
                  <a:pt x="1655838" y="1371467"/>
                </a:cubicBezTo>
                <a:cubicBezTo>
                  <a:pt x="1654612" y="1370240"/>
                  <a:pt x="1655225" y="1369423"/>
                  <a:pt x="1656043" y="1368400"/>
                </a:cubicBezTo>
                <a:cubicBezTo>
                  <a:pt x="1659724" y="1363904"/>
                  <a:pt x="1659724" y="1363904"/>
                  <a:pt x="1655225" y="1360839"/>
                </a:cubicBezTo>
                <a:cubicBezTo>
                  <a:pt x="1651135" y="1357773"/>
                  <a:pt x="1650931" y="1355730"/>
                  <a:pt x="1654612" y="1351847"/>
                </a:cubicBezTo>
                <a:cubicBezTo>
                  <a:pt x="1656248" y="1350211"/>
                  <a:pt x="1657884" y="1348372"/>
                  <a:pt x="1657270" y="1345510"/>
                </a:cubicBezTo>
                <a:cubicBezTo>
                  <a:pt x="1655429" y="1338357"/>
                  <a:pt x="1658088" y="1332431"/>
                  <a:pt x="1662791" y="1327116"/>
                </a:cubicBezTo>
                <a:cubicBezTo>
                  <a:pt x="1665858" y="1323642"/>
                  <a:pt x="1669539" y="1320372"/>
                  <a:pt x="1671789" y="1316285"/>
                </a:cubicBezTo>
                <a:cubicBezTo>
                  <a:pt x="1672197" y="1315467"/>
                  <a:pt x="1672811" y="1314649"/>
                  <a:pt x="1673833" y="1314854"/>
                </a:cubicBezTo>
                <a:cubicBezTo>
                  <a:pt x="1678945" y="1316489"/>
                  <a:pt x="1681604" y="1313219"/>
                  <a:pt x="1684466" y="1309948"/>
                </a:cubicBezTo>
                <a:cubicBezTo>
                  <a:pt x="1685285" y="1308927"/>
                  <a:pt x="1686307" y="1307701"/>
                  <a:pt x="1688147" y="1308109"/>
                </a:cubicBezTo>
                <a:cubicBezTo>
                  <a:pt x="1693259" y="1309336"/>
                  <a:pt x="1698575" y="1308723"/>
                  <a:pt x="1703687" y="1309132"/>
                </a:cubicBezTo>
                <a:cubicBezTo>
                  <a:pt x="1707981" y="1309336"/>
                  <a:pt x="1712276" y="1309744"/>
                  <a:pt x="1716161" y="1312401"/>
                </a:cubicBezTo>
                <a:cubicBezTo>
                  <a:pt x="1717796" y="1313627"/>
                  <a:pt x="1719024" y="1313219"/>
                  <a:pt x="1720251" y="1311788"/>
                </a:cubicBezTo>
                <a:cubicBezTo>
                  <a:pt x="1720864" y="1310766"/>
                  <a:pt x="1721477" y="1309948"/>
                  <a:pt x="1722295" y="1309132"/>
                </a:cubicBezTo>
                <a:cubicBezTo>
                  <a:pt x="1723113" y="1308314"/>
                  <a:pt x="1724545" y="1307496"/>
                  <a:pt x="1725567" y="1308314"/>
                </a:cubicBezTo>
                <a:cubicBezTo>
                  <a:pt x="1726794" y="1309132"/>
                  <a:pt x="1726385" y="1310766"/>
                  <a:pt x="1725772" y="1311993"/>
                </a:cubicBezTo>
                <a:cubicBezTo>
                  <a:pt x="1725567" y="1312606"/>
                  <a:pt x="1725158" y="1313015"/>
                  <a:pt x="1724749" y="1313627"/>
                </a:cubicBezTo>
                <a:cubicBezTo>
                  <a:pt x="1721477" y="1318328"/>
                  <a:pt x="1722704" y="1321393"/>
                  <a:pt x="1728225" y="1322007"/>
                </a:cubicBezTo>
                <a:cubicBezTo>
                  <a:pt x="1729248" y="1322211"/>
                  <a:pt x="1730270" y="1322211"/>
                  <a:pt x="1731088" y="1322416"/>
                </a:cubicBezTo>
                <a:cubicBezTo>
                  <a:pt x="1732519" y="1322824"/>
                  <a:pt x="1734156" y="1322416"/>
                  <a:pt x="1734565" y="1324664"/>
                </a:cubicBezTo>
                <a:cubicBezTo>
                  <a:pt x="1734973" y="1326299"/>
                  <a:pt x="1734156" y="1327116"/>
                  <a:pt x="1732928" y="1327934"/>
                </a:cubicBezTo>
                <a:cubicBezTo>
                  <a:pt x="1730679" y="1329569"/>
                  <a:pt x="1730884" y="1331000"/>
                  <a:pt x="1733132" y="1332838"/>
                </a:cubicBezTo>
                <a:cubicBezTo>
                  <a:pt x="1735996" y="1335087"/>
                  <a:pt x="1738654" y="1337948"/>
                  <a:pt x="1738450" y="1342036"/>
                </a:cubicBezTo>
                <a:cubicBezTo>
                  <a:pt x="1738245" y="1345306"/>
                  <a:pt x="1739063" y="1346941"/>
                  <a:pt x="1742743" y="1346124"/>
                </a:cubicBezTo>
                <a:cubicBezTo>
                  <a:pt x="1743562" y="1345919"/>
                  <a:pt x="1744584" y="1346124"/>
                  <a:pt x="1744993" y="1347350"/>
                </a:cubicBezTo>
                <a:cubicBezTo>
                  <a:pt x="1745402" y="1348372"/>
                  <a:pt x="1744380" y="1348985"/>
                  <a:pt x="1743766" y="1349598"/>
                </a:cubicBezTo>
                <a:cubicBezTo>
                  <a:pt x="1742334" y="1351029"/>
                  <a:pt x="1740699" y="1352459"/>
                  <a:pt x="1739676" y="1354094"/>
                </a:cubicBezTo>
                <a:cubicBezTo>
                  <a:pt x="1736404" y="1358386"/>
                  <a:pt x="1736609" y="1360839"/>
                  <a:pt x="1739676" y="1365335"/>
                </a:cubicBezTo>
                <a:cubicBezTo>
                  <a:pt x="1742130" y="1368809"/>
                  <a:pt x="1743971" y="1372488"/>
                  <a:pt x="1744175" y="1376985"/>
                </a:cubicBezTo>
                <a:cubicBezTo>
                  <a:pt x="1744380" y="1380254"/>
                  <a:pt x="1742743" y="1380663"/>
                  <a:pt x="1740085" y="1379641"/>
                </a:cubicBezTo>
                <a:cubicBezTo>
                  <a:pt x="1738245" y="1379029"/>
                  <a:pt x="1737222" y="1377189"/>
                  <a:pt x="1735791" y="1376167"/>
                </a:cubicBezTo>
                <a:cubicBezTo>
                  <a:pt x="1734156" y="1374941"/>
                  <a:pt x="1731906" y="1373306"/>
                  <a:pt x="1730270" y="1374941"/>
                </a:cubicBezTo>
                <a:cubicBezTo>
                  <a:pt x="1728429" y="1376985"/>
                  <a:pt x="1729453" y="1379438"/>
                  <a:pt x="1731292" y="1381277"/>
                </a:cubicBezTo>
                <a:cubicBezTo>
                  <a:pt x="1732110" y="1382094"/>
                  <a:pt x="1733337" y="1382912"/>
                  <a:pt x="1734156" y="1383933"/>
                </a:cubicBezTo>
                <a:cubicBezTo>
                  <a:pt x="1735178" y="1384955"/>
                  <a:pt x="1735996" y="1386182"/>
                  <a:pt x="1734769" y="1387612"/>
                </a:cubicBezTo>
                <a:cubicBezTo>
                  <a:pt x="1733747" y="1388839"/>
                  <a:pt x="1732519" y="1388225"/>
                  <a:pt x="1731292" y="1387204"/>
                </a:cubicBezTo>
                <a:cubicBezTo>
                  <a:pt x="1730066" y="1386386"/>
                  <a:pt x="1728839" y="1385364"/>
                  <a:pt x="1727612" y="1384751"/>
                </a:cubicBezTo>
                <a:cubicBezTo>
                  <a:pt x="1725772" y="1383524"/>
                  <a:pt x="1723726" y="1384138"/>
                  <a:pt x="1722295" y="1385364"/>
                </a:cubicBezTo>
                <a:cubicBezTo>
                  <a:pt x="1720864" y="1386591"/>
                  <a:pt x="1721682" y="1388430"/>
                  <a:pt x="1722295" y="1389861"/>
                </a:cubicBezTo>
                <a:cubicBezTo>
                  <a:pt x="1725363" y="1397014"/>
                  <a:pt x="1735587" y="1400079"/>
                  <a:pt x="1742539" y="1395787"/>
                </a:cubicBezTo>
                <a:cubicBezTo>
                  <a:pt x="1745811" y="1393744"/>
                  <a:pt x="1747037" y="1394357"/>
                  <a:pt x="1747446" y="1397627"/>
                </a:cubicBezTo>
                <a:cubicBezTo>
                  <a:pt x="1748061" y="1402940"/>
                  <a:pt x="1750514" y="1406416"/>
                  <a:pt x="1755830" y="1408254"/>
                </a:cubicBezTo>
                <a:cubicBezTo>
                  <a:pt x="1757261" y="1408663"/>
                  <a:pt x="1759511" y="1409686"/>
                  <a:pt x="1758898" y="1411933"/>
                </a:cubicBezTo>
                <a:cubicBezTo>
                  <a:pt x="1757671" y="1417043"/>
                  <a:pt x="1759716" y="1421335"/>
                  <a:pt x="1762374" y="1425423"/>
                </a:cubicBezTo>
                <a:cubicBezTo>
                  <a:pt x="1764419" y="1428488"/>
                  <a:pt x="1765032" y="1431349"/>
                  <a:pt x="1762783" y="1435028"/>
                </a:cubicBezTo>
                <a:cubicBezTo>
                  <a:pt x="1760329" y="1438911"/>
                  <a:pt x="1761760" y="1441160"/>
                  <a:pt x="1766667" y="1441977"/>
                </a:cubicBezTo>
                <a:cubicBezTo>
                  <a:pt x="1766872" y="1441977"/>
                  <a:pt x="1767076" y="1441977"/>
                  <a:pt x="1767282" y="1441977"/>
                </a:cubicBezTo>
                <a:cubicBezTo>
                  <a:pt x="1769122" y="1442181"/>
                  <a:pt x="1770962" y="1442590"/>
                  <a:pt x="1771166" y="1444430"/>
                </a:cubicBezTo>
                <a:cubicBezTo>
                  <a:pt x="1771575" y="1446269"/>
                  <a:pt x="1769326" y="1446064"/>
                  <a:pt x="1768304" y="1446677"/>
                </a:cubicBezTo>
                <a:cubicBezTo>
                  <a:pt x="1761760" y="1449947"/>
                  <a:pt x="1759102" y="1455057"/>
                  <a:pt x="1760329" y="1462415"/>
                </a:cubicBezTo>
                <a:cubicBezTo>
                  <a:pt x="1760738" y="1464868"/>
                  <a:pt x="1759920" y="1466298"/>
                  <a:pt x="1757876" y="1467320"/>
                </a:cubicBezTo>
                <a:cubicBezTo>
                  <a:pt x="1756648" y="1467933"/>
                  <a:pt x="1755421" y="1468342"/>
                  <a:pt x="1754195" y="1468955"/>
                </a:cubicBezTo>
                <a:cubicBezTo>
                  <a:pt x="1752558" y="1469772"/>
                  <a:pt x="1751945" y="1470999"/>
                  <a:pt x="1752354" y="1472839"/>
                </a:cubicBezTo>
                <a:lnTo>
                  <a:pt x="1753269" y="1474136"/>
                </a:lnTo>
                <a:lnTo>
                  <a:pt x="1737287" y="1490031"/>
                </a:lnTo>
                <a:lnTo>
                  <a:pt x="1737631" y="1486940"/>
                </a:lnTo>
                <a:cubicBezTo>
                  <a:pt x="1738041" y="1485305"/>
                  <a:pt x="1738041" y="1484487"/>
                  <a:pt x="1736200" y="1483466"/>
                </a:cubicBezTo>
                <a:cubicBezTo>
                  <a:pt x="1734156" y="1482648"/>
                  <a:pt x="1733337" y="1483670"/>
                  <a:pt x="1732519" y="1484896"/>
                </a:cubicBezTo>
                <a:cubicBezTo>
                  <a:pt x="1731906" y="1485714"/>
                  <a:pt x="1731701" y="1486531"/>
                  <a:pt x="1731292" y="1487554"/>
                </a:cubicBezTo>
                <a:cubicBezTo>
                  <a:pt x="1729453" y="1491846"/>
                  <a:pt x="1728225" y="1492050"/>
                  <a:pt x="1725158" y="1488575"/>
                </a:cubicBezTo>
                <a:cubicBezTo>
                  <a:pt x="1724545" y="1487758"/>
                  <a:pt x="1723726" y="1486736"/>
                  <a:pt x="1722500" y="1486736"/>
                </a:cubicBezTo>
                <a:cubicBezTo>
                  <a:pt x="1721068" y="1486940"/>
                  <a:pt x="1721068" y="1488575"/>
                  <a:pt x="1720660" y="1489597"/>
                </a:cubicBezTo>
                <a:cubicBezTo>
                  <a:pt x="1720251" y="1490415"/>
                  <a:pt x="1720046" y="1491232"/>
                  <a:pt x="1720046" y="1492050"/>
                </a:cubicBezTo>
                <a:lnTo>
                  <a:pt x="1719261" y="1493216"/>
                </a:lnTo>
                <a:lnTo>
                  <a:pt x="1756221" y="1502996"/>
                </a:lnTo>
                <a:cubicBezTo>
                  <a:pt x="1898936" y="1547143"/>
                  <a:pt x="2037479" y="1602871"/>
                  <a:pt x="2171851" y="1669686"/>
                </a:cubicBezTo>
                <a:lnTo>
                  <a:pt x="2193858" y="1682084"/>
                </a:lnTo>
                <a:lnTo>
                  <a:pt x="2203401" y="1657369"/>
                </a:lnTo>
                <a:cubicBezTo>
                  <a:pt x="2212031" y="1644718"/>
                  <a:pt x="2212606" y="1637817"/>
                  <a:pt x="2203401" y="1625741"/>
                </a:cubicBezTo>
                <a:cubicBezTo>
                  <a:pt x="2200525" y="1621141"/>
                  <a:pt x="2195921" y="1617116"/>
                  <a:pt x="2191894" y="1613090"/>
                </a:cubicBezTo>
                <a:cubicBezTo>
                  <a:pt x="2190169" y="1611365"/>
                  <a:pt x="2187291" y="1609640"/>
                  <a:pt x="2188442" y="1606765"/>
                </a:cubicBezTo>
                <a:cubicBezTo>
                  <a:pt x="2189592" y="1603313"/>
                  <a:pt x="2192470" y="1602738"/>
                  <a:pt x="2194771" y="1603313"/>
                </a:cubicBezTo>
                <a:cubicBezTo>
                  <a:pt x="2205127" y="1605614"/>
                  <a:pt x="2207429" y="1601013"/>
                  <a:pt x="2206854" y="1591813"/>
                </a:cubicBezTo>
                <a:cubicBezTo>
                  <a:pt x="2206277" y="1580312"/>
                  <a:pt x="2213757" y="1572261"/>
                  <a:pt x="2221812" y="1565936"/>
                </a:cubicBezTo>
                <a:cubicBezTo>
                  <a:pt x="2228141" y="1560760"/>
                  <a:pt x="2228716" y="1556734"/>
                  <a:pt x="2222387" y="1552133"/>
                </a:cubicBezTo>
                <a:cubicBezTo>
                  <a:pt x="2218936" y="1549833"/>
                  <a:pt x="2216634" y="1547533"/>
                  <a:pt x="2217785" y="1542933"/>
                </a:cubicBezTo>
                <a:cubicBezTo>
                  <a:pt x="2218936" y="1536607"/>
                  <a:pt x="2223539" y="1537757"/>
                  <a:pt x="2227566" y="1536607"/>
                </a:cubicBezTo>
                <a:cubicBezTo>
                  <a:pt x="2229867" y="1536032"/>
                  <a:pt x="2232744" y="1536032"/>
                  <a:pt x="2235620" y="1535457"/>
                </a:cubicBezTo>
                <a:cubicBezTo>
                  <a:pt x="2251155" y="1533732"/>
                  <a:pt x="2254606" y="1525106"/>
                  <a:pt x="2245401" y="1511880"/>
                </a:cubicBezTo>
                <a:cubicBezTo>
                  <a:pt x="2244251" y="1510155"/>
                  <a:pt x="2243100" y="1509005"/>
                  <a:pt x="2242525" y="1507280"/>
                </a:cubicBezTo>
                <a:cubicBezTo>
                  <a:pt x="2240799" y="1503830"/>
                  <a:pt x="2239647" y="1499229"/>
                  <a:pt x="2243100" y="1496929"/>
                </a:cubicBezTo>
                <a:cubicBezTo>
                  <a:pt x="2245976" y="1494628"/>
                  <a:pt x="2250004" y="1496929"/>
                  <a:pt x="2252305" y="1499229"/>
                </a:cubicBezTo>
                <a:cubicBezTo>
                  <a:pt x="2254606" y="1501530"/>
                  <a:pt x="2256332" y="1503830"/>
                  <a:pt x="2258059" y="1506705"/>
                </a:cubicBezTo>
                <a:lnTo>
                  <a:pt x="2260397" y="1507055"/>
                </a:lnTo>
                <a:lnTo>
                  <a:pt x="2261117" y="1501310"/>
                </a:lnTo>
                <a:cubicBezTo>
                  <a:pt x="2263135" y="1493534"/>
                  <a:pt x="2272075" y="1495837"/>
                  <a:pt x="2275536" y="1490077"/>
                </a:cubicBezTo>
                <a:cubicBezTo>
                  <a:pt x="2276690" y="1488061"/>
                  <a:pt x="2282169" y="1489501"/>
                  <a:pt x="2284764" y="1489789"/>
                </a:cubicBezTo>
                <a:cubicBezTo>
                  <a:pt x="2290821" y="1490653"/>
                  <a:pt x="2298030" y="1486909"/>
                  <a:pt x="2302933" y="1493821"/>
                </a:cubicBezTo>
                <a:cubicBezTo>
                  <a:pt x="2303798" y="1494973"/>
                  <a:pt x="2305528" y="1496413"/>
                  <a:pt x="2307835" y="1496413"/>
                </a:cubicBezTo>
                <a:lnTo>
                  <a:pt x="2310709" y="1498832"/>
                </a:lnTo>
                <a:lnTo>
                  <a:pt x="2348388" y="1496353"/>
                </a:lnTo>
                <a:cubicBezTo>
                  <a:pt x="2353566" y="1495203"/>
                  <a:pt x="2356443" y="1498654"/>
                  <a:pt x="2358744" y="1501530"/>
                </a:cubicBezTo>
                <a:cubicBezTo>
                  <a:pt x="2366799" y="1510730"/>
                  <a:pt x="2374278" y="1519931"/>
                  <a:pt x="2388661" y="1515331"/>
                </a:cubicBezTo>
                <a:cubicBezTo>
                  <a:pt x="2391539" y="1514756"/>
                  <a:pt x="2393264" y="1517056"/>
                  <a:pt x="2394415" y="1519356"/>
                </a:cubicBezTo>
                <a:cubicBezTo>
                  <a:pt x="2400744" y="1530857"/>
                  <a:pt x="2411100" y="1540058"/>
                  <a:pt x="2419730" y="1549833"/>
                </a:cubicBezTo>
                <a:cubicBezTo>
                  <a:pt x="2432964" y="1564786"/>
                  <a:pt x="2440443" y="1581462"/>
                  <a:pt x="2435265" y="1601588"/>
                </a:cubicBezTo>
                <a:cubicBezTo>
                  <a:pt x="2433539" y="1609640"/>
                  <a:pt x="2438141" y="1614815"/>
                  <a:pt x="2442744" y="1619416"/>
                </a:cubicBezTo>
                <a:cubicBezTo>
                  <a:pt x="2453100" y="1630342"/>
                  <a:pt x="2452525" y="1636092"/>
                  <a:pt x="2441018" y="1644718"/>
                </a:cubicBezTo>
                <a:cubicBezTo>
                  <a:pt x="2428360" y="1653343"/>
                  <a:pt x="2428360" y="1653343"/>
                  <a:pt x="2438716" y="1665994"/>
                </a:cubicBezTo>
                <a:cubicBezTo>
                  <a:pt x="2441018" y="1668871"/>
                  <a:pt x="2442744" y="1671171"/>
                  <a:pt x="2439293" y="1674621"/>
                </a:cubicBezTo>
                <a:cubicBezTo>
                  <a:pt x="2427785" y="1687847"/>
                  <a:pt x="2417429" y="1701073"/>
                  <a:pt x="2405346" y="1713724"/>
                </a:cubicBezTo>
                <a:cubicBezTo>
                  <a:pt x="2396716" y="1723501"/>
                  <a:pt x="2385785" y="1729826"/>
                  <a:pt x="2373128" y="1732702"/>
                </a:cubicBezTo>
                <a:cubicBezTo>
                  <a:pt x="2365073" y="1735002"/>
                  <a:pt x="2349539" y="1755703"/>
                  <a:pt x="2348963" y="1764329"/>
                </a:cubicBezTo>
                <a:cubicBezTo>
                  <a:pt x="2348963" y="1767204"/>
                  <a:pt x="2348963" y="1769504"/>
                  <a:pt x="2352415" y="1770654"/>
                </a:cubicBezTo>
                <a:lnTo>
                  <a:pt x="2355478" y="1773134"/>
                </a:lnTo>
                <a:lnTo>
                  <a:pt x="2429009" y="1814559"/>
                </a:lnTo>
                <a:lnTo>
                  <a:pt x="2441530" y="1776982"/>
                </a:lnTo>
                <a:cubicBezTo>
                  <a:pt x="2456483" y="1729119"/>
                  <a:pt x="2492368" y="1693223"/>
                  <a:pt x="2528254" y="1660316"/>
                </a:cubicBezTo>
                <a:cubicBezTo>
                  <a:pt x="2531244" y="1654334"/>
                  <a:pt x="2543206" y="1651342"/>
                  <a:pt x="2549187" y="1654334"/>
                </a:cubicBezTo>
                <a:cubicBezTo>
                  <a:pt x="2588063" y="1657325"/>
                  <a:pt x="2629928" y="1639376"/>
                  <a:pt x="2668804" y="1654334"/>
                </a:cubicBezTo>
                <a:cubicBezTo>
                  <a:pt x="2674785" y="1615445"/>
                  <a:pt x="2638899" y="1594504"/>
                  <a:pt x="2644881" y="1555615"/>
                </a:cubicBezTo>
                <a:cubicBezTo>
                  <a:pt x="2671795" y="1576555"/>
                  <a:pt x="2692728" y="1591513"/>
                  <a:pt x="2713661" y="1609462"/>
                </a:cubicBezTo>
                <a:cubicBezTo>
                  <a:pt x="2721885" y="1616193"/>
                  <a:pt x="2730108" y="1622362"/>
                  <a:pt x="2738473" y="1627551"/>
                </a:cubicBezTo>
                <a:lnTo>
                  <a:pt x="2753930" y="1634901"/>
                </a:lnTo>
                <a:lnTo>
                  <a:pt x="2756826" y="1632145"/>
                </a:lnTo>
                <a:cubicBezTo>
                  <a:pt x="2756652" y="1628661"/>
                  <a:pt x="2758917" y="1626222"/>
                  <a:pt x="2761358" y="1624307"/>
                </a:cubicBezTo>
                <a:cubicBezTo>
                  <a:pt x="2763274" y="1622739"/>
                  <a:pt x="2763449" y="1621520"/>
                  <a:pt x="2761531" y="1620126"/>
                </a:cubicBezTo>
                <a:cubicBezTo>
                  <a:pt x="2760486" y="1619430"/>
                  <a:pt x="2759789" y="1618732"/>
                  <a:pt x="2760137" y="1617340"/>
                </a:cubicBezTo>
                <a:lnTo>
                  <a:pt x="2762472" y="1615830"/>
                </a:lnTo>
                <a:lnTo>
                  <a:pt x="2741438" y="1612164"/>
                </a:lnTo>
                <a:cubicBezTo>
                  <a:pt x="2735457" y="1615155"/>
                  <a:pt x="2732465" y="1612164"/>
                  <a:pt x="2729475" y="1606181"/>
                </a:cubicBezTo>
                <a:cubicBezTo>
                  <a:pt x="2741438" y="1591224"/>
                  <a:pt x="2762370" y="1594216"/>
                  <a:pt x="2774332" y="1582250"/>
                </a:cubicBezTo>
                <a:cubicBezTo>
                  <a:pt x="2774332" y="1579258"/>
                  <a:pt x="2774332" y="1576267"/>
                  <a:pt x="2774332" y="1570285"/>
                </a:cubicBezTo>
                <a:cubicBezTo>
                  <a:pt x="2771341" y="1507464"/>
                  <a:pt x="2759380" y="1441652"/>
                  <a:pt x="2795265" y="1378832"/>
                </a:cubicBezTo>
                <a:lnTo>
                  <a:pt x="2794669" y="1374358"/>
                </a:lnTo>
                <a:lnTo>
                  <a:pt x="2786788" y="1383378"/>
                </a:lnTo>
                <a:cubicBezTo>
                  <a:pt x="2761656" y="1416870"/>
                  <a:pt x="2735995" y="1455106"/>
                  <a:pt x="2707088" y="1499451"/>
                </a:cubicBezTo>
                <a:cubicBezTo>
                  <a:pt x="2708135" y="1476358"/>
                  <a:pt x="2725639" y="1449008"/>
                  <a:pt x="2739426" y="1420865"/>
                </a:cubicBezTo>
                <a:cubicBezTo>
                  <a:pt x="2752292" y="1406125"/>
                  <a:pt x="2767279" y="1386010"/>
                  <a:pt x="2781999" y="1364866"/>
                </a:cubicBezTo>
                <a:lnTo>
                  <a:pt x="2791485" y="1350472"/>
                </a:lnTo>
                <a:lnTo>
                  <a:pt x="2789370" y="1334601"/>
                </a:lnTo>
                <a:lnTo>
                  <a:pt x="2777442" y="1349807"/>
                </a:lnTo>
                <a:cubicBezTo>
                  <a:pt x="2763417" y="1367697"/>
                  <a:pt x="2749225" y="1384096"/>
                  <a:pt x="2733038" y="1396182"/>
                </a:cubicBezTo>
                <a:cubicBezTo>
                  <a:pt x="2720046" y="1420610"/>
                  <a:pt x="2700954" y="1455393"/>
                  <a:pt x="2690597" y="1449294"/>
                </a:cubicBezTo>
                <a:cubicBezTo>
                  <a:pt x="2704383" y="1421150"/>
                  <a:pt x="2712070" y="1403362"/>
                  <a:pt x="2734086" y="1373089"/>
                </a:cubicBezTo>
                <a:cubicBezTo>
                  <a:pt x="2734086" y="1373089"/>
                  <a:pt x="2737801" y="1373884"/>
                  <a:pt x="2736214" y="1381317"/>
                </a:cubicBezTo>
                <a:cubicBezTo>
                  <a:pt x="2736214" y="1381317"/>
                  <a:pt x="2753718" y="1353968"/>
                  <a:pt x="2751588" y="1345740"/>
                </a:cubicBezTo>
                <a:cubicBezTo>
                  <a:pt x="2760612" y="1339895"/>
                  <a:pt x="2765122" y="1336972"/>
                  <a:pt x="2768045" y="1341485"/>
                </a:cubicBezTo>
                <a:cubicBezTo>
                  <a:pt x="2771222" y="1326618"/>
                  <a:pt x="2805182" y="1295012"/>
                  <a:pt x="2817381" y="1274301"/>
                </a:cubicBezTo>
                <a:cubicBezTo>
                  <a:pt x="2822686" y="1267662"/>
                  <a:pt x="2823480" y="1263946"/>
                  <a:pt x="2828785" y="1257307"/>
                </a:cubicBezTo>
                <a:lnTo>
                  <a:pt x="2854356" y="1227686"/>
                </a:lnTo>
                <a:lnTo>
                  <a:pt x="2841467" y="1219528"/>
                </a:lnTo>
                <a:cubicBezTo>
                  <a:pt x="2838294" y="1217512"/>
                  <a:pt x="2836565" y="1212040"/>
                  <a:pt x="2835123" y="1207719"/>
                </a:cubicBezTo>
                <a:cubicBezTo>
                  <a:pt x="2834545" y="1205991"/>
                  <a:pt x="2834834" y="1204263"/>
                  <a:pt x="2833104" y="1202823"/>
                </a:cubicBezTo>
                <a:cubicBezTo>
                  <a:pt x="2831373" y="1201383"/>
                  <a:pt x="2831662" y="1199655"/>
                  <a:pt x="2832815" y="1197926"/>
                </a:cubicBezTo>
                <a:cubicBezTo>
                  <a:pt x="2833392" y="1196774"/>
                  <a:pt x="2834545" y="1195334"/>
                  <a:pt x="2833681" y="1194182"/>
                </a:cubicBezTo>
                <a:cubicBezTo>
                  <a:pt x="2830797" y="1190726"/>
                  <a:pt x="2830508" y="1188133"/>
                  <a:pt x="2835123" y="1186406"/>
                </a:cubicBezTo>
                <a:cubicBezTo>
                  <a:pt x="2836276" y="1186117"/>
                  <a:pt x="2836565" y="1184389"/>
                  <a:pt x="2835410" y="1183525"/>
                </a:cubicBezTo>
                <a:cubicBezTo>
                  <a:pt x="2831662" y="1180357"/>
                  <a:pt x="2835699" y="1178917"/>
                  <a:pt x="2836276" y="1176612"/>
                </a:cubicBezTo>
                <a:cubicBezTo>
                  <a:pt x="2838294" y="1168836"/>
                  <a:pt x="2847235" y="1171140"/>
                  <a:pt x="2850696" y="1165379"/>
                </a:cubicBezTo>
                <a:cubicBezTo>
                  <a:pt x="2851849" y="1163363"/>
                  <a:pt x="2857329" y="1164803"/>
                  <a:pt x="2859924" y="1165092"/>
                </a:cubicBezTo>
                <a:cubicBezTo>
                  <a:pt x="2865980" y="1165956"/>
                  <a:pt x="2873189" y="1162211"/>
                  <a:pt x="2878092" y="1169124"/>
                </a:cubicBezTo>
                <a:cubicBezTo>
                  <a:pt x="2878957" y="1170276"/>
                  <a:pt x="2880688" y="1171716"/>
                  <a:pt x="2882995" y="1171716"/>
                </a:cubicBezTo>
                <a:cubicBezTo>
                  <a:pt x="2886167" y="1171428"/>
                  <a:pt x="2887898" y="1173157"/>
                  <a:pt x="2888474" y="1176325"/>
                </a:cubicBezTo>
                <a:cubicBezTo>
                  <a:pt x="2889051" y="1178341"/>
                  <a:pt x="2890493" y="1179493"/>
                  <a:pt x="2891935" y="1180933"/>
                </a:cubicBezTo>
                <a:lnTo>
                  <a:pt x="2892685" y="1183288"/>
                </a:lnTo>
                <a:lnTo>
                  <a:pt x="2894641" y="1181023"/>
                </a:lnTo>
                <a:cubicBezTo>
                  <a:pt x="2918253" y="1156921"/>
                  <a:pt x="2942596" y="1133948"/>
                  <a:pt x="2964881" y="1111506"/>
                </a:cubicBezTo>
                <a:cubicBezTo>
                  <a:pt x="2980002" y="1095306"/>
                  <a:pt x="3002811" y="1061317"/>
                  <a:pt x="3008658" y="1070339"/>
                </a:cubicBezTo>
                <a:cubicBezTo>
                  <a:pt x="3019268" y="1057060"/>
                  <a:pt x="3029084" y="1047500"/>
                  <a:pt x="3030673" y="1040066"/>
                </a:cubicBezTo>
                <a:cubicBezTo>
                  <a:pt x="3044207" y="1031299"/>
                  <a:pt x="3042617" y="1038732"/>
                  <a:pt x="3041825" y="1042448"/>
                </a:cubicBezTo>
                <a:cubicBezTo>
                  <a:pt x="3014505" y="1079359"/>
                  <a:pt x="2971521" y="1116811"/>
                  <a:pt x="2946583" y="1142573"/>
                </a:cubicBezTo>
                <a:cubicBezTo>
                  <a:pt x="2942072" y="1145493"/>
                  <a:pt x="2941278" y="1149210"/>
                  <a:pt x="2944995" y="1150006"/>
                </a:cubicBezTo>
                <a:cubicBezTo>
                  <a:pt x="2945789" y="1146289"/>
                  <a:pt x="2945789" y="1146289"/>
                  <a:pt x="2950300" y="1143366"/>
                </a:cubicBezTo>
                <a:cubicBezTo>
                  <a:pt x="2951095" y="1139649"/>
                  <a:pt x="2955604" y="1136728"/>
                  <a:pt x="2959322" y="1137521"/>
                </a:cubicBezTo>
                <a:cubicBezTo>
                  <a:pt x="2959322" y="1137521"/>
                  <a:pt x="2958529" y="1141237"/>
                  <a:pt x="2954017" y="1144161"/>
                </a:cubicBezTo>
                <a:cubicBezTo>
                  <a:pt x="2954017" y="1144161"/>
                  <a:pt x="2954017" y="1144161"/>
                  <a:pt x="2953223" y="1147877"/>
                </a:cubicBezTo>
                <a:cubicBezTo>
                  <a:pt x="2990901" y="1117065"/>
                  <a:pt x="3025656" y="1081742"/>
                  <a:pt x="3064922" y="1043496"/>
                </a:cubicBezTo>
                <a:cubicBezTo>
                  <a:pt x="3099676" y="1008175"/>
                  <a:pt x="3138149" y="973646"/>
                  <a:pt x="3180338" y="939912"/>
                </a:cubicBezTo>
                <a:cubicBezTo>
                  <a:pt x="3186436" y="929557"/>
                  <a:pt x="3191742" y="922918"/>
                  <a:pt x="3200764" y="917073"/>
                </a:cubicBezTo>
                <a:cubicBezTo>
                  <a:pt x="3238442" y="886260"/>
                  <a:pt x="3258075" y="867138"/>
                  <a:pt x="3294164" y="843759"/>
                </a:cubicBezTo>
                <a:cubicBezTo>
                  <a:pt x="3294959" y="840044"/>
                  <a:pt x="3292830" y="831816"/>
                  <a:pt x="3289907" y="827305"/>
                </a:cubicBezTo>
                <a:cubicBezTo>
                  <a:pt x="3299722" y="817745"/>
                  <a:pt x="3305027" y="811104"/>
                  <a:pt x="3305822" y="807388"/>
                </a:cubicBezTo>
                <a:cubicBezTo>
                  <a:pt x="3305822" y="807388"/>
                  <a:pt x="3301310" y="810312"/>
                  <a:pt x="3301310" y="810312"/>
                </a:cubicBezTo>
                <a:cubicBezTo>
                  <a:pt x="3297592" y="809517"/>
                  <a:pt x="3297592" y="809517"/>
                  <a:pt x="3297592" y="809517"/>
                </a:cubicBezTo>
                <a:cubicBezTo>
                  <a:pt x="3298388" y="805800"/>
                  <a:pt x="3302898" y="802879"/>
                  <a:pt x="3306615" y="803671"/>
                </a:cubicBezTo>
                <a:cubicBezTo>
                  <a:pt x="3306615" y="803671"/>
                  <a:pt x="3307410" y="799956"/>
                  <a:pt x="3311127" y="800750"/>
                </a:cubicBezTo>
                <a:cubicBezTo>
                  <a:pt x="3305280" y="791729"/>
                  <a:pt x="3319609" y="779244"/>
                  <a:pt x="3342165" y="764634"/>
                </a:cubicBezTo>
                <a:cubicBezTo>
                  <a:pt x="3364722" y="750022"/>
                  <a:pt x="3391788" y="732486"/>
                  <a:pt x="3414344" y="717875"/>
                </a:cubicBezTo>
                <a:cubicBezTo>
                  <a:pt x="3426290" y="716541"/>
                  <a:pt x="3400017" y="730359"/>
                  <a:pt x="3403734" y="731153"/>
                </a:cubicBezTo>
                <a:cubicBezTo>
                  <a:pt x="3403734" y="731153"/>
                  <a:pt x="3408245" y="728230"/>
                  <a:pt x="3408245" y="728230"/>
                </a:cubicBezTo>
                <a:cubicBezTo>
                  <a:pt x="3412755" y="725309"/>
                  <a:pt x="3413550" y="721592"/>
                  <a:pt x="3416473" y="726102"/>
                </a:cubicBezTo>
                <a:cubicBezTo>
                  <a:pt x="3416473" y="726102"/>
                  <a:pt x="3416473" y="726102"/>
                  <a:pt x="3411962" y="729025"/>
                </a:cubicBezTo>
                <a:cubicBezTo>
                  <a:pt x="3411962" y="729025"/>
                  <a:pt x="3411962" y="729025"/>
                  <a:pt x="3411168" y="732742"/>
                </a:cubicBezTo>
                <a:cubicBezTo>
                  <a:pt x="3424701" y="723974"/>
                  <a:pt x="3438235" y="715207"/>
                  <a:pt x="3441159" y="719719"/>
                </a:cubicBezTo>
                <a:cubicBezTo>
                  <a:pt x="3435059" y="730074"/>
                  <a:pt x="3412503" y="744686"/>
                  <a:pt x="3407198" y="751324"/>
                </a:cubicBezTo>
                <a:cubicBezTo>
                  <a:pt x="3407198" y="751324"/>
                  <a:pt x="3407198" y="751324"/>
                  <a:pt x="3411709" y="748402"/>
                </a:cubicBezTo>
                <a:cubicBezTo>
                  <a:pt x="3416221" y="745479"/>
                  <a:pt x="3416221" y="745479"/>
                  <a:pt x="3420730" y="742557"/>
                </a:cubicBezTo>
                <a:cubicBezTo>
                  <a:pt x="3420730" y="742557"/>
                  <a:pt x="3419937" y="746274"/>
                  <a:pt x="3419937" y="746274"/>
                </a:cubicBezTo>
                <a:cubicBezTo>
                  <a:pt x="3416221" y="745479"/>
                  <a:pt x="3415427" y="749195"/>
                  <a:pt x="3415427" y="749195"/>
                </a:cubicBezTo>
                <a:cubicBezTo>
                  <a:pt x="3420730" y="742557"/>
                  <a:pt x="3432677" y="741223"/>
                  <a:pt x="3441699" y="735378"/>
                </a:cubicBezTo>
                <a:cubicBezTo>
                  <a:pt x="3482301" y="709077"/>
                  <a:pt x="3524489" y="675343"/>
                  <a:pt x="3568807" y="649835"/>
                </a:cubicBezTo>
                <a:cubicBezTo>
                  <a:pt x="3582342" y="641069"/>
                  <a:pt x="3590569" y="638940"/>
                  <a:pt x="3607821" y="630967"/>
                </a:cubicBezTo>
                <a:cubicBezTo>
                  <a:pt x="3647628" y="608383"/>
                  <a:pt x="3695664" y="583670"/>
                  <a:pt x="3735470" y="561085"/>
                </a:cubicBezTo>
                <a:lnTo>
                  <a:pt x="3772019" y="543441"/>
                </a:lnTo>
                <a:lnTo>
                  <a:pt x="3768755" y="537368"/>
                </a:lnTo>
                <a:cubicBezTo>
                  <a:pt x="3768219" y="535760"/>
                  <a:pt x="3768488" y="534152"/>
                  <a:pt x="3766877" y="532813"/>
                </a:cubicBezTo>
                <a:cubicBezTo>
                  <a:pt x="3765267" y="531472"/>
                  <a:pt x="3765536" y="529864"/>
                  <a:pt x="3766609" y="528256"/>
                </a:cubicBezTo>
                <a:cubicBezTo>
                  <a:pt x="3767146" y="527184"/>
                  <a:pt x="3768219" y="525843"/>
                  <a:pt x="3767414" y="524772"/>
                </a:cubicBezTo>
                <a:cubicBezTo>
                  <a:pt x="3764730" y="521556"/>
                  <a:pt x="3764462" y="519143"/>
                  <a:pt x="3768755" y="517535"/>
                </a:cubicBezTo>
                <a:cubicBezTo>
                  <a:pt x="3769829" y="517267"/>
                  <a:pt x="3770098" y="515659"/>
                  <a:pt x="3769024" y="514854"/>
                </a:cubicBezTo>
                <a:cubicBezTo>
                  <a:pt x="3765536" y="511906"/>
                  <a:pt x="3769292" y="510566"/>
                  <a:pt x="3769829" y="508421"/>
                </a:cubicBezTo>
                <a:cubicBezTo>
                  <a:pt x="3771708" y="501185"/>
                  <a:pt x="3780028" y="503329"/>
                  <a:pt x="3783247" y="497969"/>
                </a:cubicBezTo>
                <a:cubicBezTo>
                  <a:pt x="3784321" y="496093"/>
                  <a:pt x="3789420" y="497432"/>
                  <a:pt x="3791836" y="497701"/>
                </a:cubicBezTo>
                <a:cubicBezTo>
                  <a:pt x="3797471" y="498505"/>
                  <a:pt x="3804181" y="495020"/>
                  <a:pt x="3808743" y="501453"/>
                </a:cubicBezTo>
                <a:cubicBezTo>
                  <a:pt x="3809548" y="502526"/>
                  <a:pt x="3811158" y="503865"/>
                  <a:pt x="3813305" y="503865"/>
                </a:cubicBezTo>
                <a:cubicBezTo>
                  <a:pt x="3816258" y="503597"/>
                  <a:pt x="3817867" y="505205"/>
                  <a:pt x="3818404" y="508154"/>
                </a:cubicBezTo>
                <a:cubicBezTo>
                  <a:pt x="3818941" y="510030"/>
                  <a:pt x="3820283" y="511102"/>
                  <a:pt x="3821624" y="512442"/>
                </a:cubicBezTo>
                <a:cubicBezTo>
                  <a:pt x="3825113" y="515659"/>
                  <a:pt x="3826723" y="519411"/>
                  <a:pt x="3825382" y="524235"/>
                </a:cubicBezTo>
                <a:lnTo>
                  <a:pt x="3825824" y="525427"/>
                </a:lnTo>
                <a:lnTo>
                  <a:pt x="3832875" y="523603"/>
                </a:lnTo>
                <a:cubicBezTo>
                  <a:pt x="3832875" y="523603"/>
                  <a:pt x="3832875" y="523603"/>
                  <a:pt x="3828364" y="526525"/>
                </a:cubicBezTo>
                <a:lnTo>
                  <a:pt x="3826645" y="527639"/>
                </a:lnTo>
                <a:lnTo>
                  <a:pt x="3826895" y="528316"/>
                </a:lnTo>
                <a:lnTo>
                  <a:pt x="3870300" y="512168"/>
                </a:lnTo>
                <a:cubicBezTo>
                  <a:pt x="3873223" y="516679"/>
                  <a:pt x="3889681" y="512423"/>
                  <a:pt x="3888091" y="519856"/>
                </a:cubicBezTo>
                <a:cubicBezTo>
                  <a:pt x="3969835" y="482913"/>
                  <a:pt x="4033280" y="477037"/>
                  <a:pt x="4087415" y="441969"/>
                </a:cubicBezTo>
                <a:cubicBezTo>
                  <a:pt x="4140503" y="429994"/>
                  <a:pt x="4173958" y="437141"/>
                  <a:pt x="4228633" y="417733"/>
                </a:cubicBezTo>
                <a:cubicBezTo>
                  <a:pt x="4232352" y="418528"/>
                  <a:pt x="4244296" y="417194"/>
                  <a:pt x="4248810" y="414271"/>
                </a:cubicBezTo>
                <a:cubicBezTo>
                  <a:pt x="4273495" y="407886"/>
                  <a:pt x="4306408" y="399373"/>
                  <a:pt x="4334812" y="393783"/>
                </a:cubicBezTo>
                <a:cubicBezTo>
                  <a:pt x="4363212" y="388192"/>
                  <a:pt x="4394538" y="387112"/>
                  <a:pt x="4409405" y="390289"/>
                </a:cubicBezTo>
                <a:cubicBezTo>
                  <a:pt x="4404101" y="396928"/>
                  <a:pt x="4387644" y="401186"/>
                  <a:pt x="4367469" y="404647"/>
                </a:cubicBezTo>
                <a:cubicBezTo>
                  <a:pt x="4348089" y="404392"/>
                  <a:pt x="4327916" y="407855"/>
                  <a:pt x="4318895" y="413700"/>
                </a:cubicBezTo>
                <a:cubicBezTo>
                  <a:pt x="4306949" y="415034"/>
                  <a:pt x="4299515" y="413446"/>
                  <a:pt x="4288364" y="411063"/>
                </a:cubicBezTo>
                <a:cubicBezTo>
                  <a:pt x="4251733" y="418781"/>
                  <a:pt x="4238991" y="423832"/>
                  <a:pt x="4209796" y="433139"/>
                </a:cubicBezTo>
                <a:cubicBezTo>
                  <a:pt x="4215102" y="426501"/>
                  <a:pt x="4194131" y="433679"/>
                  <a:pt x="4182186" y="435013"/>
                </a:cubicBezTo>
                <a:cubicBezTo>
                  <a:pt x="4177675" y="437935"/>
                  <a:pt x="4164141" y="446703"/>
                  <a:pt x="4180598" y="442445"/>
                </a:cubicBezTo>
                <a:cubicBezTo>
                  <a:pt x="4151401" y="451753"/>
                  <a:pt x="4113976" y="463189"/>
                  <a:pt x="4072834" y="473829"/>
                </a:cubicBezTo>
                <a:cubicBezTo>
                  <a:pt x="4036203" y="481548"/>
                  <a:pt x="3994269" y="495905"/>
                  <a:pt x="3956843" y="507340"/>
                </a:cubicBezTo>
                <a:cubicBezTo>
                  <a:pt x="3956843" y="507340"/>
                  <a:pt x="3948614" y="509469"/>
                  <a:pt x="3950202" y="502035"/>
                </a:cubicBezTo>
                <a:cubicBezTo>
                  <a:pt x="3903755" y="519314"/>
                  <a:pt x="3879069" y="525700"/>
                  <a:pt x="3859436" y="544822"/>
                </a:cubicBezTo>
                <a:cubicBezTo>
                  <a:pt x="3834752" y="551206"/>
                  <a:pt x="3821219" y="559973"/>
                  <a:pt x="3804762" y="564231"/>
                </a:cubicBezTo>
                <a:cubicBezTo>
                  <a:pt x="3795739" y="570076"/>
                  <a:pt x="3808478" y="565025"/>
                  <a:pt x="3807686" y="568741"/>
                </a:cubicBezTo>
                <a:cubicBezTo>
                  <a:pt x="3790433" y="576714"/>
                  <a:pt x="3773182" y="584687"/>
                  <a:pt x="3755933" y="592660"/>
                </a:cubicBezTo>
                <a:cubicBezTo>
                  <a:pt x="3758314" y="581511"/>
                  <a:pt x="3744781" y="590278"/>
                  <a:pt x="3736552" y="592406"/>
                </a:cubicBezTo>
                <a:cubicBezTo>
                  <a:pt x="3729912" y="587101"/>
                  <a:pt x="3744239" y="574617"/>
                  <a:pt x="3754850" y="561339"/>
                </a:cubicBezTo>
                <a:cubicBezTo>
                  <a:pt x="3735470" y="561085"/>
                  <a:pt x="3684258" y="600664"/>
                  <a:pt x="3662496" y="611559"/>
                </a:cubicBezTo>
                <a:cubicBezTo>
                  <a:pt x="3666213" y="612354"/>
                  <a:pt x="3666213" y="612354"/>
                  <a:pt x="3666213" y="612354"/>
                </a:cubicBezTo>
                <a:cubicBezTo>
                  <a:pt x="3670725" y="609431"/>
                  <a:pt x="3674442" y="610225"/>
                  <a:pt x="3674442" y="610225"/>
                </a:cubicBezTo>
                <a:cubicBezTo>
                  <a:pt x="3669931" y="613148"/>
                  <a:pt x="3669137" y="616864"/>
                  <a:pt x="3665420" y="616071"/>
                </a:cubicBezTo>
                <a:cubicBezTo>
                  <a:pt x="3668342" y="620581"/>
                  <a:pt x="3637557" y="637321"/>
                  <a:pt x="3639146" y="629888"/>
                </a:cubicBezTo>
                <a:cubicBezTo>
                  <a:pt x="3638352" y="633604"/>
                  <a:pt x="3638352" y="633604"/>
                  <a:pt x="3633841" y="636527"/>
                </a:cubicBezTo>
                <a:cubicBezTo>
                  <a:pt x="3633841" y="636527"/>
                  <a:pt x="3633841" y="636527"/>
                  <a:pt x="3630124" y="635732"/>
                </a:cubicBezTo>
                <a:cubicBezTo>
                  <a:pt x="3630124" y="635732"/>
                  <a:pt x="3626407" y="634938"/>
                  <a:pt x="3626407" y="634938"/>
                </a:cubicBezTo>
                <a:cubicBezTo>
                  <a:pt x="3626407" y="634938"/>
                  <a:pt x="3626407" y="634938"/>
                  <a:pt x="3630918" y="632017"/>
                </a:cubicBezTo>
                <a:cubicBezTo>
                  <a:pt x="3600133" y="648755"/>
                  <a:pt x="3625612" y="638655"/>
                  <a:pt x="3628535" y="643165"/>
                </a:cubicBezTo>
                <a:cubicBezTo>
                  <a:pt x="3631458" y="647676"/>
                  <a:pt x="3622436" y="653521"/>
                  <a:pt x="3622436" y="653521"/>
                </a:cubicBezTo>
                <a:cubicBezTo>
                  <a:pt x="3625360" y="658032"/>
                  <a:pt x="3651632" y="644214"/>
                  <a:pt x="3641816" y="653775"/>
                </a:cubicBezTo>
                <a:cubicBezTo>
                  <a:pt x="3632000" y="663336"/>
                  <a:pt x="3622184" y="672897"/>
                  <a:pt x="3608649" y="681665"/>
                </a:cubicBezTo>
                <a:lnTo>
                  <a:pt x="3571460" y="702765"/>
                </a:lnTo>
                <a:lnTo>
                  <a:pt x="3599694" y="702765"/>
                </a:lnTo>
                <a:cubicBezTo>
                  <a:pt x="3602684" y="723705"/>
                  <a:pt x="3602684" y="744645"/>
                  <a:pt x="3599694" y="768577"/>
                </a:cubicBezTo>
                <a:cubicBezTo>
                  <a:pt x="3599694" y="786526"/>
                  <a:pt x="3596704" y="804474"/>
                  <a:pt x="3602684" y="819432"/>
                </a:cubicBezTo>
                <a:cubicBezTo>
                  <a:pt x="3614646" y="882252"/>
                  <a:pt x="3650531" y="897209"/>
                  <a:pt x="3707349" y="870286"/>
                </a:cubicBezTo>
                <a:cubicBezTo>
                  <a:pt x="3746226" y="846355"/>
                  <a:pt x="3755197" y="849346"/>
                  <a:pt x="3782110" y="879260"/>
                </a:cubicBezTo>
                <a:lnTo>
                  <a:pt x="3799180" y="895651"/>
                </a:lnTo>
                <a:lnTo>
                  <a:pt x="3865654" y="862751"/>
                </a:lnTo>
                <a:lnTo>
                  <a:pt x="3868834" y="855329"/>
                </a:lnTo>
                <a:cubicBezTo>
                  <a:pt x="3884533" y="821675"/>
                  <a:pt x="3906962" y="813261"/>
                  <a:pt x="3933595" y="825041"/>
                </a:cubicBezTo>
                <a:lnTo>
                  <a:pt x="3942951" y="831176"/>
                </a:lnTo>
                <a:lnTo>
                  <a:pt x="3986740" y="813795"/>
                </a:lnTo>
                <a:cubicBezTo>
                  <a:pt x="4024040" y="800573"/>
                  <a:pt x="4059803" y="789572"/>
                  <a:pt x="4089483" y="782669"/>
                </a:cubicBezTo>
                <a:lnTo>
                  <a:pt x="4092578" y="782146"/>
                </a:lnTo>
                <a:lnTo>
                  <a:pt x="4093388" y="777777"/>
                </a:lnTo>
                <a:cubicBezTo>
                  <a:pt x="4094543" y="777488"/>
                  <a:pt x="4094830" y="775760"/>
                  <a:pt x="4093677" y="774896"/>
                </a:cubicBezTo>
                <a:cubicBezTo>
                  <a:pt x="4089928" y="771728"/>
                  <a:pt x="4093966" y="770288"/>
                  <a:pt x="4094543" y="767984"/>
                </a:cubicBezTo>
                <a:cubicBezTo>
                  <a:pt x="4096561" y="760208"/>
                  <a:pt x="4105501" y="762511"/>
                  <a:pt x="4108962" y="756751"/>
                </a:cubicBezTo>
                <a:cubicBezTo>
                  <a:pt x="4110115" y="754735"/>
                  <a:pt x="4115595" y="756175"/>
                  <a:pt x="4118191" y="756463"/>
                </a:cubicBezTo>
                <a:cubicBezTo>
                  <a:pt x="4124246" y="757327"/>
                  <a:pt x="4131456" y="753583"/>
                  <a:pt x="4136359" y="760495"/>
                </a:cubicBezTo>
                <a:cubicBezTo>
                  <a:pt x="4137224" y="761647"/>
                  <a:pt x="4138955" y="763087"/>
                  <a:pt x="4141261" y="763087"/>
                </a:cubicBezTo>
                <a:cubicBezTo>
                  <a:pt x="4144434" y="762800"/>
                  <a:pt x="4146164" y="764528"/>
                  <a:pt x="4146741" y="767696"/>
                </a:cubicBezTo>
                <a:cubicBezTo>
                  <a:pt x="4147318" y="769712"/>
                  <a:pt x="4148760" y="770864"/>
                  <a:pt x="4150202" y="772304"/>
                </a:cubicBezTo>
                <a:cubicBezTo>
                  <a:pt x="4153950" y="775760"/>
                  <a:pt x="4155681" y="779793"/>
                  <a:pt x="4154239" y="784977"/>
                </a:cubicBezTo>
                <a:cubicBezTo>
                  <a:pt x="4153373" y="787858"/>
                  <a:pt x="4154239" y="791026"/>
                  <a:pt x="4157123" y="792754"/>
                </a:cubicBezTo>
                <a:cubicBezTo>
                  <a:pt x="4157123" y="793906"/>
                  <a:pt x="4157123" y="795058"/>
                  <a:pt x="4157123" y="796210"/>
                </a:cubicBezTo>
                <a:cubicBezTo>
                  <a:pt x="4154528" y="797650"/>
                  <a:pt x="4153373" y="799378"/>
                  <a:pt x="4153662" y="803123"/>
                </a:cubicBezTo>
                <a:cubicBezTo>
                  <a:pt x="4153950" y="808307"/>
                  <a:pt x="4151644" y="812340"/>
                  <a:pt x="4145876" y="813492"/>
                </a:cubicBezTo>
                <a:cubicBezTo>
                  <a:pt x="4143280" y="813780"/>
                  <a:pt x="4143857" y="815795"/>
                  <a:pt x="4143857" y="817524"/>
                </a:cubicBezTo>
                <a:cubicBezTo>
                  <a:pt x="4143857" y="820405"/>
                  <a:pt x="4142703" y="820981"/>
                  <a:pt x="4140397" y="818964"/>
                </a:cubicBezTo>
                <a:cubicBezTo>
                  <a:pt x="4136935" y="816084"/>
                  <a:pt x="4134629" y="816084"/>
                  <a:pt x="4133763" y="820981"/>
                </a:cubicBezTo>
                <a:cubicBezTo>
                  <a:pt x="4133475" y="822132"/>
                  <a:pt x="4132609" y="823573"/>
                  <a:pt x="4131456" y="822132"/>
                </a:cubicBezTo>
                <a:cubicBezTo>
                  <a:pt x="4127707" y="818388"/>
                  <a:pt x="4125112" y="820692"/>
                  <a:pt x="4122228" y="823284"/>
                </a:cubicBezTo>
                <a:cubicBezTo>
                  <a:pt x="4121939" y="823860"/>
                  <a:pt x="4120786" y="823860"/>
                  <a:pt x="4120209" y="823860"/>
                </a:cubicBezTo>
                <a:lnTo>
                  <a:pt x="4105114" y="814305"/>
                </a:lnTo>
                <a:lnTo>
                  <a:pt x="4091413" y="830179"/>
                </a:lnTo>
                <a:cubicBezTo>
                  <a:pt x="4139054" y="832011"/>
                  <a:pt x="4177535" y="811854"/>
                  <a:pt x="4216017" y="797194"/>
                </a:cubicBezTo>
                <a:cubicBezTo>
                  <a:pt x="4223344" y="793529"/>
                  <a:pt x="4227008" y="788033"/>
                  <a:pt x="4221512" y="780703"/>
                </a:cubicBezTo>
                <a:cubicBezTo>
                  <a:pt x="4199524" y="749550"/>
                  <a:pt x="4223344" y="742220"/>
                  <a:pt x="4245332" y="736721"/>
                </a:cubicBezTo>
                <a:cubicBezTo>
                  <a:pt x="4298474" y="722977"/>
                  <a:pt x="4351611" y="709692"/>
                  <a:pt x="4404977" y="697323"/>
                </a:cubicBezTo>
                <a:lnTo>
                  <a:pt x="4470970" y="683428"/>
                </a:lnTo>
                <a:lnTo>
                  <a:pt x="4469697" y="681056"/>
                </a:lnTo>
                <a:cubicBezTo>
                  <a:pt x="4469162" y="679448"/>
                  <a:pt x="4469429" y="677840"/>
                  <a:pt x="4467817" y="676499"/>
                </a:cubicBezTo>
                <a:cubicBezTo>
                  <a:pt x="4466209" y="675159"/>
                  <a:pt x="4466476" y="673551"/>
                  <a:pt x="4467550" y="671943"/>
                </a:cubicBezTo>
                <a:cubicBezTo>
                  <a:pt x="4468087" y="670870"/>
                  <a:pt x="4469162" y="669530"/>
                  <a:pt x="4468357" y="668459"/>
                </a:cubicBezTo>
                <a:cubicBezTo>
                  <a:pt x="4465672" y="665242"/>
                  <a:pt x="4465403" y="662829"/>
                  <a:pt x="4469697" y="661221"/>
                </a:cubicBezTo>
                <a:cubicBezTo>
                  <a:pt x="4470770" y="660953"/>
                  <a:pt x="4471039" y="659345"/>
                  <a:pt x="4469964" y="658542"/>
                </a:cubicBezTo>
                <a:cubicBezTo>
                  <a:pt x="4466476" y="655593"/>
                  <a:pt x="4470235" y="654253"/>
                  <a:pt x="4470770" y="652109"/>
                </a:cubicBezTo>
                <a:cubicBezTo>
                  <a:pt x="4472649" y="644872"/>
                  <a:pt x="4480970" y="647016"/>
                  <a:pt x="4484189" y="641656"/>
                </a:cubicBezTo>
                <a:cubicBezTo>
                  <a:pt x="4485263" y="639780"/>
                  <a:pt x="4490361" y="641120"/>
                  <a:pt x="4492776" y="641388"/>
                </a:cubicBezTo>
                <a:cubicBezTo>
                  <a:pt x="4498411" y="642191"/>
                  <a:pt x="4505121" y="638707"/>
                  <a:pt x="4509684" y="645140"/>
                </a:cubicBezTo>
                <a:cubicBezTo>
                  <a:pt x="4510490" y="646212"/>
                  <a:pt x="4512100" y="647553"/>
                  <a:pt x="4514246" y="647553"/>
                </a:cubicBezTo>
                <a:cubicBezTo>
                  <a:pt x="4517200" y="647285"/>
                  <a:pt x="4518808" y="648893"/>
                  <a:pt x="4519346" y="651840"/>
                </a:cubicBezTo>
                <a:cubicBezTo>
                  <a:pt x="4519883" y="653717"/>
                  <a:pt x="4521223" y="654789"/>
                  <a:pt x="4522565" y="656129"/>
                </a:cubicBezTo>
                <a:cubicBezTo>
                  <a:pt x="4526056" y="659345"/>
                  <a:pt x="4527664" y="663097"/>
                  <a:pt x="4526323" y="667922"/>
                </a:cubicBezTo>
                <a:lnTo>
                  <a:pt x="4527649" y="671496"/>
                </a:lnTo>
                <a:lnTo>
                  <a:pt x="4565998" y="663422"/>
                </a:lnTo>
                <a:cubicBezTo>
                  <a:pt x="4611807" y="654260"/>
                  <a:pt x="4657616" y="647846"/>
                  <a:pt x="4703654" y="644181"/>
                </a:cubicBezTo>
                <a:lnTo>
                  <a:pt x="4733360" y="643593"/>
                </a:lnTo>
                <a:lnTo>
                  <a:pt x="4726599" y="637387"/>
                </a:lnTo>
                <a:cubicBezTo>
                  <a:pt x="4723484" y="635518"/>
                  <a:pt x="4716631" y="636141"/>
                  <a:pt x="4717876" y="630537"/>
                </a:cubicBezTo>
                <a:cubicBezTo>
                  <a:pt x="4718501" y="624933"/>
                  <a:pt x="4724105" y="623688"/>
                  <a:pt x="4729714" y="623065"/>
                </a:cubicBezTo>
                <a:cubicBezTo>
                  <a:pt x="4730336" y="623065"/>
                  <a:pt x="4730958" y="623065"/>
                  <a:pt x="4731581" y="623065"/>
                </a:cubicBezTo>
                <a:cubicBezTo>
                  <a:pt x="4746534" y="620575"/>
                  <a:pt x="4750894" y="613726"/>
                  <a:pt x="4743419" y="601896"/>
                </a:cubicBezTo>
                <a:cubicBezTo>
                  <a:pt x="4736567" y="590688"/>
                  <a:pt x="4738433" y="581970"/>
                  <a:pt x="4744664" y="572631"/>
                </a:cubicBezTo>
                <a:cubicBezTo>
                  <a:pt x="4752765" y="560177"/>
                  <a:pt x="4758992" y="547101"/>
                  <a:pt x="4755257" y="531535"/>
                </a:cubicBezTo>
                <a:cubicBezTo>
                  <a:pt x="4753388" y="524685"/>
                  <a:pt x="4760239" y="521572"/>
                  <a:pt x="4764600" y="520327"/>
                </a:cubicBezTo>
                <a:cubicBezTo>
                  <a:pt x="4780796" y="514723"/>
                  <a:pt x="4788271" y="504138"/>
                  <a:pt x="4790142" y="487949"/>
                </a:cubicBezTo>
                <a:cubicBezTo>
                  <a:pt x="4791387" y="477987"/>
                  <a:pt x="4795125" y="476118"/>
                  <a:pt x="4805092" y="482345"/>
                </a:cubicBezTo>
                <a:cubicBezTo>
                  <a:pt x="4826272" y="495421"/>
                  <a:pt x="4857422" y="486081"/>
                  <a:pt x="4866768" y="464288"/>
                </a:cubicBezTo>
                <a:cubicBezTo>
                  <a:pt x="4868635" y="459930"/>
                  <a:pt x="4871127" y="454326"/>
                  <a:pt x="4866768" y="450590"/>
                </a:cubicBezTo>
                <a:cubicBezTo>
                  <a:pt x="4862405" y="446855"/>
                  <a:pt x="4856174" y="444986"/>
                  <a:pt x="4850570" y="448722"/>
                </a:cubicBezTo>
                <a:cubicBezTo>
                  <a:pt x="4846832" y="450590"/>
                  <a:pt x="4843093" y="453704"/>
                  <a:pt x="4839355" y="456194"/>
                </a:cubicBezTo>
                <a:cubicBezTo>
                  <a:pt x="4835618" y="459308"/>
                  <a:pt x="4831879" y="461175"/>
                  <a:pt x="4828764" y="457439"/>
                </a:cubicBezTo>
                <a:cubicBezTo>
                  <a:pt x="4825026" y="453081"/>
                  <a:pt x="4827520" y="449345"/>
                  <a:pt x="4830634" y="446231"/>
                </a:cubicBezTo>
                <a:cubicBezTo>
                  <a:pt x="4833127" y="443118"/>
                  <a:pt x="4836865" y="440627"/>
                  <a:pt x="4839355" y="438137"/>
                </a:cubicBezTo>
                <a:cubicBezTo>
                  <a:pt x="4844962" y="432533"/>
                  <a:pt x="4848078" y="425061"/>
                  <a:pt x="4842469" y="418835"/>
                </a:cubicBezTo>
                <a:cubicBezTo>
                  <a:pt x="4837488" y="413853"/>
                  <a:pt x="4830634" y="418835"/>
                  <a:pt x="4825649" y="422570"/>
                </a:cubicBezTo>
                <a:cubicBezTo>
                  <a:pt x="4821289" y="425684"/>
                  <a:pt x="4818174" y="431288"/>
                  <a:pt x="4812567" y="433155"/>
                </a:cubicBezTo>
                <a:cubicBezTo>
                  <a:pt x="4804469" y="436269"/>
                  <a:pt x="4799485" y="435023"/>
                  <a:pt x="4800108" y="425061"/>
                </a:cubicBezTo>
                <a:cubicBezTo>
                  <a:pt x="4800732" y="411363"/>
                  <a:pt x="4806339" y="400155"/>
                  <a:pt x="4813814" y="389570"/>
                </a:cubicBezTo>
                <a:cubicBezTo>
                  <a:pt x="4823157" y="375872"/>
                  <a:pt x="4823783" y="368399"/>
                  <a:pt x="4813814" y="355324"/>
                </a:cubicBezTo>
                <a:cubicBezTo>
                  <a:pt x="4810699" y="350342"/>
                  <a:pt x="4805715" y="345984"/>
                  <a:pt x="4801354" y="341626"/>
                </a:cubicBezTo>
                <a:cubicBezTo>
                  <a:pt x="4799485" y="339758"/>
                  <a:pt x="4796371" y="337889"/>
                  <a:pt x="4797617" y="334776"/>
                </a:cubicBezTo>
                <a:cubicBezTo>
                  <a:pt x="4798861" y="331040"/>
                  <a:pt x="4801977" y="330418"/>
                  <a:pt x="4804469" y="331040"/>
                </a:cubicBezTo>
                <a:cubicBezTo>
                  <a:pt x="4815682" y="333530"/>
                  <a:pt x="4818174" y="328550"/>
                  <a:pt x="4817552" y="318587"/>
                </a:cubicBezTo>
                <a:cubicBezTo>
                  <a:pt x="4816930" y="306134"/>
                  <a:pt x="4825026" y="297416"/>
                  <a:pt x="4833750" y="290567"/>
                </a:cubicBezTo>
                <a:cubicBezTo>
                  <a:pt x="4840602" y="284963"/>
                  <a:pt x="4841224" y="280605"/>
                  <a:pt x="4834373" y="275624"/>
                </a:cubicBezTo>
                <a:cubicBezTo>
                  <a:pt x="4830634" y="273133"/>
                  <a:pt x="4828142" y="270643"/>
                  <a:pt x="4829387" y="265661"/>
                </a:cubicBezTo>
                <a:cubicBezTo>
                  <a:pt x="4830634" y="258812"/>
                  <a:pt x="4835618" y="260057"/>
                  <a:pt x="4839979" y="258812"/>
                </a:cubicBezTo>
                <a:cubicBezTo>
                  <a:pt x="4842469" y="258190"/>
                  <a:pt x="4845585" y="258190"/>
                  <a:pt x="4848700" y="257567"/>
                </a:cubicBezTo>
                <a:cubicBezTo>
                  <a:pt x="4865519" y="255698"/>
                  <a:pt x="4869257" y="246359"/>
                  <a:pt x="4859290" y="232039"/>
                </a:cubicBezTo>
                <a:cubicBezTo>
                  <a:pt x="4858045" y="230170"/>
                  <a:pt x="4856798" y="228925"/>
                  <a:pt x="4856174" y="227057"/>
                </a:cubicBezTo>
                <a:cubicBezTo>
                  <a:pt x="4854307" y="223321"/>
                  <a:pt x="4853060" y="218340"/>
                  <a:pt x="4856798" y="215849"/>
                </a:cubicBezTo>
                <a:cubicBezTo>
                  <a:pt x="4859913" y="213358"/>
                  <a:pt x="4864274" y="215849"/>
                  <a:pt x="4866768" y="218340"/>
                </a:cubicBezTo>
                <a:cubicBezTo>
                  <a:pt x="4869257" y="220831"/>
                  <a:pt x="4871127" y="223321"/>
                  <a:pt x="4872995" y="226435"/>
                </a:cubicBezTo>
                <a:cubicBezTo>
                  <a:pt x="4876734" y="230793"/>
                  <a:pt x="4880470" y="232039"/>
                  <a:pt x="4885455" y="228302"/>
                </a:cubicBezTo>
                <a:cubicBezTo>
                  <a:pt x="4897290" y="220208"/>
                  <a:pt x="4910373" y="218962"/>
                  <a:pt x="4923454" y="218340"/>
                </a:cubicBezTo>
                <a:cubicBezTo>
                  <a:pt x="4939030" y="217094"/>
                  <a:pt x="4955227" y="218962"/>
                  <a:pt x="4970801" y="215227"/>
                </a:cubicBezTo>
                <a:close/>
                <a:moveTo>
                  <a:pt x="6682830" y="167741"/>
                </a:moveTo>
                <a:cubicBezTo>
                  <a:pt x="6689978" y="170477"/>
                  <a:pt x="6696577" y="174309"/>
                  <a:pt x="6699324" y="183068"/>
                </a:cubicBezTo>
                <a:cubicBezTo>
                  <a:pt x="6699876" y="184710"/>
                  <a:pt x="6703176" y="185805"/>
                  <a:pt x="6702627" y="189090"/>
                </a:cubicBezTo>
                <a:cubicBezTo>
                  <a:pt x="6700972" y="197849"/>
                  <a:pt x="6707570" y="200585"/>
                  <a:pt x="6713070" y="202227"/>
                </a:cubicBezTo>
                <a:cubicBezTo>
                  <a:pt x="6716920" y="203322"/>
                  <a:pt x="6719120" y="204964"/>
                  <a:pt x="6721318" y="207154"/>
                </a:cubicBezTo>
                <a:cubicBezTo>
                  <a:pt x="6727915" y="213176"/>
                  <a:pt x="6727366" y="221387"/>
                  <a:pt x="6729016" y="229051"/>
                </a:cubicBezTo>
                <a:cubicBezTo>
                  <a:pt x="6730115" y="236167"/>
                  <a:pt x="6726815" y="241640"/>
                  <a:pt x="6724067" y="247662"/>
                </a:cubicBezTo>
                <a:cubicBezTo>
                  <a:pt x="6721318" y="254231"/>
                  <a:pt x="6716920" y="259705"/>
                  <a:pt x="6708670" y="259705"/>
                </a:cubicBezTo>
                <a:cubicBezTo>
                  <a:pt x="6707570" y="259705"/>
                  <a:pt x="6707023" y="260253"/>
                  <a:pt x="6707023" y="261895"/>
                </a:cubicBezTo>
                <a:cubicBezTo>
                  <a:pt x="6703176" y="261895"/>
                  <a:pt x="6699876" y="261895"/>
                  <a:pt x="6696028" y="261895"/>
                </a:cubicBezTo>
                <a:cubicBezTo>
                  <a:pt x="6693276" y="258063"/>
                  <a:pt x="6687776" y="258611"/>
                  <a:pt x="6683927" y="255873"/>
                </a:cubicBezTo>
                <a:cubicBezTo>
                  <a:pt x="6680079" y="253136"/>
                  <a:pt x="6676782" y="250946"/>
                  <a:pt x="6675673" y="246020"/>
                </a:cubicBezTo>
                <a:cubicBezTo>
                  <a:pt x="6675125" y="240546"/>
                  <a:pt x="6672373" y="235619"/>
                  <a:pt x="6669635" y="231240"/>
                </a:cubicBezTo>
                <a:cubicBezTo>
                  <a:pt x="6666883" y="226313"/>
                  <a:pt x="6664680" y="221387"/>
                  <a:pt x="6661928" y="217008"/>
                </a:cubicBezTo>
                <a:cubicBezTo>
                  <a:pt x="6659727" y="212080"/>
                  <a:pt x="6655333" y="207702"/>
                  <a:pt x="6649829" y="204964"/>
                </a:cubicBezTo>
                <a:cubicBezTo>
                  <a:pt x="6649829" y="198395"/>
                  <a:pt x="6649829" y="191827"/>
                  <a:pt x="6649829" y="185258"/>
                </a:cubicBezTo>
                <a:cubicBezTo>
                  <a:pt x="6653126" y="183616"/>
                  <a:pt x="6654783" y="181426"/>
                  <a:pt x="6656429" y="177594"/>
                </a:cubicBezTo>
                <a:cubicBezTo>
                  <a:pt x="6658629" y="173215"/>
                  <a:pt x="6663576" y="169931"/>
                  <a:pt x="6668525" y="169931"/>
                </a:cubicBezTo>
                <a:cubicBezTo>
                  <a:pt x="6673481" y="169931"/>
                  <a:pt x="6677875" y="168835"/>
                  <a:pt x="6682830" y="167741"/>
                </a:cubicBezTo>
                <a:close/>
                <a:moveTo>
                  <a:pt x="6015172" y="165947"/>
                </a:moveTo>
                <a:cubicBezTo>
                  <a:pt x="6020122" y="167041"/>
                  <a:pt x="6024519" y="168137"/>
                  <a:pt x="6029467" y="168137"/>
                </a:cubicBezTo>
                <a:cubicBezTo>
                  <a:pt x="6034417" y="168137"/>
                  <a:pt x="6039366" y="171421"/>
                  <a:pt x="6041566" y="175800"/>
                </a:cubicBezTo>
                <a:cubicBezTo>
                  <a:pt x="6043214" y="179632"/>
                  <a:pt x="6044864" y="181822"/>
                  <a:pt x="6048165" y="183464"/>
                </a:cubicBezTo>
                <a:cubicBezTo>
                  <a:pt x="6048165" y="190033"/>
                  <a:pt x="6048165" y="196601"/>
                  <a:pt x="6048165" y="203170"/>
                </a:cubicBezTo>
                <a:cubicBezTo>
                  <a:pt x="6042665" y="205908"/>
                  <a:pt x="6038267" y="210286"/>
                  <a:pt x="6036067" y="215214"/>
                </a:cubicBezTo>
                <a:cubicBezTo>
                  <a:pt x="6033317" y="219593"/>
                  <a:pt x="6031120" y="224519"/>
                  <a:pt x="6028368" y="229446"/>
                </a:cubicBezTo>
                <a:cubicBezTo>
                  <a:pt x="6025620" y="233825"/>
                  <a:pt x="6022871" y="238752"/>
                  <a:pt x="6022320" y="244226"/>
                </a:cubicBezTo>
                <a:cubicBezTo>
                  <a:pt x="6021221" y="249152"/>
                  <a:pt x="6017920" y="251342"/>
                  <a:pt x="6014073" y="254079"/>
                </a:cubicBezTo>
                <a:cubicBezTo>
                  <a:pt x="6010225" y="256817"/>
                  <a:pt x="6004726" y="256269"/>
                  <a:pt x="6001974" y="260101"/>
                </a:cubicBezTo>
                <a:cubicBezTo>
                  <a:pt x="5998126" y="260101"/>
                  <a:pt x="5994826" y="260101"/>
                  <a:pt x="5990976" y="260101"/>
                </a:cubicBezTo>
                <a:cubicBezTo>
                  <a:pt x="5990976" y="258459"/>
                  <a:pt x="5990426" y="257911"/>
                  <a:pt x="5989329" y="257911"/>
                </a:cubicBezTo>
                <a:cubicBezTo>
                  <a:pt x="5981079" y="257911"/>
                  <a:pt x="5976681" y="252437"/>
                  <a:pt x="5973930" y="245868"/>
                </a:cubicBezTo>
                <a:cubicBezTo>
                  <a:pt x="5971182" y="239846"/>
                  <a:pt x="5967883" y="234373"/>
                  <a:pt x="5968982" y="227257"/>
                </a:cubicBezTo>
                <a:cubicBezTo>
                  <a:pt x="5970632" y="219593"/>
                  <a:pt x="5970082" y="211382"/>
                  <a:pt x="5976681" y="205360"/>
                </a:cubicBezTo>
                <a:cubicBezTo>
                  <a:pt x="5978881" y="203170"/>
                  <a:pt x="5981079" y="201528"/>
                  <a:pt x="5984929" y="200433"/>
                </a:cubicBezTo>
                <a:cubicBezTo>
                  <a:pt x="5990426" y="198791"/>
                  <a:pt x="5997026" y="196055"/>
                  <a:pt x="5995378" y="187296"/>
                </a:cubicBezTo>
                <a:cubicBezTo>
                  <a:pt x="5994826" y="184011"/>
                  <a:pt x="5998126" y="182916"/>
                  <a:pt x="5998676" y="181274"/>
                </a:cubicBezTo>
                <a:cubicBezTo>
                  <a:pt x="6001424" y="172515"/>
                  <a:pt x="6008021" y="168683"/>
                  <a:pt x="6015172" y="165947"/>
                </a:cubicBezTo>
                <a:close/>
                <a:moveTo>
                  <a:pt x="3712302" y="142724"/>
                </a:moveTo>
                <a:cubicBezTo>
                  <a:pt x="3716552" y="142675"/>
                  <a:pt x="3720995" y="143640"/>
                  <a:pt x="3725052" y="143061"/>
                </a:cubicBezTo>
                <a:cubicBezTo>
                  <a:pt x="3728530" y="142675"/>
                  <a:pt x="3735871" y="140747"/>
                  <a:pt x="3737417" y="143447"/>
                </a:cubicBezTo>
                <a:cubicBezTo>
                  <a:pt x="3742053" y="151165"/>
                  <a:pt x="3754029" y="148078"/>
                  <a:pt x="3756734" y="158496"/>
                </a:cubicBezTo>
                <a:cubicBezTo>
                  <a:pt x="3757507" y="161584"/>
                  <a:pt x="3762916" y="163513"/>
                  <a:pt x="3757894" y="167757"/>
                </a:cubicBezTo>
                <a:cubicBezTo>
                  <a:pt x="3756348" y="168915"/>
                  <a:pt x="3756734" y="171230"/>
                  <a:pt x="3758280" y="171616"/>
                </a:cubicBezTo>
                <a:cubicBezTo>
                  <a:pt x="3764462" y="173932"/>
                  <a:pt x="3764075" y="177405"/>
                  <a:pt x="3760212" y="182035"/>
                </a:cubicBezTo>
                <a:cubicBezTo>
                  <a:pt x="3759053" y="183579"/>
                  <a:pt x="3760599" y="185508"/>
                  <a:pt x="3761371" y="187052"/>
                </a:cubicBezTo>
                <a:cubicBezTo>
                  <a:pt x="3762916" y="189367"/>
                  <a:pt x="3763302" y="191682"/>
                  <a:pt x="3760985" y="193611"/>
                </a:cubicBezTo>
                <a:cubicBezTo>
                  <a:pt x="3758666" y="195541"/>
                  <a:pt x="3759053" y="197856"/>
                  <a:pt x="3758280" y="200172"/>
                </a:cubicBezTo>
                <a:cubicBezTo>
                  <a:pt x="3756348" y="205959"/>
                  <a:pt x="3754029" y="213292"/>
                  <a:pt x="3749780" y="215992"/>
                </a:cubicBezTo>
                <a:cubicBezTo>
                  <a:pt x="3740507" y="221781"/>
                  <a:pt x="3731620" y="227954"/>
                  <a:pt x="3722347" y="233357"/>
                </a:cubicBezTo>
                <a:cubicBezTo>
                  <a:pt x="3721574" y="233357"/>
                  <a:pt x="3720030" y="233357"/>
                  <a:pt x="3719643" y="232585"/>
                </a:cubicBezTo>
                <a:cubicBezTo>
                  <a:pt x="3715779" y="229112"/>
                  <a:pt x="3712302" y="226025"/>
                  <a:pt x="3707279" y="231042"/>
                </a:cubicBezTo>
                <a:cubicBezTo>
                  <a:pt x="3705733" y="232971"/>
                  <a:pt x="3704575" y="231042"/>
                  <a:pt x="3704189" y="229498"/>
                </a:cubicBezTo>
                <a:cubicBezTo>
                  <a:pt x="3703029" y="222938"/>
                  <a:pt x="3699938" y="222938"/>
                  <a:pt x="3695302" y="226796"/>
                </a:cubicBezTo>
                <a:cubicBezTo>
                  <a:pt x="3692211" y="229498"/>
                  <a:pt x="3690665" y="228726"/>
                  <a:pt x="3690665" y="224868"/>
                </a:cubicBezTo>
                <a:cubicBezTo>
                  <a:pt x="3690665" y="222553"/>
                  <a:pt x="3691438" y="219851"/>
                  <a:pt x="3687961" y="219465"/>
                </a:cubicBezTo>
                <a:cubicBezTo>
                  <a:pt x="3680234" y="217922"/>
                  <a:pt x="3677142" y="212520"/>
                  <a:pt x="3677529" y="205573"/>
                </a:cubicBezTo>
                <a:cubicBezTo>
                  <a:pt x="3677915" y="200558"/>
                  <a:pt x="3676370" y="198242"/>
                  <a:pt x="3672893" y="196313"/>
                </a:cubicBezTo>
                <a:cubicBezTo>
                  <a:pt x="3672893" y="194769"/>
                  <a:pt x="3672893" y="193225"/>
                  <a:pt x="3672893" y="191682"/>
                </a:cubicBezTo>
                <a:cubicBezTo>
                  <a:pt x="3676756" y="189367"/>
                  <a:pt x="3677915" y="185122"/>
                  <a:pt x="3676756" y="181263"/>
                </a:cubicBezTo>
                <a:cubicBezTo>
                  <a:pt x="3674824" y="174318"/>
                  <a:pt x="3677142" y="168915"/>
                  <a:pt x="3682165" y="164285"/>
                </a:cubicBezTo>
                <a:cubicBezTo>
                  <a:pt x="3684097" y="162355"/>
                  <a:pt x="3686029" y="160812"/>
                  <a:pt x="3686802" y="158110"/>
                </a:cubicBezTo>
                <a:cubicBezTo>
                  <a:pt x="3687575" y="153866"/>
                  <a:pt x="3689892" y="151551"/>
                  <a:pt x="3694143" y="151937"/>
                </a:cubicBezTo>
                <a:cubicBezTo>
                  <a:pt x="3697233" y="151937"/>
                  <a:pt x="3699552" y="150007"/>
                  <a:pt x="3700711" y="148464"/>
                </a:cubicBezTo>
                <a:cubicBezTo>
                  <a:pt x="3703995" y="143833"/>
                  <a:pt x="3708052" y="142772"/>
                  <a:pt x="3712302" y="142724"/>
                </a:cubicBezTo>
                <a:close/>
                <a:moveTo>
                  <a:pt x="6884850" y="103907"/>
                </a:moveTo>
                <a:cubicBezTo>
                  <a:pt x="6886976" y="103435"/>
                  <a:pt x="6888155" y="104850"/>
                  <a:pt x="6889099" y="106030"/>
                </a:cubicBezTo>
                <a:cubicBezTo>
                  <a:pt x="6892401" y="109802"/>
                  <a:pt x="6895469" y="113576"/>
                  <a:pt x="6901367" y="111689"/>
                </a:cubicBezTo>
                <a:cubicBezTo>
                  <a:pt x="6902548" y="111453"/>
                  <a:pt x="6903254" y="112397"/>
                  <a:pt x="6903727" y="113340"/>
                </a:cubicBezTo>
                <a:cubicBezTo>
                  <a:pt x="6906320" y="118056"/>
                  <a:pt x="6910570" y="121830"/>
                  <a:pt x="6914110" y="125839"/>
                </a:cubicBezTo>
                <a:cubicBezTo>
                  <a:pt x="6919535" y="131971"/>
                  <a:pt x="6922603" y="138810"/>
                  <a:pt x="6920479" y="147064"/>
                </a:cubicBezTo>
                <a:cubicBezTo>
                  <a:pt x="6919771" y="150366"/>
                  <a:pt x="6921656" y="152488"/>
                  <a:pt x="6923548" y="154375"/>
                </a:cubicBezTo>
                <a:cubicBezTo>
                  <a:pt x="6927794" y="158856"/>
                  <a:pt x="6927555" y="161214"/>
                  <a:pt x="6922838" y="164751"/>
                </a:cubicBezTo>
                <a:cubicBezTo>
                  <a:pt x="6917652" y="168288"/>
                  <a:pt x="6917652" y="168288"/>
                  <a:pt x="6921895" y="173477"/>
                </a:cubicBezTo>
                <a:cubicBezTo>
                  <a:pt x="6922838" y="174657"/>
                  <a:pt x="6923548" y="175599"/>
                  <a:pt x="6922129" y="177015"/>
                </a:cubicBezTo>
                <a:cubicBezTo>
                  <a:pt x="6917412" y="182438"/>
                  <a:pt x="6913166" y="187863"/>
                  <a:pt x="6908212" y="193051"/>
                </a:cubicBezTo>
                <a:cubicBezTo>
                  <a:pt x="6904672" y="197060"/>
                  <a:pt x="6900189" y="199655"/>
                  <a:pt x="6894999" y="200833"/>
                </a:cubicBezTo>
                <a:cubicBezTo>
                  <a:pt x="6891696" y="201777"/>
                  <a:pt x="6885326" y="210267"/>
                  <a:pt x="6885085" y="213804"/>
                </a:cubicBezTo>
                <a:cubicBezTo>
                  <a:pt x="6885085" y="214983"/>
                  <a:pt x="6885085" y="215926"/>
                  <a:pt x="6886502" y="216399"/>
                </a:cubicBezTo>
                <a:cubicBezTo>
                  <a:pt x="6893821" y="219700"/>
                  <a:pt x="6897357" y="226067"/>
                  <a:pt x="6900424" y="232907"/>
                </a:cubicBezTo>
                <a:cubicBezTo>
                  <a:pt x="6901132" y="234321"/>
                  <a:pt x="6901603" y="235501"/>
                  <a:pt x="6902316" y="236679"/>
                </a:cubicBezTo>
                <a:cubicBezTo>
                  <a:pt x="6904672" y="240453"/>
                  <a:pt x="6905851" y="243755"/>
                  <a:pt x="6904198" y="248471"/>
                </a:cubicBezTo>
                <a:cubicBezTo>
                  <a:pt x="6902548" y="253188"/>
                  <a:pt x="6905141" y="257905"/>
                  <a:pt x="6907504" y="262150"/>
                </a:cubicBezTo>
                <a:cubicBezTo>
                  <a:pt x="6908448" y="264272"/>
                  <a:pt x="6908918" y="265687"/>
                  <a:pt x="6907265" y="267809"/>
                </a:cubicBezTo>
                <a:cubicBezTo>
                  <a:pt x="6900662" y="276771"/>
                  <a:pt x="6895701" y="286675"/>
                  <a:pt x="6894763" y="298232"/>
                </a:cubicBezTo>
                <a:cubicBezTo>
                  <a:pt x="6894525" y="299883"/>
                  <a:pt x="6894052" y="300590"/>
                  <a:pt x="6892401" y="300118"/>
                </a:cubicBezTo>
                <a:cubicBezTo>
                  <a:pt x="6885794" y="298703"/>
                  <a:pt x="6881547" y="302241"/>
                  <a:pt x="6878010" y="306957"/>
                </a:cubicBezTo>
                <a:cubicBezTo>
                  <a:pt x="6876360" y="309080"/>
                  <a:pt x="6874941" y="310259"/>
                  <a:pt x="6871873" y="308844"/>
                </a:cubicBezTo>
                <a:cubicBezTo>
                  <a:pt x="6868098" y="306721"/>
                  <a:pt x="6864561" y="308608"/>
                  <a:pt x="6861493" y="311202"/>
                </a:cubicBezTo>
                <a:cubicBezTo>
                  <a:pt x="6858896" y="313324"/>
                  <a:pt x="6856301" y="315918"/>
                  <a:pt x="6853707" y="318041"/>
                </a:cubicBezTo>
                <a:cubicBezTo>
                  <a:pt x="6852412" y="318985"/>
                  <a:pt x="6851174" y="319515"/>
                  <a:pt x="6850168" y="319309"/>
                </a:cubicBezTo>
                <a:cubicBezTo>
                  <a:pt x="6849165" y="319103"/>
                  <a:pt x="6848396" y="318160"/>
                  <a:pt x="6848045" y="316155"/>
                </a:cubicBezTo>
                <a:cubicBezTo>
                  <a:pt x="6848045" y="315211"/>
                  <a:pt x="6847809" y="314268"/>
                  <a:pt x="6847333" y="313324"/>
                </a:cubicBezTo>
                <a:cubicBezTo>
                  <a:pt x="6846863" y="312146"/>
                  <a:pt x="6846863" y="310259"/>
                  <a:pt x="6845214" y="310023"/>
                </a:cubicBezTo>
                <a:cubicBezTo>
                  <a:pt x="6843798" y="310023"/>
                  <a:pt x="6842855" y="311202"/>
                  <a:pt x="6842145" y="312146"/>
                </a:cubicBezTo>
                <a:cubicBezTo>
                  <a:pt x="6838609" y="316155"/>
                  <a:pt x="6837191" y="315918"/>
                  <a:pt x="6835065" y="310966"/>
                </a:cubicBezTo>
                <a:cubicBezTo>
                  <a:pt x="6834596" y="309788"/>
                  <a:pt x="6834361" y="308844"/>
                  <a:pt x="6833651" y="307901"/>
                </a:cubicBezTo>
                <a:cubicBezTo>
                  <a:pt x="6832709" y="306486"/>
                  <a:pt x="6831765" y="305306"/>
                  <a:pt x="6829403" y="306250"/>
                </a:cubicBezTo>
                <a:cubicBezTo>
                  <a:pt x="6827282" y="307429"/>
                  <a:pt x="6827282" y="308372"/>
                  <a:pt x="6827752" y="310259"/>
                </a:cubicBezTo>
                <a:lnTo>
                  <a:pt x="6828150" y="313826"/>
                </a:lnTo>
                <a:lnTo>
                  <a:pt x="6809711" y="295485"/>
                </a:lnTo>
                <a:lnTo>
                  <a:pt x="6810763" y="293987"/>
                </a:lnTo>
                <a:cubicBezTo>
                  <a:pt x="6811240" y="291864"/>
                  <a:pt x="6810530" y="290449"/>
                  <a:pt x="6808642" y="289506"/>
                </a:cubicBezTo>
                <a:cubicBezTo>
                  <a:pt x="6807226" y="288798"/>
                  <a:pt x="6805812" y="288326"/>
                  <a:pt x="6804393" y="287619"/>
                </a:cubicBezTo>
                <a:cubicBezTo>
                  <a:pt x="6802037" y="286440"/>
                  <a:pt x="6801092" y="284790"/>
                  <a:pt x="6801564" y="281959"/>
                </a:cubicBezTo>
                <a:cubicBezTo>
                  <a:pt x="6802981" y="273469"/>
                  <a:pt x="6799914" y="267573"/>
                  <a:pt x="6792363" y="263800"/>
                </a:cubicBezTo>
                <a:cubicBezTo>
                  <a:pt x="6791185" y="263093"/>
                  <a:pt x="6788583" y="263328"/>
                  <a:pt x="6789059" y="261206"/>
                </a:cubicBezTo>
                <a:cubicBezTo>
                  <a:pt x="6789295" y="259083"/>
                  <a:pt x="6791419" y="258612"/>
                  <a:pt x="6793540" y="258376"/>
                </a:cubicBezTo>
                <a:cubicBezTo>
                  <a:pt x="6793776" y="258376"/>
                  <a:pt x="6794013" y="258376"/>
                  <a:pt x="6794252" y="258376"/>
                </a:cubicBezTo>
                <a:cubicBezTo>
                  <a:pt x="6799914" y="257432"/>
                  <a:pt x="6801564" y="254839"/>
                  <a:pt x="6798732" y="250358"/>
                </a:cubicBezTo>
                <a:cubicBezTo>
                  <a:pt x="6796139" y="246113"/>
                  <a:pt x="6796843" y="242811"/>
                  <a:pt x="6799205" y="239274"/>
                </a:cubicBezTo>
                <a:cubicBezTo>
                  <a:pt x="6802272" y="234557"/>
                  <a:pt x="6804634" y="229605"/>
                  <a:pt x="6803216" y="223709"/>
                </a:cubicBezTo>
                <a:cubicBezTo>
                  <a:pt x="6802510" y="221115"/>
                  <a:pt x="6805102" y="219935"/>
                  <a:pt x="6806755" y="219464"/>
                </a:cubicBezTo>
                <a:cubicBezTo>
                  <a:pt x="6812890" y="217341"/>
                  <a:pt x="6815722" y="213332"/>
                  <a:pt x="6816431" y="207201"/>
                </a:cubicBezTo>
                <a:cubicBezTo>
                  <a:pt x="6816900" y="203427"/>
                  <a:pt x="6818317" y="202720"/>
                  <a:pt x="6822093" y="205078"/>
                </a:cubicBezTo>
                <a:cubicBezTo>
                  <a:pt x="6830114" y="210031"/>
                  <a:pt x="6841912" y="206494"/>
                  <a:pt x="6845450" y="198239"/>
                </a:cubicBezTo>
                <a:cubicBezTo>
                  <a:pt x="6846159" y="196588"/>
                  <a:pt x="6847103" y="194466"/>
                  <a:pt x="6845450" y="193051"/>
                </a:cubicBezTo>
                <a:cubicBezTo>
                  <a:pt x="6843798" y="191636"/>
                  <a:pt x="6841438" y="190928"/>
                  <a:pt x="6839315" y="192344"/>
                </a:cubicBezTo>
                <a:cubicBezTo>
                  <a:pt x="6837899" y="193051"/>
                  <a:pt x="6836485" y="194230"/>
                  <a:pt x="6835065" y="195173"/>
                </a:cubicBezTo>
                <a:cubicBezTo>
                  <a:pt x="6833651" y="196353"/>
                  <a:pt x="6832239" y="197060"/>
                  <a:pt x="6831057" y="195646"/>
                </a:cubicBezTo>
                <a:cubicBezTo>
                  <a:pt x="6829641" y="193995"/>
                  <a:pt x="6830585" y="192579"/>
                  <a:pt x="6831765" y="191401"/>
                </a:cubicBezTo>
                <a:cubicBezTo>
                  <a:pt x="6832709" y="190221"/>
                  <a:pt x="6834124" y="189278"/>
                  <a:pt x="6835065" y="188334"/>
                </a:cubicBezTo>
                <a:cubicBezTo>
                  <a:pt x="6837191" y="186212"/>
                  <a:pt x="6838370" y="183382"/>
                  <a:pt x="6836248" y="181024"/>
                </a:cubicBezTo>
                <a:cubicBezTo>
                  <a:pt x="6834361" y="179137"/>
                  <a:pt x="6831765" y="181024"/>
                  <a:pt x="6829876" y="182438"/>
                </a:cubicBezTo>
                <a:cubicBezTo>
                  <a:pt x="6828228" y="183618"/>
                  <a:pt x="6827049" y="185740"/>
                  <a:pt x="6824924" y="186448"/>
                </a:cubicBezTo>
                <a:cubicBezTo>
                  <a:pt x="6821857" y="187627"/>
                  <a:pt x="6819964" y="187156"/>
                  <a:pt x="6820199" y="183382"/>
                </a:cubicBezTo>
                <a:cubicBezTo>
                  <a:pt x="6820441" y="178193"/>
                  <a:pt x="6822559" y="173948"/>
                  <a:pt x="6825396" y="169939"/>
                </a:cubicBezTo>
                <a:cubicBezTo>
                  <a:pt x="6828932" y="164751"/>
                  <a:pt x="6829168" y="161921"/>
                  <a:pt x="6825396" y="156969"/>
                </a:cubicBezTo>
                <a:cubicBezTo>
                  <a:pt x="6824215" y="155082"/>
                  <a:pt x="6822326" y="153431"/>
                  <a:pt x="6820679" y="151781"/>
                </a:cubicBezTo>
                <a:cubicBezTo>
                  <a:pt x="6819964" y="151073"/>
                  <a:pt x="6818789" y="150366"/>
                  <a:pt x="6819261" y="149186"/>
                </a:cubicBezTo>
                <a:cubicBezTo>
                  <a:pt x="6819731" y="147772"/>
                  <a:pt x="6820913" y="147536"/>
                  <a:pt x="6821857" y="147772"/>
                </a:cubicBezTo>
                <a:cubicBezTo>
                  <a:pt x="6826103" y="148715"/>
                  <a:pt x="6827049" y="146828"/>
                  <a:pt x="6826811" y="143054"/>
                </a:cubicBezTo>
                <a:cubicBezTo>
                  <a:pt x="6826573" y="138338"/>
                  <a:pt x="6829641" y="135037"/>
                  <a:pt x="6832944" y="132442"/>
                </a:cubicBezTo>
                <a:cubicBezTo>
                  <a:pt x="6835543" y="130320"/>
                  <a:pt x="6835775" y="128670"/>
                  <a:pt x="6833182" y="126783"/>
                </a:cubicBezTo>
                <a:cubicBezTo>
                  <a:pt x="6831765" y="125839"/>
                  <a:pt x="6830820" y="124896"/>
                  <a:pt x="6831296" y="123009"/>
                </a:cubicBezTo>
                <a:cubicBezTo>
                  <a:pt x="6831765" y="120416"/>
                  <a:pt x="6833651" y="120887"/>
                  <a:pt x="6835306" y="120416"/>
                </a:cubicBezTo>
                <a:cubicBezTo>
                  <a:pt x="6836248" y="120179"/>
                  <a:pt x="6837429" y="120179"/>
                  <a:pt x="6838609" y="119943"/>
                </a:cubicBezTo>
                <a:cubicBezTo>
                  <a:pt x="6844977" y="119236"/>
                  <a:pt x="6846391" y="115698"/>
                  <a:pt x="6842617" y="110275"/>
                </a:cubicBezTo>
                <a:cubicBezTo>
                  <a:pt x="6842145" y="109567"/>
                  <a:pt x="6841677" y="109095"/>
                  <a:pt x="6841438" y="108388"/>
                </a:cubicBezTo>
                <a:cubicBezTo>
                  <a:pt x="6840730" y="106973"/>
                  <a:pt x="6840260" y="105086"/>
                  <a:pt x="6841677" y="104143"/>
                </a:cubicBezTo>
                <a:cubicBezTo>
                  <a:pt x="6842855" y="103199"/>
                  <a:pt x="6844506" y="104143"/>
                  <a:pt x="6845450" y="105086"/>
                </a:cubicBezTo>
                <a:cubicBezTo>
                  <a:pt x="6846391" y="106030"/>
                  <a:pt x="6847103" y="106973"/>
                  <a:pt x="6847809" y="108152"/>
                </a:cubicBezTo>
                <a:cubicBezTo>
                  <a:pt x="6849227" y="109802"/>
                  <a:pt x="6850638" y="110275"/>
                  <a:pt x="6852528" y="108859"/>
                </a:cubicBezTo>
                <a:cubicBezTo>
                  <a:pt x="6857011" y="105793"/>
                  <a:pt x="6861966" y="105322"/>
                  <a:pt x="6866919" y="105086"/>
                </a:cubicBezTo>
                <a:cubicBezTo>
                  <a:pt x="6872819" y="104615"/>
                  <a:pt x="6878953" y="105322"/>
                  <a:pt x="6884850" y="103907"/>
                </a:cubicBezTo>
                <a:close/>
                <a:moveTo>
                  <a:pt x="5644234" y="691"/>
                </a:moveTo>
                <a:cubicBezTo>
                  <a:pt x="5648485" y="643"/>
                  <a:pt x="5652929" y="1607"/>
                  <a:pt x="5656985" y="1028"/>
                </a:cubicBezTo>
                <a:cubicBezTo>
                  <a:pt x="5660463" y="642"/>
                  <a:pt x="5667805" y="-1286"/>
                  <a:pt x="5669348" y="1414"/>
                </a:cubicBezTo>
                <a:cubicBezTo>
                  <a:pt x="5673986" y="9133"/>
                  <a:pt x="5685965" y="6045"/>
                  <a:pt x="5688667" y="16464"/>
                </a:cubicBezTo>
                <a:cubicBezTo>
                  <a:pt x="5689441" y="19551"/>
                  <a:pt x="5694850" y="21481"/>
                  <a:pt x="5689828" y="25725"/>
                </a:cubicBezTo>
                <a:cubicBezTo>
                  <a:pt x="5688281" y="26882"/>
                  <a:pt x="5688667" y="29198"/>
                  <a:pt x="5690214" y="29584"/>
                </a:cubicBezTo>
                <a:cubicBezTo>
                  <a:pt x="5696395" y="31899"/>
                  <a:pt x="5696008" y="35372"/>
                  <a:pt x="5692147" y="40002"/>
                </a:cubicBezTo>
                <a:cubicBezTo>
                  <a:pt x="5690986" y="41546"/>
                  <a:pt x="5692532" y="43476"/>
                  <a:pt x="5693305" y="45019"/>
                </a:cubicBezTo>
                <a:cubicBezTo>
                  <a:pt x="5694850" y="47334"/>
                  <a:pt x="5695234" y="49649"/>
                  <a:pt x="5692918" y="51579"/>
                </a:cubicBezTo>
                <a:cubicBezTo>
                  <a:pt x="5690600" y="53508"/>
                  <a:pt x="5690986" y="55824"/>
                  <a:pt x="5690214" y="58139"/>
                </a:cubicBezTo>
                <a:cubicBezTo>
                  <a:pt x="5688281" y="63927"/>
                  <a:pt x="5685965" y="71258"/>
                  <a:pt x="5681714" y="73959"/>
                </a:cubicBezTo>
                <a:cubicBezTo>
                  <a:pt x="5672441" y="79748"/>
                  <a:pt x="5663554" y="85922"/>
                  <a:pt x="5654282" y="91324"/>
                </a:cubicBezTo>
                <a:cubicBezTo>
                  <a:pt x="5653509" y="91324"/>
                  <a:pt x="5651963" y="91324"/>
                  <a:pt x="5651574" y="90553"/>
                </a:cubicBezTo>
                <a:cubicBezTo>
                  <a:pt x="5647714" y="87079"/>
                  <a:pt x="5644234" y="83992"/>
                  <a:pt x="5639212" y="89009"/>
                </a:cubicBezTo>
                <a:cubicBezTo>
                  <a:pt x="5637667" y="90939"/>
                  <a:pt x="5636509" y="89009"/>
                  <a:pt x="5636124" y="87465"/>
                </a:cubicBezTo>
                <a:cubicBezTo>
                  <a:pt x="5634963" y="80906"/>
                  <a:pt x="5631872" y="80906"/>
                  <a:pt x="5627235" y="84764"/>
                </a:cubicBezTo>
                <a:cubicBezTo>
                  <a:pt x="5624144" y="87465"/>
                  <a:pt x="5622600" y="86694"/>
                  <a:pt x="5622600" y="82834"/>
                </a:cubicBezTo>
                <a:cubicBezTo>
                  <a:pt x="5622600" y="80520"/>
                  <a:pt x="5623373" y="77819"/>
                  <a:pt x="5619896" y="77433"/>
                </a:cubicBezTo>
                <a:cubicBezTo>
                  <a:pt x="5612168" y="75889"/>
                  <a:pt x="5609076" y="70487"/>
                  <a:pt x="5609463" y="63541"/>
                </a:cubicBezTo>
                <a:cubicBezTo>
                  <a:pt x="5609850" y="58525"/>
                  <a:pt x="5608306" y="56210"/>
                  <a:pt x="5604825" y="54280"/>
                </a:cubicBezTo>
                <a:cubicBezTo>
                  <a:pt x="5604825" y="52736"/>
                  <a:pt x="5604825" y="51193"/>
                  <a:pt x="5604825" y="49649"/>
                </a:cubicBezTo>
                <a:cubicBezTo>
                  <a:pt x="5608691" y="47334"/>
                  <a:pt x="5609850" y="43090"/>
                  <a:pt x="5608691" y="39231"/>
                </a:cubicBezTo>
                <a:cubicBezTo>
                  <a:pt x="5606758" y="32285"/>
                  <a:pt x="5609076" y="26882"/>
                  <a:pt x="5614099" y="22253"/>
                </a:cubicBezTo>
                <a:cubicBezTo>
                  <a:pt x="5616031" y="20323"/>
                  <a:pt x="5617963" y="18779"/>
                  <a:pt x="5618735" y="16078"/>
                </a:cubicBezTo>
                <a:cubicBezTo>
                  <a:pt x="5619509" y="11834"/>
                  <a:pt x="5621825" y="9518"/>
                  <a:pt x="5626076" y="9904"/>
                </a:cubicBezTo>
                <a:cubicBezTo>
                  <a:pt x="5629168" y="9904"/>
                  <a:pt x="5631486" y="7975"/>
                  <a:pt x="5632644" y="6431"/>
                </a:cubicBezTo>
                <a:cubicBezTo>
                  <a:pt x="5635929" y="1801"/>
                  <a:pt x="5639984" y="740"/>
                  <a:pt x="5644234" y="691"/>
                </a:cubicBezTo>
                <a:close/>
              </a:path>
            </a:pathLst>
          </a:custGeom>
          <a:solidFill>
            <a:schemeClr val="bg1">
              <a:lumMod val="95000"/>
            </a:schemeClr>
          </a:solidFill>
          <a:ln w="19050">
            <a:noFill/>
          </a:ln>
        </p:spPr>
        <p:txBody>
          <a:bodyPr wrap="square" anchor="ctr">
            <a:noAutofit/>
          </a:bodyPr>
          <a:lstStyle>
            <a:lvl1pPr marL="0" indent="0" algn="ctr">
              <a:lnSpc>
                <a:spcPct val="100000"/>
              </a:lnSpc>
              <a:buNone/>
              <a:defRPr sz="1200">
                <a:solidFill>
                  <a:schemeClr val="tx1">
                    <a:lumMod val="75000"/>
                    <a:lumOff val="25000"/>
                  </a:schemeClr>
                </a:solidFill>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284202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86CC7C-E490-1A42-A25A-622C38E1E91E}"/>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9D8AE8E3-BF84-7B47-853A-7575BFA7CB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D4266A9B-0735-9743-B8B2-CD5D8553E158}"/>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AA5BB80A-02C6-0D49-8083-503D3BC61FA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A1D940D-0539-6848-9472-8E7A91F93849}"/>
              </a:ext>
            </a:extLst>
          </p:cNvPr>
          <p:cNvSpPr>
            <a:spLocks noGrp="1"/>
          </p:cNvSpPr>
          <p:nvPr>
            <p:ph type="sldNum" sz="quarter" idx="12"/>
          </p:nvPr>
        </p:nvSpPr>
        <p:spPr/>
        <p:txBody>
          <a:bodyPr/>
          <a:lstStyle/>
          <a:p>
            <a:fld id="{47383D69-7DDF-7B42-B131-A7DBF347FEF8}" type="slidenum">
              <a:rPr lang="fr-FR" smtClean="0"/>
              <a:pPr/>
              <a:t>‹N°›</a:t>
            </a:fld>
            <a:endParaRPr lang="fr-FR"/>
          </a:p>
        </p:txBody>
      </p:sp>
    </p:spTree>
    <p:extLst>
      <p:ext uri="{BB962C8B-B14F-4D97-AF65-F5344CB8AC3E}">
        <p14:creationId xmlns:p14="http://schemas.microsoft.com/office/powerpoint/2010/main" val="28680713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mage slide layout">
    <p:spTree>
      <p:nvGrpSpPr>
        <p:cNvPr id="1" name=""/>
        <p:cNvGrpSpPr/>
        <p:nvPr/>
      </p:nvGrpSpPr>
      <p:grpSpPr>
        <a:xfrm>
          <a:off x="0" y="0"/>
          <a:ext cx="0" cy="0"/>
          <a:chOff x="0" y="0"/>
          <a:chExt cx="0" cy="0"/>
        </a:xfrm>
      </p:grpSpPr>
      <p:grpSp>
        <p:nvGrpSpPr>
          <p:cNvPr id="3" name="Group 3">
            <a:extLst>
              <a:ext uri="{FF2B5EF4-FFF2-40B4-BE49-F238E27FC236}">
                <a16:creationId xmlns:a16="http://schemas.microsoft.com/office/drawing/2014/main" id="{6F3B20C2-1933-4539-9FE9-0E1191402DC6}"/>
              </a:ext>
            </a:extLst>
          </p:cNvPr>
          <p:cNvGrpSpPr/>
          <p:nvPr userDrawn="1"/>
        </p:nvGrpSpPr>
        <p:grpSpPr>
          <a:xfrm>
            <a:off x="729449" y="1780758"/>
            <a:ext cx="2449180" cy="4305530"/>
            <a:chOff x="445712" y="1449040"/>
            <a:chExt cx="2113018" cy="3924176"/>
          </a:xfrm>
        </p:grpSpPr>
        <p:sp>
          <p:nvSpPr>
            <p:cNvPr id="4" name="Rounded Rectangle 4">
              <a:extLst>
                <a:ext uri="{FF2B5EF4-FFF2-40B4-BE49-F238E27FC236}">
                  <a16:creationId xmlns:a16="http://schemas.microsoft.com/office/drawing/2014/main" id="{E1F8385A-BF99-4606-9C2E-8E14E818BCEA}"/>
                </a:ext>
              </a:extLst>
            </p:cNvPr>
            <p:cNvSpPr/>
            <p:nvPr userDrawn="1"/>
          </p:nvSpPr>
          <p:spPr>
            <a:xfrm>
              <a:off x="445712" y="1449040"/>
              <a:ext cx="2113018" cy="3924176"/>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p>
          </p:txBody>
        </p:sp>
        <p:sp>
          <p:nvSpPr>
            <p:cNvPr id="5" name="Rectangle 5">
              <a:extLst>
                <a:ext uri="{FF2B5EF4-FFF2-40B4-BE49-F238E27FC236}">
                  <a16:creationId xmlns:a16="http://schemas.microsoft.com/office/drawing/2014/main" id="{F77EF5DA-C377-4F76-9416-E1BC5458C3FA}"/>
                </a:ext>
              </a:extLst>
            </p:cNvPr>
            <p:cNvSpPr/>
            <p:nvPr userDrawn="1"/>
          </p:nvSpPr>
          <p:spPr>
            <a:xfrm>
              <a:off x="1379920" y="1650572"/>
              <a:ext cx="216024" cy="34350"/>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nvGrpSpPr>
            <p:cNvPr id="6" name="Group 6">
              <a:extLst>
                <a:ext uri="{FF2B5EF4-FFF2-40B4-BE49-F238E27FC236}">
                  <a16:creationId xmlns:a16="http://schemas.microsoft.com/office/drawing/2014/main" id="{33C74E8A-4CF7-411F-BE02-D0BD068E9E59}"/>
                </a:ext>
              </a:extLst>
            </p:cNvPr>
            <p:cNvGrpSpPr/>
            <p:nvPr userDrawn="1"/>
          </p:nvGrpSpPr>
          <p:grpSpPr>
            <a:xfrm>
              <a:off x="1407705" y="5045834"/>
              <a:ext cx="211967" cy="211967"/>
              <a:chOff x="1549420" y="5712364"/>
              <a:chExt cx="312583" cy="312583"/>
            </a:xfrm>
          </p:grpSpPr>
          <p:sp>
            <p:nvSpPr>
              <p:cNvPr id="7" name="Oval 7">
                <a:extLst>
                  <a:ext uri="{FF2B5EF4-FFF2-40B4-BE49-F238E27FC236}">
                    <a16:creationId xmlns:a16="http://schemas.microsoft.com/office/drawing/2014/main" id="{1864B4B9-B961-4143-AEA3-77F52A0C22DF}"/>
                  </a:ext>
                </a:extLst>
              </p:cNvPr>
              <p:cNvSpPr/>
              <p:nvPr userDrawn="1"/>
            </p:nvSpPr>
            <p:spPr>
              <a:xfrm>
                <a:off x="1549420" y="5712364"/>
                <a:ext cx="312583" cy="312583"/>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8" name="Rounded Rectangle 8">
                <a:extLst>
                  <a:ext uri="{FF2B5EF4-FFF2-40B4-BE49-F238E27FC236}">
                    <a16:creationId xmlns:a16="http://schemas.microsoft.com/office/drawing/2014/main" id="{B1DAD7A4-56AC-4568-AC24-E27FFB284921}"/>
                  </a:ext>
                </a:extLst>
              </p:cNvPr>
              <p:cNvSpPr/>
              <p:nvPr userDrawn="1"/>
            </p:nvSpPr>
            <p:spPr>
              <a:xfrm>
                <a:off x="1634225" y="5796647"/>
                <a:ext cx="142969" cy="144016"/>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grpSp>
      <p:sp>
        <p:nvSpPr>
          <p:cNvPr id="9" name="Picture Placeholder 2">
            <a:extLst>
              <a:ext uri="{FF2B5EF4-FFF2-40B4-BE49-F238E27FC236}">
                <a16:creationId xmlns:a16="http://schemas.microsoft.com/office/drawing/2014/main" id="{E239173A-8563-40CD-851E-B781776F4BFC}"/>
              </a:ext>
            </a:extLst>
          </p:cNvPr>
          <p:cNvSpPr>
            <a:spLocks noGrp="1"/>
          </p:cNvSpPr>
          <p:nvPr>
            <p:ph type="pic" idx="15" hasCustomPrompt="1"/>
          </p:nvPr>
        </p:nvSpPr>
        <p:spPr>
          <a:xfrm>
            <a:off x="873465" y="2174930"/>
            <a:ext cx="2152765" cy="3348746"/>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1712873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C89C28E-9A5C-7749-90E7-9570DAAA72D9}" type="slidenum">
              <a:rPr lang="fr-FR" smtClean="0"/>
              <a:t>‹N°›</a:t>
            </a:fld>
            <a:endParaRPr lang="fr-FR"/>
          </a:p>
        </p:txBody>
      </p:sp>
    </p:spTree>
    <p:extLst>
      <p:ext uri="{BB962C8B-B14F-4D97-AF65-F5344CB8AC3E}">
        <p14:creationId xmlns:p14="http://schemas.microsoft.com/office/powerpoint/2010/main" val="5495783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Contents slide layout">
    <p:bg>
      <p:bgPr>
        <a:solidFill>
          <a:schemeClr val="bg1"/>
        </a:solidFill>
        <a:effectLst/>
      </p:bgPr>
    </p:bg>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29" y="253809"/>
            <a:ext cx="11573197" cy="840230"/>
          </a:xfrm>
          <a:prstGeom prst="rect">
            <a:avLst/>
          </a:prstGeom>
          <a:noFill/>
          <a:effectLst/>
        </p:spPr>
        <p:txBody>
          <a:bodyPr wrap="square" rtlCol="0" anchor="ctr">
            <a:spAutoFit/>
          </a:bodyPr>
          <a:lstStyle>
            <a:lvl1pPr marL="0" indent="0" algn="ctr">
              <a:buFontTx/>
              <a:buNone/>
              <a:defRPr lang="en-US" altLang="ko-KR" sz="5400" dirty="0">
                <a:solidFill>
                  <a:schemeClr val="tx1"/>
                </a:solidFill>
                <a:effectLst/>
                <a:latin typeface="+mj-lt"/>
              </a:defRPr>
            </a:lvl1pPr>
          </a:lstStyle>
          <a:p>
            <a:pPr marL="0" lvl="0"/>
            <a:r>
              <a:rPr lang="en-US" altLang="ko-KR" dirty="0"/>
              <a:t>BASIC LAYOUT</a:t>
            </a:r>
          </a:p>
        </p:txBody>
      </p:sp>
    </p:spTree>
    <p:extLst>
      <p:ext uri="{BB962C8B-B14F-4D97-AF65-F5344CB8AC3E}">
        <p14:creationId xmlns:p14="http://schemas.microsoft.com/office/powerpoint/2010/main" val="23565202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2396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022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Contents slide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483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Contents slide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502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6_Contents slide layout">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6EC9D03-CE97-4756-A932-9A1D14B23EED}"/>
              </a:ext>
            </a:extLst>
          </p:cNvPr>
          <p:cNvSpPr>
            <a:spLocks noGrp="1"/>
          </p:cNvSpPr>
          <p:nvPr>
            <p:ph type="pic" idx="1" hasCustomPrompt="1"/>
          </p:nvPr>
        </p:nvSpPr>
        <p:spPr>
          <a:xfrm>
            <a:off x="1002212" y="1876466"/>
            <a:ext cx="2078162" cy="224698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4" name="Picture Placeholder 2">
            <a:extLst>
              <a:ext uri="{FF2B5EF4-FFF2-40B4-BE49-F238E27FC236}">
                <a16:creationId xmlns:a16="http://schemas.microsoft.com/office/drawing/2014/main" id="{440D22E4-4916-42B9-98C1-F2B15E7D4E65}"/>
              </a:ext>
            </a:extLst>
          </p:cNvPr>
          <p:cNvSpPr>
            <a:spLocks noGrp="1"/>
          </p:cNvSpPr>
          <p:nvPr>
            <p:ph type="pic" idx="12" hasCustomPrompt="1"/>
          </p:nvPr>
        </p:nvSpPr>
        <p:spPr>
          <a:xfrm>
            <a:off x="3706506" y="1876466"/>
            <a:ext cx="2078162" cy="224698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5" name="Picture Placeholder 2">
            <a:extLst>
              <a:ext uri="{FF2B5EF4-FFF2-40B4-BE49-F238E27FC236}">
                <a16:creationId xmlns:a16="http://schemas.microsoft.com/office/drawing/2014/main" id="{CE308D19-F822-48EE-94AB-2F34D9DA2657}"/>
              </a:ext>
            </a:extLst>
          </p:cNvPr>
          <p:cNvSpPr>
            <a:spLocks noGrp="1"/>
          </p:cNvSpPr>
          <p:nvPr>
            <p:ph type="pic" idx="13" hasCustomPrompt="1"/>
          </p:nvPr>
        </p:nvSpPr>
        <p:spPr>
          <a:xfrm>
            <a:off x="6410802" y="1876466"/>
            <a:ext cx="2078162" cy="224698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7" name="Rectangle 6">
            <a:extLst>
              <a:ext uri="{FF2B5EF4-FFF2-40B4-BE49-F238E27FC236}">
                <a16:creationId xmlns:a16="http://schemas.microsoft.com/office/drawing/2014/main" id="{6D3C8837-9997-42BC-A159-BCF7F210517C}"/>
              </a:ext>
            </a:extLst>
          </p:cNvPr>
          <p:cNvSpPr/>
          <p:nvPr userDrawn="1"/>
        </p:nvSpPr>
        <p:spPr>
          <a:xfrm>
            <a:off x="909160" y="1792204"/>
            <a:ext cx="2264266" cy="2415505"/>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8" name="Rectangle 7">
            <a:extLst>
              <a:ext uri="{FF2B5EF4-FFF2-40B4-BE49-F238E27FC236}">
                <a16:creationId xmlns:a16="http://schemas.microsoft.com/office/drawing/2014/main" id="{130C7A27-BAC1-4B61-940D-055EDBF8A2A6}"/>
              </a:ext>
            </a:extLst>
          </p:cNvPr>
          <p:cNvSpPr/>
          <p:nvPr userDrawn="1"/>
        </p:nvSpPr>
        <p:spPr>
          <a:xfrm>
            <a:off x="3613454" y="1792204"/>
            <a:ext cx="2264266" cy="2415505"/>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9" name="Rectangle 8">
            <a:extLst>
              <a:ext uri="{FF2B5EF4-FFF2-40B4-BE49-F238E27FC236}">
                <a16:creationId xmlns:a16="http://schemas.microsoft.com/office/drawing/2014/main" id="{D0527BA1-DEC7-47BA-8B72-2AC195426ED7}"/>
              </a:ext>
            </a:extLst>
          </p:cNvPr>
          <p:cNvSpPr/>
          <p:nvPr userDrawn="1"/>
        </p:nvSpPr>
        <p:spPr>
          <a:xfrm>
            <a:off x="6317750" y="1792204"/>
            <a:ext cx="2264266" cy="2415505"/>
          </a:xfrm>
          <a:prstGeom prst="rect">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0" name="Picture Placeholder 2">
            <a:extLst>
              <a:ext uri="{FF2B5EF4-FFF2-40B4-BE49-F238E27FC236}">
                <a16:creationId xmlns:a16="http://schemas.microsoft.com/office/drawing/2014/main" id="{C93745BD-BD7F-4811-8916-5EE2623A5254}"/>
              </a:ext>
            </a:extLst>
          </p:cNvPr>
          <p:cNvSpPr>
            <a:spLocks noGrp="1"/>
          </p:cNvSpPr>
          <p:nvPr>
            <p:ph type="pic" idx="14" hasCustomPrompt="1"/>
          </p:nvPr>
        </p:nvSpPr>
        <p:spPr>
          <a:xfrm>
            <a:off x="9115096" y="1876466"/>
            <a:ext cx="2078162" cy="2246981"/>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
        <p:nvSpPr>
          <p:cNvPr id="11" name="Rectangle 10">
            <a:extLst>
              <a:ext uri="{FF2B5EF4-FFF2-40B4-BE49-F238E27FC236}">
                <a16:creationId xmlns:a16="http://schemas.microsoft.com/office/drawing/2014/main" id="{43A57A41-63A0-40C0-861D-DF664444E616}"/>
              </a:ext>
            </a:extLst>
          </p:cNvPr>
          <p:cNvSpPr/>
          <p:nvPr userDrawn="1"/>
        </p:nvSpPr>
        <p:spPr>
          <a:xfrm>
            <a:off x="9022044" y="1792204"/>
            <a:ext cx="2264266" cy="2415505"/>
          </a:xfrm>
          <a:prstGeom prst="rect">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3054590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5_Contents slide layout">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6CCBDEC-E5E7-4F3C-A964-4A3DC68B1EB8}"/>
              </a:ext>
            </a:extLst>
          </p:cNvPr>
          <p:cNvSpPr>
            <a:spLocks noGrp="1"/>
          </p:cNvSpPr>
          <p:nvPr>
            <p:ph type="pic" sz="quarter" idx="14" hasCustomPrompt="1"/>
          </p:nvPr>
        </p:nvSpPr>
        <p:spPr>
          <a:xfrm>
            <a:off x="144954" y="101261"/>
            <a:ext cx="11856555" cy="4071735"/>
          </a:xfrm>
          <a:custGeom>
            <a:avLst/>
            <a:gdLst>
              <a:gd name="connsiteX0" fmla="*/ 560809 w 11856555"/>
              <a:gd name="connsiteY0" fmla="*/ 3976978 h 4071735"/>
              <a:gd name="connsiteX1" fmla="*/ 563867 w 11856555"/>
              <a:gd name="connsiteY1" fmla="*/ 3984634 h 4071735"/>
              <a:gd name="connsiteX2" fmla="*/ 550123 w 11856555"/>
              <a:gd name="connsiteY2" fmla="*/ 3986314 h 4071735"/>
              <a:gd name="connsiteX3" fmla="*/ 2789873 w 11856555"/>
              <a:gd name="connsiteY3" fmla="*/ 3947733 h 4071735"/>
              <a:gd name="connsiteX4" fmla="*/ 2792933 w 11856555"/>
              <a:gd name="connsiteY4" fmla="*/ 3955388 h 4071735"/>
              <a:gd name="connsiteX5" fmla="*/ 2779189 w 11856555"/>
              <a:gd name="connsiteY5" fmla="*/ 3957068 h 4071735"/>
              <a:gd name="connsiteX6" fmla="*/ 539016 w 11856555"/>
              <a:gd name="connsiteY6" fmla="*/ 3942128 h 4071735"/>
              <a:gd name="connsiteX7" fmla="*/ 546164 w 11856555"/>
              <a:gd name="connsiteY7" fmla="*/ 3948735 h 4071735"/>
              <a:gd name="connsiteX8" fmla="*/ 546561 w 11856555"/>
              <a:gd name="connsiteY8" fmla="*/ 3949311 h 4071735"/>
              <a:gd name="connsiteX9" fmla="*/ 536302 w 11856555"/>
              <a:gd name="connsiteY9" fmla="*/ 3958341 h 4071735"/>
              <a:gd name="connsiteX10" fmla="*/ 539016 w 11856555"/>
              <a:gd name="connsiteY10" fmla="*/ 3942128 h 4071735"/>
              <a:gd name="connsiteX11" fmla="*/ 596445 w 11856555"/>
              <a:gd name="connsiteY11" fmla="*/ 3938116 h 4071735"/>
              <a:gd name="connsiteX12" fmla="*/ 603219 w 11856555"/>
              <a:gd name="connsiteY12" fmla="*/ 3946538 h 4071735"/>
              <a:gd name="connsiteX13" fmla="*/ 598823 w 11856555"/>
              <a:gd name="connsiteY13" fmla="*/ 3944875 h 4071735"/>
              <a:gd name="connsiteX14" fmla="*/ 595293 w 11856555"/>
              <a:gd name="connsiteY14" fmla="*/ 3939573 h 4071735"/>
              <a:gd name="connsiteX15" fmla="*/ 1448542 w 11856555"/>
              <a:gd name="connsiteY15" fmla="*/ 3927428 h 4071735"/>
              <a:gd name="connsiteX16" fmla="*/ 1438974 w 11856555"/>
              <a:gd name="connsiteY16" fmla="*/ 3939233 h 4071735"/>
              <a:gd name="connsiteX17" fmla="*/ 1460677 w 11856555"/>
              <a:gd name="connsiteY17" fmla="*/ 3928537 h 4071735"/>
              <a:gd name="connsiteX18" fmla="*/ 1448542 w 11856555"/>
              <a:gd name="connsiteY18" fmla="*/ 3927428 h 4071735"/>
              <a:gd name="connsiteX19" fmla="*/ 889638 w 11856555"/>
              <a:gd name="connsiteY19" fmla="*/ 3924201 h 4071735"/>
              <a:gd name="connsiteX20" fmla="*/ 892720 w 11856555"/>
              <a:gd name="connsiteY20" fmla="*/ 3932422 h 4071735"/>
              <a:gd name="connsiteX21" fmla="*/ 890064 w 11856555"/>
              <a:gd name="connsiteY21" fmla="*/ 3926452 h 4071735"/>
              <a:gd name="connsiteX22" fmla="*/ 888753 w 11856555"/>
              <a:gd name="connsiteY22" fmla="*/ 3919522 h 4071735"/>
              <a:gd name="connsiteX23" fmla="*/ 889638 w 11856555"/>
              <a:gd name="connsiteY23" fmla="*/ 3924201 h 4071735"/>
              <a:gd name="connsiteX24" fmla="*/ 888058 w 11856555"/>
              <a:gd name="connsiteY24" fmla="*/ 3919986 h 4071735"/>
              <a:gd name="connsiteX25" fmla="*/ 2821465 w 11856555"/>
              <a:gd name="connsiteY25" fmla="*/ 3913984 h 4071735"/>
              <a:gd name="connsiteX26" fmla="*/ 2829056 w 11856555"/>
              <a:gd name="connsiteY26" fmla="*/ 3923420 h 4071735"/>
              <a:gd name="connsiteX27" fmla="*/ 2824658 w 11856555"/>
              <a:gd name="connsiteY27" fmla="*/ 3921758 h 4071735"/>
              <a:gd name="connsiteX28" fmla="*/ 2820389 w 11856555"/>
              <a:gd name="connsiteY28" fmla="*/ 3915345 h 4071735"/>
              <a:gd name="connsiteX29" fmla="*/ 3681645 w 11856555"/>
              <a:gd name="connsiteY29" fmla="*/ 3913001 h 4071735"/>
              <a:gd name="connsiteX30" fmla="*/ 3679049 w 11856555"/>
              <a:gd name="connsiteY30" fmla="*/ 3917039 h 4071735"/>
              <a:gd name="connsiteX31" fmla="*/ 3670491 w 11856555"/>
              <a:gd name="connsiteY31" fmla="*/ 3916485 h 4071735"/>
              <a:gd name="connsiteX32" fmla="*/ 2768082 w 11856555"/>
              <a:gd name="connsiteY32" fmla="*/ 3912883 h 4071735"/>
              <a:gd name="connsiteX33" fmla="*/ 2775228 w 11856555"/>
              <a:gd name="connsiteY33" fmla="*/ 3919489 h 4071735"/>
              <a:gd name="connsiteX34" fmla="*/ 2775626 w 11856555"/>
              <a:gd name="connsiteY34" fmla="*/ 3920066 h 4071735"/>
              <a:gd name="connsiteX35" fmla="*/ 2765366 w 11856555"/>
              <a:gd name="connsiteY35" fmla="*/ 3929096 h 4071735"/>
              <a:gd name="connsiteX36" fmla="*/ 2768082 w 11856555"/>
              <a:gd name="connsiteY36" fmla="*/ 3912883 h 4071735"/>
              <a:gd name="connsiteX37" fmla="*/ 3118704 w 11856555"/>
              <a:gd name="connsiteY37" fmla="*/ 3894956 h 4071735"/>
              <a:gd name="connsiteX38" fmla="*/ 3121786 w 11856555"/>
              <a:gd name="connsiteY38" fmla="*/ 3903176 h 4071735"/>
              <a:gd name="connsiteX39" fmla="*/ 3119130 w 11856555"/>
              <a:gd name="connsiteY39" fmla="*/ 3897207 h 4071735"/>
              <a:gd name="connsiteX40" fmla="*/ 3117819 w 11856555"/>
              <a:gd name="connsiteY40" fmla="*/ 3890275 h 4071735"/>
              <a:gd name="connsiteX41" fmla="*/ 3118704 w 11856555"/>
              <a:gd name="connsiteY41" fmla="*/ 3894956 h 4071735"/>
              <a:gd name="connsiteX42" fmla="*/ 3117124 w 11856555"/>
              <a:gd name="connsiteY42" fmla="*/ 3890740 h 4071735"/>
              <a:gd name="connsiteX43" fmla="*/ 897285 w 11856555"/>
              <a:gd name="connsiteY43" fmla="*/ 3885652 h 4071735"/>
              <a:gd name="connsiteX44" fmla="*/ 887491 w 11856555"/>
              <a:gd name="connsiteY44" fmla="*/ 3894920 h 4071735"/>
              <a:gd name="connsiteX45" fmla="*/ 903833 w 11856555"/>
              <a:gd name="connsiteY45" fmla="*/ 3887624 h 4071735"/>
              <a:gd name="connsiteX46" fmla="*/ 897285 w 11856555"/>
              <a:gd name="connsiteY46" fmla="*/ 3885652 h 4071735"/>
              <a:gd name="connsiteX47" fmla="*/ 1666423 w 11856555"/>
              <a:gd name="connsiteY47" fmla="*/ 3876074 h 4071735"/>
              <a:gd name="connsiteX48" fmla="*/ 1665071 w 11856555"/>
              <a:gd name="connsiteY48" fmla="*/ 3883675 h 4071735"/>
              <a:gd name="connsiteX49" fmla="*/ 1655035 w 11856555"/>
              <a:gd name="connsiteY49" fmla="*/ 3884934 h 4071735"/>
              <a:gd name="connsiteX50" fmla="*/ 1657601 w 11856555"/>
              <a:gd name="connsiteY50" fmla="*/ 3878726 h 4071735"/>
              <a:gd name="connsiteX51" fmla="*/ 3114632 w 11856555"/>
              <a:gd name="connsiteY51" fmla="*/ 3870569 h 4071735"/>
              <a:gd name="connsiteX52" fmla="*/ 3114736 w 11856555"/>
              <a:gd name="connsiteY52" fmla="*/ 3871735 h 4071735"/>
              <a:gd name="connsiteX53" fmla="*/ 3113326 w 11856555"/>
              <a:gd name="connsiteY53" fmla="*/ 3871804 h 4071735"/>
              <a:gd name="connsiteX54" fmla="*/ 1184558 w 11856555"/>
              <a:gd name="connsiteY54" fmla="*/ 3857133 h 4071735"/>
              <a:gd name="connsiteX55" fmla="*/ 1175701 w 11856555"/>
              <a:gd name="connsiteY55" fmla="*/ 3866318 h 4071735"/>
              <a:gd name="connsiteX56" fmla="*/ 1195790 w 11856555"/>
              <a:gd name="connsiteY56" fmla="*/ 3858686 h 4071735"/>
              <a:gd name="connsiteX57" fmla="*/ 1184558 w 11856555"/>
              <a:gd name="connsiteY57" fmla="*/ 3857133 h 4071735"/>
              <a:gd name="connsiteX58" fmla="*/ 3890607 w 11856555"/>
              <a:gd name="connsiteY58" fmla="*/ 3847740 h 4071735"/>
              <a:gd name="connsiteX59" fmla="*/ 3892951 w 11856555"/>
              <a:gd name="connsiteY59" fmla="*/ 3849059 h 4071735"/>
              <a:gd name="connsiteX60" fmla="*/ 3880870 w 11856555"/>
              <a:gd name="connsiteY60" fmla="*/ 3861818 h 4071735"/>
              <a:gd name="connsiteX61" fmla="*/ 3885723 w 11856555"/>
              <a:gd name="connsiteY61" fmla="*/ 3850068 h 4071735"/>
              <a:gd name="connsiteX62" fmla="*/ 3886773 w 11856555"/>
              <a:gd name="connsiteY62" fmla="*/ 3848938 h 4071735"/>
              <a:gd name="connsiteX63" fmla="*/ 1249142 w 11856555"/>
              <a:gd name="connsiteY63" fmla="*/ 3834356 h 4071735"/>
              <a:gd name="connsiteX64" fmla="*/ 1242781 w 11856555"/>
              <a:gd name="connsiteY64" fmla="*/ 3835151 h 4071735"/>
              <a:gd name="connsiteX65" fmla="*/ 1229829 w 11856555"/>
              <a:gd name="connsiteY65" fmla="*/ 3838129 h 4071735"/>
              <a:gd name="connsiteX66" fmla="*/ 1256312 w 11856555"/>
              <a:gd name="connsiteY66" fmla="*/ 3838691 h 4071735"/>
              <a:gd name="connsiteX67" fmla="*/ 1249142 w 11856555"/>
              <a:gd name="connsiteY67" fmla="*/ 3834356 h 4071735"/>
              <a:gd name="connsiteX68" fmla="*/ 3410394 w 11856555"/>
              <a:gd name="connsiteY68" fmla="*/ 3834015 h 4071735"/>
              <a:gd name="connsiteX69" fmla="*/ 3401536 w 11856555"/>
              <a:gd name="connsiteY69" fmla="*/ 3843201 h 4071735"/>
              <a:gd name="connsiteX70" fmla="*/ 3421625 w 11856555"/>
              <a:gd name="connsiteY70" fmla="*/ 3835571 h 4071735"/>
              <a:gd name="connsiteX71" fmla="*/ 3410394 w 11856555"/>
              <a:gd name="connsiteY71" fmla="*/ 3834015 h 4071735"/>
              <a:gd name="connsiteX72" fmla="*/ 1347352 w 11856555"/>
              <a:gd name="connsiteY72" fmla="*/ 3818970 h 4071735"/>
              <a:gd name="connsiteX73" fmla="*/ 1358563 w 11856555"/>
              <a:gd name="connsiteY73" fmla="*/ 3820818 h 4071735"/>
              <a:gd name="connsiteX74" fmla="*/ 1336343 w 11856555"/>
              <a:gd name="connsiteY74" fmla="*/ 3825718 h 4071735"/>
              <a:gd name="connsiteX75" fmla="*/ 1345038 w 11856555"/>
              <a:gd name="connsiteY75" fmla="*/ 3820209 h 4071735"/>
              <a:gd name="connsiteX76" fmla="*/ 3474974 w 11856555"/>
              <a:gd name="connsiteY76" fmla="*/ 3811240 h 4071735"/>
              <a:gd name="connsiteX77" fmla="*/ 3468618 w 11856555"/>
              <a:gd name="connsiteY77" fmla="*/ 3812035 h 4071735"/>
              <a:gd name="connsiteX78" fmla="*/ 3455667 w 11856555"/>
              <a:gd name="connsiteY78" fmla="*/ 3815013 h 4071735"/>
              <a:gd name="connsiteX79" fmla="*/ 3482146 w 11856555"/>
              <a:gd name="connsiteY79" fmla="*/ 3815575 h 4071735"/>
              <a:gd name="connsiteX80" fmla="*/ 3474974 w 11856555"/>
              <a:gd name="connsiteY80" fmla="*/ 3811240 h 4071735"/>
              <a:gd name="connsiteX81" fmla="*/ 1400362 w 11856555"/>
              <a:gd name="connsiteY81" fmla="*/ 3799089 h 4071735"/>
              <a:gd name="connsiteX82" fmla="*/ 1400988 w 11856555"/>
              <a:gd name="connsiteY82" fmla="*/ 3799400 h 4071735"/>
              <a:gd name="connsiteX83" fmla="*/ 1400096 w 11856555"/>
              <a:gd name="connsiteY83" fmla="*/ 3799594 h 4071735"/>
              <a:gd name="connsiteX84" fmla="*/ 3572901 w 11856555"/>
              <a:gd name="connsiteY84" fmla="*/ 3795806 h 4071735"/>
              <a:gd name="connsiteX85" fmla="*/ 3584396 w 11856555"/>
              <a:gd name="connsiteY85" fmla="*/ 3797702 h 4071735"/>
              <a:gd name="connsiteX86" fmla="*/ 3562180 w 11856555"/>
              <a:gd name="connsiteY86" fmla="*/ 3802601 h 4071735"/>
              <a:gd name="connsiteX87" fmla="*/ 3572901 w 11856555"/>
              <a:gd name="connsiteY87" fmla="*/ 3795806 h 4071735"/>
              <a:gd name="connsiteX88" fmla="*/ 3629765 w 11856555"/>
              <a:gd name="connsiteY88" fmla="*/ 3769203 h 4071735"/>
              <a:gd name="connsiteX89" fmla="*/ 3637977 w 11856555"/>
              <a:gd name="connsiteY89" fmla="*/ 3772819 h 4071735"/>
              <a:gd name="connsiteX90" fmla="*/ 3637276 w 11856555"/>
              <a:gd name="connsiteY90" fmla="*/ 3774006 h 4071735"/>
              <a:gd name="connsiteX91" fmla="*/ 3625930 w 11856555"/>
              <a:gd name="connsiteY91" fmla="*/ 3776478 h 4071735"/>
              <a:gd name="connsiteX92" fmla="*/ 1746374 w 11856555"/>
              <a:gd name="connsiteY92" fmla="*/ 3765817 h 4071735"/>
              <a:gd name="connsiteX93" fmla="*/ 1730291 w 11856555"/>
              <a:gd name="connsiteY93" fmla="*/ 3776011 h 4071735"/>
              <a:gd name="connsiteX94" fmla="*/ 1746374 w 11856555"/>
              <a:gd name="connsiteY94" fmla="*/ 3765817 h 4071735"/>
              <a:gd name="connsiteX95" fmla="*/ 1545496 w 11856555"/>
              <a:gd name="connsiteY95" fmla="*/ 3757433 h 4071735"/>
              <a:gd name="connsiteX96" fmla="*/ 1535363 w 11856555"/>
              <a:gd name="connsiteY96" fmla="*/ 3757606 h 4071735"/>
              <a:gd name="connsiteX97" fmla="*/ 1527022 w 11856555"/>
              <a:gd name="connsiteY97" fmla="*/ 3761998 h 4071735"/>
              <a:gd name="connsiteX98" fmla="*/ 1545496 w 11856555"/>
              <a:gd name="connsiteY98" fmla="*/ 3757433 h 4071735"/>
              <a:gd name="connsiteX99" fmla="*/ 1824630 w 11856555"/>
              <a:gd name="connsiteY99" fmla="*/ 3743511 h 4071735"/>
              <a:gd name="connsiteX100" fmla="*/ 1820787 w 11856555"/>
              <a:gd name="connsiteY100" fmla="*/ 3753345 h 4071735"/>
              <a:gd name="connsiteX101" fmla="*/ 1835255 w 11856555"/>
              <a:gd name="connsiteY101" fmla="*/ 3746214 h 4071735"/>
              <a:gd name="connsiteX102" fmla="*/ 1824630 w 11856555"/>
              <a:gd name="connsiteY102" fmla="*/ 3743511 h 4071735"/>
              <a:gd name="connsiteX103" fmla="*/ 3972211 w 11856555"/>
              <a:gd name="connsiteY103" fmla="*/ 3742700 h 4071735"/>
              <a:gd name="connsiteX104" fmla="*/ 3956125 w 11856555"/>
              <a:gd name="connsiteY104" fmla="*/ 3752894 h 4071735"/>
              <a:gd name="connsiteX105" fmla="*/ 3972211 w 11856555"/>
              <a:gd name="connsiteY105" fmla="*/ 3742700 h 4071735"/>
              <a:gd name="connsiteX106" fmla="*/ 3771332 w 11856555"/>
              <a:gd name="connsiteY106" fmla="*/ 3734315 h 4071735"/>
              <a:gd name="connsiteX107" fmla="*/ 3761200 w 11856555"/>
              <a:gd name="connsiteY107" fmla="*/ 3734489 h 4071735"/>
              <a:gd name="connsiteX108" fmla="*/ 3752858 w 11856555"/>
              <a:gd name="connsiteY108" fmla="*/ 3738882 h 4071735"/>
              <a:gd name="connsiteX109" fmla="*/ 3771332 w 11856555"/>
              <a:gd name="connsiteY109" fmla="*/ 3734315 h 4071735"/>
              <a:gd name="connsiteX110" fmla="*/ 1628439 w 11856555"/>
              <a:gd name="connsiteY110" fmla="*/ 3732154 h 4071735"/>
              <a:gd name="connsiteX111" fmla="*/ 1616159 w 11856555"/>
              <a:gd name="connsiteY111" fmla="*/ 3745295 h 4071735"/>
              <a:gd name="connsiteX112" fmla="*/ 1649102 w 11856555"/>
              <a:gd name="connsiteY112" fmla="*/ 3733598 h 4071735"/>
              <a:gd name="connsiteX113" fmla="*/ 1628439 w 11856555"/>
              <a:gd name="connsiteY113" fmla="*/ 3732154 h 4071735"/>
              <a:gd name="connsiteX114" fmla="*/ 4849395 w 11856555"/>
              <a:gd name="connsiteY114" fmla="*/ 3732081 h 4071735"/>
              <a:gd name="connsiteX115" fmla="*/ 4852454 w 11856555"/>
              <a:gd name="connsiteY115" fmla="*/ 3739737 h 4071735"/>
              <a:gd name="connsiteX116" fmla="*/ 4838707 w 11856555"/>
              <a:gd name="connsiteY116" fmla="*/ 3741418 h 4071735"/>
              <a:gd name="connsiteX117" fmla="*/ 4050463 w 11856555"/>
              <a:gd name="connsiteY117" fmla="*/ 3720395 h 4071735"/>
              <a:gd name="connsiteX118" fmla="*/ 4046620 w 11856555"/>
              <a:gd name="connsiteY118" fmla="*/ 3730229 h 4071735"/>
              <a:gd name="connsiteX119" fmla="*/ 4061086 w 11856555"/>
              <a:gd name="connsiteY119" fmla="*/ 3723098 h 4071735"/>
              <a:gd name="connsiteX120" fmla="*/ 4050463 w 11856555"/>
              <a:gd name="connsiteY120" fmla="*/ 3720395 h 4071735"/>
              <a:gd name="connsiteX121" fmla="*/ 1129668 w 11856555"/>
              <a:gd name="connsiteY121" fmla="*/ 3716227 h 4071735"/>
              <a:gd name="connsiteX122" fmla="*/ 1123947 w 11856555"/>
              <a:gd name="connsiteY122" fmla="*/ 3717239 h 4071735"/>
              <a:gd name="connsiteX123" fmla="*/ 1112473 w 11856555"/>
              <a:gd name="connsiteY123" fmla="*/ 3728848 h 4071735"/>
              <a:gd name="connsiteX124" fmla="*/ 1132562 w 11856555"/>
              <a:gd name="connsiteY124" fmla="*/ 3721217 h 4071735"/>
              <a:gd name="connsiteX125" fmla="*/ 1129668 w 11856555"/>
              <a:gd name="connsiteY125" fmla="*/ 3716227 h 4071735"/>
              <a:gd name="connsiteX126" fmla="*/ 3854276 w 11856555"/>
              <a:gd name="connsiteY126" fmla="*/ 3709037 h 4071735"/>
              <a:gd name="connsiteX127" fmla="*/ 3841994 w 11856555"/>
              <a:gd name="connsiteY127" fmla="*/ 3722179 h 4071735"/>
              <a:gd name="connsiteX128" fmla="*/ 3874934 w 11856555"/>
              <a:gd name="connsiteY128" fmla="*/ 3710481 h 4071735"/>
              <a:gd name="connsiteX129" fmla="*/ 3854276 w 11856555"/>
              <a:gd name="connsiteY129" fmla="*/ 3709037 h 4071735"/>
              <a:gd name="connsiteX130" fmla="*/ 1946545 w 11856555"/>
              <a:gd name="connsiteY130" fmla="*/ 3702667 h 4071735"/>
              <a:gd name="connsiteX131" fmla="*/ 1964312 w 11856555"/>
              <a:gd name="connsiteY131" fmla="*/ 3711350 h 4071735"/>
              <a:gd name="connsiteX132" fmla="*/ 1946545 w 11856555"/>
              <a:gd name="connsiteY132" fmla="*/ 3702667 h 4071735"/>
              <a:gd name="connsiteX133" fmla="*/ 1915785 w 11856555"/>
              <a:gd name="connsiteY133" fmla="*/ 3702521 h 4071735"/>
              <a:gd name="connsiteX134" fmla="*/ 1901722 w 11856555"/>
              <a:gd name="connsiteY134" fmla="*/ 3708166 h 4071735"/>
              <a:gd name="connsiteX135" fmla="*/ 1907210 w 11856555"/>
              <a:gd name="connsiteY135" fmla="*/ 3748564 h 4071735"/>
              <a:gd name="connsiteX136" fmla="*/ 1915785 w 11856555"/>
              <a:gd name="connsiteY136" fmla="*/ 3702521 h 4071735"/>
              <a:gd name="connsiteX137" fmla="*/ 4878961 w 11856555"/>
              <a:gd name="connsiteY137" fmla="*/ 3700890 h 4071735"/>
              <a:gd name="connsiteX138" fmla="*/ 4886958 w 11856555"/>
              <a:gd name="connsiteY138" fmla="*/ 3710834 h 4071735"/>
              <a:gd name="connsiteX139" fmla="*/ 4882564 w 11856555"/>
              <a:gd name="connsiteY139" fmla="*/ 3709171 h 4071735"/>
              <a:gd name="connsiteX140" fmla="*/ 4877923 w 11856555"/>
              <a:gd name="connsiteY140" fmla="*/ 3702203 h 4071735"/>
              <a:gd name="connsiteX141" fmla="*/ 4827601 w 11856555"/>
              <a:gd name="connsiteY141" fmla="*/ 3697232 h 4071735"/>
              <a:gd name="connsiteX142" fmla="*/ 4834750 w 11856555"/>
              <a:gd name="connsiteY142" fmla="*/ 3703838 h 4071735"/>
              <a:gd name="connsiteX143" fmla="*/ 4835147 w 11856555"/>
              <a:gd name="connsiteY143" fmla="*/ 3704416 h 4071735"/>
              <a:gd name="connsiteX144" fmla="*/ 4824886 w 11856555"/>
              <a:gd name="connsiteY144" fmla="*/ 3713446 h 4071735"/>
              <a:gd name="connsiteX145" fmla="*/ 4827601 w 11856555"/>
              <a:gd name="connsiteY145" fmla="*/ 3697232 h 4071735"/>
              <a:gd name="connsiteX146" fmla="*/ 5741751 w 11856555"/>
              <a:gd name="connsiteY146" fmla="*/ 3696984 h 4071735"/>
              <a:gd name="connsiteX147" fmla="*/ 5736954 w 11856555"/>
              <a:gd name="connsiteY147" fmla="*/ 3704452 h 4071735"/>
              <a:gd name="connsiteX148" fmla="*/ 5722712 w 11856555"/>
              <a:gd name="connsiteY148" fmla="*/ 3703530 h 4071735"/>
              <a:gd name="connsiteX149" fmla="*/ 5723190 w 11856555"/>
              <a:gd name="connsiteY149" fmla="*/ 3702943 h 4071735"/>
              <a:gd name="connsiteX150" fmla="*/ 3355504 w 11856555"/>
              <a:gd name="connsiteY150" fmla="*/ 3693111 h 4071735"/>
              <a:gd name="connsiteX151" fmla="*/ 3349784 w 11856555"/>
              <a:gd name="connsiteY151" fmla="*/ 3694123 h 4071735"/>
              <a:gd name="connsiteX152" fmla="*/ 3338306 w 11856555"/>
              <a:gd name="connsiteY152" fmla="*/ 3705732 h 4071735"/>
              <a:gd name="connsiteX153" fmla="*/ 3358395 w 11856555"/>
              <a:gd name="connsiteY153" fmla="*/ 3698101 h 4071735"/>
              <a:gd name="connsiteX154" fmla="*/ 3355504 w 11856555"/>
              <a:gd name="connsiteY154" fmla="*/ 3693111 h 4071735"/>
              <a:gd name="connsiteX155" fmla="*/ 4172379 w 11856555"/>
              <a:gd name="connsiteY155" fmla="*/ 3679550 h 4071735"/>
              <a:gd name="connsiteX156" fmla="*/ 4190145 w 11856555"/>
              <a:gd name="connsiteY156" fmla="*/ 3688233 h 4071735"/>
              <a:gd name="connsiteX157" fmla="*/ 4172379 w 11856555"/>
              <a:gd name="connsiteY157" fmla="*/ 3679550 h 4071735"/>
              <a:gd name="connsiteX158" fmla="*/ 4141618 w 11856555"/>
              <a:gd name="connsiteY158" fmla="*/ 3679404 h 4071735"/>
              <a:gd name="connsiteX159" fmla="*/ 4127557 w 11856555"/>
              <a:gd name="connsiteY159" fmla="*/ 3685050 h 4071735"/>
              <a:gd name="connsiteX160" fmla="*/ 4133042 w 11856555"/>
              <a:gd name="connsiteY160" fmla="*/ 3725447 h 4071735"/>
              <a:gd name="connsiteX161" fmla="*/ 4141618 w 11856555"/>
              <a:gd name="connsiteY161" fmla="*/ 3679404 h 4071735"/>
              <a:gd name="connsiteX162" fmla="*/ 5178225 w 11856555"/>
              <a:gd name="connsiteY162" fmla="*/ 3679306 h 4071735"/>
              <a:gd name="connsiteX163" fmla="*/ 5181305 w 11856555"/>
              <a:gd name="connsiteY163" fmla="*/ 3687525 h 4071735"/>
              <a:gd name="connsiteX164" fmla="*/ 5178651 w 11856555"/>
              <a:gd name="connsiteY164" fmla="*/ 3681556 h 4071735"/>
              <a:gd name="connsiteX165" fmla="*/ 5177337 w 11856555"/>
              <a:gd name="connsiteY165" fmla="*/ 3674625 h 4071735"/>
              <a:gd name="connsiteX166" fmla="*/ 5178225 w 11856555"/>
              <a:gd name="connsiteY166" fmla="*/ 3679306 h 4071735"/>
              <a:gd name="connsiteX167" fmla="*/ 5176644 w 11856555"/>
              <a:gd name="connsiteY167" fmla="*/ 3675089 h 4071735"/>
              <a:gd name="connsiteX168" fmla="*/ 2033654 w 11856555"/>
              <a:gd name="connsiteY168" fmla="*/ 3673776 h 4071735"/>
              <a:gd name="connsiteX169" fmla="*/ 2025932 w 11856555"/>
              <a:gd name="connsiteY169" fmla="*/ 3682495 h 4071735"/>
              <a:gd name="connsiteX170" fmla="*/ 2042535 w 11856555"/>
              <a:gd name="connsiteY170" fmla="*/ 3678095 h 4071735"/>
              <a:gd name="connsiteX171" fmla="*/ 2033654 w 11856555"/>
              <a:gd name="connsiteY171" fmla="*/ 3673776 h 4071735"/>
              <a:gd name="connsiteX172" fmla="*/ 5174278 w 11856555"/>
              <a:gd name="connsiteY172" fmla="*/ 3656334 h 4071735"/>
              <a:gd name="connsiteX173" fmla="*/ 5174520 w 11856555"/>
              <a:gd name="connsiteY173" fmla="*/ 3659056 h 4071735"/>
              <a:gd name="connsiteX174" fmla="*/ 5171232 w 11856555"/>
              <a:gd name="connsiteY174" fmla="*/ 3659217 h 4071735"/>
              <a:gd name="connsiteX175" fmla="*/ 4259486 w 11856555"/>
              <a:gd name="connsiteY175" fmla="*/ 3650660 h 4071735"/>
              <a:gd name="connsiteX176" fmla="*/ 4251766 w 11856555"/>
              <a:gd name="connsiteY176" fmla="*/ 3659379 h 4071735"/>
              <a:gd name="connsiteX177" fmla="*/ 4268366 w 11856555"/>
              <a:gd name="connsiteY177" fmla="*/ 3654979 h 4071735"/>
              <a:gd name="connsiteX178" fmla="*/ 4259486 w 11856555"/>
              <a:gd name="connsiteY178" fmla="*/ 3650660 h 4071735"/>
              <a:gd name="connsiteX179" fmla="*/ 2141952 w 11856555"/>
              <a:gd name="connsiteY179" fmla="*/ 3650618 h 4071735"/>
              <a:gd name="connsiteX180" fmla="*/ 2134748 w 11856555"/>
              <a:gd name="connsiteY180" fmla="*/ 3650895 h 4071735"/>
              <a:gd name="connsiteX181" fmla="*/ 2120431 w 11856555"/>
              <a:gd name="connsiteY181" fmla="*/ 3662393 h 4071735"/>
              <a:gd name="connsiteX182" fmla="*/ 2146399 w 11856555"/>
              <a:gd name="connsiteY182" fmla="*/ 3657157 h 4071735"/>
              <a:gd name="connsiteX183" fmla="*/ 2141952 w 11856555"/>
              <a:gd name="connsiteY183" fmla="*/ 3650618 h 4071735"/>
              <a:gd name="connsiteX184" fmla="*/ 5946724 w 11856555"/>
              <a:gd name="connsiteY184" fmla="*/ 3634150 h 4071735"/>
              <a:gd name="connsiteX185" fmla="*/ 5950854 w 11856555"/>
              <a:gd name="connsiteY185" fmla="*/ 3636473 h 4071735"/>
              <a:gd name="connsiteX186" fmla="*/ 5938776 w 11856555"/>
              <a:gd name="connsiteY186" fmla="*/ 3649232 h 4071735"/>
              <a:gd name="connsiteX187" fmla="*/ 5946724 w 11856555"/>
              <a:gd name="connsiteY187" fmla="*/ 3634150 h 4071735"/>
              <a:gd name="connsiteX188" fmla="*/ 4367785 w 11856555"/>
              <a:gd name="connsiteY188" fmla="*/ 3627502 h 4071735"/>
              <a:gd name="connsiteX189" fmla="*/ 4360584 w 11856555"/>
              <a:gd name="connsiteY189" fmla="*/ 3627779 h 4071735"/>
              <a:gd name="connsiteX190" fmla="*/ 4346266 w 11856555"/>
              <a:gd name="connsiteY190" fmla="*/ 3639277 h 4071735"/>
              <a:gd name="connsiteX191" fmla="*/ 4372230 w 11856555"/>
              <a:gd name="connsiteY191" fmla="*/ 3634042 h 4071735"/>
              <a:gd name="connsiteX192" fmla="*/ 4367785 w 11856555"/>
              <a:gd name="connsiteY192" fmla="*/ 3627502 h 4071735"/>
              <a:gd name="connsiteX193" fmla="*/ 5468299 w 11856555"/>
              <a:gd name="connsiteY193" fmla="*/ 3621429 h 4071735"/>
              <a:gd name="connsiteX194" fmla="*/ 5459440 w 11856555"/>
              <a:gd name="connsiteY194" fmla="*/ 3630615 h 4071735"/>
              <a:gd name="connsiteX195" fmla="*/ 5479529 w 11856555"/>
              <a:gd name="connsiteY195" fmla="*/ 3622984 h 4071735"/>
              <a:gd name="connsiteX196" fmla="*/ 5468299 w 11856555"/>
              <a:gd name="connsiteY196" fmla="*/ 3621429 h 4071735"/>
              <a:gd name="connsiteX197" fmla="*/ 1112661 w 11856555"/>
              <a:gd name="connsiteY197" fmla="*/ 3617494 h 4071735"/>
              <a:gd name="connsiteX198" fmla="*/ 1113667 w 11856555"/>
              <a:gd name="connsiteY198" fmla="*/ 3617764 h 4071735"/>
              <a:gd name="connsiteX199" fmla="*/ 1113794 w 11856555"/>
              <a:gd name="connsiteY199" fmla="*/ 3617925 h 4071735"/>
              <a:gd name="connsiteX200" fmla="*/ 1112027 w 11856555"/>
              <a:gd name="connsiteY200" fmla="*/ 3617909 h 4071735"/>
              <a:gd name="connsiteX201" fmla="*/ 5532881 w 11856555"/>
              <a:gd name="connsiteY201" fmla="*/ 3598654 h 4071735"/>
              <a:gd name="connsiteX202" fmla="*/ 5526521 w 11856555"/>
              <a:gd name="connsiteY202" fmla="*/ 3599448 h 4071735"/>
              <a:gd name="connsiteX203" fmla="*/ 5513573 w 11856555"/>
              <a:gd name="connsiteY203" fmla="*/ 3602426 h 4071735"/>
              <a:gd name="connsiteX204" fmla="*/ 5540051 w 11856555"/>
              <a:gd name="connsiteY204" fmla="*/ 3602988 h 4071735"/>
              <a:gd name="connsiteX205" fmla="*/ 5532881 w 11856555"/>
              <a:gd name="connsiteY205" fmla="*/ 3598654 h 4071735"/>
              <a:gd name="connsiteX206" fmla="*/ 3338496 w 11856555"/>
              <a:gd name="connsiteY206" fmla="*/ 3594377 h 4071735"/>
              <a:gd name="connsiteX207" fmla="*/ 3339504 w 11856555"/>
              <a:gd name="connsiteY207" fmla="*/ 3594647 h 4071735"/>
              <a:gd name="connsiteX208" fmla="*/ 3339632 w 11856555"/>
              <a:gd name="connsiteY208" fmla="*/ 3594809 h 4071735"/>
              <a:gd name="connsiteX209" fmla="*/ 3337864 w 11856555"/>
              <a:gd name="connsiteY209" fmla="*/ 3594793 h 4071735"/>
              <a:gd name="connsiteX210" fmla="*/ 1022506 w 11856555"/>
              <a:gd name="connsiteY210" fmla="*/ 3587921 h 4071735"/>
              <a:gd name="connsiteX211" fmla="*/ 1011448 w 11856555"/>
              <a:gd name="connsiteY211" fmla="*/ 3607165 h 4071735"/>
              <a:gd name="connsiteX212" fmla="*/ 1011921 w 11856555"/>
              <a:gd name="connsiteY212" fmla="*/ 3604196 h 4071735"/>
              <a:gd name="connsiteX213" fmla="*/ 1022506 w 11856555"/>
              <a:gd name="connsiteY213" fmla="*/ 3587921 h 4071735"/>
              <a:gd name="connsiteX214" fmla="*/ 2318945 w 11856555"/>
              <a:gd name="connsiteY214" fmla="*/ 3585928 h 4071735"/>
              <a:gd name="connsiteX215" fmla="*/ 2311952 w 11856555"/>
              <a:gd name="connsiteY215" fmla="*/ 3586916 h 4071735"/>
              <a:gd name="connsiteX216" fmla="*/ 2323707 w 11856555"/>
              <a:gd name="connsiteY216" fmla="*/ 3591709 h 4071735"/>
              <a:gd name="connsiteX217" fmla="*/ 2318945 w 11856555"/>
              <a:gd name="connsiteY217" fmla="*/ 3585928 h 4071735"/>
              <a:gd name="connsiteX218" fmla="*/ 1074954 w 11856555"/>
              <a:gd name="connsiteY218" fmla="*/ 3583247 h 4071735"/>
              <a:gd name="connsiteX219" fmla="*/ 1064748 w 11856555"/>
              <a:gd name="connsiteY219" fmla="*/ 3595838 h 4071735"/>
              <a:gd name="connsiteX220" fmla="*/ 1074954 w 11856555"/>
              <a:gd name="connsiteY220" fmla="*/ 3583247 h 4071735"/>
              <a:gd name="connsiteX221" fmla="*/ 5630805 w 11856555"/>
              <a:gd name="connsiteY221" fmla="*/ 3583219 h 4071735"/>
              <a:gd name="connsiteX222" fmla="*/ 5642302 w 11856555"/>
              <a:gd name="connsiteY222" fmla="*/ 3585115 h 4071735"/>
              <a:gd name="connsiteX223" fmla="*/ 5620083 w 11856555"/>
              <a:gd name="connsiteY223" fmla="*/ 3590017 h 4071735"/>
              <a:gd name="connsiteX224" fmla="*/ 5630805 w 11856555"/>
              <a:gd name="connsiteY224" fmla="*/ 3583219 h 4071735"/>
              <a:gd name="connsiteX225" fmla="*/ 1095558 w 11856555"/>
              <a:gd name="connsiteY225" fmla="*/ 3581410 h 4071735"/>
              <a:gd name="connsiteX226" fmla="*/ 1095558 w 11856555"/>
              <a:gd name="connsiteY226" fmla="*/ 3581410 h 4071735"/>
              <a:gd name="connsiteX227" fmla="*/ 1193301 w 11856555"/>
              <a:gd name="connsiteY227" fmla="*/ 3578982 h 4071735"/>
              <a:gd name="connsiteX228" fmla="*/ 1176913 w 11856555"/>
              <a:gd name="connsiteY228" fmla="*/ 3583288 h 4071735"/>
              <a:gd name="connsiteX229" fmla="*/ 1135775 w 11856555"/>
              <a:gd name="connsiteY229" fmla="*/ 3602332 h 4071735"/>
              <a:gd name="connsiteX230" fmla="*/ 1112661 w 11856555"/>
              <a:gd name="connsiteY230" fmla="*/ 3617494 h 4071735"/>
              <a:gd name="connsiteX231" fmla="*/ 1095988 w 11856555"/>
              <a:gd name="connsiteY231" fmla="*/ 3613043 h 4071735"/>
              <a:gd name="connsiteX232" fmla="*/ 1100464 w 11856555"/>
              <a:gd name="connsiteY232" fmla="*/ 3636463 h 4071735"/>
              <a:gd name="connsiteX233" fmla="*/ 1124744 w 11856555"/>
              <a:gd name="connsiteY233" fmla="*/ 3631835 h 4071735"/>
              <a:gd name="connsiteX234" fmla="*/ 1113794 w 11856555"/>
              <a:gd name="connsiteY234" fmla="*/ 3617925 h 4071735"/>
              <a:gd name="connsiteX235" fmla="*/ 1125491 w 11856555"/>
              <a:gd name="connsiteY235" fmla="*/ 3618033 h 4071735"/>
              <a:gd name="connsiteX236" fmla="*/ 1174359 w 11856555"/>
              <a:gd name="connsiteY236" fmla="*/ 3618197 h 4071735"/>
              <a:gd name="connsiteX237" fmla="*/ 1193301 w 11856555"/>
              <a:gd name="connsiteY237" fmla="*/ 3578982 h 4071735"/>
              <a:gd name="connsiteX238" fmla="*/ 4544778 w 11856555"/>
              <a:gd name="connsiteY238" fmla="*/ 3562811 h 4071735"/>
              <a:gd name="connsiteX239" fmla="*/ 4537784 w 11856555"/>
              <a:gd name="connsiteY239" fmla="*/ 3563800 h 4071735"/>
              <a:gd name="connsiteX240" fmla="*/ 4549542 w 11856555"/>
              <a:gd name="connsiteY240" fmla="*/ 3568592 h 4071735"/>
              <a:gd name="connsiteX241" fmla="*/ 4544778 w 11856555"/>
              <a:gd name="connsiteY241" fmla="*/ 3562811 h 4071735"/>
              <a:gd name="connsiteX242" fmla="*/ 3300789 w 11856555"/>
              <a:gd name="connsiteY242" fmla="*/ 3560131 h 4071735"/>
              <a:gd name="connsiteX243" fmla="*/ 3290581 w 11856555"/>
              <a:gd name="connsiteY243" fmla="*/ 3572722 h 4071735"/>
              <a:gd name="connsiteX244" fmla="*/ 3300789 w 11856555"/>
              <a:gd name="connsiteY244" fmla="*/ 3560131 h 4071735"/>
              <a:gd name="connsiteX245" fmla="*/ 3251569 w 11856555"/>
              <a:gd name="connsiteY245" fmla="*/ 3558675 h 4071735"/>
              <a:gd name="connsiteX246" fmla="*/ 3240514 w 11856555"/>
              <a:gd name="connsiteY246" fmla="*/ 3577921 h 4071735"/>
              <a:gd name="connsiteX247" fmla="*/ 3240985 w 11856555"/>
              <a:gd name="connsiteY247" fmla="*/ 3574952 h 4071735"/>
              <a:gd name="connsiteX248" fmla="*/ 3251569 w 11856555"/>
              <a:gd name="connsiteY248" fmla="*/ 3558675 h 4071735"/>
              <a:gd name="connsiteX249" fmla="*/ 3321395 w 11856555"/>
              <a:gd name="connsiteY249" fmla="*/ 3558295 h 4071735"/>
              <a:gd name="connsiteX250" fmla="*/ 3321395 w 11856555"/>
              <a:gd name="connsiteY250" fmla="*/ 3558295 h 4071735"/>
              <a:gd name="connsiteX251" fmla="*/ 3419133 w 11856555"/>
              <a:gd name="connsiteY251" fmla="*/ 3555865 h 4071735"/>
              <a:gd name="connsiteX252" fmla="*/ 3402745 w 11856555"/>
              <a:gd name="connsiteY252" fmla="*/ 3560171 h 4071735"/>
              <a:gd name="connsiteX253" fmla="*/ 3361607 w 11856555"/>
              <a:gd name="connsiteY253" fmla="*/ 3579216 h 4071735"/>
              <a:gd name="connsiteX254" fmla="*/ 3338496 w 11856555"/>
              <a:gd name="connsiteY254" fmla="*/ 3594377 h 4071735"/>
              <a:gd name="connsiteX255" fmla="*/ 3321823 w 11856555"/>
              <a:gd name="connsiteY255" fmla="*/ 3589925 h 4071735"/>
              <a:gd name="connsiteX256" fmla="*/ 3326297 w 11856555"/>
              <a:gd name="connsiteY256" fmla="*/ 3613346 h 4071735"/>
              <a:gd name="connsiteX257" fmla="*/ 3350580 w 11856555"/>
              <a:gd name="connsiteY257" fmla="*/ 3608718 h 4071735"/>
              <a:gd name="connsiteX258" fmla="*/ 3339632 w 11856555"/>
              <a:gd name="connsiteY258" fmla="*/ 3594809 h 4071735"/>
              <a:gd name="connsiteX259" fmla="*/ 3351327 w 11856555"/>
              <a:gd name="connsiteY259" fmla="*/ 3594916 h 4071735"/>
              <a:gd name="connsiteX260" fmla="*/ 3400195 w 11856555"/>
              <a:gd name="connsiteY260" fmla="*/ 3595079 h 4071735"/>
              <a:gd name="connsiteX261" fmla="*/ 3419133 w 11856555"/>
              <a:gd name="connsiteY261" fmla="*/ 3555865 h 4071735"/>
              <a:gd name="connsiteX262" fmla="*/ 1276224 w 11856555"/>
              <a:gd name="connsiteY262" fmla="*/ 3553630 h 4071735"/>
              <a:gd name="connsiteX263" fmla="*/ 1203879 w 11856555"/>
              <a:gd name="connsiteY263" fmla="*/ 3589282 h 4071735"/>
              <a:gd name="connsiteX264" fmla="*/ 1277191 w 11856555"/>
              <a:gd name="connsiteY264" fmla="*/ 3585668 h 4071735"/>
              <a:gd name="connsiteX265" fmla="*/ 1243217 w 11856555"/>
              <a:gd name="connsiteY265" fmla="*/ 3585776 h 4071735"/>
              <a:gd name="connsiteX266" fmla="*/ 1276224 w 11856555"/>
              <a:gd name="connsiteY266" fmla="*/ 3553630 h 4071735"/>
              <a:gd name="connsiteX267" fmla="*/ 5689286 w 11856555"/>
              <a:gd name="connsiteY267" fmla="*/ 3553553 h 4071735"/>
              <a:gd name="connsiteX268" fmla="*/ 5697646 w 11856555"/>
              <a:gd name="connsiteY268" fmla="*/ 3557235 h 4071735"/>
              <a:gd name="connsiteX269" fmla="*/ 5695182 w 11856555"/>
              <a:gd name="connsiteY269" fmla="*/ 3561420 h 4071735"/>
              <a:gd name="connsiteX270" fmla="*/ 5683837 w 11856555"/>
              <a:gd name="connsiteY270" fmla="*/ 3563891 h 4071735"/>
              <a:gd name="connsiteX271" fmla="*/ 1311528 w 11856555"/>
              <a:gd name="connsiteY271" fmla="*/ 3543274 h 4071735"/>
              <a:gd name="connsiteX272" fmla="*/ 1301607 w 11856555"/>
              <a:gd name="connsiteY272" fmla="*/ 3563050 h 4071735"/>
              <a:gd name="connsiteX273" fmla="*/ 1311528 w 11856555"/>
              <a:gd name="connsiteY273" fmla="*/ 3543274 h 4071735"/>
              <a:gd name="connsiteX274" fmla="*/ 1348964 w 11856555"/>
              <a:gd name="connsiteY274" fmla="*/ 3540942 h 4071735"/>
              <a:gd name="connsiteX275" fmla="*/ 1339653 w 11856555"/>
              <a:gd name="connsiteY275" fmla="*/ 3545057 h 4071735"/>
              <a:gd name="connsiteX276" fmla="*/ 1360258 w 11856555"/>
              <a:gd name="connsiteY276" fmla="*/ 3543221 h 4071735"/>
              <a:gd name="connsiteX277" fmla="*/ 1348964 w 11856555"/>
              <a:gd name="connsiteY277" fmla="*/ 3540942 h 4071735"/>
              <a:gd name="connsiteX278" fmla="*/ 3502058 w 11856555"/>
              <a:gd name="connsiteY278" fmla="*/ 3530514 h 4071735"/>
              <a:gd name="connsiteX279" fmla="*/ 3429715 w 11856555"/>
              <a:gd name="connsiteY279" fmla="*/ 3566164 h 4071735"/>
              <a:gd name="connsiteX280" fmla="*/ 3503028 w 11856555"/>
              <a:gd name="connsiteY280" fmla="*/ 3562552 h 4071735"/>
              <a:gd name="connsiteX281" fmla="*/ 3469049 w 11856555"/>
              <a:gd name="connsiteY281" fmla="*/ 3562658 h 4071735"/>
              <a:gd name="connsiteX282" fmla="*/ 3502058 w 11856555"/>
              <a:gd name="connsiteY282" fmla="*/ 3530514 h 4071735"/>
              <a:gd name="connsiteX283" fmla="*/ 6030115 w 11856555"/>
              <a:gd name="connsiteY283" fmla="*/ 3530113 h 4071735"/>
              <a:gd name="connsiteX284" fmla="*/ 6014033 w 11856555"/>
              <a:gd name="connsiteY284" fmla="*/ 3540309 h 4071735"/>
              <a:gd name="connsiteX285" fmla="*/ 6030115 w 11856555"/>
              <a:gd name="connsiteY285" fmla="*/ 3530113 h 4071735"/>
              <a:gd name="connsiteX286" fmla="*/ 1385113 w 11856555"/>
              <a:gd name="connsiteY286" fmla="*/ 3523380 h 4071735"/>
              <a:gd name="connsiteX287" fmla="*/ 1373056 w 11856555"/>
              <a:gd name="connsiteY287" fmla="*/ 3524284 h 4071735"/>
              <a:gd name="connsiteX288" fmla="*/ 1402568 w 11856555"/>
              <a:gd name="connsiteY288" fmla="*/ 3530689 h 4071735"/>
              <a:gd name="connsiteX289" fmla="*/ 1385113 w 11856555"/>
              <a:gd name="connsiteY289" fmla="*/ 3523380 h 4071735"/>
              <a:gd name="connsiteX290" fmla="*/ 5829234 w 11856555"/>
              <a:gd name="connsiteY290" fmla="*/ 3521729 h 4071735"/>
              <a:gd name="connsiteX291" fmla="*/ 5819103 w 11856555"/>
              <a:gd name="connsiteY291" fmla="*/ 3521903 h 4071735"/>
              <a:gd name="connsiteX292" fmla="*/ 5810764 w 11856555"/>
              <a:gd name="connsiteY292" fmla="*/ 3526296 h 4071735"/>
              <a:gd name="connsiteX293" fmla="*/ 5829234 w 11856555"/>
              <a:gd name="connsiteY293" fmla="*/ 3521729 h 4071735"/>
              <a:gd name="connsiteX294" fmla="*/ 3537362 w 11856555"/>
              <a:gd name="connsiteY294" fmla="*/ 3520158 h 4071735"/>
              <a:gd name="connsiteX295" fmla="*/ 3527443 w 11856555"/>
              <a:gd name="connsiteY295" fmla="*/ 3539934 h 4071735"/>
              <a:gd name="connsiteX296" fmla="*/ 3537362 w 11856555"/>
              <a:gd name="connsiteY296" fmla="*/ 3520158 h 4071735"/>
              <a:gd name="connsiteX297" fmla="*/ 1276037 w 11856555"/>
              <a:gd name="connsiteY297" fmla="*/ 3519103 h 4071735"/>
              <a:gd name="connsiteX298" fmla="*/ 1269412 w 11856555"/>
              <a:gd name="connsiteY298" fmla="*/ 3519557 h 4071735"/>
              <a:gd name="connsiteX299" fmla="*/ 1254911 w 11856555"/>
              <a:gd name="connsiteY299" fmla="*/ 3526324 h 4071735"/>
              <a:gd name="connsiteX300" fmla="*/ 1279261 w 11856555"/>
              <a:gd name="connsiteY300" fmla="*/ 3524154 h 4071735"/>
              <a:gd name="connsiteX301" fmla="*/ 1276037 w 11856555"/>
              <a:gd name="connsiteY301" fmla="*/ 3519103 h 4071735"/>
              <a:gd name="connsiteX302" fmla="*/ 3574797 w 11856555"/>
              <a:gd name="connsiteY302" fmla="*/ 3517825 h 4071735"/>
              <a:gd name="connsiteX303" fmla="*/ 3565487 w 11856555"/>
              <a:gd name="connsiteY303" fmla="*/ 3521941 h 4071735"/>
              <a:gd name="connsiteX304" fmla="*/ 3586093 w 11856555"/>
              <a:gd name="connsiteY304" fmla="*/ 3520105 h 4071735"/>
              <a:gd name="connsiteX305" fmla="*/ 3574797 w 11856555"/>
              <a:gd name="connsiteY305" fmla="*/ 3517825 h 4071735"/>
              <a:gd name="connsiteX306" fmla="*/ 1426882 w 11856555"/>
              <a:gd name="connsiteY306" fmla="*/ 3512871 h 4071735"/>
              <a:gd name="connsiteX307" fmla="*/ 1421316 w 11856555"/>
              <a:gd name="connsiteY307" fmla="*/ 3513320 h 4071735"/>
              <a:gd name="connsiteX308" fmla="*/ 1411674 w 11856555"/>
              <a:gd name="connsiteY308" fmla="*/ 3526957 h 4071735"/>
              <a:gd name="connsiteX309" fmla="*/ 1429890 w 11856555"/>
              <a:gd name="connsiteY309" fmla="*/ 3519494 h 4071735"/>
              <a:gd name="connsiteX310" fmla="*/ 1426882 w 11856555"/>
              <a:gd name="connsiteY310" fmla="*/ 3512871 h 4071735"/>
              <a:gd name="connsiteX311" fmla="*/ 790819 w 11856555"/>
              <a:gd name="connsiteY311" fmla="*/ 3509271 h 4071735"/>
              <a:gd name="connsiteX312" fmla="*/ 750643 w 11856555"/>
              <a:gd name="connsiteY312" fmla="*/ 3524532 h 4071735"/>
              <a:gd name="connsiteX313" fmla="*/ 790819 w 11856555"/>
              <a:gd name="connsiteY313" fmla="*/ 3509271 h 4071735"/>
              <a:gd name="connsiteX314" fmla="*/ 6108369 w 11856555"/>
              <a:gd name="connsiteY314" fmla="*/ 3507808 h 4071735"/>
              <a:gd name="connsiteX315" fmla="*/ 6104525 w 11856555"/>
              <a:gd name="connsiteY315" fmla="*/ 3517642 h 4071735"/>
              <a:gd name="connsiteX316" fmla="*/ 6118994 w 11856555"/>
              <a:gd name="connsiteY316" fmla="*/ 3510511 h 4071735"/>
              <a:gd name="connsiteX317" fmla="*/ 6108369 w 11856555"/>
              <a:gd name="connsiteY317" fmla="*/ 3507808 h 4071735"/>
              <a:gd name="connsiteX318" fmla="*/ 3610948 w 11856555"/>
              <a:gd name="connsiteY318" fmla="*/ 3500263 h 4071735"/>
              <a:gd name="connsiteX319" fmla="*/ 3598891 w 11856555"/>
              <a:gd name="connsiteY319" fmla="*/ 3501167 h 4071735"/>
              <a:gd name="connsiteX320" fmla="*/ 3628399 w 11856555"/>
              <a:gd name="connsiteY320" fmla="*/ 3507572 h 4071735"/>
              <a:gd name="connsiteX321" fmla="*/ 3610948 w 11856555"/>
              <a:gd name="connsiteY321" fmla="*/ 3500263 h 4071735"/>
              <a:gd name="connsiteX322" fmla="*/ 5932753 w 11856555"/>
              <a:gd name="connsiteY322" fmla="*/ 3497889 h 4071735"/>
              <a:gd name="connsiteX323" fmla="*/ 5932842 w 11856555"/>
              <a:gd name="connsiteY323" fmla="*/ 3497896 h 4071735"/>
              <a:gd name="connsiteX324" fmla="*/ 5930300 w 11856555"/>
              <a:gd name="connsiteY324" fmla="*/ 3498973 h 4071735"/>
              <a:gd name="connsiteX325" fmla="*/ 3501874 w 11856555"/>
              <a:gd name="connsiteY325" fmla="*/ 3495987 h 4071735"/>
              <a:gd name="connsiteX326" fmla="*/ 3495248 w 11856555"/>
              <a:gd name="connsiteY326" fmla="*/ 3496440 h 4071735"/>
              <a:gd name="connsiteX327" fmla="*/ 3480745 w 11856555"/>
              <a:gd name="connsiteY327" fmla="*/ 3503207 h 4071735"/>
              <a:gd name="connsiteX328" fmla="*/ 3505097 w 11856555"/>
              <a:gd name="connsiteY328" fmla="*/ 3501037 h 4071735"/>
              <a:gd name="connsiteX329" fmla="*/ 3501874 w 11856555"/>
              <a:gd name="connsiteY329" fmla="*/ 3495987 h 4071735"/>
              <a:gd name="connsiteX330" fmla="*/ 1503268 w 11856555"/>
              <a:gd name="connsiteY330" fmla="*/ 3495432 h 4071735"/>
              <a:gd name="connsiteX331" fmla="*/ 1473556 w 11856555"/>
              <a:gd name="connsiteY331" fmla="*/ 3501000 h 4071735"/>
              <a:gd name="connsiteX332" fmla="*/ 1503268 w 11856555"/>
              <a:gd name="connsiteY332" fmla="*/ 3495432 h 4071735"/>
              <a:gd name="connsiteX333" fmla="*/ 3652715 w 11856555"/>
              <a:gd name="connsiteY333" fmla="*/ 3489755 h 4071735"/>
              <a:gd name="connsiteX334" fmla="*/ 3647152 w 11856555"/>
              <a:gd name="connsiteY334" fmla="*/ 3490204 h 4071735"/>
              <a:gd name="connsiteX335" fmla="*/ 3637508 w 11856555"/>
              <a:gd name="connsiteY335" fmla="*/ 3503841 h 4071735"/>
              <a:gd name="connsiteX336" fmla="*/ 3655727 w 11856555"/>
              <a:gd name="connsiteY336" fmla="*/ 3496376 h 4071735"/>
              <a:gd name="connsiteX337" fmla="*/ 3652715 w 11856555"/>
              <a:gd name="connsiteY337" fmla="*/ 3489755 h 4071735"/>
              <a:gd name="connsiteX338" fmla="*/ 3016656 w 11856555"/>
              <a:gd name="connsiteY338" fmla="*/ 3486152 h 4071735"/>
              <a:gd name="connsiteX339" fmla="*/ 2976477 w 11856555"/>
              <a:gd name="connsiteY339" fmla="*/ 3501415 h 4071735"/>
              <a:gd name="connsiteX340" fmla="*/ 3016656 w 11856555"/>
              <a:gd name="connsiteY340" fmla="*/ 3486152 h 4071735"/>
              <a:gd name="connsiteX341" fmla="*/ 1535530 w 11856555"/>
              <a:gd name="connsiteY341" fmla="*/ 3486031 h 4071735"/>
              <a:gd name="connsiteX342" fmla="*/ 1548480 w 11856555"/>
              <a:gd name="connsiteY342" fmla="*/ 3494323 h 4071735"/>
              <a:gd name="connsiteX343" fmla="*/ 1535530 w 11856555"/>
              <a:gd name="connsiteY343" fmla="*/ 3486031 h 4071735"/>
              <a:gd name="connsiteX344" fmla="*/ 1523098 w 11856555"/>
              <a:gd name="connsiteY344" fmla="*/ 3484903 h 4071735"/>
              <a:gd name="connsiteX345" fmla="*/ 1505399 w 11856555"/>
              <a:gd name="connsiteY345" fmla="*/ 3498162 h 4071735"/>
              <a:gd name="connsiteX346" fmla="*/ 1523098 w 11856555"/>
              <a:gd name="connsiteY346" fmla="*/ 3484903 h 4071735"/>
              <a:gd name="connsiteX347" fmla="*/ 788827 w 11856555"/>
              <a:gd name="connsiteY347" fmla="*/ 3484259 h 4071735"/>
              <a:gd name="connsiteX348" fmla="*/ 780163 w 11856555"/>
              <a:gd name="connsiteY348" fmla="*/ 3495617 h 4071735"/>
              <a:gd name="connsiteX349" fmla="*/ 800251 w 11856555"/>
              <a:gd name="connsiteY349" fmla="*/ 3487985 h 4071735"/>
              <a:gd name="connsiteX350" fmla="*/ 788827 w 11856555"/>
              <a:gd name="connsiteY350" fmla="*/ 3484259 h 4071735"/>
              <a:gd name="connsiteX351" fmla="*/ 5413409 w 11856555"/>
              <a:gd name="connsiteY351" fmla="*/ 3480525 h 4071735"/>
              <a:gd name="connsiteX352" fmla="*/ 5407687 w 11856555"/>
              <a:gd name="connsiteY352" fmla="*/ 3481536 h 4071735"/>
              <a:gd name="connsiteX353" fmla="*/ 5396216 w 11856555"/>
              <a:gd name="connsiteY353" fmla="*/ 3493145 h 4071735"/>
              <a:gd name="connsiteX354" fmla="*/ 5416303 w 11856555"/>
              <a:gd name="connsiteY354" fmla="*/ 3485515 h 4071735"/>
              <a:gd name="connsiteX355" fmla="*/ 5413409 w 11856555"/>
              <a:gd name="connsiteY355" fmla="*/ 3480525 h 4071735"/>
              <a:gd name="connsiteX356" fmla="*/ 740198 w 11856555"/>
              <a:gd name="connsiteY356" fmla="*/ 3476180 h 4071735"/>
              <a:gd name="connsiteX357" fmla="*/ 729653 w 11856555"/>
              <a:gd name="connsiteY357" fmla="*/ 3479674 h 4071735"/>
              <a:gd name="connsiteX358" fmla="*/ 743281 w 11856555"/>
              <a:gd name="connsiteY358" fmla="*/ 3484301 h 4071735"/>
              <a:gd name="connsiteX359" fmla="*/ 740198 w 11856555"/>
              <a:gd name="connsiteY359" fmla="*/ 3476180 h 4071735"/>
              <a:gd name="connsiteX360" fmla="*/ 757233 w 11856555"/>
              <a:gd name="connsiteY360" fmla="*/ 3471376 h 4071735"/>
              <a:gd name="connsiteX361" fmla="*/ 757233 w 11856555"/>
              <a:gd name="connsiteY361" fmla="*/ 3471376 h 4071735"/>
              <a:gd name="connsiteX362" fmla="*/ 1552178 w 11856555"/>
              <a:gd name="connsiteY362" fmla="*/ 3468256 h 4071735"/>
              <a:gd name="connsiteX363" fmla="*/ 1541313 w 11856555"/>
              <a:gd name="connsiteY363" fmla="*/ 3477439 h 4071735"/>
              <a:gd name="connsiteX364" fmla="*/ 1552178 w 11856555"/>
              <a:gd name="connsiteY364" fmla="*/ 3468256 h 4071735"/>
              <a:gd name="connsiteX365" fmla="*/ 6230283 w 11856555"/>
              <a:gd name="connsiteY365" fmla="*/ 3466964 h 4071735"/>
              <a:gd name="connsiteX366" fmla="*/ 6248050 w 11856555"/>
              <a:gd name="connsiteY366" fmla="*/ 3475647 h 4071735"/>
              <a:gd name="connsiteX367" fmla="*/ 6230283 w 11856555"/>
              <a:gd name="connsiteY367" fmla="*/ 3466964 h 4071735"/>
              <a:gd name="connsiteX368" fmla="*/ 6199524 w 11856555"/>
              <a:gd name="connsiteY368" fmla="*/ 3466819 h 4071735"/>
              <a:gd name="connsiteX369" fmla="*/ 6185461 w 11856555"/>
              <a:gd name="connsiteY369" fmla="*/ 3472463 h 4071735"/>
              <a:gd name="connsiteX370" fmla="*/ 6190949 w 11856555"/>
              <a:gd name="connsiteY370" fmla="*/ 3512862 h 4071735"/>
              <a:gd name="connsiteX371" fmla="*/ 6199524 w 11856555"/>
              <a:gd name="connsiteY371" fmla="*/ 3466819 h 4071735"/>
              <a:gd name="connsiteX372" fmla="*/ 5222833 w 11856555"/>
              <a:gd name="connsiteY372" fmla="*/ 3460637 h 4071735"/>
              <a:gd name="connsiteX373" fmla="*/ 5221624 w 11856555"/>
              <a:gd name="connsiteY373" fmla="*/ 3461975 h 4071735"/>
              <a:gd name="connsiteX374" fmla="*/ 5222833 w 11856555"/>
              <a:gd name="connsiteY374" fmla="*/ 3460637 h 4071735"/>
              <a:gd name="connsiteX375" fmla="*/ 854793 w 11856555"/>
              <a:gd name="connsiteY375" fmla="*/ 3456476 h 4071735"/>
              <a:gd name="connsiteX376" fmla="*/ 855156 w 11856555"/>
              <a:gd name="connsiteY376" fmla="*/ 3468490 h 4071735"/>
              <a:gd name="connsiteX377" fmla="*/ 854793 w 11856555"/>
              <a:gd name="connsiteY377" fmla="*/ 3456476 h 4071735"/>
              <a:gd name="connsiteX378" fmla="*/ 1710223 w 11856555"/>
              <a:gd name="connsiteY378" fmla="*/ 3444864 h 4071735"/>
              <a:gd name="connsiteX379" fmla="*/ 1703763 w 11856555"/>
              <a:gd name="connsiteY379" fmla="*/ 3457121 h 4071735"/>
              <a:gd name="connsiteX380" fmla="*/ 1710223 w 11856555"/>
              <a:gd name="connsiteY380" fmla="*/ 3444864 h 4071735"/>
              <a:gd name="connsiteX381" fmla="*/ 926889 w 11856555"/>
              <a:gd name="connsiteY381" fmla="*/ 3443526 h 4071735"/>
              <a:gd name="connsiteX382" fmla="*/ 914580 w 11856555"/>
              <a:gd name="connsiteY382" fmla="*/ 3457355 h 4071735"/>
              <a:gd name="connsiteX383" fmla="*/ 932280 w 11856555"/>
              <a:gd name="connsiteY383" fmla="*/ 3444095 h 4071735"/>
              <a:gd name="connsiteX384" fmla="*/ 926889 w 11856555"/>
              <a:gd name="connsiteY384" fmla="*/ 3443526 h 4071735"/>
              <a:gd name="connsiteX385" fmla="*/ 751861 w 11856555"/>
              <a:gd name="connsiteY385" fmla="*/ 3442698 h 4071735"/>
              <a:gd name="connsiteX386" fmla="*/ 751939 w 11856555"/>
              <a:gd name="connsiteY386" fmla="*/ 3442735 h 4071735"/>
              <a:gd name="connsiteX387" fmla="*/ 749548 w 11856555"/>
              <a:gd name="connsiteY387" fmla="*/ 3448698 h 4071735"/>
              <a:gd name="connsiteX388" fmla="*/ 746026 w 11856555"/>
              <a:gd name="connsiteY388" fmla="*/ 3445130 h 4071735"/>
              <a:gd name="connsiteX389" fmla="*/ 757749 w 11856555"/>
              <a:gd name="connsiteY389" fmla="*/ 3440366 h 4071735"/>
              <a:gd name="connsiteX390" fmla="*/ 754910 w 11856555"/>
              <a:gd name="connsiteY390" fmla="*/ 3445298 h 4071735"/>
              <a:gd name="connsiteX391" fmla="*/ 756613 w 11856555"/>
              <a:gd name="connsiteY391" fmla="*/ 3440810 h 4071735"/>
              <a:gd name="connsiteX392" fmla="*/ 5269716 w 11856555"/>
              <a:gd name="connsiteY392" fmla="*/ 3440167 h 4071735"/>
              <a:gd name="connsiteX393" fmla="*/ 5278917 w 11856555"/>
              <a:gd name="connsiteY393" fmla="*/ 3448109 h 4071735"/>
              <a:gd name="connsiteX394" fmla="*/ 5269716 w 11856555"/>
              <a:gd name="connsiteY394" fmla="*/ 3440167 h 4071735"/>
              <a:gd name="connsiteX395" fmla="*/ 6317393 w 11856555"/>
              <a:gd name="connsiteY395" fmla="*/ 3438073 h 4071735"/>
              <a:gd name="connsiteX396" fmla="*/ 6309673 w 11856555"/>
              <a:gd name="connsiteY396" fmla="*/ 3446792 h 4071735"/>
              <a:gd name="connsiteX397" fmla="*/ 6326273 w 11856555"/>
              <a:gd name="connsiteY397" fmla="*/ 3442392 h 4071735"/>
              <a:gd name="connsiteX398" fmla="*/ 6317393 w 11856555"/>
              <a:gd name="connsiteY398" fmla="*/ 3438073 h 4071735"/>
              <a:gd name="connsiteX399" fmla="*/ 1104273 w 11856555"/>
              <a:gd name="connsiteY399" fmla="*/ 3430230 h 4071735"/>
              <a:gd name="connsiteX400" fmla="*/ 1092273 w 11856555"/>
              <a:gd name="connsiteY400" fmla="*/ 3438600 h 4071735"/>
              <a:gd name="connsiteX401" fmla="*/ 1119856 w 11856555"/>
              <a:gd name="connsiteY401" fmla="*/ 3430300 h 4071735"/>
              <a:gd name="connsiteX402" fmla="*/ 1104273 w 11856555"/>
              <a:gd name="connsiteY402" fmla="*/ 3430230 h 4071735"/>
              <a:gd name="connsiteX403" fmla="*/ 1533773 w 11856555"/>
              <a:gd name="connsiteY403" fmla="*/ 3420295 h 4071735"/>
              <a:gd name="connsiteX404" fmla="*/ 1528051 w 11856555"/>
              <a:gd name="connsiteY404" fmla="*/ 3421305 h 4071735"/>
              <a:gd name="connsiteX405" fmla="*/ 1516577 w 11856555"/>
              <a:gd name="connsiteY405" fmla="*/ 3432915 h 4071735"/>
              <a:gd name="connsiteX406" fmla="*/ 1536666 w 11856555"/>
              <a:gd name="connsiteY406" fmla="*/ 3425283 h 4071735"/>
              <a:gd name="connsiteX407" fmla="*/ 1533773 w 11856555"/>
              <a:gd name="connsiteY407" fmla="*/ 3420295 h 4071735"/>
              <a:gd name="connsiteX408" fmla="*/ 948710 w 11856555"/>
              <a:gd name="connsiteY408" fmla="*/ 3419267 h 4071735"/>
              <a:gd name="connsiteX409" fmla="*/ 947522 w 11856555"/>
              <a:gd name="connsiteY409" fmla="*/ 3445657 h 4071735"/>
              <a:gd name="connsiteX410" fmla="*/ 948710 w 11856555"/>
              <a:gd name="connsiteY410" fmla="*/ 3419267 h 4071735"/>
              <a:gd name="connsiteX411" fmla="*/ 829233 w 11856555"/>
              <a:gd name="connsiteY411" fmla="*/ 3418922 h 4071735"/>
              <a:gd name="connsiteX412" fmla="*/ 830161 w 11856555"/>
              <a:gd name="connsiteY412" fmla="*/ 3421069 h 4071735"/>
              <a:gd name="connsiteX413" fmla="*/ 829851 w 11856555"/>
              <a:gd name="connsiteY413" fmla="*/ 3421154 h 4071735"/>
              <a:gd name="connsiteX414" fmla="*/ 6425691 w 11856555"/>
              <a:gd name="connsiteY414" fmla="*/ 3414916 h 4071735"/>
              <a:gd name="connsiteX415" fmla="*/ 6418487 w 11856555"/>
              <a:gd name="connsiteY415" fmla="*/ 3415192 h 4071735"/>
              <a:gd name="connsiteX416" fmla="*/ 6404172 w 11856555"/>
              <a:gd name="connsiteY416" fmla="*/ 3426689 h 4071735"/>
              <a:gd name="connsiteX417" fmla="*/ 6430138 w 11856555"/>
              <a:gd name="connsiteY417" fmla="*/ 3421455 h 4071735"/>
              <a:gd name="connsiteX418" fmla="*/ 6425691 w 11856555"/>
              <a:gd name="connsiteY418" fmla="*/ 3414916 h 4071735"/>
              <a:gd name="connsiteX419" fmla="*/ 901391 w 11856555"/>
              <a:gd name="connsiteY419" fmla="*/ 3409977 h 4071735"/>
              <a:gd name="connsiteX420" fmla="*/ 905022 w 11856555"/>
              <a:gd name="connsiteY420" fmla="*/ 3434843 h 4071735"/>
              <a:gd name="connsiteX421" fmla="*/ 901391 w 11856555"/>
              <a:gd name="connsiteY421" fmla="*/ 3409977 h 4071735"/>
              <a:gd name="connsiteX422" fmla="*/ 3330107 w 11856555"/>
              <a:gd name="connsiteY422" fmla="*/ 3407113 h 4071735"/>
              <a:gd name="connsiteX423" fmla="*/ 3318110 w 11856555"/>
              <a:gd name="connsiteY423" fmla="*/ 3415484 h 4071735"/>
              <a:gd name="connsiteX424" fmla="*/ 3345690 w 11856555"/>
              <a:gd name="connsiteY424" fmla="*/ 3407184 h 4071735"/>
              <a:gd name="connsiteX425" fmla="*/ 3330107 w 11856555"/>
              <a:gd name="connsiteY425" fmla="*/ 3407113 h 4071735"/>
              <a:gd name="connsiteX426" fmla="*/ 1070184 w 11856555"/>
              <a:gd name="connsiteY426" fmla="*/ 3402601 h 4071735"/>
              <a:gd name="connsiteX427" fmla="*/ 1058260 w 11856555"/>
              <a:gd name="connsiteY427" fmla="*/ 3402844 h 4071735"/>
              <a:gd name="connsiteX428" fmla="*/ 1070184 w 11856555"/>
              <a:gd name="connsiteY428" fmla="*/ 3402601 h 4071735"/>
              <a:gd name="connsiteX429" fmla="*/ 2859637 w 11856555"/>
              <a:gd name="connsiteY429" fmla="*/ 3397928 h 4071735"/>
              <a:gd name="connsiteX430" fmla="*/ 2859637 w 11856555"/>
              <a:gd name="connsiteY430" fmla="*/ 3397928 h 4071735"/>
              <a:gd name="connsiteX431" fmla="*/ 3759608 w 11856555"/>
              <a:gd name="connsiteY431" fmla="*/ 3397177 h 4071735"/>
              <a:gd name="connsiteX432" fmla="*/ 3753887 w 11856555"/>
              <a:gd name="connsiteY432" fmla="*/ 3398189 h 4071735"/>
              <a:gd name="connsiteX433" fmla="*/ 3742412 w 11856555"/>
              <a:gd name="connsiteY433" fmla="*/ 3409799 h 4071735"/>
              <a:gd name="connsiteX434" fmla="*/ 3762501 w 11856555"/>
              <a:gd name="connsiteY434" fmla="*/ 3402167 h 4071735"/>
              <a:gd name="connsiteX435" fmla="*/ 3759608 w 11856555"/>
              <a:gd name="connsiteY435" fmla="*/ 3397177 h 4071735"/>
              <a:gd name="connsiteX436" fmla="*/ 598992 w 11856555"/>
              <a:gd name="connsiteY436" fmla="*/ 3395703 h 4071735"/>
              <a:gd name="connsiteX437" fmla="*/ 603639 w 11856555"/>
              <a:gd name="connsiteY437" fmla="*/ 3400368 h 4071735"/>
              <a:gd name="connsiteX438" fmla="*/ 585165 w 11856555"/>
              <a:gd name="connsiteY438" fmla="*/ 3404935 h 4071735"/>
              <a:gd name="connsiteX439" fmla="*/ 595909 w 11856555"/>
              <a:gd name="connsiteY439" fmla="*/ 3395719 h 4071735"/>
              <a:gd name="connsiteX440" fmla="*/ 1213762 w 11856555"/>
              <a:gd name="connsiteY440" fmla="*/ 3394280 h 4071735"/>
              <a:gd name="connsiteX441" fmla="*/ 1199625 w 11856555"/>
              <a:gd name="connsiteY441" fmla="*/ 3414431 h 4071735"/>
              <a:gd name="connsiteX442" fmla="*/ 1213762 w 11856555"/>
              <a:gd name="connsiteY442" fmla="*/ 3394280 h 4071735"/>
              <a:gd name="connsiteX443" fmla="*/ 3275487 w 11856555"/>
              <a:gd name="connsiteY443" fmla="*/ 3390076 h 4071735"/>
              <a:gd name="connsiteX444" fmla="*/ 3276963 w 11856555"/>
              <a:gd name="connsiteY444" fmla="*/ 3398705 h 4071735"/>
              <a:gd name="connsiteX445" fmla="*/ 3275487 w 11856555"/>
              <a:gd name="connsiteY445" fmla="*/ 3390076 h 4071735"/>
              <a:gd name="connsiteX446" fmla="*/ 991095 w 11856555"/>
              <a:gd name="connsiteY446" fmla="*/ 3387381 h 4071735"/>
              <a:gd name="connsiteX447" fmla="*/ 989122 w 11856555"/>
              <a:gd name="connsiteY447" fmla="*/ 3403984 h 4071735"/>
              <a:gd name="connsiteX448" fmla="*/ 991095 w 11856555"/>
              <a:gd name="connsiteY448" fmla="*/ 3387381 h 4071735"/>
              <a:gd name="connsiteX449" fmla="*/ 3288552 w 11856555"/>
              <a:gd name="connsiteY449" fmla="*/ 3384395 h 4071735"/>
              <a:gd name="connsiteX450" fmla="*/ 3283684 w 11856555"/>
              <a:gd name="connsiteY450" fmla="*/ 3389346 h 4071735"/>
              <a:gd name="connsiteX451" fmla="*/ 3288552 w 11856555"/>
              <a:gd name="connsiteY451" fmla="*/ 3384395 h 4071735"/>
              <a:gd name="connsiteX452" fmla="*/ 1670825 w 11856555"/>
              <a:gd name="connsiteY452" fmla="*/ 3384123 h 4071735"/>
              <a:gd name="connsiteX453" fmla="*/ 1648484 w 11856555"/>
              <a:gd name="connsiteY453" fmla="*/ 3385019 h 4071735"/>
              <a:gd name="connsiteX454" fmla="*/ 1628517 w 11856555"/>
              <a:gd name="connsiteY454" fmla="*/ 3396656 h 4071735"/>
              <a:gd name="connsiteX455" fmla="*/ 1670825 w 11856555"/>
              <a:gd name="connsiteY455" fmla="*/ 3384123 h 4071735"/>
              <a:gd name="connsiteX456" fmla="*/ 1025004 w 11856555"/>
              <a:gd name="connsiteY456" fmla="*/ 3375279 h 4071735"/>
              <a:gd name="connsiteX457" fmla="*/ 1035694 w 11856555"/>
              <a:gd name="connsiteY457" fmla="*/ 3396914 h 4071735"/>
              <a:gd name="connsiteX458" fmla="*/ 1025004 w 11856555"/>
              <a:gd name="connsiteY458" fmla="*/ 3375279 h 4071735"/>
              <a:gd name="connsiteX459" fmla="*/ 3439597 w 11856555"/>
              <a:gd name="connsiteY459" fmla="*/ 3371164 h 4071735"/>
              <a:gd name="connsiteX460" fmla="*/ 3425463 w 11856555"/>
              <a:gd name="connsiteY460" fmla="*/ 3391315 h 4071735"/>
              <a:gd name="connsiteX461" fmla="*/ 3439597 w 11856555"/>
              <a:gd name="connsiteY461" fmla="*/ 3371164 h 4071735"/>
              <a:gd name="connsiteX462" fmla="*/ 1049971 w 11856555"/>
              <a:gd name="connsiteY462" fmla="*/ 3366437 h 4071735"/>
              <a:gd name="connsiteX463" fmla="*/ 1049971 w 11856555"/>
              <a:gd name="connsiteY463" fmla="*/ 3366437 h 4071735"/>
              <a:gd name="connsiteX464" fmla="*/ 3896662 w 11856555"/>
              <a:gd name="connsiteY464" fmla="*/ 3361008 h 4071735"/>
              <a:gd name="connsiteX465" fmla="*/ 3874321 w 11856555"/>
              <a:gd name="connsiteY465" fmla="*/ 3361903 h 4071735"/>
              <a:gd name="connsiteX466" fmla="*/ 3854350 w 11856555"/>
              <a:gd name="connsiteY466" fmla="*/ 3373539 h 4071735"/>
              <a:gd name="connsiteX467" fmla="*/ 3896662 w 11856555"/>
              <a:gd name="connsiteY467" fmla="*/ 3361008 h 4071735"/>
              <a:gd name="connsiteX468" fmla="*/ 1978930 w 11856555"/>
              <a:gd name="connsiteY468" fmla="*/ 3355774 h 4071735"/>
              <a:gd name="connsiteX469" fmla="*/ 1983063 w 11856555"/>
              <a:gd name="connsiteY469" fmla="*/ 3370903 h 4071735"/>
              <a:gd name="connsiteX470" fmla="*/ 1979615 w 11856555"/>
              <a:gd name="connsiteY470" fmla="*/ 3356014 h 4071735"/>
              <a:gd name="connsiteX471" fmla="*/ 1978930 w 11856555"/>
              <a:gd name="connsiteY471" fmla="*/ 3355774 h 4071735"/>
              <a:gd name="connsiteX472" fmla="*/ 1765781 w 11856555"/>
              <a:gd name="connsiteY472" fmla="*/ 3351249 h 4071735"/>
              <a:gd name="connsiteX473" fmla="*/ 1765325 w 11856555"/>
              <a:gd name="connsiteY473" fmla="*/ 3364021 h 4071735"/>
              <a:gd name="connsiteX474" fmla="*/ 1765781 w 11856555"/>
              <a:gd name="connsiteY474" fmla="*/ 3351249 h 4071735"/>
              <a:gd name="connsiteX475" fmla="*/ 6602683 w 11856555"/>
              <a:gd name="connsiteY475" fmla="*/ 3350226 h 4071735"/>
              <a:gd name="connsiteX476" fmla="*/ 6595691 w 11856555"/>
              <a:gd name="connsiteY476" fmla="*/ 3351213 h 4071735"/>
              <a:gd name="connsiteX477" fmla="*/ 6607446 w 11856555"/>
              <a:gd name="connsiteY477" fmla="*/ 3356007 h 4071735"/>
              <a:gd name="connsiteX478" fmla="*/ 6602683 w 11856555"/>
              <a:gd name="connsiteY478" fmla="*/ 3350226 h 4071735"/>
              <a:gd name="connsiteX479" fmla="*/ 1367568 w 11856555"/>
              <a:gd name="connsiteY479" fmla="*/ 3349818 h 4071735"/>
              <a:gd name="connsiteX480" fmla="*/ 1355748 w 11856555"/>
              <a:gd name="connsiteY480" fmla="*/ 3365473 h 4071735"/>
              <a:gd name="connsiteX481" fmla="*/ 1367568 w 11856555"/>
              <a:gd name="connsiteY481" fmla="*/ 3349818 h 4071735"/>
              <a:gd name="connsiteX482" fmla="*/ 5550576 w 11856555"/>
              <a:gd name="connsiteY482" fmla="*/ 3348973 h 4071735"/>
              <a:gd name="connsiteX483" fmla="*/ 5550465 w 11856555"/>
              <a:gd name="connsiteY483" fmla="*/ 3359661 h 4071735"/>
              <a:gd name="connsiteX484" fmla="*/ 5550576 w 11856555"/>
              <a:gd name="connsiteY484" fmla="*/ 3348973 h 4071735"/>
              <a:gd name="connsiteX485" fmla="*/ 5216915 w 11856555"/>
              <a:gd name="connsiteY485" fmla="*/ 3345576 h 4071735"/>
              <a:gd name="connsiteX486" fmla="*/ 5216915 w 11856555"/>
              <a:gd name="connsiteY486" fmla="*/ 3345576 h 4071735"/>
              <a:gd name="connsiteX487" fmla="*/ 5527523 w 11856555"/>
              <a:gd name="connsiteY487" fmla="*/ 3343817 h 4071735"/>
              <a:gd name="connsiteX488" fmla="*/ 5499052 w 11856555"/>
              <a:gd name="connsiteY488" fmla="*/ 3375923 h 4071735"/>
              <a:gd name="connsiteX489" fmla="*/ 5527523 w 11856555"/>
              <a:gd name="connsiteY489" fmla="*/ 3343817 h 4071735"/>
              <a:gd name="connsiteX490" fmla="*/ 3593402 w 11856555"/>
              <a:gd name="connsiteY490" fmla="*/ 3326701 h 4071735"/>
              <a:gd name="connsiteX491" fmla="*/ 3581582 w 11856555"/>
              <a:gd name="connsiteY491" fmla="*/ 3342355 h 4071735"/>
              <a:gd name="connsiteX492" fmla="*/ 3593402 w 11856555"/>
              <a:gd name="connsiteY492" fmla="*/ 3326701 h 4071735"/>
              <a:gd name="connsiteX493" fmla="*/ 1485814 w 11856555"/>
              <a:gd name="connsiteY493" fmla="*/ 3307520 h 4071735"/>
              <a:gd name="connsiteX494" fmla="*/ 1479507 w 11856555"/>
              <a:gd name="connsiteY494" fmla="*/ 3313558 h 4071735"/>
              <a:gd name="connsiteX495" fmla="*/ 1494493 w 11856555"/>
              <a:gd name="connsiteY495" fmla="*/ 3312222 h 4071735"/>
              <a:gd name="connsiteX496" fmla="*/ 1485814 w 11856555"/>
              <a:gd name="connsiteY496" fmla="*/ 3307520 h 4071735"/>
              <a:gd name="connsiteX497" fmla="*/ 1557479 w 11856555"/>
              <a:gd name="connsiteY497" fmla="*/ 3306610 h 4071735"/>
              <a:gd name="connsiteX498" fmla="*/ 1536478 w 11856555"/>
              <a:gd name="connsiteY498" fmla="*/ 3317243 h 4071735"/>
              <a:gd name="connsiteX499" fmla="*/ 1557479 w 11856555"/>
              <a:gd name="connsiteY499" fmla="*/ 3306610 h 4071735"/>
              <a:gd name="connsiteX500" fmla="*/ 5346599 w 11856555"/>
              <a:gd name="connsiteY500" fmla="*/ 3302852 h 4071735"/>
              <a:gd name="connsiteX501" fmla="*/ 5349460 w 11856555"/>
              <a:gd name="connsiteY501" fmla="*/ 3307480 h 4071735"/>
              <a:gd name="connsiteX502" fmla="*/ 5329114 w 11856555"/>
              <a:gd name="connsiteY502" fmla="*/ 3312214 h 4071735"/>
              <a:gd name="connsiteX503" fmla="*/ 5340911 w 11856555"/>
              <a:gd name="connsiteY503" fmla="*/ 3304227 h 4071735"/>
              <a:gd name="connsiteX504" fmla="*/ 5346599 w 11856555"/>
              <a:gd name="connsiteY504" fmla="*/ 3302852 h 4071735"/>
              <a:gd name="connsiteX505" fmla="*/ 689044 w 11856555"/>
              <a:gd name="connsiteY505" fmla="*/ 3296746 h 4071735"/>
              <a:gd name="connsiteX506" fmla="*/ 682576 w 11856555"/>
              <a:gd name="connsiteY506" fmla="*/ 3311560 h 4071735"/>
              <a:gd name="connsiteX507" fmla="*/ 689044 w 11856555"/>
              <a:gd name="connsiteY507" fmla="*/ 3296746 h 4071735"/>
              <a:gd name="connsiteX508" fmla="*/ 1923676 w 11856555"/>
              <a:gd name="connsiteY508" fmla="*/ 3287119 h 4071735"/>
              <a:gd name="connsiteX509" fmla="*/ 1912143 w 11856555"/>
              <a:gd name="connsiteY509" fmla="*/ 3295448 h 4071735"/>
              <a:gd name="connsiteX510" fmla="*/ 1935981 w 11856555"/>
              <a:gd name="connsiteY510" fmla="*/ 3287484 h 4071735"/>
              <a:gd name="connsiteX511" fmla="*/ 1923676 w 11856555"/>
              <a:gd name="connsiteY511" fmla="*/ 3287119 h 4071735"/>
              <a:gd name="connsiteX512" fmla="*/ 3711649 w 11856555"/>
              <a:gd name="connsiteY512" fmla="*/ 3284403 h 4071735"/>
              <a:gd name="connsiteX513" fmla="*/ 3705345 w 11856555"/>
              <a:gd name="connsiteY513" fmla="*/ 3290441 h 4071735"/>
              <a:gd name="connsiteX514" fmla="*/ 3720328 w 11856555"/>
              <a:gd name="connsiteY514" fmla="*/ 3289106 h 4071735"/>
              <a:gd name="connsiteX515" fmla="*/ 3711649 w 11856555"/>
              <a:gd name="connsiteY515" fmla="*/ 3284403 h 4071735"/>
              <a:gd name="connsiteX516" fmla="*/ 3783313 w 11856555"/>
              <a:gd name="connsiteY516" fmla="*/ 3283494 h 4071735"/>
              <a:gd name="connsiteX517" fmla="*/ 3762312 w 11856555"/>
              <a:gd name="connsiteY517" fmla="*/ 3294126 h 4071735"/>
              <a:gd name="connsiteX518" fmla="*/ 3783313 w 11856555"/>
              <a:gd name="connsiteY518" fmla="*/ 3283494 h 4071735"/>
              <a:gd name="connsiteX519" fmla="*/ 1807736 w 11856555"/>
              <a:gd name="connsiteY519" fmla="*/ 3266059 h 4071735"/>
              <a:gd name="connsiteX520" fmla="*/ 1806796 w 11856555"/>
              <a:gd name="connsiteY520" fmla="*/ 3278552 h 4071735"/>
              <a:gd name="connsiteX521" fmla="*/ 1800092 w 11856555"/>
              <a:gd name="connsiteY521" fmla="*/ 3269521 h 4071735"/>
              <a:gd name="connsiteX522" fmla="*/ 1765462 w 11856555"/>
              <a:gd name="connsiteY522" fmla="*/ 3238428 h 4071735"/>
              <a:gd name="connsiteX523" fmla="*/ 1736781 w 11856555"/>
              <a:gd name="connsiteY523" fmla="*/ 3255587 h 4071735"/>
              <a:gd name="connsiteX524" fmla="*/ 1765462 w 11856555"/>
              <a:gd name="connsiteY524" fmla="*/ 3238428 h 4071735"/>
              <a:gd name="connsiteX525" fmla="*/ 4036801 w 11856555"/>
              <a:gd name="connsiteY525" fmla="*/ 3236814 h 4071735"/>
              <a:gd name="connsiteX526" fmla="*/ 4035860 w 11856555"/>
              <a:gd name="connsiteY526" fmla="*/ 3249306 h 4071735"/>
              <a:gd name="connsiteX527" fmla="*/ 4029157 w 11856555"/>
              <a:gd name="connsiteY527" fmla="*/ 3240275 h 4071735"/>
              <a:gd name="connsiteX528" fmla="*/ 1875366 w 11856555"/>
              <a:gd name="connsiteY528" fmla="*/ 3227340 h 4071735"/>
              <a:gd name="connsiteX529" fmla="*/ 1867386 w 11856555"/>
              <a:gd name="connsiteY529" fmla="*/ 3238107 h 4071735"/>
              <a:gd name="connsiteX530" fmla="*/ 1868550 w 11856555"/>
              <a:gd name="connsiteY530" fmla="*/ 3228732 h 4071735"/>
              <a:gd name="connsiteX531" fmla="*/ 3991296 w 11856555"/>
              <a:gd name="connsiteY531" fmla="*/ 3215311 h 4071735"/>
              <a:gd name="connsiteX532" fmla="*/ 3962616 w 11856555"/>
              <a:gd name="connsiteY532" fmla="*/ 3232470 h 4071735"/>
              <a:gd name="connsiteX533" fmla="*/ 3991296 w 11856555"/>
              <a:gd name="connsiteY533" fmla="*/ 3215311 h 4071735"/>
              <a:gd name="connsiteX534" fmla="*/ 1951930 w 11856555"/>
              <a:gd name="connsiteY534" fmla="*/ 3214877 h 4071735"/>
              <a:gd name="connsiteX535" fmla="*/ 1954911 w 11856555"/>
              <a:gd name="connsiteY535" fmla="*/ 3224467 h 4071735"/>
              <a:gd name="connsiteX536" fmla="*/ 1951930 w 11856555"/>
              <a:gd name="connsiteY536" fmla="*/ 3214877 h 4071735"/>
              <a:gd name="connsiteX537" fmla="*/ 4192497 w 11856555"/>
              <a:gd name="connsiteY537" fmla="*/ 3210314 h 4071735"/>
              <a:gd name="connsiteX538" fmla="*/ 4208257 w 11856555"/>
              <a:gd name="connsiteY538" fmla="*/ 3213501 h 4071735"/>
              <a:gd name="connsiteX539" fmla="*/ 4204588 w 11856555"/>
              <a:gd name="connsiteY539" fmla="*/ 3214149 h 4071735"/>
              <a:gd name="connsiteX540" fmla="*/ 4204512 w 11856555"/>
              <a:gd name="connsiteY540" fmla="*/ 3213835 h 4071735"/>
              <a:gd name="connsiteX541" fmla="*/ 4183906 w 11856555"/>
              <a:gd name="connsiteY541" fmla="*/ 3215671 h 4071735"/>
              <a:gd name="connsiteX542" fmla="*/ 4186981 w 11856555"/>
              <a:gd name="connsiteY542" fmla="*/ 3212157 h 4071735"/>
              <a:gd name="connsiteX543" fmla="*/ 4105838 w 11856555"/>
              <a:gd name="connsiteY543" fmla="*/ 3197809 h 4071735"/>
              <a:gd name="connsiteX544" fmla="*/ 4105388 w 11856555"/>
              <a:gd name="connsiteY544" fmla="*/ 3198573 h 4071735"/>
              <a:gd name="connsiteX545" fmla="*/ 4093220 w 11856555"/>
              <a:gd name="connsiteY545" fmla="*/ 3214991 h 4071735"/>
              <a:gd name="connsiteX546" fmla="*/ 4094455 w 11856555"/>
              <a:gd name="connsiteY546" fmla="*/ 3205024 h 4071735"/>
              <a:gd name="connsiteX547" fmla="*/ 4099385 w 11856555"/>
              <a:gd name="connsiteY547" fmla="*/ 3199124 h 4071735"/>
              <a:gd name="connsiteX548" fmla="*/ 4177763 w 11856555"/>
              <a:gd name="connsiteY548" fmla="*/ 3191759 h 4071735"/>
              <a:gd name="connsiteX549" fmla="*/ 4180742 w 11856555"/>
              <a:gd name="connsiteY549" fmla="*/ 3201350 h 4071735"/>
              <a:gd name="connsiteX550" fmla="*/ 4177763 w 11856555"/>
              <a:gd name="connsiteY550" fmla="*/ 3191759 h 4071735"/>
              <a:gd name="connsiteX551" fmla="*/ 2092298 w 11856555"/>
              <a:gd name="connsiteY551" fmla="*/ 3177178 h 4071735"/>
              <a:gd name="connsiteX552" fmla="*/ 2092298 w 11856555"/>
              <a:gd name="connsiteY552" fmla="*/ 3177178 h 4071735"/>
              <a:gd name="connsiteX553" fmla="*/ 773736 w 11856555"/>
              <a:gd name="connsiteY553" fmla="*/ 3165947 h 4071735"/>
              <a:gd name="connsiteX554" fmla="*/ 759512 w 11856555"/>
              <a:gd name="connsiteY554" fmla="*/ 3179124 h 4071735"/>
              <a:gd name="connsiteX555" fmla="*/ 777727 w 11856555"/>
              <a:gd name="connsiteY555" fmla="*/ 3171659 h 4071735"/>
              <a:gd name="connsiteX556" fmla="*/ 773736 w 11856555"/>
              <a:gd name="connsiteY556" fmla="*/ 3165947 h 4071735"/>
              <a:gd name="connsiteX557" fmla="*/ 4318131 w 11856555"/>
              <a:gd name="connsiteY557" fmla="*/ 3154062 h 4071735"/>
              <a:gd name="connsiteX558" fmla="*/ 4318131 w 11856555"/>
              <a:gd name="connsiteY558" fmla="*/ 3154062 h 4071735"/>
              <a:gd name="connsiteX559" fmla="*/ 2245575 w 11856555"/>
              <a:gd name="connsiteY559" fmla="*/ 3153356 h 4071735"/>
              <a:gd name="connsiteX560" fmla="*/ 2239724 w 11856555"/>
              <a:gd name="connsiteY560" fmla="*/ 3156768 h 4071735"/>
              <a:gd name="connsiteX561" fmla="*/ 2162624 w 11856555"/>
              <a:gd name="connsiteY561" fmla="*/ 3155943 h 4071735"/>
              <a:gd name="connsiteX562" fmla="*/ 1958074 w 11856555"/>
              <a:gd name="connsiteY562" fmla="*/ 3238787 h 4071735"/>
              <a:gd name="connsiteX563" fmla="*/ 1984750 w 11856555"/>
              <a:gd name="connsiteY563" fmla="*/ 3262694 h 4071735"/>
              <a:gd name="connsiteX564" fmla="*/ 2147524 w 11856555"/>
              <a:gd name="connsiteY564" fmla="*/ 3224825 h 4071735"/>
              <a:gd name="connsiteX565" fmla="*/ 2202848 w 11856555"/>
              <a:gd name="connsiteY565" fmla="*/ 3178278 h 4071735"/>
              <a:gd name="connsiteX566" fmla="*/ 2239724 w 11856555"/>
              <a:gd name="connsiteY566" fmla="*/ 3156768 h 4071735"/>
              <a:gd name="connsiteX567" fmla="*/ 2246300 w 11856555"/>
              <a:gd name="connsiteY567" fmla="*/ 3156839 h 4071735"/>
              <a:gd name="connsiteX568" fmla="*/ 7270825 w 11856555"/>
              <a:gd name="connsiteY568" fmla="*/ 3138456 h 4071735"/>
              <a:gd name="connsiteX569" fmla="*/ 7272883 w 11856555"/>
              <a:gd name="connsiteY569" fmla="*/ 3153605 h 4071735"/>
              <a:gd name="connsiteX570" fmla="*/ 7270825 w 11856555"/>
              <a:gd name="connsiteY570" fmla="*/ 3138456 h 4071735"/>
              <a:gd name="connsiteX571" fmla="*/ 4506289 w 11856555"/>
              <a:gd name="connsiteY571" fmla="*/ 3125613 h 4071735"/>
              <a:gd name="connsiteX572" fmla="*/ 4508866 w 11856555"/>
              <a:gd name="connsiteY572" fmla="*/ 3133155 h 4071735"/>
              <a:gd name="connsiteX573" fmla="*/ 4502378 w 11856555"/>
              <a:gd name="connsiteY573" fmla="*/ 3133603 h 4071735"/>
              <a:gd name="connsiteX574" fmla="*/ 4502486 w 11856555"/>
              <a:gd name="connsiteY574" fmla="*/ 3133253 h 4071735"/>
              <a:gd name="connsiteX575" fmla="*/ 4506289 w 11856555"/>
              <a:gd name="connsiteY575" fmla="*/ 3125613 h 4071735"/>
              <a:gd name="connsiteX576" fmla="*/ 4496408 w 11856555"/>
              <a:gd name="connsiteY576" fmla="*/ 3120652 h 4071735"/>
              <a:gd name="connsiteX577" fmla="*/ 4483211 w 11856555"/>
              <a:gd name="connsiteY577" fmla="*/ 3133841 h 4071735"/>
              <a:gd name="connsiteX578" fmla="*/ 4474689 w 11856555"/>
              <a:gd name="connsiteY578" fmla="*/ 3133750 h 4071735"/>
              <a:gd name="connsiteX579" fmla="*/ 4474587 w 11856555"/>
              <a:gd name="connsiteY579" fmla="*/ 3128491 h 4071735"/>
              <a:gd name="connsiteX580" fmla="*/ 7404727 w 11856555"/>
              <a:gd name="connsiteY580" fmla="*/ 3092757 h 4071735"/>
              <a:gd name="connsiteX581" fmla="*/ 7398977 w 11856555"/>
              <a:gd name="connsiteY581" fmla="*/ 3093452 h 4071735"/>
              <a:gd name="connsiteX582" fmla="*/ 7387279 w 11856555"/>
              <a:gd name="connsiteY582" fmla="*/ 3102525 h 4071735"/>
              <a:gd name="connsiteX583" fmla="*/ 7407625 w 11856555"/>
              <a:gd name="connsiteY583" fmla="*/ 3097790 h 4071735"/>
              <a:gd name="connsiteX584" fmla="*/ 7404727 w 11856555"/>
              <a:gd name="connsiteY584" fmla="*/ 3092757 h 4071735"/>
              <a:gd name="connsiteX585" fmla="*/ 6096673 w 11856555"/>
              <a:gd name="connsiteY585" fmla="*/ 3048143 h 4071735"/>
              <a:gd name="connsiteX586" fmla="*/ 6081989 w 11856555"/>
              <a:gd name="connsiteY586" fmla="*/ 3049224 h 4071735"/>
              <a:gd name="connsiteX587" fmla="*/ 6019033 w 11856555"/>
              <a:gd name="connsiteY587" fmla="*/ 3066744 h 4071735"/>
              <a:gd name="connsiteX588" fmla="*/ 6096931 w 11856555"/>
              <a:gd name="connsiteY588" fmla="*/ 3051040 h 4071735"/>
              <a:gd name="connsiteX589" fmla="*/ 6096673 w 11856555"/>
              <a:gd name="connsiteY589" fmla="*/ 3048143 h 4071735"/>
              <a:gd name="connsiteX590" fmla="*/ 7937544 w 11856555"/>
              <a:gd name="connsiteY590" fmla="*/ 2927270 h 4071735"/>
              <a:gd name="connsiteX591" fmla="*/ 7939160 w 11856555"/>
              <a:gd name="connsiteY591" fmla="*/ 2939448 h 4071735"/>
              <a:gd name="connsiteX592" fmla="*/ 7937544 w 11856555"/>
              <a:gd name="connsiteY592" fmla="*/ 2927270 h 4071735"/>
              <a:gd name="connsiteX593" fmla="*/ 7980565 w 11856555"/>
              <a:gd name="connsiteY593" fmla="*/ 2906188 h 4071735"/>
              <a:gd name="connsiteX594" fmla="*/ 7991608 w 11856555"/>
              <a:gd name="connsiteY594" fmla="*/ 2934774 h 4071735"/>
              <a:gd name="connsiteX595" fmla="*/ 7980565 w 11856555"/>
              <a:gd name="connsiteY595" fmla="*/ 2906188 h 4071735"/>
              <a:gd name="connsiteX596" fmla="*/ 8021041 w 11856555"/>
              <a:gd name="connsiteY596" fmla="*/ 2891630 h 4071735"/>
              <a:gd name="connsiteX597" fmla="*/ 8011504 w 11856555"/>
              <a:gd name="connsiteY597" fmla="*/ 2903796 h 4071735"/>
              <a:gd name="connsiteX598" fmla="*/ 8028105 w 11856555"/>
              <a:gd name="connsiteY598" fmla="*/ 2899395 h 4071735"/>
              <a:gd name="connsiteX599" fmla="*/ 8021041 w 11856555"/>
              <a:gd name="connsiteY599" fmla="*/ 2891630 h 4071735"/>
              <a:gd name="connsiteX600" fmla="*/ 1109464 w 11856555"/>
              <a:gd name="connsiteY600" fmla="*/ 2884942 h 4071735"/>
              <a:gd name="connsiteX601" fmla="*/ 1058541 w 11856555"/>
              <a:gd name="connsiteY601" fmla="*/ 2904134 h 4071735"/>
              <a:gd name="connsiteX602" fmla="*/ 787619 w 11856555"/>
              <a:gd name="connsiteY602" fmla="*/ 3007231 h 4071735"/>
              <a:gd name="connsiteX603" fmla="*/ 1073843 w 11856555"/>
              <a:gd name="connsiteY603" fmla="*/ 2895753 h 4071735"/>
              <a:gd name="connsiteX604" fmla="*/ 8186481 w 11856555"/>
              <a:gd name="connsiteY604" fmla="*/ 2829065 h 4071735"/>
              <a:gd name="connsiteX605" fmla="*/ 8160457 w 11856555"/>
              <a:gd name="connsiteY605" fmla="*/ 2837953 h 4071735"/>
              <a:gd name="connsiteX606" fmla="*/ 8192301 w 11856555"/>
              <a:gd name="connsiteY606" fmla="*/ 2835117 h 4071735"/>
              <a:gd name="connsiteX607" fmla="*/ 8186481 w 11856555"/>
              <a:gd name="connsiteY607" fmla="*/ 2829065 h 4071735"/>
              <a:gd name="connsiteX608" fmla="*/ 8298195 w 11856555"/>
              <a:gd name="connsiteY608" fmla="*/ 2812127 h 4071735"/>
              <a:gd name="connsiteX609" fmla="*/ 8292678 w 11856555"/>
              <a:gd name="connsiteY609" fmla="*/ 2817410 h 4071735"/>
              <a:gd name="connsiteX610" fmla="*/ 8302817 w 11856555"/>
              <a:gd name="connsiteY610" fmla="*/ 2825268 h 4071735"/>
              <a:gd name="connsiteX611" fmla="*/ 8303392 w 11856555"/>
              <a:gd name="connsiteY611" fmla="*/ 2813170 h 4071735"/>
              <a:gd name="connsiteX612" fmla="*/ 8298195 w 11856555"/>
              <a:gd name="connsiteY612" fmla="*/ 2812127 h 4071735"/>
              <a:gd name="connsiteX613" fmla="*/ 8251072 w 11856555"/>
              <a:gd name="connsiteY613" fmla="*/ 2811731 h 4071735"/>
              <a:gd name="connsiteX614" fmla="*/ 8250011 w 11856555"/>
              <a:gd name="connsiteY614" fmla="*/ 2812678 h 4071735"/>
              <a:gd name="connsiteX615" fmla="*/ 8257604 w 11856555"/>
              <a:gd name="connsiteY615" fmla="*/ 2826376 h 4071735"/>
              <a:gd name="connsiteX616" fmla="*/ 8251072 w 11856555"/>
              <a:gd name="connsiteY616" fmla="*/ 2811731 h 4071735"/>
              <a:gd name="connsiteX617" fmla="*/ 29569 w 11856555"/>
              <a:gd name="connsiteY617" fmla="*/ 2793661 h 4071735"/>
              <a:gd name="connsiteX618" fmla="*/ 32338 w 11856555"/>
              <a:gd name="connsiteY618" fmla="*/ 2799599 h 4071735"/>
              <a:gd name="connsiteX619" fmla="*/ 18084 w 11856555"/>
              <a:gd name="connsiteY619" fmla="*/ 2804200 h 4071735"/>
              <a:gd name="connsiteX620" fmla="*/ 8388797 w 11856555"/>
              <a:gd name="connsiteY620" fmla="*/ 2786347 h 4071735"/>
              <a:gd name="connsiteX621" fmla="*/ 8399515 w 11856555"/>
              <a:gd name="connsiteY621" fmla="*/ 2787446 h 4071735"/>
              <a:gd name="connsiteX622" fmla="*/ 8388797 w 11856555"/>
              <a:gd name="connsiteY622" fmla="*/ 2786347 h 4071735"/>
              <a:gd name="connsiteX623" fmla="*/ 8443437 w 11856555"/>
              <a:gd name="connsiteY623" fmla="*/ 2771850 h 4071735"/>
              <a:gd name="connsiteX624" fmla="*/ 8436461 w 11856555"/>
              <a:gd name="connsiteY624" fmla="*/ 2778312 h 4071735"/>
              <a:gd name="connsiteX625" fmla="*/ 8451188 w 11856555"/>
              <a:gd name="connsiteY625" fmla="*/ 2774080 h 4071735"/>
              <a:gd name="connsiteX626" fmla="*/ 8443437 w 11856555"/>
              <a:gd name="connsiteY626" fmla="*/ 2771850 h 4071735"/>
              <a:gd name="connsiteX627" fmla="*/ 1489924 w 11856555"/>
              <a:gd name="connsiteY627" fmla="*/ 2765261 h 4071735"/>
              <a:gd name="connsiteX628" fmla="*/ 1486639 w 11856555"/>
              <a:gd name="connsiteY628" fmla="*/ 2771172 h 4071735"/>
              <a:gd name="connsiteX629" fmla="*/ 1480187 w 11856555"/>
              <a:gd name="connsiteY629" fmla="*/ 2770286 h 4071735"/>
              <a:gd name="connsiteX630" fmla="*/ 1481152 w 11856555"/>
              <a:gd name="connsiteY630" fmla="*/ 2768224 h 4071735"/>
              <a:gd name="connsiteX631" fmla="*/ 8425756 w 11856555"/>
              <a:gd name="connsiteY631" fmla="*/ 2764117 h 4071735"/>
              <a:gd name="connsiteX632" fmla="*/ 8427354 w 11856555"/>
              <a:gd name="connsiteY632" fmla="*/ 2782045 h 4071735"/>
              <a:gd name="connsiteX633" fmla="*/ 8431423 w 11856555"/>
              <a:gd name="connsiteY633" fmla="*/ 2764159 h 4071735"/>
              <a:gd name="connsiteX634" fmla="*/ 8425756 w 11856555"/>
              <a:gd name="connsiteY634" fmla="*/ 2764117 h 4071735"/>
              <a:gd name="connsiteX635" fmla="*/ 4163 w 11856555"/>
              <a:gd name="connsiteY635" fmla="*/ 2758211 h 4071735"/>
              <a:gd name="connsiteX636" fmla="*/ 11940 w 11856555"/>
              <a:gd name="connsiteY636" fmla="*/ 2763992 h 4071735"/>
              <a:gd name="connsiteX637" fmla="*/ 13714 w 11856555"/>
              <a:gd name="connsiteY637" fmla="*/ 2766189 h 4071735"/>
              <a:gd name="connsiteX638" fmla="*/ 2390 w 11856555"/>
              <a:gd name="connsiteY638" fmla="*/ 2776393 h 4071735"/>
              <a:gd name="connsiteX639" fmla="*/ 4163 w 11856555"/>
              <a:gd name="connsiteY639" fmla="*/ 2758211 h 4071735"/>
              <a:gd name="connsiteX640" fmla="*/ 8476995 w 11856555"/>
              <a:gd name="connsiteY640" fmla="*/ 2756448 h 4071735"/>
              <a:gd name="connsiteX641" fmla="*/ 8492399 w 11856555"/>
              <a:gd name="connsiteY641" fmla="*/ 2770408 h 4071735"/>
              <a:gd name="connsiteX642" fmla="*/ 8476995 w 11856555"/>
              <a:gd name="connsiteY642" fmla="*/ 2756448 h 4071735"/>
              <a:gd name="connsiteX643" fmla="*/ 1497718 w 11856555"/>
              <a:gd name="connsiteY643" fmla="*/ 2750132 h 4071735"/>
              <a:gd name="connsiteX644" fmla="*/ 1497570 w 11856555"/>
              <a:gd name="connsiteY644" fmla="*/ 2750166 h 4071735"/>
              <a:gd name="connsiteX645" fmla="*/ 1510626 w 11856555"/>
              <a:gd name="connsiteY645" fmla="*/ 2756988 h 4071735"/>
              <a:gd name="connsiteX646" fmla="*/ 1513102 w 11856555"/>
              <a:gd name="connsiteY646" fmla="*/ 2757431 h 4071735"/>
              <a:gd name="connsiteX647" fmla="*/ 1489924 w 11856555"/>
              <a:gd name="connsiteY647" fmla="*/ 2765261 h 4071735"/>
              <a:gd name="connsiteX648" fmla="*/ 1490910 w 11856555"/>
              <a:gd name="connsiteY648" fmla="*/ 2763491 h 4071735"/>
              <a:gd name="connsiteX649" fmla="*/ 1483756 w 11856555"/>
              <a:gd name="connsiteY649" fmla="*/ 2762667 h 4071735"/>
              <a:gd name="connsiteX650" fmla="*/ 1481152 w 11856555"/>
              <a:gd name="connsiteY650" fmla="*/ 2768224 h 4071735"/>
              <a:gd name="connsiteX651" fmla="*/ 1367545 w 11856555"/>
              <a:gd name="connsiteY651" fmla="*/ 2806609 h 4071735"/>
              <a:gd name="connsiteX652" fmla="*/ 1282137 w 11856555"/>
              <a:gd name="connsiteY652" fmla="*/ 2832532 h 4071735"/>
              <a:gd name="connsiteX653" fmla="*/ 1248992 w 11856555"/>
              <a:gd name="connsiteY653" fmla="*/ 2840172 h 4071735"/>
              <a:gd name="connsiteX654" fmla="*/ 1170801 w 11856555"/>
              <a:gd name="connsiteY654" fmla="*/ 2862374 h 4071735"/>
              <a:gd name="connsiteX655" fmla="*/ 1125101 w 11856555"/>
              <a:gd name="connsiteY655" fmla="*/ 2880195 h 4071735"/>
              <a:gd name="connsiteX656" fmla="*/ 1109464 w 11856555"/>
              <a:gd name="connsiteY656" fmla="*/ 2884942 h 4071735"/>
              <a:gd name="connsiteX657" fmla="*/ 1187581 w 11856555"/>
              <a:gd name="connsiteY657" fmla="*/ 2855501 h 4071735"/>
              <a:gd name="connsiteX658" fmla="*/ 1497596 w 11856555"/>
              <a:gd name="connsiteY658" fmla="*/ 2750152 h 4071735"/>
              <a:gd name="connsiteX659" fmla="*/ 1505928 w 11856555"/>
              <a:gd name="connsiteY659" fmla="*/ 2748217 h 4071735"/>
              <a:gd name="connsiteX660" fmla="*/ 1508735 w 11856555"/>
              <a:gd name="connsiteY660" fmla="*/ 2748238 h 4071735"/>
              <a:gd name="connsiteX661" fmla="*/ 1497718 w 11856555"/>
              <a:gd name="connsiteY661" fmla="*/ 2750132 h 4071735"/>
              <a:gd name="connsiteX662" fmla="*/ 1519901 w 11856555"/>
              <a:gd name="connsiteY662" fmla="*/ 2746321 h 4071735"/>
              <a:gd name="connsiteX663" fmla="*/ 1529213 w 11856555"/>
              <a:gd name="connsiteY663" fmla="*/ 2748395 h 4071735"/>
              <a:gd name="connsiteX664" fmla="*/ 1508735 w 11856555"/>
              <a:gd name="connsiteY664" fmla="*/ 2748238 h 4071735"/>
              <a:gd name="connsiteX665" fmla="*/ 53439 w 11856555"/>
              <a:gd name="connsiteY665" fmla="*/ 2732829 h 4071735"/>
              <a:gd name="connsiteX666" fmla="*/ 65629 w 11856555"/>
              <a:gd name="connsiteY666" fmla="*/ 2744474 h 4071735"/>
              <a:gd name="connsiteX667" fmla="*/ 53439 w 11856555"/>
              <a:gd name="connsiteY667" fmla="*/ 2732829 h 4071735"/>
              <a:gd name="connsiteX668" fmla="*/ 1617576 w 11856555"/>
              <a:gd name="connsiteY668" fmla="*/ 2722998 h 4071735"/>
              <a:gd name="connsiteX669" fmla="*/ 1559700 w 11856555"/>
              <a:gd name="connsiteY669" fmla="*/ 2751519 h 4071735"/>
              <a:gd name="connsiteX670" fmla="*/ 1617576 w 11856555"/>
              <a:gd name="connsiteY670" fmla="*/ 2722998 h 4071735"/>
              <a:gd name="connsiteX671" fmla="*/ 980712 w 11856555"/>
              <a:gd name="connsiteY671" fmla="*/ 2671328 h 4071735"/>
              <a:gd name="connsiteX672" fmla="*/ 970303 w 11856555"/>
              <a:gd name="connsiteY672" fmla="*/ 2684301 h 4071735"/>
              <a:gd name="connsiteX673" fmla="*/ 993881 w 11856555"/>
              <a:gd name="connsiteY673" fmla="*/ 2673438 h 4071735"/>
              <a:gd name="connsiteX674" fmla="*/ 980712 w 11856555"/>
              <a:gd name="connsiteY674" fmla="*/ 2671328 h 4071735"/>
              <a:gd name="connsiteX675" fmla="*/ 381551 w 11856555"/>
              <a:gd name="connsiteY675" fmla="*/ 2666674 h 4071735"/>
              <a:gd name="connsiteX676" fmla="*/ 381436 w 11856555"/>
              <a:gd name="connsiteY676" fmla="*/ 2667019 h 4071735"/>
              <a:gd name="connsiteX677" fmla="*/ 381237 w 11856555"/>
              <a:gd name="connsiteY677" fmla="*/ 2667028 h 4071735"/>
              <a:gd name="connsiteX678" fmla="*/ 1905143 w 11856555"/>
              <a:gd name="connsiteY678" fmla="*/ 2644804 h 4071735"/>
              <a:gd name="connsiteX679" fmla="*/ 1910697 w 11856555"/>
              <a:gd name="connsiteY679" fmla="*/ 2664752 h 4071735"/>
              <a:gd name="connsiteX680" fmla="*/ 1905143 w 11856555"/>
              <a:gd name="connsiteY680" fmla="*/ 2644804 h 4071735"/>
              <a:gd name="connsiteX681" fmla="*/ 1253077 w 11856555"/>
              <a:gd name="connsiteY681" fmla="*/ 2643980 h 4071735"/>
              <a:gd name="connsiteX682" fmla="*/ 1247662 w 11856555"/>
              <a:gd name="connsiteY682" fmla="*/ 2649085 h 4071735"/>
              <a:gd name="connsiteX683" fmla="*/ 1233905 w 11856555"/>
              <a:gd name="connsiteY683" fmla="*/ 2654970 h 4071735"/>
              <a:gd name="connsiteX684" fmla="*/ 1882258 w 11856555"/>
              <a:gd name="connsiteY684" fmla="*/ 2643785 h 4071735"/>
              <a:gd name="connsiteX685" fmla="*/ 1881050 w 11856555"/>
              <a:gd name="connsiteY685" fmla="*/ 2649872 h 4071735"/>
              <a:gd name="connsiteX686" fmla="*/ 1877608 w 11856555"/>
              <a:gd name="connsiteY686" fmla="*/ 2646167 h 4071735"/>
              <a:gd name="connsiteX687" fmla="*/ 1918866 w 11856555"/>
              <a:gd name="connsiteY687" fmla="*/ 2640890 h 4071735"/>
              <a:gd name="connsiteX688" fmla="*/ 1919123 w 11856555"/>
              <a:gd name="connsiteY688" fmla="*/ 2641751 h 4071735"/>
              <a:gd name="connsiteX689" fmla="*/ 1918225 w 11856555"/>
              <a:gd name="connsiteY689" fmla="*/ 2641269 h 4071735"/>
              <a:gd name="connsiteX690" fmla="*/ 1871652 w 11856555"/>
              <a:gd name="connsiteY690" fmla="*/ 2639757 h 4071735"/>
              <a:gd name="connsiteX691" fmla="*/ 1877608 w 11856555"/>
              <a:gd name="connsiteY691" fmla="*/ 2646167 h 4071735"/>
              <a:gd name="connsiteX692" fmla="*/ 1868101 w 11856555"/>
              <a:gd name="connsiteY692" fmla="*/ 2651039 h 4071735"/>
              <a:gd name="connsiteX693" fmla="*/ 1864191 w 11856555"/>
              <a:gd name="connsiteY693" fmla="*/ 2651374 h 4071735"/>
              <a:gd name="connsiteX694" fmla="*/ 1871652 w 11856555"/>
              <a:gd name="connsiteY694" fmla="*/ 2639757 h 4071735"/>
              <a:gd name="connsiteX695" fmla="*/ 1892734 w 11856555"/>
              <a:gd name="connsiteY695" fmla="*/ 2639059 h 4071735"/>
              <a:gd name="connsiteX696" fmla="*/ 1893389 w 11856555"/>
              <a:gd name="connsiteY696" fmla="*/ 2640010 h 4071735"/>
              <a:gd name="connsiteX697" fmla="*/ 1891890 w 11856555"/>
              <a:gd name="connsiteY697" fmla="*/ 2639080 h 4071735"/>
              <a:gd name="connsiteX698" fmla="*/ 1884142 w 11856555"/>
              <a:gd name="connsiteY698" fmla="*/ 2634263 h 4071735"/>
              <a:gd name="connsiteX699" fmla="*/ 1891890 w 11856555"/>
              <a:gd name="connsiteY699" fmla="*/ 2639080 h 4071735"/>
              <a:gd name="connsiteX700" fmla="*/ 1891418 w 11856555"/>
              <a:gd name="connsiteY700" fmla="*/ 2639091 h 4071735"/>
              <a:gd name="connsiteX701" fmla="*/ 1882258 w 11856555"/>
              <a:gd name="connsiteY701" fmla="*/ 2643785 h 4071735"/>
              <a:gd name="connsiteX702" fmla="*/ 1269718 w 11856555"/>
              <a:gd name="connsiteY702" fmla="*/ 2626553 h 4071735"/>
              <a:gd name="connsiteX703" fmla="*/ 1271996 w 11856555"/>
              <a:gd name="connsiteY703" fmla="*/ 2630859 h 4071735"/>
              <a:gd name="connsiteX704" fmla="*/ 1260035 w 11856555"/>
              <a:gd name="connsiteY704" fmla="*/ 2639990 h 4071735"/>
              <a:gd name="connsiteX705" fmla="*/ 1253077 w 11856555"/>
              <a:gd name="connsiteY705" fmla="*/ 2643980 h 4071735"/>
              <a:gd name="connsiteX706" fmla="*/ 1260857 w 11856555"/>
              <a:gd name="connsiteY706" fmla="*/ 2636644 h 4071735"/>
              <a:gd name="connsiteX707" fmla="*/ 697699 w 11856555"/>
              <a:gd name="connsiteY707" fmla="*/ 2612583 h 4071735"/>
              <a:gd name="connsiteX708" fmla="*/ 687202 w 11856555"/>
              <a:gd name="connsiteY708" fmla="*/ 2621913 h 4071735"/>
              <a:gd name="connsiteX709" fmla="*/ 709163 w 11856555"/>
              <a:gd name="connsiteY709" fmla="*/ 2614116 h 4071735"/>
              <a:gd name="connsiteX710" fmla="*/ 697699 w 11856555"/>
              <a:gd name="connsiteY710" fmla="*/ 2612583 h 4071735"/>
              <a:gd name="connsiteX711" fmla="*/ 1882538 w 11856555"/>
              <a:gd name="connsiteY711" fmla="*/ 2603011 h 4071735"/>
              <a:gd name="connsiteX712" fmla="*/ 1882538 w 11856555"/>
              <a:gd name="connsiteY712" fmla="*/ 2603011 h 4071735"/>
              <a:gd name="connsiteX713" fmla="*/ 765711 w 11856555"/>
              <a:gd name="connsiteY713" fmla="*/ 2586580 h 4071735"/>
              <a:gd name="connsiteX714" fmla="*/ 758708 w 11856555"/>
              <a:gd name="connsiteY714" fmla="*/ 2587431 h 4071735"/>
              <a:gd name="connsiteX715" fmla="*/ 744819 w 11856555"/>
              <a:gd name="connsiteY715" fmla="*/ 2590495 h 4071735"/>
              <a:gd name="connsiteX716" fmla="*/ 773176 w 11856555"/>
              <a:gd name="connsiteY716" fmla="*/ 2590889 h 4071735"/>
              <a:gd name="connsiteX717" fmla="*/ 765711 w 11856555"/>
              <a:gd name="connsiteY717" fmla="*/ 2586580 h 4071735"/>
              <a:gd name="connsiteX718" fmla="*/ 873842 w 11856555"/>
              <a:gd name="connsiteY718" fmla="*/ 2565855 h 4071735"/>
              <a:gd name="connsiteX719" fmla="*/ 862312 w 11856555"/>
              <a:gd name="connsiteY719" fmla="*/ 2574184 h 4071735"/>
              <a:gd name="connsiteX720" fmla="*/ 886148 w 11856555"/>
              <a:gd name="connsiteY720" fmla="*/ 2566219 h 4071735"/>
              <a:gd name="connsiteX721" fmla="*/ 873842 w 11856555"/>
              <a:gd name="connsiteY721" fmla="*/ 2565855 h 4071735"/>
              <a:gd name="connsiteX722" fmla="*/ 9906384 w 11856555"/>
              <a:gd name="connsiteY722" fmla="*/ 2560716 h 4071735"/>
              <a:gd name="connsiteX723" fmla="*/ 9918918 w 11856555"/>
              <a:gd name="connsiteY723" fmla="*/ 2570277 h 4071735"/>
              <a:gd name="connsiteX724" fmla="*/ 9906384 w 11856555"/>
              <a:gd name="connsiteY724" fmla="*/ 2560716 h 4071735"/>
              <a:gd name="connsiteX725" fmla="*/ 1777335 w 11856555"/>
              <a:gd name="connsiteY725" fmla="*/ 2560218 h 4071735"/>
              <a:gd name="connsiteX726" fmla="*/ 1766276 w 11856555"/>
              <a:gd name="connsiteY726" fmla="*/ 2569564 h 4071735"/>
              <a:gd name="connsiteX727" fmla="*/ 1766084 w 11856555"/>
              <a:gd name="connsiteY727" fmla="*/ 2564738 h 4071735"/>
              <a:gd name="connsiteX728" fmla="*/ 9964434 w 11856555"/>
              <a:gd name="connsiteY728" fmla="*/ 2548700 h 4071735"/>
              <a:gd name="connsiteX729" fmla="*/ 9975115 w 11856555"/>
              <a:gd name="connsiteY729" fmla="*/ 2565269 h 4071735"/>
              <a:gd name="connsiteX730" fmla="*/ 9964434 w 11856555"/>
              <a:gd name="connsiteY730" fmla="*/ 2548700 h 4071735"/>
              <a:gd name="connsiteX731" fmla="*/ 9933340 w 11856555"/>
              <a:gd name="connsiteY731" fmla="*/ 2546724 h 4071735"/>
              <a:gd name="connsiteX732" fmla="*/ 9939782 w 11856555"/>
              <a:gd name="connsiteY732" fmla="*/ 2571339 h 4071735"/>
              <a:gd name="connsiteX733" fmla="*/ 9933340 w 11856555"/>
              <a:gd name="connsiteY733" fmla="*/ 2546724 h 4071735"/>
              <a:gd name="connsiteX734" fmla="*/ 949385 w 11856555"/>
              <a:gd name="connsiteY734" fmla="*/ 2534300 h 4071735"/>
              <a:gd name="connsiteX735" fmla="*/ 929813 w 11856555"/>
              <a:gd name="connsiteY735" fmla="*/ 2547726 h 4071735"/>
              <a:gd name="connsiteX736" fmla="*/ 949385 w 11856555"/>
              <a:gd name="connsiteY736" fmla="*/ 2534300 h 4071735"/>
              <a:gd name="connsiteX737" fmla="*/ 1965771 w 11856555"/>
              <a:gd name="connsiteY737" fmla="*/ 2520027 h 4071735"/>
              <a:gd name="connsiteX738" fmla="*/ 1962768 w 11856555"/>
              <a:gd name="connsiteY738" fmla="*/ 2528690 h 4071735"/>
              <a:gd name="connsiteX739" fmla="*/ 1975361 w 11856555"/>
              <a:gd name="connsiteY739" fmla="*/ 2521727 h 4071735"/>
              <a:gd name="connsiteX740" fmla="*/ 1965771 w 11856555"/>
              <a:gd name="connsiteY740" fmla="*/ 2520027 h 4071735"/>
              <a:gd name="connsiteX741" fmla="*/ 1789526 w 11856555"/>
              <a:gd name="connsiteY741" fmla="*/ 2507585 h 4071735"/>
              <a:gd name="connsiteX742" fmla="*/ 1797523 w 11856555"/>
              <a:gd name="connsiteY742" fmla="*/ 2512780 h 4071735"/>
              <a:gd name="connsiteX743" fmla="*/ 1805230 w 11856555"/>
              <a:gd name="connsiteY743" fmla="*/ 2519976 h 4071735"/>
              <a:gd name="connsiteX744" fmla="*/ 1784298 w 11856555"/>
              <a:gd name="connsiteY744" fmla="*/ 2538753 h 4071735"/>
              <a:gd name="connsiteX745" fmla="*/ 1779379 w 11856555"/>
              <a:gd name="connsiteY745" fmla="*/ 2530567 h 4071735"/>
              <a:gd name="connsiteX746" fmla="*/ 1775365 w 11856555"/>
              <a:gd name="connsiteY746" fmla="*/ 2516058 h 4071735"/>
              <a:gd name="connsiteX747" fmla="*/ 1788234 w 11856555"/>
              <a:gd name="connsiteY747" fmla="*/ 2506744 h 4071735"/>
              <a:gd name="connsiteX748" fmla="*/ 1788248 w 11856555"/>
              <a:gd name="connsiteY748" fmla="*/ 2506755 h 4071735"/>
              <a:gd name="connsiteX749" fmla="*/ 1787142 w 11856555"/>
              <a:gd name="connsiteY749" fmla="*/ 2507236 h 4071735"/>
              <a:gd name="connsiteX750" fmla="*/ 1788089 w 11856555"/>
              <a:gd name="connsiteY750" fmla="*/ 2506793 h 4071735"/>
              <a:gd name="connsiteX751" fmla="*/ 1775006 w 11856555"/>
              <a:gd name="connsiteY751" fmla="*/ 2505026 h 4071735"/>
              <a:gd name="connsiteX752" fmla="*/ 1773722 w 11856555"/>
              <a:gd name="connsiteY752" fmla="*/ 2510126 h 4071735"/>
              <a:gd name="connsiteX753" fmla="*/ 1775365 w 11856555"/>
              <a:gd name="connsiteY753" fmla="*/ 2516058 h 4071735"/>
              <a:gd name="connsiteX754" fmla="*/ 1769380 w 11856555"/>
              <a:gd name="connsiteY754" fmla="*/ 2519639 h 4071735"/>
              <a:gd name="connsiteX755" fmla="*/ 1739149 w 11856555"/>
              <a:gd name="connsiteY755" fmla="*/ 2519413 h 4071735"/>
              <a:gd name="connsiteX756" fmla="*/ 1750976 w 11856555"/>
              <a:gd name="connsiteY756" fmla="*/ 2511103 h 4071735"/>
              <a:gd name="connsiteX757" fmla="*/ 1794183 w 11856555"/>
              <a:gd name="connsiteY757" fmla="*/ 2504800 h 4071735"/>
              <a:gd name="connsiteX758" fmla="*/ 1789526 w 11856555"/>
              <a:gd name="connsiteY758" fmla="*/ 2507585 h 4071735"/>
              <a:gd name="connsiteX759" fmla="*/ 1788248 w 11856555"/>
              <a:gd name="connsiteY759" fmla="*/ 2506755 h 4071735"/>
              <a:gd name="connsiteX760" fmla="*/ 1788383 w 11856555"/>
              <a:gd name="connsiteY760" fmla="*/ 2506696 h 4071735"/>
              <a:gd name="connsiteX761" fmla="*/ 1782721 w 11856555"/>
              <a:gd name="connsiteY761" fmla="*/ 2503164 h 4071735"/>
              <a:gd name="connsiteX762" fmla="*/ 1782797 w 11856555"/>
              <a:gd name="connsiteY762" fmla="*/ 2503214 h 4071735"/>
              <a:gd name="connsiteX763" fmla="*/ 1780230 w 11856555"/>
              <a:gd name="connsiteY763" fmla="*/ 2503706 h 4071735"/>
              <a:gd name="connsiteX764" fmla="*/ 1775006 w 11856555"/>
              <a:gd name="connsiteY764" fmla="*/ 2505026 h 4071735"/>
              <a:gd name="connsiteX765" fmla="*/ 1775427 w 11856555"/>
              <a:gd name="connsiteY765" fmla="*/ 2503352 h 4071735"/>
              <a:gd name="connsiteX766" fmla="*/ 1782721 w 11856555"/>
              <a:gd name="connsiteY766" fmla="*/ 2503164 h 4071735"/>
              <a:gd name="connsiteX767" fmla="*/ 1089422 w 11856555"/>
              <a:gd name="connsiteY767" fmla="*/ 2495537 h 4071735"/>
              <a:gd name="connsiteX768" fmla="*/ 1079055 w 11856555"/>
              <a:gd name="connsiteY768" fmla="*/ 2495730 h 4071735"/>
              <a:gd name="connsiteX769" fmla="*/ 1069075 w 11856555"/>
              <a:gd name="connsiteY769" fmla="*/ 2500271 h 4071735"/>
              <a:gd name="connsiteX770" fmla="*/ 1089422 w 11856555"/>
              <a:gd name="connsiteY770" fmla="*/ 2495537 h 4071735"/>
              <a:gd name="connsiteX771" fmla="*/ 631023 w 11856555"/>
              <a:gd name="connsiteY771" fmla="*/ 2476150 h 4071735"/>
              <a:gd name="connsiteX772" fmla="*/ 638477 w 11856555"/>
              <a:gd name="connsiteY772" fmla="*/ 2479188 h 4071735"/>
              <a:gd name="connsiteX773" fmla="*/ 629367 w 11856555"/>
              <a:gd name="connsiteY773" fmla="*/ 2485112 h 4071735"/>
              <a:gd name="connsiteX774" fmla="*/ 618613 w 11856555"/>
              <a:gd name="connsiteY774" fmla="*/ 2487843 h 4071735"/>
              <a:gd name="connsiteX775" fmla="*/ 631023 w 11856555"/>
              <a:gd name="connsiteY775" fmla="*/ 2476150 h 4071735"/>
              <a:gd name="connsiteX776" fmla="*/ 1179627 w 11856555"/>
              <a:gd name="connsiteY776" fmla="*/ 2469610 h 4071735"/>
              <a:gd name="connsiteX777" fmla="*/ 1165705 w 11856555"/>
              <a:gd name="connsiteY777" fmla="*/ 2482897 h 4071735"/>
              <a:gd name="connsiteX778" fmla="*/ 1200522 w 11856555"/>
              <a:gd name="connsiteY778" fmla="*/ 2471034 h 4071735"/>
              <a:gd name="connsiteX779" fmla="*/ 1179627 w 11856555"/>
              <a:gd name="connsiteY779" fmla="*/ 2469610 h 4071735"/>
              <a:gd name="connsiteX780" fmla="*/ 2285600 w 11856555"/>
              <a:gd name="connsiteY780" fmla="*/ 2464876 h 4071735"/>
              <a:gd name="connsiteX781" fmla="*/ 2266544 w 11856555"/>
              <a:gd name="connsiteY781" fmla="*/ 2484098 h 4071735"/>
              <a:gd name="connsiteX782" fmla="*/ 2285600 w 11856555"/>
              <a:gd name="connsiteY782" fmla="*/ 2464876 h 4071735"/>
              <a:gd name="connsiteX783" fmla="*/ 2235479 w 11856555"/>
              <a:gd name="connsiteY783" fmla="*/ 2457776 h 4071735"/>
              <a:gd name="connsiteX784" fmla="*/ 1930049 w 11856555"/>
              <a:gd name="connsiteY784" fmla="*/ 2626340 h 4071735"/>
              <a:gd name="connsiteX785" fmla="*/ 1906442 w 11856555"/>
              <a:gd name="connsiteY785" fmla="*/ 2638727 h 4071735"/>
              <a:gd name="connsiteX786" fmla="*/ 1892734 w 11856555"/>
              <a:gd name="connsiteY786" fmla="*/ 2639059 h 4071735"/>
              <a:gd name="connsiteX787" fmla="*/ 1881398 w 11856555"/>
              <a:gd name="connsiteY787" fmla="*/ 2622564 h 4071735"/>
              <a:gd name="connsiteX788" fmla="*/ 1708393 w 11856555"/>
              <a:gd name="connsiteY788" fmla="*/ 2682779 h 4071735"/>
              <a:gd name="connsiteX789" fmla="*/ 1618349 w 11856555"/>
              <a:gd name="connsiteY789" fmla="*/ 2731690 h 4071735"/>
              <a:gd name="connsiteX790" fmla="*/ 1831957 w 11856555"/>
              <a:gd name="connsiteY790" fmla="*/ 2692212 h 4071735"/>
              <a:gd name="connsiteX791" fmla="*/ 1862415 w 11856555"/>
              <a:gd name="connsiteY791" fmla="*/ 2653951 h 4071735"/>
              <a:gd name="connsiteX792" fmla="*/ 1868101 w 11856555"/>
              <a:gd name="connsiteY792" fmla="*/ 2651039 h 4071735"/>
              <a:gd name="connsiteX793" fmla="*/ 1885900 w 11856555"/>
              <a:gd name="connsiteY793" fmla="*/ 2649508 h 4071735"/>
              <a:gd name="connsiteX794" fmla="*/ 1906442 w 11856555"/>
              <a:gd name="connsiteY794" fmla="*/ 2638727 h 4071735"/>
              <a:gd name="connsiteX795" fmla="*/ 1913200 w 11856555"/>
              <a:gd name="connsiteY795" fmla="*/ 2638565 h 4071735"/>
              <a:gd name="connsiteX796" fmla="*/ 1918225 w 11856555"/>
              <a:gd name="connsiteY796" fmla="*/ 2641269 h 4071735"/>
              <a:gd name="connsiteX797" fmla="*/ 1914243 w 11856555"/>
              <a:gd name="connsiteY797" fmla="*/ 2643628 h 4071735"/>
              <a:gd name="connsiteX798" fmla="*/ 1923034 w 11856555"/>
              <a:gd name="connsiteY798" fmla="*/ 2654891 h 4071735"/>
              <a:gd name="connsiteX799" fmla="*/ 1919123 w 11856555"/>
              <a:gd name="connsiteY799" fmla="*/ 2641751 h 4071735"/>
              <a:gd name="connsiteX800" fmla="*/ 1922001 w 11856555"/>
              <a:gd name="connsiteY800" fmla="*/ 2643302 h 4071735"/>
              <a:gd name="connsiteX801" fmla="*/ 1949326 w 11856555"/>
              <a:gd name="connsiteY801" fmla="*/ 2632106 h 4071735"/>
              <a:gd name="connsiteX802" fmla="*/ 2153699 w 11856555"/>
              <a:gd name="connsiteY802" fmla="*/ 2552563 h 4071735"/>
              <a:gd name="connsiteX803" fmla="*/ 2264930 w 11856555"/>
              <a:gd name="connsiteY803" fmla="*/ 2487163 h 4071735"/>
              <a:gd name="connsiteX804" fmla="*/ 2263122 w 11856555"/>
              <a:gd name="connsiteY804" fmla="*/ 2466880 h 4071735"/>
              <a:gd name="connsiteX805" fmla="*/ 2235479 w 11856555"/>
              <a:gd name="connsiteY805" fmla="*/ 2457776 h 4071735"/>
              <a:gd name="connsiteX806" fmla="*/ 2180251 w 11856555"/>
              <a:gd name="connsiteY806" fmla="*/ 2447980 h 4071735"/>
              <a:gd name="connsiteX807" fmla="*/ 2180251 w 11856555"/>
              <a:gd name="connsiteY807" fmla="*/ 2447980 h 4071735"/>
              <a:gd name="connsiteX808" fmla="*/ 2299651 w 11856555"/>
              <a:gd name="connsiteY808" fmla="*/ 2442452 h 4071735"/>
              <a:gd name="connsiteX809" fmla="*/ 2295290 w 11856555"/>
              <a:gd name="connsiteY809" fmla="*/ 2446491 h 4071735"/>
              <a:gd name="connsiteX810" fmla="*/ 2303922 w 11856555"/>
              <a:gd name="connsiteY810" fmla="*/ 2443349 h 4071735"/>
              <a:gd name="connsiteX811" fmla="*/ 2299651 w 11856555"/>
              <a:gd name="connsiteY811" fmla="*/ 2442452 h 4071735"/>
              <a:gd name="connsiteX812" fmla="*/ 621659 w 11856555"/>
              <a:gd name="connsiteY812" fmla="*/ 2375174 h 4071735"/>
              <a:gd name="connsiteX813" fmla="*/ 622717 w 11856555"/>
              <a:gd name="connsiteY813" fmla="*/ 2376354 h 4071735"/>
              <a:gd name="connsiteX814" fmla="*/ 620041 w 11856555"/>
              <a:gd name="connsiteY814" fmla="*/ 2376737 h 4071735"/>
              <a:gd name="connsiteX815" fmla="*/ 601527 w 11856555"/>
              <a:gd name="connsiteY815" fmla="*/ 2371268 h 4071735"/>
              <a:gd name="connsiteX816" fmla="*/ 602400 w 11856555"/>
              <a:gd name="connsiteY816" fmla="*/ 2371410 h 4071735"/>
              <a:gd name="connsiteX817" fmla="*/ 601260 w 11856555"/>
              <a:gd name="connsiteY817" fmla="*/ 2372077 h 4071735"/>
              <a:gd name="connsiteX818" fmla="*/ 531035 w 11856555"/>
              <a:gd name="connsiteY818" fmla="*/ 2352543 h 4071735"/>
              <a:gd name="connsiteX819" fmla="*/ 520200 w 11856555"/>
              <a:gd name="connsiteY819" fmla="*/ 2370391 h 4071735"/>
              <a:gd name="connsiteX820" fmla="*/ 520449 w 11856555"/>
              <a:gd name="connsiteY820" fmla="*/ 2368819 h 4071735"/>
              <a:gd name="connsiteX821" fmla="*/ 531035 w 11856555"/>
              <a:gd name="connsiteY821" fmla="*/ 2352543 h 4071735"/>
              <a:gd name="connsiteX822" fmla="*/ 579222 w 11856555"/>
              <a:gd name="connsiteY822" fmla="*/ 2342407 h 4071735"/>
              <a:gd name="connsiteX823" fmla="*/ 567141 w 11856555"/>
              <a:gd name="connsiteY823" fmla="*/ 2355166 h 4071735"/>
              <a:gd name="connsiteX824" fmla="*/ 579222 w 11856555"/>
              <a:gd name="connsiteY824" fmla="*/ 2342407 h 4071735"/>
              <a:gd name="connsiteX825" fmla="*/ 601441 w 11856555"/>
              <a:gd name="connsiteY825" fmla="*/ 2337507 h 4071735"/>
              <a:gd name="connsiteX826" fmla="*/ 601441 w 11856555"/>
              <a:gd name="connsiteY826" fmla="*/ 2337507 h 4071735"/>
              <a:gd name="connsiteX827" fmla="*/ 232045 w 11856555"/>
              <a:gd name="connsiteY827" fmla="*/ 2303402 h 4071735"/>
              <a:gd name="connsiteX828" fmla="*/ 230864 w 11856555"/>
              <a:gd name="connsiteY828" fmla="*/ 2306383 h 4071735"/>
              <a:gd name="connsiteX829" fmla="*/ 224872 w 11856555"/>
              <a:gd name="connsiteY829" fmla="*/ 2306812 h 4071735"/>
              <a:gd name="connsiteX830" fmla="*/ 798448 w 11856555"/>
              <a:gd name="connsiteY830" fmla="*/ 2302429 h 4071735"/>
              <a:gd name="connsiteX831" fmla="*/ 721516 w 11856555"/>
              <a:gd name="connsiteY831" fmla="*/ 2350172 h 4071735"/>
              <a:gd name="connsiteX832" fmla="*/ 718803 w 11856555"/>
              <a:gd name="connsiteY832" fmla="*/ 2362095 h 4071735"/>
              <a:gd name="connsiteX833" fmla="*/ 799673 w 11856555"/>
              <a:gd name="connsiteY833" fmla="*/ 2337366 h 4071735"/>
              <a:gd name="connsiteX834" fmla="*/ 761693 w 11856555"/>
              <a:gd name="connsiteY834" fmla="*/ 2334909 h 4071735"/>
              <a:gd name="connsiteX835" fmla="*/ 798448 w 11856555"/>
              <a:gd name="connsiteY835" fmla="*/ 2302429 h 4071735"/>
              <a:gd name="connsiteX836" fmla="*/ 799842 w 11856555"/>
              <a:gd name="connsiteY836" fmla="*/ 2267762 h 4071735"/>
              <a:gd name="connsiteX837" fmla="*/ 792573 w 11856555"/>
              <a:gd name="connsiteY837" fmla="*/ 2268273 h 4071735"/>
              <a:gd name="connsiteX838" fmla="*/ 777134 w 11856555"/>
              <a:gd name="connsiteY838" fmla="*/ 2275123 h 4071735"/>
              <a:gd name="connsiteX839" fmla="*/ 803358 w 11856555"/>
              <a:gd name="connsiteY839" fmla="*/ 2272786 h 4071735"/>
              <a:gd name="connsiteX840" fmla="*/ 799842 w 11856555"/>
              <a:gd name="connsiteY840" fmla="*/ 2267762 h 4071735"/>
              <a:gd name="connsiteX841" fmla="*/ 267223 w 11856555"/>
              <a:gd name="connsiteY841" fmla="*/ 2260327 h 4071735"/>
              <a:gd name="connsiteX842" fmla="*/ 257623 w 11856555"/>
              <a:gd name="connsiteY842" fmla="*/ 2271769 h 4071735"/>
              <a:gd name="connsiteX843" fmla="*/ 279585 w 11856555"/>
              <a:gd name="connsiteY843" fmla="*/ 2263971 h 4071735"/>
              <a:gd name="connsiteX844" fmla="*/ 267223 w 11856555"/>
              <a:gd name="connsiteY844" fmla="*/ 2260327 h 4071735"/>
              <a:gd name="connsiteX845" fmla="*/ 213329 w 11856555"/>
              <a:gd name="connsiteY845" fmla="*/ 2256735 h 4071735"/>
              <a:gd name="connsiteX846" fmla="*/ 201752 w 11856555"/>
              <a:gd name="connsiteY846" fmla="*/ 2259225 h 4071735"/>
              <a:gd name="connsiteX847" fmla="*/ 217254 w 11856555"/>
              <a:gd name="connsiteY847" fmla="*/ 2263684 h 4071735"/>
              <a:gd name="connsiteX848" fmla="*/ 213329 w 11856555"/>
              <a:gd name="connsiteY848" fmla="*/ 2256735 h 4071735"/>
              <a:gd name="connsiteX849" fmla="*/ 231206 w 11856555"/>
              <a:gd name="connsiteY849" fmla="*/ 2250760 h 4071735"/>
              <a:gd name="connsiteX850" fmla="*/ 231206 w 11856555"/>
              <a:gd name="connsiteY850" fmla="*/ 2250760 h 4071735"/>
              <a:gd name="connsiteX851" fmla="*/ 10996782 w 11856555"/>
              <a:gd name="connsiteY851" fmla="*/ 2228907 h 4071735"/>
              <a:gd name="connsiteX852" fmla="*/ 10996782 w 11856555"/>
              <a:gd name="connsiteY852" fmla="*/ 2228907 h 4071735"/>
              <a:gd name="connsiteX853" fmla="*/ 339390 w 11856555"/>
              <a:gd name="connsiteY853" fmla="*/ 2227978 h 4071735"/>
              <a:gd name="connsiteX854" fmla="*/ 339849 w 11856555"/>
              <a:gd name="connsiteY854" fmla="*/ 2241079 h 4071735"/>
              <a:gd name="connsiteX855" fmla="*/ 339390 w 11856555"/>
              <a:gd name="connsiteY855" fmla="*/ 2227978 h 4071735"/>
              <a:gd name="connsiteX856" fmla="*/ 295013 w 11856555"/>
              <a:gd name="connsiteY856" fmla="*/ 2212814 h 4071735"/>
              <a:gd name="connsiteX857" fmla="*/ 294665 w 11856555"/>
              <a:gd name="connsiteY857" fmla="*/ 2213247 h 4071735"/>
              <a:gd name="connsiteX858" fmla="*/ 294630 w 11856555"/>
              <a:gd name="connsiteY858" fmla="*/ 2212982 h 4071735"/>
              <a:gd name="connsiteX859" fmla="*/ 297415 w 11856555"/>
              <a:gd name="connsiteY859" fmla="*/ 2209814 h 4071735"/>
              <a:gd name="connsiteX860" fmla="*/ 299013 w 11856555"/>
              <a:gd name="connsiteY860" fmla="*/ 2211040 h 4071735"/>
              <a:gd name="connsiteX861" fmla="*/ 295013 w 11856555"/>
              <a:gd name="connsiteY861" fmla="*/ 2212814 h 4071735"/>
              <a:gd name="connsiteX862" fmla="*/ 10772134 w 11856555"/>
              <a:gd name="connsiteY862" fmla="*/ 2208039 h 4071735"/>
              <a:gd name="connsiteX863" fmla="*/ 10772134 w 11856555"/>
              <a:gd name="connsiteY863" fmla="*/ 2208039 h 4071735"/>
              <a:gd name="connsiteX864" fmla="*/ 418313 w 11856555"/>
              <a:gd name="connsiteY864" fmla="*/ 2207209 h 4071735"/>
              <a:gd name="connsiteX865" fmla="*/ 404379 w 11856555"/>
              <a:gd name="connsiteY865" fmla="*/ 2223646 h 4071735"/>
              <a:gd name="connsiteX866" fmla="*/ 423691 w 11856555"/>
              <a:gd name="connsiteY866" fmla="*/ 2207323 h 4071735"/>
              <a:gd name="connsiteX867" fmla="*/ 418313 w 11856555"/>
              <a:gd name="connsiteY867" fmla="*/ 2207209 h 4071735"/>
              <a:gd name="connsiteX868" fmla="*/ 319375 w 11856555"/>
              <a:gd name="connsiteY868" fmla="*/ 2202016 h 4071735"/>
              <a:gd name="connsiteX869" fmla="*/ 308056 w 11856555"/>
              <a:gd name="connsiteY869" fmla="*/ 2217991 h 4071735"/>
              <a:gd name="connsiteX870" fmla="*/ 299013 w 11856555"/>
              <a:gd name="connsiteY870" fmla="*/ 2211040 h 4071735"/>
              <a:gd name="connsiteX871" fmla="*/ 10822097 w 11856555"/>
              <a:gd name="connsiteY871" fmla="*/ 2191398 h 4071735"/>
              <a:gd name="connsiteX872" fmla="*/ 10808903 w 11856555"/>
              <a:gd name="connsiteY872" fmla="*/ 2191940 h 4071735"/>
              <a:gd name="connsiteX873" fmla="*/ 10837178 w 11856555"/>
              <a:gd name="connsiteY873" fmla="*/ 2196403 h 4071735"/>
              <a:gd name="connsiteX874" fmla="*/ 10822097 w 11856555"/>
              <a:gd name="connsiteY874" fmla="*/ 2191398 h 4071735"/>
              <a:gd name="connsiteX875" fmla="*/ 10696352 w 11856555"/>
              <a:gd name="connsiteY875" fmla="*/ 2189237 h 4071735"/>
              <a:gd name="connsiteX876" fmla="*/ 10663748 w 11856555"/>
              <a:gd name="connsiteY876" fmla="*/ 2220618 h 4071735"/>
              <a:gd name="connsiteX877" fmla="*/ 10696352 w 11856555"/>
              <a:gd name="connsiteY877" fmla="*/ 2189237 h 4071735"/>
              <a:gd name="connsiteX878" fmla="*/ 442860 w 11856555"/>
              <a:gd name="connsiteY878" fmla="*/ 2184076 h 4071735"/>
              <a:gd name="connsiteX879" fmla="*/ 441065 w 11856555"/>
              <a:gd name="connsiteY879" fmla="*/ 2211616 h 4071735"/>
              <a:gd name="connsiteX880" fmla="*/ 442860 w 11856555"/>
              <a:gd name="connsiteY880" fmla="*/ 2184076 h 4071735"/>
              <a:gd name="connsiteX881" fmla="*/ 279713 w 11856555"/>
              <a:gd name="connsiteY881" fmla="*/ 2179396 h 4071735"/>
              <a:gd name="connsiteX882" fmla="*/ 301805 w 11856555"/>
              <a:gd name="connsiteY882" fmla="*/ 2180458 h 4071735"/>
              <a:gd name="connsiteX883" fmla="*/ 316212 w 11856555"/>
              <a:gd name="connsiteY883" fmla="*/ 2187695 h 4071735"/>
              <a:gd name="connsiteX884" fmla="*/ 238505 w 11856555"/>
              <a:gd name="connsiteY884" fmla="*/ 2226744 h 4071735"/>
              <a:gd name="connsiteX885" fmla="*/ 263600 w 11856555"/>
              <a:gd name="connsiteY885" fmla="*/ 2192647 h 4071735"/>
              <a:gd name="connsiteX886" fmla="*/ 10933550 w 11856555"/>
              <a:gd name="connsiteY886" fmla="*/ 2176131 h 4071735"/>
              <a:gd name="connsiteX887" fmla="*/ 10911262 w 11856555"/>
              <a:gd name="connsiteY887" fmla="*/ 2189466 h 4071735"/>
              <a:gd name="connsiteX888" fmla="*/ 10910087 w 11856555"/>
              <a:gd name="connsiteY888" fmla="*/ 2182969 h 4071735"/>
              <a:gd name="connsiteX889" fmla="*/ 10933550 w 11856555"/>
              <a:gd name="connsiteY889" fmla="*/ 2176131 h 4071735"/>
              <a:gd name="connsiteX890" fmla="*/ 1083025 w 11856555"/>
              <a:gd name="connsiteY890" fmla="*/ 2157923 h 4071735"/>
              <a:gd name="connsiteX891" fmla="*/ 1076661 w 11856555"/>
              <a:gd name="connsiteY891" fmla="*/ 2158992 h 4071735"/>
              <a:gd name="connsiteX892" fmla="*/ 1064250 w 11856555"/>
              <a:gd name="connsiteY892" fmla="*/ 2170685 h 4071735"/>
              <a:gd name="connsiteX893" fmla="*/ 1086213 w 11856555"/>
              <a:gd name="connsiteY893" fmla="*/ 2162887 h 4071735"/>
              <a:gd name="connsiteX894" fmla="*/ 1083025 w 11856555"/>
              <a:gd name="connsiteY894" fmla="*/ 2157923 h 4071735"/>
              <a:gd name="connsiteX895" fmla="*/ 133978 w 11856555"/>
              <a:gd name="connsiteY895" fmla="*/ 2151184 h 4071735"/>
              <a:gd name="connsiteX896" fmla="*/ 138110 w 11856555"/>
              <a:gd name="connsiteY896" fmla="*/ 2156837 h 4071735"/>
              <a:gd name="connsiteX897" fmla="*/ 136228 w 11856555"/>
              <a:gd name="connsiteY897" fmla="*/ 2166096 h 4071735"/>
              <a:gd name="connsiteX898" fmla="*/ 132244 w 11856555"/>
              <a:gd name="connsiteY898" fmla="*/ 2167180 h 4071735"/>
              <a:gd name="connsiteX899" fmla="*/ 125538 w 11856555"/>
              <a:gd name="connsiteY899" fmla="*/ 2166720 h 4071735"/>
              <a:gd name="connsiteX900" fmla="*/ 133978 w 11856555"/>
              <a:gd name="connsiteY900" fmla="*/ 2151184 h 4071735"/>
              <a:gd name="connsiteX901" fmla="*/ 479569 w 11856555"/>
              <a:gd name="connsiteY901" fmla="*/ 2143757 h 4071735"/>
              <a:gd name="connsiteX902" fmla="*/ 480342 w 11856555"/>
              <a:gd name="connsiteY902" fmla="*/ 2143865 h 4071735"/>
              <a:gd name="connsiteX903" fmla="*/ 469990 w 11856555"/>
              <a:gd name="connsiteY903" fmla="*/ 2151504 h 4071735"/>
              <a:gd name="connsiteX904" fmla="*/ 475021 w 11856555"/>
              <a:gd name="connsiteY904" fmla="*/ 2145069 h 4071735"/>
              <a:gd name="connsiteX905" fmla="*/ 177368 w 11856555"/>
              <a:gd name="connsiteY905" fmla="*/ 2136548 h 4071735"/>
              <a:gd name="connsiteX906" fmla="*/ 184190 w 11856555"/>
              <a:gd name="connsiteY906" fmla="*/ 2146891 h 4071735"/>
              <a:gd name="connsiteX907" fmla="*/ 165458 w 11856555"/>
              <a:gd name="connsiteY907" fmla="*/ 2148560 h 4071735"/>
              <a:gd name="connsiteX908" fmla="*/ 177368 w 11856555"/>
              <a:gd name="connsiteY908" fmla="*/ 2136548 h 4071735"/>
              <a:gd name="connsiteX909" fmla="*/ 249706 w 11856555"/>
              <a:gd name="connsiteY909" fmla="*/ 2126315 h 4071735"/>
              <a:gd name="connsiteX910" fmla="*/ 246859 w 11856555"/>
              <a:gd name="connsiteY910" fmla="*/ 2141167 h 4071735"/>
              <a:gd name="connsiteX911" fmla="*/ 245241 w 11856555"/>
              <a:gd name="connsiteY911" fmla="*/ 2141481 h 4071735"/>
              <a:gd name="connsiteX912" fmla="*/ 243801 w 11856555"/>
              <a:gd name="connsiteY912" fmla="*/ 2137518 h 4071735"/>
              <a:gd name="connsiteX913" fmla="*/ 249706 w 11856555"/>
              <a:gd name="connsiteY913" fmla="*/ 2126315 h 4071735"/>
              <a:gd name="connsiteX914" fmla="*/ 390690 w 11856555"/>
              <a:gd name="connsiteY914" fmla="*/ 2123013 h 4071735"/>
              <a:gd name="connsiteX915" fmla="*/ 389140 w 11856555"/>
              <a:gd name="connsiteY915" fmla="*/ 2137389 h 4071735"/>
              <a:gd name="connsiteX916" fmla="*/ 390690 w 11856555"/>
              <a:gd name="connsiteY916" fmla="*/ 2123013 h 4071735"/>
              <a:gd name="connsiteX917" fmla="*/ 1235098 w 11856555"/>
              <a:gd name="connsiteY917" fmla="*/ 2117495 h 4071735"/>
              <a:gd name="connsiteX918" fmla="*/ 1209853 w 11856555"/>
              <a:gd name="connsiteY918" fmla="*/ 2117554 h 4071735"/>
              <a:gd name="connsiteX919" fmla="*/ 1187170 w 11856555"/>
              <a:gd name="connsiteY919" fmla="*/ 2130526 h 4071735"/>
              <a:gd name="connsiteX920" fmla="*/ 1235098 w 11856555"/>
              <a:gd name="connsiteY920" fmla="*/ 2117495 h 4071735"/>
              <a:gd name="connsiteX921" fmla="*/ 395621 w 11856555"/>
              <a:gd name="connsiteY921" fmla="*/ 2101538 h 4071735"/>
              <a:gd name="connsiteX922" fmla="*/ 428282 w 11856555"/>
              <a:gd name="connsiteY922" fmla="*/ 2110537 h 4071735"/>
              <a:gd name="connsiteX923" fmla="*/ 395621 w 11856555"/>
              <a:gd name="connsiteY923" fmla="*/ 2101538 h 4071735"/>
              <a:gd name="connsiteX924" fmla="*/ 477664 w 11856555"/>
              <a:gd name="connsiteY924" fmla="*/ 2092630 h 4071735"/>
              <a:gd name="connsiteX925" fmla="*/ 465231 w 11856555"/>
              <a:gd name="connsiteY925" fmla="*/ 2101404 h 4071735"/>
              <a:gd name="connsiteX926" fmla="*/ 475533 w 11856555"/>
              <a:gd name="connsiteY926" fmla="*/ 2100486 h 4071735"/>
              <a:gd name="connsiteX927" fmla="*/ 481809 w 11856555"/>
              <a:gd name="connsiteY927" fmla="*/ 2099926 h 4071735"/>
              <a:gd name="connsiteX928" fmla="*/ 480179 w 11856555"/>
              <a:gd name="connsiteY928" fmla="*/ 2094766 h 4071735"/>
              <a:gd name="connsiteX929" fmla="*/ 1587249 w 11856555"/>
              <a:gd name="connsiteY929" fmla="*/ 2084061 h 4071735"/>
              <a:gd name="connsiteX930" fmla="*/ 1581637 w 11856555"/>
              <a:gd name="connsiteY930" fmla="*/ 2086614 h 4071735"/>
              <a:gd name="connsiteX931" fmla="*/ 1587249 w 11856555"/>
              <a:gd name="connsiteY931" fmla="*/ 2084061 h 4071735"/>
              <a:gd name="connsiteX932" fmla="*/ 1338624 w 11856555"/>
              <a:gd name="connsiteY932" fmla="*/ 2083811 h 4071735"/>
              <a:gd name="connsiteX933" fmla="*/ 1338705 w 11856555"/>
              <a:gd name="connsiteY933" fmla="*/ 2093660 h 4071735"/>
              <a:gd name="connsiteX934" fmla="*/ 1338624 w 11856555"/>
              <a:gd name="connsiteY934" fmla="*/ 2083811 h 4071735"/>
              <a:gd name="connsiteX935" fmla="*/ 458544 w 11856555"/>
              <a:gd name="connsiteY935" fmla="*/ 2082651 h 4071735"/>
              <a:gd name="connsiteX936" fmla="*/ 433129 w 11856555"/>
              <a:gd name="connsiteY936" fmla="*/ 2101345 h 4071735"/>
              <a:gd name="connsiteX937" fmla="*/ 458544 w 11856555"/>
              <a:gd name="connsiteY937" fmla="*/ 2082651 h 4071735"/>
              <a:gd name="connsiteX938" fmla="*/ 309292 w 11856555"/>
              <a:gd name="connsiteY938" fmla="*/ 2081795 h 4071735"/>
              <a:gd name="connsiteX939" fmla="*/ 308790 w 11856555"/>
              <a:gd name="connsiteY939" fmla="*/ 2083219 h 4071735"/>
              <a:gd name="connsiteX940" fmla="*/ 306312 w 11856555"/>
              <a:gd name="connsiteY940" fmla="*/ 2082207 h 4071735"/>
              <a:gd name="connsiteX941" fmla="*/ 470150 w 11856555"/>
              <a:gd name="connsiteY941" fmla="*/ 2069206 h 4071735"/>
              <a:gd name="connsiteX942" fmla="*/ 462390 w 11856555"/>
              <a:gd name="connsiteY942" fmla="*/ 2069532 h 4071735"/>
              <a:gd name="connsiteX943" fmla="*/ 467508 w 11856555"/>
              <a:gd name="connsiteY943" fmla="*/ 2079297 h 4071735"/>
              <a:gd name="connsiteX944" fmla="*/ 473889 w 11856555"/>
              <a:gd name="connsiteY944" fmla="*/ 2074847 h 4071735"/>
              <a:gd name="connsiteX945" fmla="*/ 472228 w 11856555"/>
              <a:gd name="connsiteY945" fmla="*/ 2069589 h 4071735"/>
              <a:gd name="connsiteX946" fmla="*/ 10946090 w 11856555"/>
              <a:gd name="connsiteY946" fmla="*/ 2041403 h 4071735"/>
              <a:gd name="connsiteX947" fmla="*/ 10939307 w 11856555"/>
              <a:gd name="connsiteY947" fmla="*/ 2050039 h 4071735"/>
              <a:gd name="connsiteX948" fmla="*/ 10954033 w 11856555"/>
              <a:gd name="connsiteY948" fmla="*/ 2045805 h 4071735"/>
              <a:gd name="connsiteX949" fmla="*/ 10946090 w 11856555"/>
              <a:gd name="connsiteY949" fmla="*/ 2041403 h 4071735"/>
              <a:gd name="connsiteX950" fmla="*/ 513871 w 11856555"/>
              <a:gd name="connsiteY950" fmla="*/ 2032819 h 4071735"/>
              <a:gd name="connsiteX951" fmla="*/ 407035 w 11856555"/>
              <a:gd name="connsiteY951" fmla="*/ 2062783 h 4071735"/>
              <a:gd name="connsiteX952" fmla="*/ 513871 w 11856555"/>
              <a:gd name="connsiteY952" fmla="*/ 2032819 h 4071735"/>
              <a:gd name="connsiteX953" fmla="*/ 529270 w 11856555"/>
              <a:gd name="connsiteY953" fmla="*/ 2028162 h 4071735"/>
              <a:gd name="connsiteX954" fmla="*/ 524057 w 11856555"/>
              <a:gd name="connsiteY954" fmla="*/ 2034238 h 4071735"/>
              <a:gd name="connsiteX955" fmla="*/ 527941 w 11856555"/>
              <a:gd name="connsiteY955" fmla="*/ 2043189 h 4071735"/>
              <a:gd name="connsiteX956" fmla="*/ 532410 w 11856555"/>
              <a:gd name="connsiteY956" fmla="*/ 2041778 h 4071735"/>
              <a:gd name="connsiteX957" fmla="*/ 535049 w 11856555"/>
              <a:gd name="connsiteY957" fmla="*/ 2032438 h 4071735"/>
              <a:gd name="connsiteX958" fmla="*/ 529270 w 11856555"/>
              <a:gd name="connsiteY958" fmla="*/ 2028162 h 4071735"/>
              <a:gd name="connsiteX959" fmla="*/ 10925067 w 11856555"/>
              <a:gd name="connsiteY959" fmla="*/ 2024658 h 4071735"/>
              <a:gd name="connsiteX960" fmla="*/ 10918510 w 11856555"/>
              <a:gd name="connsiteY960" fmla="*/ 2028528 h 4071735"/>
              <a:gd name="connsiteX961" fmla="*/ 10925067 w 11856555"/>
              <a:gd name="connsiteY961" fmla="*/ 2024658 h 4071735"/>
              <a:gd name="connsiteX962" fmla="*/ 620357 w 11856555"/>
              <a:gd name="connsiteY962" fmla="*/ 1984679 h 4071735"/>
              <a:gd name="connsiteX963" fmla="*/ 587921 w 11856555"/>
              <a:gd name="connsiteY963" fmla="*/ 1987158 h 4071735"/>
              <a:gd name="connsiteX964" fmla="*/ 565612 w 11856555"/>
              <a:gd name="connsiteY964" fmla="*/ 1999003 h 4071735"/>
              <a:gd name="connsiteX965" fmla="*/ 626651 w 11856555"/>
              <a:gd name="connsiteY965" fmla="*/ 1984802 h 4071735"/>
              <a:gd name="connsiteX966" fmla="*/ 620357 w 11856555"/>
              <a:gd name="connsiteY966" fmla="*/ 1984679 h 4071735"/>
              <a:gd name="connsiteX967" fmla="*/ 1554719 w 11856555"/>
              <a:gd name="connsiteY967" fmla="*/ 1975570 h 4071735"/>
              <a:gd name="connsiteX968" fmla="*/ 1569950 w 11856555"/>
              <a:gd name="connsiteY968" fmla="*/ 1976677 h 4071735"/>
              <a:gd name="connsiteX969" fmla="*/ 1554719 w 11856555"/>
              <a:gd name="connsiteY969" fmla="*/ 1975570 h 4071735"/>
              <a:gd name="connsiteX970" fmla="*/ 1739054 w 11856555"/>
              <a:gd name="connsiteY970" fmla="*/ 1967450 h 4071735"/>
              <a:gd name="connsiteX971" fmla="*/ 1739054 w 11856555"/>
              <a:gd name="connsiteY971" fmla="*/ 1967450 h 4071735"/>
              <a:gd name="connsiteX972" fmla="*/ 632079 w 11856555"/>
              <a:gd name="connsiteY972" fmla="*/ 1960955 h 4071735"/>
              <a:gd name="connsiteX973" fmla="*/ 640862 w 11856555"/>
              <a:gd name="connsiteY973" fmla="*/ 1974775 h 4071735"/>
              <a:gd name="connsiteX974" fmla="*/ 632079 w 11856555"/>
              <a:gd name="connsiteY974" fmla="*/ 1960955 h 4071735"/>
              <a:gd name="connsiteX975" fmla="*/ 1746460 w 11856555"/>
              <a:gd name="connsiteY975" fmla="*/ 1953557 h 4071735"/>
              <a:gd name="connsiteX976" fmla="*/ 1747902 w 11856555"/>
              <a:gd name="connsiteY976" fmla="*/ 1960819 h 4071735"/>
              <a:gd name="connsiteX977" fmla="*/ 1746460 w 11856555"/>
              <a:gd name="connsiteY977" fmla="*/ 1953557 h 4071735"/>
              <a:gd name="connsiteX978" fmla="*/ 11323706 w 11856555"/>
              <a:gd name="connsiteY978" fmla="*/ 1943503 h 4071735"/>
              <a:gd name="connsiteX979" fmla="*/ 11316012 w 11856555"/>
              <a:gd name="connsiteY979" fmla="*/ 1955140 h 4071735"/>
              <a:gd name="connsiteX980" fmla="*/ 11333969 w 11856555"/>
              <a:gd name="connsiteY980" fmla="*/ 1944778 h 4071735"/>
              <a:gd name="connsiteX981" fmla="*/ 11323706 w 11856555"/>
              <a:gd name="connsiteY981" fmla="*/ 1943503 h 4071735"/>
              <a:gd name="connsiteX982" fmla="*/ 552954 w 11856555"/>
              <a:gd name="connsiteY982" fmla="*/ 1941721 h 4071735"/>
              <a:gd name="connsiteX983" fmla="*/ 553165 w 11856555"/>
              <a:gd name="connsiteY983" fmla="*/ 1942370 h 4071735"/>
              <a:gd name="connsiteX984" fmla="*/ 550193 w 11856555"/>
              <a:gd name="connsiteY984" fmla="*/ 1947809 h 4071735"/>
              <a:gd name="connsiteX985" fmla="*/ 547320 w 11856555"/>
              <a:gd name="connsiteY985" fmla="*/ 1953389 h 4071735"/>
              <a:gd name="connsiteX986" fmla="*/ 546301 w 11856555"/>
              <a:gd name="connsiteY986" fmla="*/ 1951805 h 4071735"/>
              <a:gd name="connsiteX987" fmla="*/ 552954 w 11856555"/>
              <a:gd name="connsiteY987" fmla="*/ 1941721 h 4071735"/>
              <a:gd name="connsiteX988" fmla="*/ 1721634 w 11856555"/>
              <a:gd name="connsiteY988" fmla="*/ 1921270 h 4071735"/>
              <a:gd name="connsiteX989" fmla="*/ 1717480 w 11856555"/>
              <a:gd name="connsiteY989" fmla="*/ 1937247 h 4071735"/>
              <a:gd name="connsiteX990" fmla="*/ 1721634 w 11856555"/>
              <a:gd name="connsiteY990" fmla="*/ 1921270 h 4071735"/>
              <a:gd name="connsiteX991" fmla="*/ 1913002 w 11856555"/>
              <a:gd name="connsiteY991" fmla="*/ 1889477 h 4071735"/>
              <a:gd name="connsiteX992" fmla="*/ 1925212 w 11856555"/>
              <a:gd name="connsiteY992" fmla="*/ 1895371 h 4071735"/>
              <a:gd name="connsiteX993" fmla="*/ 1913002 w 11856555"/>
              <a:gd name="connsiteY993" fmla="*/ 1889477 h 4071735"/>
              <a:gd name="connsiteX994" fmla="*/ 535642 w 11856555"/>
              <a:gd name="connsiteY994" fmla="*/ 1852045 h 4071735"/>
              <a:gd name="connsiteX995" fmla="*/ 543853 w 11856555"/>
              <a:gd name="connsiteY995" fmla="*/ 1860759 h 4071735"/>
              <a:gd name="connsiteX996" fmla="*/ 519437 w 11856555"/>
              <a:gd name="connsiteY996" fmla="*/ 1860881 h 4071735"/>
              <a:gd name="connsiteX997" fmla="*/ 521873 w 11856555"/>
              <a:gd name="connsiteY997" fmla="*/ 1855535 h 4071735"/>
              <a:gd name="connsiteX998" fmla="*/ 523017 w 11856555"/>
              <a:gd name="connsiteY998" fmla="*/ 1854830 h 4071735"/>
              <a:gd name="connsiteX999" fmla="*/ 1931425 w 11856555"/>
              <a:gd name="connsiteY999" fmla="*/ 1849995 h 4071735"/>
              <a:gd name="connsiteX1000" fmla="*/ 1930489 w 11856555"/>
              <a:gd name="connsiteY1000" fmla="*/ 1850723 h 4071735"/>
              <a:gd name="connsiteX1001" fmla="*/ 1926957 w 11856555"/>
              <a:gd name="connsiteY1001" fmla="*/ 1851408 h 4071735"/>
              <a:gd name="connsiteX1002" fmla="*/ 540354 w 11856555"/>
              <a:gd name="connsiteY1002" fmla="*/ 1844135 h 4071735"/>
              <a:gd name="connsiteX1003" fmla="*/ 523017 w 11856555"/>
              <a:gd name="connsiteY1003" fmla="*/ 1854830 h 4071735"/>
              <a:gd name="connsiteX1004" fmla="*/ 522103 w 11856555"/>
              <a:gd name="connsiteY1004" fmla="*/ 1855031 h 4071735"/>
              <a:gd name="connsiteX1005" fmla="*/ 521873 w 11856555"/>
              <a:gd name="connsiteY1005" fmla="*/ 1855535 h 4071735"/>
              <a:gd name="connsiteX1006" fmla="*/ 508264 w 11856555"/>
              <a:gd name="connsiteY1006" fmla="*/ 1863930 h 4071735"/>
              <a:gd name="connsiteX1007" fmla="*/ 480099 w 11856555"/>
              <a:gd name="connsiteY1007" fmla="*/ 1886884 h 4071735"/>
              <a:gd name="connsiteX1008" fmla="*/ 527061 w 11856555"/>
              <a:gd name="connsiteY1008" fmla="*/ 1847790 h 4071735"/>
              <a:gd name="connsiteX1009" fmla="*/ 639697 w 11856555"/>
              <a:gd name="connsiteY1009" fmla="*/ 1832169 h 4071735"/>
              <a:gd name="connsiteX1010" fmla="*/ 665286 w 11856555"/>
              <a:gd name="connsiteY1010" fmla="*/ 1834230 h 4071735"/>
              <a:gd name="connsiteX1011" fmla="*/ 691254 w 11856555"/>
              <a:gd name="connsiteY1011" fmla="*/ 1838111 h 4071735"/>
              <a:gd name="connsiteX1012" fmla="*/ 673847 w 11856555"/>
              <a:gd name="connsiteY1012" fmla="*/ 1843700 h 4071735"/>
              <a:gd name="connsiteX1013" fmla="*/ 619879 w 11856555"/>
              <a:gd name="connsiteY1013" fmla="*/ 1845223 h 4071735"/>
              <a:gd name="connsiteX1014" fmla="*/ 605637 w 11856555"/>
              <a:gd name="connsiteY1014" fmla="*/ 1829426 h 4071735"/>
              <a:gd name="connsiteX1015" fmla="*/ 619500 w 11856555"/>
              <a:gd name="connsiteY1015" fmla="*/ 1830542 h 4071735"/>
              <a:gd name="connsiteX1016" fmla="*/ 611754 w 11856555"/>
              <a:gd name="connsiteY1016" fmla="*/ 1832851 h 4071735"/>
              <a:gd name="connsiteX1017" fmla="*/ 569045 w 11856555"/>
              <a:gd name="connsiteY1017" fmla="*/ 1836246 h 4071735"/>
              <a:gd name="connsiteX1018" fmla="*/ 540354 w 11856555"/>
              <a:gd name="connsiteY1018" fmla="*/ 1844135 h 4071735"/>
              <a:gd name="connsiteX1019" fmla="*/ 552254 w 11856555"/>
              <a:gd name="connsiteY1019" fmla="*/ 1836795 h 4071735"/>
              <a:gd name="connsiteX1020" fmla="*/ 605637 w 11856555"/>
              <a:gd name="connsiteY1020" fmla="*/ 1829426 h 4071735"/>
              <a:gd name="connsiteX1021" fmla="*/ 660895 w 11856555"/>
              <a:gd name="connsiteY1021" fmla="*/ 1818204 h 4071735"/>
              <a:gd name="connsiteX1022" fmla="*/ 639697 w 11856555"/>
              <a:gd name="connsiteY1022" fmla="*/ 1832169 h 4071735"/>
              <a:gd name="connsiteX1023" fmla="*/ 619500 w 11856555"/>
              <a:gd name="connsiteY1023" fmla="*/ 1830542 h 4071735"/>
              <a:gd name="connsiteX1024" fmla="*/ 10937560 w 11856555"/>
              <a:gd name="connsiteY1024" fmla="*/ 1813270 h 4071735"/>
              <a:gd name="connsiteX1025" fmla="*/ 10927758 w 11856555"/>
              <a:gd name="connsiteY1025" fmla="*/ 1814508 h 4071735"/>
              <a:gd name="connsiteX1026" fmla="*/ 10945134 w 11856555"/>
              <a:gd name="connsiteY1026" fmla="*/ 1818802 h 4071735"/>
              <a:gd name="connsiteX1027" fmla="*/ 10937560 w 11856555"/>
              <a:gd name="connsiteY1027" fmla="*/ 1813270 h 4071735"/>
              <a:gd name="connsiteX1028" fmla="*/ 699352 w 11856555"/>
              <a:gd name="connsiteY1028" fmla="*/ 1809439 h 4071735"/>
              <a:gd name="connsiteX1029" fmla="*/ 703979 w 11856555"/>
              <a:gd name="connsiteY1029" fmla="*/ 1814365 h 4071735"/>
              <a:gd name="connsiteX1030" fmla="*/ 674007 w 11856555"/>
              <a:gd name="connsiteY1030" fmla="*/ 1817036 h 4071735"/>
              <a:gd name="connsiteX1031" fmla="*/ 691319 w 11856555"/>
              <a:gd name="connsiteY1031" fmla="*/ 1810018 h 4071735"/>
              <a:gd name="connsiteX1032" fmla="*/ 699352 w 11856555"/>
              <a:gd name="connsiteY1032" fmla="*/ 1809439 h 4071735"/>
              <a:gd name="connsiteX1033" fmla="*/ 732633 w 11856555"/>
              <a:gd name="connsiteY1033" fmla="*/ 1804875 h 4071735"/>
              <a:gd name="connsiteX1034" fmla="*/ 741700 w 11856555"/>
              <a:gd name="connsiteY1034" fmla="*/ 1813923 h 4071735"/>
              <a:gd name="connsiteX1035" fmla="*/ 720320 w 11856555"/>
              <a:gd name="connsiteY1035" fmla="*/ 1807067 h 4071735"/>
              <a:gd name="connsiteX1036" fmla="*/ 732633 w 11856555"/>
              <a:gd name="connsiteY1036" fmla="*/ 1804875 h 4071735"/>
              <a:gd name="connsiteX1037" fmla="*/ 1409608 w 11856555"/>
              <a:gd name="connsiteY1037" fmla="*/ 1799811 h 4071735"/>
              <a:gd name="connsiteX1038" fmla="*/ 1400084 w 11856555"/>
              <a:gd name="connsiteY1038" fmla="*/ 1807823 h 4071735"/>
              <a:gd name="connsiteX1039" fmla="*/ 1411357 w 11856555"/>
              <a:gd name="connsiteY1039" fmla="*/ 1810060 h 4071735"/>
              <a:gd name="connsiteX1040" fmla="*/ 1423436 w 11856555"/>
              <a:gd name="connsiteY1040" fmla="*/ 1806103 h 4071735"/>
              <a:gd name="connsiteX1041" fmla="*/ 1423022 w 11856555"/>
              <a:gd name="connsiteY1041" fmla="*/ 1804724 h 4071735"/>
              <a:gd name="connsiteX1042" fmla="*/ 1409608 w 11856555"/>
              <a:gd name="connsiteY1042" fmla="*/ 1799811 h 4071735"/>
              <a:gd name="connsiteX1043" fmla="*/ 996012 w 11856555"/>
              <a:gd name="connsiteY1043" fmla="*/ 1789768 h 4071735"/>
              <a:gd name="connsiteX1044" fmla="*/ 1003943 w 11856555"/>
              <a:gd name="connsiteY1044" fmla="*/ 1790554 h 4071735"/>
              <a:gd name="connsiteX1045" fmla="*/ 995653 w 11856555"/>
              <a:gd name="connsiteY1045" fmla="*/ 1790200 h 4071735"/>
              <a:gd name="connsiteX1046" fmla="*/ 1391019 w 11856555"/>
              <a:gd name="connsiteY1046" fmla="*/ 1777602 h 4071735"/>
              <a:gd name="connsiteX1047" fmla="*/ 1390651 w 11856555"/>
              <a:gd name="connsiteY1047" fmla="*/ 1778091 h 4071735"/>
              <a:gd name="connsiteX1048" fmla="*/ 1392448 w 11856555"/>
              <a:gd name="connsiteY1048" fmla="*/ 1783782 h 4071735"/>
              <a:gd name="connsiteX1049" fmla="*/ 1394903 w 11856555"/>
              <a:gd name="connsiteY1049" fmla="*/ 1778487 h 4071735"/>
              <a:gd name="connsiteX1050" fmla="*/ 1391019 w 11856555"/>
              <a:gd name="connsiteY1050" fmla="*/ 1777602 h 4071735"/>
              <a:gd name="connsiteX1051" fmla="*/ 10975618 w 11856555"/>
              <a:gd name="connsiteY1051" fmla="*/ 1776823 h 4071735"/>
              <a:gd name="connsiteX1052" fmla="*/ 10969221 w 11856555"/>
              <a:gd name="connsiteY1052" fmla="*/ 1794797 h 4071735"/>
              <a:gd name="connsiteX1053" fmla="*/ 10968868 w 11856555"/>
              <a:gd name="connsiteY1053" fmla="*/ 1799481 h 4071735"/>
              <a:gd name="connsiteX1054" fmla="*/ 10966529 w 11856555"/>
              <a:gd name="connsiteY1054" fmla="*/ 1799371 h 4071735"/>
              <a:gd name="connsiteX1055" fmla="*/ 10968452 w 11856555"/>
              <a:gd name="connsiteY1055" fmla="*/ 1805042 h 4071735"/>
              <a:gd name="connsiteX1056" fmla="*/ 10968868 w 11856555"/>
              <a:gd name="connsiteY1056" fmla="*/ 1799481 h 4071735"/>
              <a:gd name="connsiteX1057" fmla="*/ 10988676 w 11856555"/>
              <a:gd name="connsiteY1057" fmla="*/ 1800403 h 4071735"/>
              <a:gd name="connsiteX1058" fmla="*/ 10991446 w 11856555"/>
              <a:gd name="connsiteY1058" fmla="*/ 1808833 h 4071735"/>
              <a:gd name="connsiteX1059" fmla="*/ 10991415 w 11856555"/>
              <a:gd name="connsiteY1059" fmla="*/ 1800531 h 4071735"/>
              <a:gd name="connsiteX1060" fmla="*/ 10988676 w 11856555"/>
              <a:gd name="connsiteY1060" fmla="*/ 1800403 h 4071735"/>
              <a:gd name="connsiteX1061" fmla="*/ 10984903 w 11856555"/>
              <a:gd name="connsiteY1061" fmla="*/ 1788921 h 4071735"/>
              <a:gd name="connsiteX1062" fmla="*/ 10979671 w 11856555"/>
              <a:gd name="connsiteY1062" fmla="*/ 1778989 h 4071735"/>
              <a:gd name="connsiteX1063" fmla="*/ 10975618 w 11856555"/>
              <a:gd name="connsiteY1063" fmla="*/ 1776823 h 4071735"/>
              <a:gd name="connsiteX1064" fmla="*/ 899192 w 11856555"/>
              <a:gd name="connsiteY1064" fmla="*/ 1771415 h 4071735"/>
              <a:gd name="connsiteX1065" fmla="*/ 883287 w 11856555"/>
              <a:gd name="connsiteY1065" fmla="*/ 1792546 h 4071735"/>
              <a:gd name="connsiteX1066" fmla="*/ 906090 w 11856555"/>
              <a:gd name="connsiteY1066" fmla="*/ 1772990 h 4071735"/>
              <a:gd name="connsiteX1067" fmla="*/ 899192 w 11856555"/>
              <a:gd name="connsiteY1067" fmla="*/ 1771415 h 4071735"/>
              <a:gd name="connsiteX1068" fmla="*/ 11164822 w 11856555"/>
              <a:gd name="connsiteY1068" fmla="*/ 1770750 h 4071735"/>
              <a:gd name="connsiteX1069" fmla="*/ 11182499 w 11856555"/>
              <a:gd name="connsiteY1069" fmla="*/ 1771633 h 4071735"/>
              <a:gd name="connsiteX1070" fmla="*/ 11174171 w 11856555"/>
              <a:gd name="connsiteY1070" fmla="*/ 1772380 h 4071735"/>
              <a:gd name="connsiteX1071" fmla="*/ 11164268 w 11856555"/>
              <a:gd name="connsiteY1071" fmla="*/ 1773923 h 4071735"/>
              <a:gd name="connsiteX1072" fmla="*/ 11192800 w 11856555"/>
              <a:gd name="connsiteY1072" fmla="*/ 1770709 h 4071735"/>
              <a:gd name="connsiteX1073" fmla="*/ 11201566 w 11856555"/>
              <a:gd name="connsiteY1073" fmla="*/ 1772586 h 4071735"/>
              <a:gd name="connsiteX1074" fmla="*/ 11182499 w 11856555"/>
              <a:gd name="connsiteY1074" fmla="*/ 1771633 h 4071735"/>
              <a:gd name="connsiteX1075" fmla="*/ 956148 w 11856555"/>
              <a:gd name="connsiteY1075" fmla="*/ 1762690 h 4071735"/>
              <a:gd name="connsiteX1076" fmla="*/ 957686 w 11856555"/>
              <a:gd name="connsiteY1076" fmla="*/ 1766817 h 4071735"/>
              <a:gd name="connsiteX1077" fmla="*/ 954074 w 11856555"/>
              <a:gd name="connsiteY1077" fmla="*/ 1769105 h 4071735"/>
              <a:gd name="connsiteX1078" fmla="*/ 1337905 w 11856555"/>
              <a:gd name="connsiteY1078" fmla="*/ 1762011 h 4071735"/>
              <a:gd name="connsiteX1079" fmla="*/ 1338310 w 11856555"/>
              <a:gd name="connsiteY1079" fmla="*/ 1762166 h 4071735"/>
              <a:gd name="connsiteX1080" fmla="*/ 1337258 w 11856555"/>
              <a:gd name="connsiteY1080" fmla="*/ 1762362 h 4071735"/>
              <a:gd name="connsiteX1081" fmla="*/ 1392677 w 11856555"/>
              <a:gd name="connsiteY1081" fmla="*/ 1751169 h 4071735"/>
              <a:gd name="connsiteX1082" fmla="*/ 1394883 w 11856555"/>
              <a:gd name="connsiteY1082" fmla="*/ 1753599 h 4071735"/>
              <a:gd name="connsiteX1083" fmla="*/ 1387801 w 11856555"/>
              <a:gd name="connsiteY1083" fmla="*/ 1753839 h 4071735"/>
              <a:gd name="connsiteX1084" fmla="*/ 1064599 w 11856555"/>
              <a:gd name="connsiteY1084" fmla="*/ 1729661 h 4071735"/>
              <a:gd name="connsiteX1085" fmla="*/ 1064599 w 11856555"/>
              <a:gd name="connsiteY1085" fmla="*/ 1729661 h 4071735"/>
              <a:gd name="connsiteX1086" fmla="*/ 919310 w 11856555"/>
              <a:gd name="connsiteY1086" fmla="*/ 1728005 h 4071735"/>
              <a:gd name="connsiteX1087" fmla="*/ 919526 w 11856555"/>
              <a:gd name="connsiteY1087" fmla="*/ 1754271 h 4071735"/>
              <a:gd name="connsiteX1088" fmla="*/ 919310 w 11856555"/>
              <a:gd name="connsiteY1088" fmla="*/ 1728005 h 4071735"/>
              <a:gd name="connsiteX1089" fmla="*/ 961798 w 11856555"/>
              <a:gd name="connsiteY1089" fmla="*/ 1726455 h 4071735"/>
              <a:gd name="connsiteX1090" fmla="*/ 957312 w 11856555"/>
              <a:gd name="connsiteY1090" fmla="*/ 1733381 h 4071735"/>
              <a:gd name="connsiteX1091" fmla="*/ 978175 w 11856555"/>
              <a:gd name="connsiteY1091" fmla="*/ 1734442 h 4071735"/>
              <a:gd name="connsiteX1092" fmla="*/ 961798 w 11856555"/>
              <a:gd name="connsiteY1092" fmla="*/ 1726455 h 4071735"/>
              <a:gd name="connsiteX1093" fmla="*/ 1141476 w 11856555"/>
              <a:gd name="connsiteY1093" fmla="*/ 1725891 h 4071735"/>
              <a:gd name="connsiteX1094" fmla="*/ 1132970 w 11856555"/>
              <a:gd name="connsiteY1094" fmla="*/ 1734155 h 4071735"/>
              <a:gd name="connsiteX1095" fmla="*/ 1122937 w 11856555"/>
              <a:gd name="connsiteY1095" fmla="*/ 1727389 h 4071735"/>
              <a:gd name="connsiteX1096" fmla="*/ 1123161 w 11856555"/>
              <a:gd name="connsiteY1096" fmla="*/ 1727363 h 4071735"/>
              <a:gd name="connsiteX1097" fmla="*/ 939163 w 11856555"/>
              <a:gd name="connsiteY1097" fmla="*/ 1720395 h 4071735"/>
              <a:gd name="connsiteX1098" fmla="*/ 939163 w 11856555"/>
              <a:gd name="connsiteY1098" fmla="*/ 1720395 h 4071735"/>
              <a:gd name="connsiteX1099" fmla="*/ 1097969 w 11856555"/>
              <a:gd name="connsiteY1099" fmla="*/ 1710168 h 4071735"/>
              <a:gd name="connsiteX1100" fmla="*/ 1101546 w 11856555"/>
              <a:gd name="connsiteY1100" fmla="*/ 1720528 h 4071735"/>
              <a:gd name="connsiteX1101" fmla="*/ 1097969 w 11856555"/>
              <a:gd name="connsiteY1101" fmla="*/ 1710168 h 4071735"/>
              <a:gd name="connsiteX1102" fmla="*/ 1201923 w 11856555"/>
              <a:gd name="connsiteY1102" fmla="*/ 1702822 h 4071735"/>
              <a:gd name="connsiteX1103" fmla="*/ 1191975 w 11856555"/>
              <a:gd name="connsiteY1103" fmla="*/ 1718311 h 4071735"/>
              <a:gd name="connsiteX1104" fmla="*/ 1201923 w 11856555"/>
              <a:gd name="connsiteY1104" fmla="*/ 1702822 h 4071735"/>
              <a:gd name="connsiteX1105" fmla="*/ 1636852 w 11856555"/>
              <a:gd name="connsiteY1105" fmla="*/ 1702487 h 4071735"/>
              <a:gd name="connsiteX1106" fmla="*/ 1613889 w 11856555"/>
              <a:gd name="connsiteY1106" fmla="*/ 1706998 h 4071735"/>
              <a:gd name="connsiteX1107" fmla="*/ 1640114 w 11856555"/>
              <a:gd name="connsiteY1107" fmla="*/ 1704661 h 4071735"/>
              <a:gd name="connsiteX1108" fmla="*/ 1636852 w 11856555"/>
              <a:gd name="connsiteY1108" fmla="*/ 1702487 h 4071735"/>
              <a:gd name="connsiteX1109" fmla="*/ 1709494 w 11856555"/>
              <a:gd name="connsiteY1109" fmla="*/ 1685381 h 4071735"/>
              <a:gd name="connsiteX1110" fmla="*/ 1704060 w 11856555"/>
              <a:gd name="connsiteY1110" fmla="*/ 1701883 h 4071735"/>
              <a:gd name="connsiteX1111" fmla="*/ 1709494 w 11856555"/>
              <a:gd name="connsiteY1111" fmla="*/ 1685381 h 4071735"/>
              <a:gd name="connsiteX1112" fmla="*/ 1686266 w 11856555"/>
              <a:gd name="connsiteY1112" fmla="*/ 1680652 h 4071735"/>
              <a:gd name="connsiteX1113" fmla="*/ 1680032 w 11856555"/>
              <a:gd name="connsiteY1113" fmla="*/ 1686502 h 4071735"/>
              <a:gd name="connsiteX1114" fmla="*/ 1704643 w 11856555"/>
              <a:gd name="connsiteY1114" fmla="*/ 1687229 h 4071735"/>
              <a:gd name="connsiteX1115" fmla="*/ 1686266 w 11856555"/>
              <a:gd name="connsiteY1115" fmla="*/ 1680652 h 4071735"/>
              <a:gd name="connsiteX1116" fmla="*/ 1635400 w 11856555"/>
              <a:gd name="connsiteY1116" fmla="*/ 1672956 h 4071735"/>
              <a:gd name="connsiteX1117" fmla="*/ 1631329 w 11856555"/>
              <a:gd name="connsiteY1117" fmla="*/ 1690842 h 4071735"/>
              <a:gd name="connsiteX1118" fmla="*/ 1635400 w 11856555"/>
              <a:gd name="connsiteY1118" fmla="*/ 1672956 h 4071735"/>
              <a:gd name="connsiteX1119" fmla="*/ 1189976 w 11856555"/>
              <a:gd name="connsiteY1119" fmla="*/ 1664095 h 4071735"/>
              <a:gd name="connsiteX1120" fmla="*/ 1160521 w 11856555"/>
              <a:gd name="connsiteY1120" fmla="*/ 1683148 h 4071735"/>
              <a:gd name="connsiteX1121" fmla="*/ 1189976 w 11856555"/>
              <a:gd name="connsiteY1121" fmla="*/ 1664095 h 4071735"/>
              <a:gd name="connsiteX1122" fmla="*/ 1239518 w 11856555"/>
              <a:gd name="connsiteY1122" fmla="*/ 1658584 h 4071735"/>
              <a:gd name="connsiteX1123" fmla="*/ 1241843 w 11856555"/>
              <a:gd name="connsiteY1123" fmla="*/ 1684662 h 4071735"/>
              <a:gd name="connsiteX1124" fmla="*/ 1239518 w 11856555"/>
              <a:gd name="connsiteY1124" fmla="*/ 1658584 h 4071735"/>
              <a:gd name="connsiteX1125" fmla="*/ 1622209 w 11856555"/>
              <a:gd name="connsiteY1125" fmla="*/ 1657656 h 4071735"/>
              <a:gd name="connsiteX1126" fmla="*/ 1620497 w 11856555"/>
              <a:gd name="connsiteY1126" fmla="*/ 1657992 h 4071735"/>
              <a:gd name="connsiteX1127" fmla="*/ 1623113 w 11856555"/>
              <a:gd name="connsiteY1127" fmla="*/ 1663509 h 4071735"/>
              <a:gd name="connsiteX1128" fmla="*/ 1624508 w 11856555"/>
              <a:gd name="connsiteY1128" fmla="*/ 1662286 h 4071735"/>
              <a:gd name="connsiteX1129" fmla="*/ 1122349 w 11856555"/>
              <a:gd name="connsiteY1129" fmla="*/ 1657344 h 4071735"/>
              <a:gd name="connsiteX1130" fmla="*/ 1104423 w 11856555"/>
              <a:gd name="connsiteY1130" fmla="*/ 1657481 h 4071735"/>
              <a:gd name="connsiteX1131" fmla="*/ 1087276 w 11856555"/>
              <a:gd name="connsiteY1131" fmla="*/ 1666309 h 4071735"/>
              <a:gd name="connsiteX1132" fmla="*/ 1122349 w 11856555"/>
              <a:gd name="connsiteY1132" fmla="*/ 1657344 h 4071735"/>
              <a:gd name="connsiteX1133" fmla="*/ 1675318 w 11856555"/>
              <a:gd name="connsiteY1133" fmla="*/ 1654796 h 4071735"/>
              <a:gd name="connsiteX1134" fmla="*/ 1675318 w 11856555"/>
              <a:gd name="connsiteY1134" fmla="*/ 1654796 h 4071735"/>
              <a:gd name="connsiteX1135" fmla="*/ 1730224 w 11856555"/>
              <a:gd name="connsiteY1135" fmla="*/ 1635301 h 4071735"/>
              <a:gd name="connsiteX1136" fmla="*/ 1709876 w 11856555"/>
              <a:gd name="connsiteY1136" fmla="*/ 1640034 h 4071735"/>
              <a:gd name="connsiteX1137" fmla="*/ 1730224 w 11856555"/>
              <a:gd name="connsiteY1137" fmla="*/ 1635301 h 4071735"/>
              <a:gd name="connsiteX1138" fmla="*/ 1935267 w 11856555"/>
              <a:gd name="connsiteY1138" fmla="*/ 1630491 h 4071735"/>
              <a:gd name="connsiteX1139" fmla="*/ 1949318 w 11856555"/>
              <a:gd name="connsiteY1139" fmla="*/ 1636221 h 4071735"/>
              <a:gd name="connsiteX1140" fmla="*/ 1935267 w 11856555"/>
              <a:gd name="connsiteY1140" fmla="*/ 1630491 h 4071735"/>
              <a:gd name="connsiteX1141" fmla="*/ 1791005 w 11856555"/>
              <a:gd name="connsiteY1141" fmla="*/ 1618202 h 4071735"/>
              <a:gd name="connsiteX1142" fmla="*/ 1780638 w 11856555"/>
              <a:gd name="connsiteY1142" fmla="*/ 1618397 h 4071735"/>
              <a:gd name="connsiteX1143" fmla="*/ 1770659 w 11856555"/>
              <a:gd name="connsiteY1143" fmla="*/ 1622936 h 4071735"/>
              <a:gd name="connsiteX1144" fmla="*/ 1791005 w 11856555"/>
              <a:gd name="connsiteY1144" fmla="*/ 1618202 h 4071735"/>
              <a:gd name="connsiteX1145" fmla="*/ 1900301 w 11856555"/>
              <a:gd name="connsiteY1145" fmla="*/ 1617819 h 4071735"/>
              <a:gd name="connsiteX1146" fmla="*/ 1890217 w 11856555"/>
              <a:gd name="connsiteY1146" fmla="*/ 1629805 h 4071735"/>
              <a:gd name="connsiteX1147" fmla="*/ 1900301 w 11856555"/>
              <a:gd name="connsiteY1147" fmla="*/ 1617819 h 4071735"/>
              <a:gd name="connsiteX1148" fmla="*/ 1844813 w 11856555"/>
              <a:gd name="connsiteY1148" fmla="*/ 1615035 h 4071735"/>
              <a:gd name="connsiteX1149" fmla="*/ 1844576 w 11856555"/>
              <a:gd name="connsiteY1149" fmla="*/ 1615528 h 4071735"/>
              <a:gd name="connsiteX1150" fmla="*/ 1844625 w 11856555"/>
              <a:gd name="connsiteY1150" fmla="*/ 1616270 h 4071735"/>
              <a:gd name="connsiteX1151" fmla="*/ 1843712 w 11856555"/>
              <a:gd name="connsiteY1151" fmla="*/ 1616426 h 4071735"/>
              <a:gd name="connsiteX1152" fmla="*/ 1876477 w 11856555"/>
              <a:gd name="connsiteY1152" fmla="*/ 1603804 h 4071735"/>
              <a:gd name="connsiteX1153" fmla="*/ 1853496 w 11856555"/>
              <a:gd name="connsiteY1153" fmla="*/ 1604056 h 4071735"/>
              <a:gd name="connsiteX1154" fmla="*/ 1844813 w 11856555"/>
              <a:gd name="connsiteY1154" fmla="*/ 1615035 h 4071735"/>
              <a:gd name="connsiteX1155" fmla="*/ 1848556 w 11856555"/>
              <a:gd name="connsiteY1155" fmla="*/ 1607234 h 4071735"/>
              <a:gd name="connsiteX1156" fmla="*/ 1721243 w 11856555"/>
              <a:gd name="connsiteY1156" fmla="*/ 1682829 h 4071735"/>
              <a:gd name="connsiteX1157" fmla="*/ 1838544 w 11856555"/>
              <a:gd name="connsiteY1157" fmla="*/ 1643171 h 4071735"/>
              <a:gd name="connsiteX1158" fmla="*/ 1845923 w 11856555"/>
              <a:gd name="connsiteY1158" fmla="*/ 1635943 h 4071735"/>
              <a:gd name="connsiteX1159" fmla="*/ 1844625 w 11856555"/>
              <a:gd name="connsiteY1159" fmla="*/ 1616270 h 4071735"/>
              <a:gd name="connsiteX1160" fmla="*/ 1867129 w 11856555"/>
              <a:gd name="connsiteY1160" fmla="*/ 1612423 h 4071735"/>
              <a:gd name="connsiteX1161" fmla="*/ 1876477 w 11856555"/>
              <a:gd name="connsiteY1161" fmla="*/ 1603804 h 4071735"/>
              <a:gd name="connsiteX1162" fmla="*/ 1905875 w 11856555"/>
              <a:gd name="connsiteY1162" fmla="*/ 1588983 h 4071735"/>
              <a:gd name="connsiteX1163" fmla="*/ 1882275 w 11856555"/>
              <a:gd name="connsiteY1163" fmla="*/ 1604229 h 4071735"/>
              <a:gd name="connsiteX1164" fmla="*/ 1905875 w 11856555"/>
              <a:gd name="connsiteY1164" fmla="*/ 1588983 h 4071735"/>
              <a:gd name="connsiteX1165" fmla="*/ 2009461 w 11856555"/>
              <a:gd name="connsiteY1165" fmla="*/ 1581486 h 4071735"/>
              <a:gd name="connsiteX1166" fmla="*/ 1927746 w 11856555"/>
              <a:gd name="connsiteY1166" fmla="*/ 1606017 h 4071735"/>
              <a:gd name="connsiteX1167" fmla="*/ 2029482 w 11856555"/>
              <a:gd name="connsiteY1167" fmla="*/ 1582349 h 4071735"/>
              <a:gd name="connsiteX1168" fmla="*/ 2009461 w 11856555"/>
              <a:gd name="connsiteY1168" fmla="*/ 1581486 h 4071735"/>
              <a:gd name="connsiteX1169" fmla="*/ 2013461 w 11856555"/>
              <a:gd name="connsiteY1169" fmla="*/ 1572094 h 4071735"/>
              <a:gd name="connsiteX1170" fmla="*/ 2013461 w 11856555"/>
              <a:gd name="connsiteY1170" fmla="*/ 1572094 h 4071735"/>
              <a:gd name="connsiteX1171" fmla="*/ 9635229 w 11856555"/>
              <a:gd name="connsiteY1171" fmla="*/ 1526660 h 4071735"/>
              <a:gd name="connsiteX1172" fmla="*/ 9626380 w 11856555"/>
              <a:gd name="connsiteY1172" fmla="*/ 1533288 h 4071735"/>
              <a:gd name="connsiteX1173" fmla="*/ 9635229 w 11856555"/>
              <a:gd name="connsiteY1173" fmla="*/ 1526660 h 4071735"/>
              <a:gd name="connsiteX1174" fmla="*/ 9818510 w 11856555"/>
              <a:gd name="connsiteY1174" fmla="*/ 1507041 h 4071735"/>
              <a:gd name="connsiteX1175" fmla="*/ 9770547 w 11856555"/>
              <a:gd name="connsiteY1175" fmla="*/ 1540886 h 4071735"/>
              <a:gd name="connsiteX1176" fmla="*/ 9818510 w 11856555"/>
              <a:gd name="connsiteY1176" fmla="*/ 1507041 h 4071735"/>
              <a:gd name="connsiteX1177" fmla="*/ 1975991 w 11856555"/>
              <a:gd name="connsiteY1177" fmla="*/ 1506803 h 4071735"/>
              <a:gd name="connsiteX1178" fmla="*/ 1954234 w 11856555"/>
              <a:gd name="connsiteY1178" fmla="*/ 1521883 h 4071735"/>
              <a:gd name="connsiteX1179" fmla="*/ 1981559 w 11856555"/>
              <a:gd name="connsiteY1179" fmla="*/ 1510686 h 4071735"/>
              <a:gd name="connsiteX1180" fmla="*/ 1975991 w 11856555"/>
              <a:gd name="connsiteY1180" fmla="*/ 1506803 h 4071735"/>
              <a:gd name="connsiteX1181" fmla="*/ 10239358 w 11856555"/>
              <a:gd name="connsiteY1181" fmla="*/ 1504950 h 4071735"/>
              <a:gd name="connsiteX1182" fmla="*/ 10240704 w 11856555"/>
              <a:gd name="connsiteY1182" fmla="*/ 1508314 h 4071735"/>
              <a:gd name="connsiteX1183" fmla="*/ 10238459 w 11856555"/>
              <a:gd name="connsiteY1183" fmla="*/ 1508453 h 4071735"/>
              <a:gd name="connsiteX1184" fmla="*/ 10237189 w 11856555"/>
              <a:gd name="connsiteY1184" fmla="*/ 1507549 h 4071735"/>
              <a:gd name="connsiteX1185" fmla="*/ 10281114 w 11856555"/>
              <a:gd name="connsiteY1185" fmla="*/ 1503101 h 4071735"/>
              <a:gd name="connsiteX1186" fmla="*/ 10298201 w 11856555"/>
              <a:gd name="connsiteY1186" fmla="*/ 1508468 h 4071735"/>
              <a:gd name="connsiteX1187" fmla="*/ 10247025 w 11856555"/>
              <a:gd name="connsiteY1187" fmla="*/ 1524116 h 4071735"/>
              <a:gd name="connsiteX1188" fmla="*/ 10240704 w 11856555"/>
              <a:gd name="connsiteY1188" fmla="*/ 1508314 h 4071735"/>
              <a:gd name="connsiteX1189" fmla="*/ 10260082 w 11856555"/>
              <a:gd name="connsiteY1189" fmla="*/ 1507119 h 4071735"/>
              <a:gd name="connsiteX1190" fmla="*/ 10281114 w 11856555"/>
              <a:gd name="connsiteY1190" fmla="*/ 1503101 h 4071735"/>
              <a:gd name="connsiteX1191" fmla="*/ 9664491 w 11856555"/>
              <a:gd name="connsiteY1191" fmla="*/ 1494847 h 4071735"/>
              <a:gd name="connsiteX1192" fmla="*/ 9639816 w 11856555"/>
              <a:gd name="connsiteY1192" fmla="*/ 1514569 h 4071735"/>
              <a:gd name="connsiteX1193" fmla="*/ 9664491 w 11856555"/>
              <a:gd name="connsiteY1193" fmla="*/ 1494847 h 4071735"/>
              <a:gd name="connsiteX1194" fmla="*/ 10292300 w 11856555"/>
              <a:gd name="connsiteY1194" fmla="*/ 1487919 h 4071735"/>
              <a:gd name="connsiteX1195" fmla="*/ 10292381 w 11856555"/>
              <a:gd name="connsiteY1195" fmla="*/ 1488180 h 4071735"/>
              <a:gd name="connsiteX1196" fmla="*/ 10281071 w 11856555"/>
              <a:gd name="connsiteY1196" fmla="*/ 1494708 h 4071735"/>
              <a:gd name="connsiteX1197" fmla="*/ 10274684 w 11856555"/>
              <a:gd name="connsiteY1197" fmla="*/ 1490069 h 4071735"/>
              <a:gd name="connsiteX1198" fmla="*/ 10278363 w 11856555"/>
              <a:gd name="connsiteY1198" fmla="*/ 1489792 h 4071735"/>
              <a:gd name="connsiteX1199" fmla="*/ 10271008 w 11856555"/>
              <a:gd name="connsiteY1199" fmla="*/ 1484345 h 4071735"/>
              <a:gd name="connsiteX1200" fmla="*/ 10268072 w 11856555"/>
              <a:gd name="connsiteY1200" fmla="*/ 1485264 h 4071735"/>
              <a:gd name="connsiteX1201" fmla="*/ 10267740 w 11856555"/>
              <a:gd name="connsiteY1201" fmla="*/ 1485025 h 4071735"/>
              <a:gd name="connsiteX1202" fmla="*/ 10269557 w 11856555"/>
              <a:gd name="connsiteY1202" fmla="*/ 1484645 h 4071735"/>
              <a:gd name="connsiteX1203" fmla="*/ 10271008 w 11856555"/>
              <a:gd name="connsiteY1203" fmla="*/ 1484345 h 4071735"/>
              <a:gd name="connsiteX1204" fmla="*/ 10266759 w 11856555"/>
              <a:gd name="connsiteY1204" fmla="*/ 1484310 h 4071735"/>
              <a:gd name="connsiteX1205" fmla="*/ 10267740 w 11856555"/>
              <a:gd name="connsiteY1205" fmla="*/ 1485025 h 4071735"/>
              <a:gd name="connsiteX1206" fmla="*/ 10262950 w 11856555"/>
              <a:gd name="connsiteY1206" fmla="*/ 1486025 h 4071735"/>
              <a:gd name="connsiteX1207" fmla="*/ 1723782 w 11856555"/>
              <a:gd name="connsiteY1207" fmla="*/ 1481851 h 4071735"/>
              <a:gd name="connsiteX1208" fmla="*/ 1722246 w 11856555"/>
              <a:gd name="connsiteY1208" fmla="*/ 1482550 h 4071735"/>
              <a:gd name="connsiteX1209" fmla="*/ 1713308 w 11856555"/>
              <a:gd name="connsiteY1209" fmla="*/ 1487863 h 4071735"/>
              <a:gd name="connsiteX1210" fmla="*/ 1718901 w 11856555"/>
              <a:gd name="connsiteY1210" fmla="*/ 1482757 h 4071735"/>
              <a:gd name="connsiteX1211" fmla="*/ 10292195 w 11856555"/>
              <a:gd name="connsiteY1211" fmla="*/ 1472863 h 4071735"/>
              <a:gd name="connsiteX1212" fmla="*/ 10329336 w 11856555"/>
              <a:gd name="connsiteY1212" fmla="*/ 1476489 h 4071735"/>
              <a:gd name="connsiteX1213" fmla="*/ 10314541 w 11856555"/>
              <a:gd name="connsiteY1213" fmla="*/ 1484926 h 4071735"/>
              <a:gd name="connsiteX1214" fmla="*/ 10292300 w 11856555"/>
              <a:gd name="connsiteY1214" fmla="*/ 1487919 h 4071735"/>
              <a:gd name="connsiteX1215" fmla="*/ 10288232 w 11856555"/>
              <a:gd name="connsiteY1215" fmla="*/ 1474647 h 4071735"/>
              <a:gd name="connsiteX1216" fmla="*/ 10045778 w 11856555"/>
              <a:gd name="connsiteY1216" fmla="*/ 1472552 h 4071735"/>
              <a:gd name="connsiteX1217" fmla="*/ 10035209 w 11856555"/>
              <a:gd name="connsiteY1217" fmla="*/ 1473129 h 4071735"/>
              <a:gd name="connsiteX1218" fmla="*/ 10029432 w 11856555"/>
              <a:gd name="connsiteY1218" fmla="*/ 1479850 h 4071735"/>
              <a:gd name="connsiteX1219" fmla="*/ 10045778 w 11856555"/>
              <a:gd name="connsiteY1219" fmla="*/ 1472552 h 4071735"/>
              <a:gd name="connsiteX1220" fmla="*/ 1802786 w 11856555"/>
              <a:gd name="connsiteY1220" fmla="*/ 1462048 h 4071735"/>
              <a:gd name="connsiteX1221" fmla="*/ 1807943 w 11856555"/>
              <a:gd name="connsiteY1221" fmla="*/ 1464859 h 4071735"/>
              <a:gd name="connsiteX1222" fmla="*/ 1800615 w 11856555"/>
              <a:gd name="connsiteY1222" fmla="*/ 1470272 h 4071735"/>
              <a:gd name="connsiteX1223" fmla="*/ 1799507 w 11856555"/>
              <a:gd name="connsiteY1223" fmla="*/ 1471394 h 4071735"/>
              <a:gd name="connsiteX1224" fmla="*/ 1790948 w 11856555"/>
              <a:gd name="connsiteY1224" fmla="*/ 1469264 h 4071735"/>
              <a:gd name="connsiteX1225" fmla="*/ 1802786 w 11856555"/>
              <a:gd name="connsiteY1225" fmla="*/ 1462048 h 4071735"/>
              <a:gd name="connsiteX1226" fmla="*/ 10278052 w 11856555"/>
              <a:gd name="connsiteY1226" fmla="*/ 1451854 h 4071735"/>
              <a:gd name="connsiteX1227" fmla="*/ 10284687 w 11856555"/>
              <a:gd name="connsiteY1227" fmla="*/ 1463081 h 4071735"/>
              <a:gd name="connsiteX1228" fmla="*/ 10288232 w 11856555"/>
              <a:gd name="connsiteY1228" fmla="*/ 1474647 h 4071735"/>
              <a:gd name="connsiteX1229" fmla="*/ 10266759 w 11856555"/>
              <a:gd name="connsiteY1229" fmla="*/ 1484310 h 4071735"/>
              <a:gd name="connsiteX1230" fmla="*/ 10262025 w 11856555"/>
              <a:gd name="connsiteY1230" fmla="*/ 1480873 h 4071735"/>
              <a:gd name="connsiteX1231" fmla="*/ 10250223 w 11856555"/>
              <a:gd name="connsiteY1231" fmla="*/ 1469327 h 4071735"/>
              <a:gd name="connsiteX1232" fmla="*/ 1894556 w 11856555"/>
              <a:gd name="connsiteY1232" fmla="*/ 1445428 h 4071735"/>
              <a:gd name="connsiteX1233" fmla="*/ 1901912 w 11856555"/>
              <a:gd name="connsiteY1233" fmla="*/ 1448226 h 4071735"/>
              <a:gd name="connsiteX1234" fmla="*/ 1903508 w 11856555"/>
              <a:gd name="connsiteY1234" fmla="*/ 1447434 h 4071735"/>
              <a:gd name="connsiteX1235" fmla="*/ 1865201 w 11856555"/>
              <a:gd name="connsiteY1235" fmla="*/ 1442750 h 4071735"/>
              <a:gd name="connsiteX1236" fmla="*/ 1883575 w 11856555"/>
              <a:gd name="connsiteY1236" fmla="*/ 1449326 h 4071735"/>
              <a:gd name="connsiteX1237" fmla="*/ 1865201 w 11856555"/>
              <a:gd name="connsiteY1237" fmla="*/ 1442750 h 4071735"/>
              <a:gd name="connsiteX1238" fmla="*/ 1851109 w 11856555"/>
              <a:gd name="connsiteY1238" fmla="*/ 1440786 h 4071735"/>
              <a:gd name="connsiteX1239" fmla="*/ 1833689 w 11856555"/>
              <a:gd name="connsiteY1239" fmla="*/ 1447780 h 4071735"/>
              <a:gd name="connsiteX1240" fmla="*/ 1834820 w 11856555"/>
              <a:gd name="connsiteY1240" fmla="*/ 1442811 h 4071735"/>
              <a:gd name="connsiteX1241" fmla="*/ 1964253 w 11856555"/>
              <a:gd name="connsiteY1241" fmla="*/ 1401252 h 4071735"/>
              <a:gd name="connsiteX1242" fmla="*/ 1974753 w 11856555"/>
              <a:gd name="connsiteY1242" fmla="*/ 1411815 h 4071735"/>
              <a:gd name="connsiteX1243" fmla="*/ 1975418 w 11856555"/>
              <a:gd name="connsiteY1243" fmla="*/ 1411736 h 4071735"/>
              <a:gd name="connsiteX1244" fmla="*/ 1992551 w 11856555"/>
              <a:gd name="connsiteY1244" fmla="*/ 1403230 h 4071735"/>
              <a:gd name="connsiteX1245" fmla="*/ 10149869 w 11856555"/>
              <a:gd name="connsiteY1245" fmla="*/ 1387937 h 4071735"/>
              <a:gd name="connsiteX1246" fmla="*/ 10148741 w 11856555"/>
              <a:gd name="connsiteY1246" fmla="*/ 1399126 h 4071735"/>
              <a:gd name="connsiteX1247" fmla="*/ 10149869 w 11856555"/>
              <a:gd name="connsiteY1247" fmla="*/ 1387937 h 4071735"/>
              <a:gd name="connsiteX1248" fmla="*/ 10137893 w 11856555"/>
              <a:gd name="connsiteY1248" fmla="*/ 1362127 h 4071735"/>
              <a:gd name="connsiteX1249" fmla="*/ 10138487 w 11856555"/>
              <a:gd name="connsiteY1249" fmla="*/ 1362564 h 4071735"/>
              <a:gd name="connsiteX1250" fmla="*/ 10138340 w 11856555"/>
              <a:gd name="connsiteY1250" fmla="*/ 1362621 h 4071735"/>
              <a:gd name="connsiteX1251" fmla="*/ 10152384 w 11856555"/>
              <a:gd name="connsiteY1251" fmla="*/ 1357172 h 4071735"/>
              <a:gd name="connsiteX1252" fmla="*/ 10148500 w 11856555"/>
              <a:gd name="connsiteY1252" fmla="*/ 1369944 h 4071735"/>
              <a:gd name="connsiteX1253" fmla="*/ 10138487 w 11856555"/>
              <a:gd name="connsiteY1253" fmla="*/ 1362564 h 4071735"/>
              <a:gd name="connsiteX1254" fmla="*/ 10152229 w 11856555"/>
              <a:gd name="connsiteY1254" fmla="*/ 1357221 h 4071735"/>
              <a:gd name="connsiteX1255" fmla="*/ 10055856 w 11856555"/>
              <a:gd name="connsiteY1255" fmla="*/ 1356934 h 4071735"/>
              <a:gd name="connsiteX1256" fmla="*/ 10060674 w 11856555"/>
              <a:gd name="connsiteY1256" fmla="*/ 1357808 h 4071735"/>
              <a:gd name="connsiteX1257" fmla="*/ 10061089 w 11856555"/>
              <a:gd name="connsiteY1257" fmla="*/ 1359172 h 4071735"/>
              <a:gd name="connsiteX1258" fmla="*/ 10058910 w 11856555"/>
              <a:gd name="connsiteY1258" fmla="*/ 1364539 h 4071735"/>
              <a:gd name="connsiteX1259" fmla="*/ 10051524 w 11856555"/>
              <a:gd name="connsiteY1259" fmla="*/ 1368032 h 4071735"/>
              <a:gd name="connsiteX1260" fmla="*/ 10048077 w 11856555"/>
              <a:gd name="connsiteY1260" fmla="*/ 1360639 h 4071735"/>
              <a:gd name="connsiteX1261" fmla="*/ 10054606 w 11856555"/>
              <a:gd name="connsiteY1261" fmla="*/ 1357235 h 4071735"/>
              <a:gd name="connsiteX1262" fmla="*/ 10153976 w 11856555"/>
              <a:gd name="connsiteY1262" fmla="*/ 1351932 h 4071735"/>
              <a:gd name="connsiteX1263" fmla="*/ 10157915 w 11856555"/>
              <a:gd name="connsiteY1263" fmla="*/ 1355410 h 4071735"/>
              <a:gd name="connsiteX1264" fmla="*/ 10152384 w 11856555"/>
              <a:gd name="connsiteY1264" fmla="*/ 1357172 h 4071735"/>
              <a:gd name="connsiteX1265" fmla="*/ 10174582 w 11856555"/>
              <a:gd name="connsiteY1265" fmla="*/ 1350096 h 4071735"/>
              <a:gd name="connsiteX1266" fmla="*/ 10165248 w 11856555"/>
              <a:gd name="connsiteY1266" fmla="*/ 1361880 h 4071735"/>
              <a:gd name="connsiteX1267" fmla="*/ 10157915 w 11856555"/>
              <a:gd name="connsiteY1267" fmla="*/ 1355410 h 4071735"/>
              <a:gd name="connsiteX1268" fmla="*/ 10102517 w 11856555"/>
              <a:gd name="connsiteY1268" fmla="*/ 1341232 h 4071735"/>
              <a:gd name="connsiteX1269" fmla="*/ 10115996 w 11856555"/>
              <a:gd name="connsiteY1269" fmla="*/ 1349476 h 4071735"/>
              <a:gd name="connsiteX1270" fmla="*/ 10102517 w 11856555"/>
              <a:gd name="connsiteY1270" fmla="*/ 1341232 h 4071735"/>
              <a:gd name="connsiteX1271" fmla="*/ 10117935 w 11856555"/>
              <a:gd name="connsiteY1271" fmla="*/ 1328859 h 4071735"/>
              <a:gd name="connsiteX1272" fmla="*/ 10123747 w 11856555"/>
              <a:gd name="connsiteY1272" fmla="*/ 1351706 h 4071735"/>
              <a:gd name="connsiteX1273" fmla="*/ 10117935 w 11856555"/>
              <a:gd name="connsiteY1273" fmla="*/ 1328859 h 4071735"/>
              <a:gd name="connsiteX1274" fmla="*/ 10488565 w 11856555"/>
              <a:gd name="connsiteY1274" fmla="*/ 1292912 h 4071735"/>
              <a:gd name="connsiteX1275" fmla="*/ 10413314 w 11856555"/>
              <a:gd name="connsiteY1275" fmla="*/ 1317141 h 4071735"/>
              <a:gd name="connsiteX1276" fmla="*/ 10278533 w 11856555"/>
              <a:gd name="connsiteY1276" fmla="*/ 1364562 h 4071735"/>
              <a:gd name="connsiteX1277" fmla="*/ 10247902 w 11856555"/>
              <a:gd name="connsiteY1277" fmla="*/ 1370653 h 4071735"/>
              <a:gd name="connsiteX1278" fmla="*/ 10273425 w 11856555"/>
              <a:gd name="connsiteY1278" fmla="*/ 1357276 h 4071735"/>
              <a:gd name="connsiteX1279" fmla="*/ 10391870 w 11856555"/>
              <a:gd name="connsiteY1279" fmla="*/ 1314628 h 4071735"/>
              <a:gd name="connsiteX1280" fmla="*/ 10409458 w 11856555"/>
              <a:gd name="connsiteY1280" fmla="*/ 1311278 h 4071735"/>
              <a:gd name="connsiteX1281" fmla="*/ 10488565 w 11856555"/>
              <a:gd name="connsiteY1281" fmla="*/ 1292912 h 4071735"/>
              <a:gd name="connsiteX1282" fmla="*/ 10560844 w 11856555"/>
              <a:gd name="connsiteY1282" fmla="*/ 1277710 h 4071735"/>
              <a:gd name="connsiteX1283" fmla="*/ 10487467 w 11856555"/>
              <a:gd name="connsiteY1283" fmla="*/ 1301770 h 4071735"/>
              <a:gd name="connsiteX1284" fmla="*/ 10560844 w 11856555"/>
              <a:gd name="connsiteY1284" fmla="*/ 1277710 h 4071735"/>
              <a:gd name="connsiteX1285" fmla="*/ 10654842 w 11856555"/>
              <a:gd name="connsiteY1285" fmla="*/ 1267873 h 4071735"/>
              <a:gd name="connsiteX1286" fmla="*/ 10663869 w 11856555"/>
              <a:gd name="connsiteY1286" fmla="*/ 1268530 h 4071735"/>
              <a:gd name="connsiteX1287" fmla="*/ 10649401 w 11856555"/>
              <a:gd name="connsiteY1287" fmla="*/ 1275659 h 4071735"/>
              <a:gd name="connsiteX1288" fmla="*/ 10654842 w 11856555"/>
              <a:gd name="connsiteY1288" fmla="*/ 1267873 h 4071735"/>
              <a:gd name="connsiteX1289" fmla="*/ 10651137 w 11856555"/>
              <a:gd name="connsiteY1289" fmla="*/ 1246174 h 4071735"/>
              <a:gd name="connsiteX1290" fmla="*/ 10651028 w 11856555"/>
              <a:gd name="connsiteY1290" fmla="*/ 1246232 h 4071735"/>
              <a:gd name="connsiteX1291" fmla="*/ 10638744 w 11856555"/>
              <a:gd name="connsiteY1291" fmla="*/ 1262006 h 4071735"/>
              <a:gd name="connsiteX1292" fmla="*/ 10629252 w 11856555"/>
              <a:gd name="connsiteY1292" fmla="*/ 1261437 h 4071735"/>
              <a:gd name="connsiteX1293" fmla="*/ 10620520 w 11856555"/>
              <a:gd name="connsiteY1293" fmla="*/ 1252229 h 4071735"/>
              <a:gd name="connsiteX1294" fmla="*/ 10633625 w 11856555"/>
              <a:gd name="connsiteY1294" fmla="*/ 1249053 h 4071735"/>
              <a:gd name="connsiteX1295" fmla="*/ 10636917 w 11856555"/>
              <a:gd name="connsiteY1295" fmla="*/ 1248512 h 4071735"/>
              <a:gd name="connsiteX1296" fmla="*/ 10645202 w 11856555"/>
              <a:gd name="connsiteY1296" fmla="*/ 1249748 h 4071735"/>
              <a:gd name="connsiteX1297" fmla="*/ 10641911 w 11856555"/>
              <a:gd name="connsiteY1297" fmla="*/ 1247690 h 4071735"/>
              <a:gd name="connsiteX1298" fmla="*/ 10619469 w 11856555"/>
              <a:gd name="connsiteY1298" fmla="*/ 1233863 h 4071735"/>
              <a:gd name="connsiteX1299" fmla="*/ 10620256 w 11856555"/>
              <a:gd name="connsiteY1299" fmla="*/ 1234147 h 4071735"/>
              <a:gd name="connsiteX1300" fmla="*/ 10641911 w 11856555"/>
              <a:gd name="connsiteY1300" fmla="*/ 1247690 h 4071735"/>
              <a:gd name="connsiteX1301" fmla="*/ 10636917 w 11856555"/>
              <a:gd name="connsiteY1301" fmla="*/ 1248512 h 4071735"/>
              <a:gd name="connsiteX1302" fmla="*/ 10613708 w 11856555"/>
              <a:gd name="connsiteY1302" fmla="*/ 1245044 h 4071735"/>
              <a:gd name="connsiteX1303" fmla="*/ 10611018 w 11856555"/>
              <a:gd name="connsiteY1303" fmla="*/ 1242208 h 4071735"/>
              <a:gd name="connsiteX1304" fmla="*/ 10607615 w 11856555"/>
              <a:gd name="connsiteY1304" fmla="*/ 1236114 h 4071735"/>
              <a:gd name="connsiteX1305" fmla="*/ 2756341 w 11856555"/>
              <a:gd name="connsiteY1305" fmla="*/ 1231005 h 4071735"/>
              <a:gd name="connsiteX1306" fmla="*/ 2772435 w 11856555"/>
              <a:gd name="connsiteY1306" fmla="*/ 1232858 h 4071735"/>
              <a:gd name="connsiteX1307" fmla="*/ 2756341 w 11856555"/>
              <a:gd name="connsiteY1307" fmla="*/ 1231005 h 4071735"/>
              <a:gd name="connsiteX1308" fmla="*/ 2675521 w 11856555"/>
              <a:gd name="connsiteY1308" fmla="*/ 1227695 h 4071735"/>
              <a:gd name="connsiteX1309" fmla="*/ 2677746 w 11856555"/>
              <a:gd name="connsiteY1309" fmla="*/ 1229613 h 4071735"/>
              <a:gd name="connsiteX1310" fmla="*/ 2675832 w 11856555"/>
              <a:gd name="connsiteY1310" fmla="*/ 1230783 h 4071735"/>
              <a:gd name="connsiteX1311" fmla="*/ 2675329 w 11856555"/>
              <a:gd name="connsiteY1311" fmla="*/ 1227827 h 4071735"/>
              <a:gd name="connsiteX1312" fmla="*/ 10944339 w 11856555"/>
              <a:gd name="connsiteY1312" fmla="*/ 1203806 h 4071735"/>
              <a:gd name="connsiteX1313" fmla="*/ 10819191 w 11856555"/>
              <a:gd name="connsiteY1313" fmla="*/ 1218548 h 4071735"/>
              <a:gd name="connsiteX1314" fmla="*/ 10651137 w 11856555"/>
              <a:gd name="connsiteY1314" fmla="*/ 1246174 h 4071735"/>
              <a:gd name="connsiteX1315" fmla="*/ 10678803 w 11856555"/>
              <a:gd name="connsiteY1315" fmla="*/ 1231353 h 4071735"/>
              <a:gd name="connsiteX1316" fmla="*/ 10721781 w 11856555"/>
              <a:gd name="connsiteY1316" fmla="*/ 1218953 h 4071735"/>
              <a:gd name="connsiteX1317" fmla="*/ 10767523 w 11856555"/>
              <a:gd name="connsiteY1317" fmla="*/ 1214436 h 4071735"/>
              <a:gd name="connsiteX1318" fmla="*/ 2822833 w 11856555"/>
              <a:gd name="connsiteY1318" fmla="*/ 1186932 h 4071735"/>
              <a:gd name="connsiteX1319" fmla="*/ 2817109 w 11856555"/>
              <a:gd name="connsiteY1319" fmla="*/ 1192998 h 4071735"/>
              <a:gd name="connsiteX1320" fmla="*/ 2805865 w 11856555"/>
              <a:gd name="connsiteY1320" fmla="*/ 1194832 h 4071735"/>
              <a:gd name="connsiteX1321" fmla="*/ 2811839 w 11856555"/>
              <a:gd name="connsiteY1321" fmla="*/ 1208903 h 4071735"/>
              <a:gd name="connsiteX1322" fmla="*/ 2816885 w 11856555"/>
              <a:gd name="connsiteY1322" fmla="*/ 1193235 h 4071735"/>
              <a:gd name="connsiteX1323" fmla="*/ 2817109 w 11856555"/>
              <a:gd name="connsiteY1323" fmla="*/ 1192998 h 4071735"/>
              <a:gd name="connsiteX1324" fmla="*/ 2819415 w 11856555"/>
              <a:gd name="connsiteY1324" fmla="*/ 1192621 h 4071735"/>
              <a:gd name="connsiteX1325" fmla="*/ 2842467 w 11856555"/>
              <a:gd name="connsiteY1325" fmla="*/ 1198067 h 4071735"/>
              <a:gd name="connsiteX1326" fmla="*/ 2848837 w 11856555"/>
              <a:gd name="connsiteY1326" fmla="*/ 1203962 h 4071735"/>
              <a:gd name="connsiteX1327" fmla="*/ 2858408 w 11856555"/>
              <a:gd name="connsiteY1327" fmla="*/ 1201832 h 4071735"/>
              <a:gd name="connsiteX1328" fmla="*/ 2842467 w 11856555"/>
              <a:gd name="connsiteY1328" fmla="*/ 1198067 h 4071735"/>
              <a:gd name="connsiteX1329" fmla="*/ 2836072 w 11856555"/>
              <a:gd name="connsiteY1329" fmla="*/ 1192141 h 4071735"/>
              <a:gd name="connsiteX1330" fmla="*/ 2822833 w 11856555"/>
              <a:gd name="connsiteY1330" fmla="*/ 1186932 h 4071735"/>
              <a:gd name="connsiteX1331" fmla="*/ 11102196 w 11856555"/>
              <a:gd name="connsiteY1331" fmla="*/ 1185213 h 4071735"/>
              <a:gd name="connsiteX1332" fmla="*/ 11065995 w 11856555"/>
              <a:gd name="connsiteY1332" fmla="*/ 1192202 h 4071735"/>
              <a:gd name="connsiteX1333" fmla="*/ 10967381 w 11856555"/>
              <a:gd name="connsiteY1333" fmla="*/ 1202421 h 4071735"/>
              <a:gd name="connsiteX1334" fmla="*/ 10944339 w 11856555"/>
              <a:gd name="connsiteY1334" fmla="*/ 1203806 h 4071735"/>
              <a:gd name="connsiteX1335" fmla="*/ 2822629 w 11856555"/>
              <a:gd name="connsiteY1335" fmla="*/ 1181657 h 4071735"/>
              <a:gd name="connsiteX1336" fmla="*/ 2788070 w 11856555"/>
              <a:gd name="connsiteY1336" fmla="*/ 1196418 h 4071735"/>
              <a:gd name="connsiteX1337" fmla="*/ 2822629 w 11856555"/>
              <a:gd name="connsiteY1337" fmla="*/ 1181657 h 4071735"/>
              <a:gd name="connsiteX1338" fmla="*/ 2911183 w 11856555"/>
              <a:gd name="connsiteY1338" fmla="*/ 1179606 h 4071735"/>
              <a:gd name="connsiteX1339" fmla="*/ 2928556 w 11856555"/>
              <a:gd name="connsiteY1339" fmla="*/ 1183899 h 4071735"/>
              <a:gd name="connsiteX1340" fmla="*/ 2911183 w 11856555"/>
              <a:gd name="connsiteY1340" fmla="*/ 1179606 h 4071735"/>
              <a:gd name="connsiteX1341" fmla="*/ 2862547 w 11856555"/>
              <a:gd name="connsiteY1341" fmla="*/ 1163498 h 4071735"/>
              <a:gd name="connsiteX1342" fmla="*/ 2862547 w 11856555"/>
              <a:gd name="connsiteY1342" fmla="*/ 1163498 h 4071735"/>
              <a:gd name="connsiteX1343" fmla="*/ 2979483 w 11856555"/>
              <a:gd name="connsiteY1343" fmla="*/ 1154173 h 4071735"/>
              <a:gd name="connsiteX1344" fmla="*/ 2982137 w 11856555"/>
              <a:gd name="connsiteY1344" fmla="*/ 1158429 h 4071735"/>
              <a:gd name="connsiteX1345" fmla="*/ 2976973 w 11856555"/>
              <a:gd name="connsiteY1345" fmla="*/ 1162929 h 4071735"/>
              <a:gd name="connsiteX1346" fmla="*/ 2967931 w 11856555"/>
              <a:gd name="connsiteY1346" fmla="*/ 1165526 h 4071735"/>
              <a:gd name="connsiteX1347" fmla="*/ 2967019 w 11856555"/>
              <a:gd name="connsiteY1347" fmla="*/ 1165526 h 4071735"/>
              <a:gd name="connsiteX1348" fmla="*/ 3058385 w 11856555"/>
              <a:gd name="connsiteY1348" fmla="*/ 1142806 h 4071735"/>
              <a:gd name="connsiteX1349" fmla="*/ 3069539 w 11856555"/>
              <a:gd name="connsiteY1349" fmla="*/ 1146082 h 4071735"/>
              <a:gd name="connsiteX1350" fmla="*/ 3057612 w 11856555"/>
              <a:gd name="connsiteY1350" fmla="*/ 1149035 h 4071735"/>
              <a:gd name="connsiteX1351" fmla="*/ 3057976 w 11856555"/>
              <a:gd name="connsiteY1351" fmla="*/ 1143815 h 4071735"/>
              <a:gd name="connsiteX1352" fmla="*/ 2886187 w 11856555"/>
              <a:gd name="connsiteY1352" fmla="*/ 1132186 h 4071735"/>
              <a:gd name="connsiteX1353" fmla="*/ 2886187 w 11856555"/>
              <a:gd name="connsiteY1353" fmla="*/ 1132186 h 4071735"/>
              <a:gd name="connsiteX1354" fmla="*/ 3172340 w 11856555"/>
              <a:gd name="connsiteY1354" fmla="*/ 1123365 h 4071735"/>
              <a:gd name="connsiteX1355" fmla="*/ 3170712 w 11856555"/>
              <a:gd name="connsiteY1355" fmla="*/ 1127093 h 4071735"/>
              <a:gd name="connsiteX1356" fmla="*/ 3172339 w 11856555"/>
              <a:gd name="connsiteY1356" fmla="*/ 1129177 h 4071735"/>
              <a:gd name="connsiteX1357" fmla="*/ 11560025 w 11856555"/>
              <a:gd name="connsiteY1357" fmla="*/ 1112739 h 4071735"/>
              <a:gd name="connsiteX1358" fmla="*/ 11193141 w 11856555"/>
              <a:gd name="connsiteY1358" fmla="*/ 1174500 h 4071735"/>
              <a:gd name="connsiteX1359" fmla="*/ 11102196 w 11856555"/>
              <a:gd name="connsiteY1359" fmla="*/ 1185213 h 4071735"/>
              <a:gd name="connsiteX1360" fmla="*/ 11159769 w 11856555"/>
              <a:gd name="connsiteY1360" fmla="*/ 1174097 h 4071735"/>
              <a:gd name="connsiteX1361" fmla="*/ 11245730 w 11856555"/>
              <a:gd name="connsiteY1361" fmla="*/ 1144300 h 4071735"/>
              <a:gd name="connsiteX1362" fmla="*/ 11252441 w 11856555"/>
              <a:gd name="connsiteY1362" fmla="*/ 1140256 h 4071735"/>
              <a:gd name="connsiteX1363" fmla="*/ 11362975 w 11856555"/>
              <a:gd name="connsiteY1363" fmla="*/ 1130115 h 4071735"/>
              <a:gd name="connsiteX1364" fmla="*/ 11560025 w 11856555"/>
              <a:gd name="connsiteY1364" fmla="*/ 1112739 h 4071735"/>
              <a:gd name="connsiteX1365" fmla="*/ 3133011 w 11856555"/>
              <a:gd name="connsiteY1365" fmla="*/ 1110237 h 4071735"/>
              <a:gd name="connsiteX1366" fmla="*/ 3156181 w 11856555"/>
              <a:gd name="connsiteY1366" fmla="*/ 1111047 h 4071735"/>
              <a:gd name="connsiteX1367" fmla="*/ 3133011 w 11856555"/>
              <a:gd name="connsiteY1367" fmla="*/ 1110237 h 4071735"/>
              <a:gd name="connsiteX1368" fmla="*/ 3172340 w 11856555"/>
              <a:gd name="connsiteY1368" fmla="*/ 1094828 h 4071735"/>
              <a:gd name="connsiteX1369" fmla="*/ 3165038 w 11856555"/>
              <a:gd name="connsiteY1369" fmla="*/ 1097195 h 4071735"/>
              <a:gd name="connsiteX1370" fmla="*/ 3168285 w 11856555"/>
              <a:gd name="connsiteY1370" fmla="*/ 1097868 h 4071735"/>
              <a:gd name="connsiteX1371" fmla="*/ 3172339 w 11856555"/>
              <a:gd name="connsiteY1371" fmla="*/ 1097007 h 4071735"/>
              <a:gd name="connsiteX1372" fmla="*/ 3322688 w 11856555"/>
              <a:gd name="connsiteY1372" fmla="*/ 1063719 h 4071735"/>
              <a:gd name="connsiteX1373" fmla="*/ 3322978 w 11856555"/>
              <a:gd name="connsiteY1373" fmla="*/ 1069545 h 4071735"/>
              <a:gd name="connsiteX1374" fmla="*/ 3336425 w 11856555"/>
              <a:gd name="connsiteY1374" fmla="*/ 1069545 h 4071735"/>
              <a:gd name="connsiteX1375" fmla="*/ 3339044 w 11856555"/>
              <a:gd name="connsiteY1375" fmla="*/ 1065547 h 4071735"/>
              <a:gd name="connsiteX1376" fmla="*/ 3322688 w 11856555"/>
              <a:gd name="connsiteY1376" fmla="*/ 1063719 h 4071735"/>
              <a:gd name="connsiteX1377" fmla="*/ 3484588 w 11856555"/>
              <a:gd name="connsiteY1377" fmla="*/ 1061504 h 4071735"/>
              <a:gd name="connsiteX1378" fmla="*/ 3483520 w 11856555"/>
              <a:gd name="connsiteY1378" fmla="*/ 1069482 h 4071735"/>
              <a:gd name="connsiteX1379" fmla="*/ 3483533 w 11856555"/>
              <a:gd name="connsiteY1379" fmla="*/ 1069546 h 4071735"/>
              <a:gd name="connsiteX1380" fmla="*/ 3488411 w 11856555"/>
              <a:gd name="connsiteY1380" fmla="*/ 1069545 h 4071735"/>
              <a:gd name="connsiteX1381" fmla="*/ 3488060 w 11856555"/>
              <a:gd name="connsiteY1381" fmla="*/ 1063950 h 4071735"/>
              <a:gd name="connsiteX1382" fmla="*/ 3484588 w 11856555"/>
              <a:gd name="connsiteY1382" fmla="*/ 1061504 h 4071735"/>
              <a:gd name="connsiteX1383" fmla="*/ 3427927 w 11856555"/>
              <a:gd name="connsiteY1383" fmla="*/ 1045944 h 4071735"/>
              <a:gd name="connsiteX1384" fmla="*/ 3399246 w 11856555"/>
              <a:gd name="connsiteY1384" fmla="*/ 1063103 h 4071735"/>
              <a:gd name="connsiteX1385" fmla="*/ 3427927 w 11856555"/>
              <a:gd name="connsiteY1385" fmla="*/ 1045944 h 4071735"/>
              <a:gd name="connsiteX1386" fmla="*/ 3621164 w 11856555"/>
              <a:gd name="connsiteY1386" fmla="*/ 1000022 h 4071735"/>
              <a:gd name="connsiteX1387" fmla="*/ 3615050 w 11856555"/>
              <a:gd name="connsiteY1387" fmla="*/ 1005906 h 4071735"/>
              <a:gd name="connsiteX1388" fmla="*/ 3621164 w 11856555"/>
              <a:gd name="connsiteY1388" fmla="*/ 1000022 h 4071735"/>
              <a:gd name="connsiteX1389" fmla="*/ 11606798 w 11856555"/>
              <a:gd name="connsiteY1389" fmla="*/ 959627 h 4071735"/>
              <a:gd name="connsiteX1390" fmla="*/ 11584579 w 11856555"/>
              <a:gd name="connsiteY1390" fmla="*/ 964528 h 4071735"/>
              <a:gd name="connsiteX1391" fmla="*/ 11606798 w 11856555"/>
              <a:gd name="connsiteY1391" fmla="*/ 959627 h 4071735"/>
              <a:gd name="connsiteX1392" fmla="*/ 3933014 w 11856555"/>
              <a:gd name="connsiteY1392" fmla="*/ 941861 h 4071735"/>
              <a:gd name="connsiteX1393" fmla="*/ 3934004 w 11856555"/>
              <a:gd name="connsiteY1393" fmla="*/ 942359 h 4071735"/>
              <a:gd name="connsiteX1394" fmla="*/ 3931284 w 11856555"/>
              <a:gd name="connsiteY1394" fmla="*/ 942743 h 4071735"/>
              <a:gd name="connsiteX1395" fmla="*/ 11722935 w 11856555"/>
              <a:gd name="connsiteY1395" fmla="*/ 837853 h 4071735"/>
              <a:gd name="connsiteX1396" fmla="*/ 11715086 w 11856555"/>
              <a:gd name="connsiteY1396" fmla="*/ 838360 h 4071735"/>
              <a:gd name="connsiteX1397" fmla="*/ 11708536 w 11856555"/>
              <a:gd name="connsiteY1397" fmla="*/ 851263 h 4071735"/>
              <a:gd name="connsiteX1398" fmla="*/ 11722935 w 11856555"/>
              <a:gd name="connsiteY1398" fmla="*/ 837853 h 4071735"/>
              <a:gd name="connsiteX1399" fmla="*/ 4450295 w 11856555"/>
              <a:gd name="connsiteY1399" fmla="*/ 823418 h 4071735"/>
              <a:gd name="connsiteX1400" fmla="*/ 4468447 w 11856555"/>
              <a:gd name="connsiteY1400" fmla="*/ 836404 h 4071735"/>
              <a:gd name="connsiteX1401" fmla="*/ 4450295 w 11856555"/>
              <a:gd name="connsiteY1401" fmla="*/ 823418 h 4071735"/>
              <a:gd name="connsiteX1402" fmla="*/ 6489071 w 11856555"/>
              <a:gd name="connsiteY1402" fmla="*/ 819891 h 4071735"/>
              <a:gd name="connsiteX1403" fmla="*/ 6489071 w 11856555"/>
              <a:gd name="connsiteY1403" fmla="*/ 819891 h 4071735"/>
              <a:gd name="connsiteX1404" fmla="*/ 6454319 w 11856555"/>
              <a:gd name="connsiteY1404" fmla="*/ 811307 h 4071735"/>
              <a:gd name="connsiteX1405" fmla="*/ 6454319 w 11856555"/>
              <a:gd name="connsiteY1405" fmla="*/ 811307 h 4071735"/>
              <a:gd name="connsiteX1406" fmla="*/ 6512389 w 11856555"/>
              <a:gd name="connsiteY1406" fmla="*/ 806132 h 4071735"/>
              <a:gd name="connsiteX1407" fmla="*/ 6512389 w 11856555"/>
              <a:gd name="connsiteY1407" fmla="*/ 806132 h 4071735"/>
              <a:gd name="connsiteX1408" fmla="*/ 6541843 w 11856555"/>
              <a:gd name="connsiteY1408" fmla="*/ 797666 h 4071735"/>
              <a:gd name="connsiteX1409" fmla="*/ 6541843 w 11856555"/>
              <a:gd name="connsiteY1409" fmla="*/ 797666 h 4071735"/>
              <a:gd name="connsiteX1410" fmla="*/ 4577994 w 11856555"/>
              <a:gd name="connsiteY1410" fmla="*/ 794516 h 4071735"/>
              <a:gd name="connsiteX1411" fmla="*/ 4577994 w 11856555"/>
              <a:gd name="connsiteY1411" fmla="*/ 794516 h 4071735"/>
              <a:gd name="connsiteX1412" fmla="*/ 4633931 w 11856555"/>
              <a:gd name="connsiteY1412" fmla="*/ 786611 h 4071735"/>
              <a:gd name="connsiteX1413" fmla="*/ 4655312 w 11856555"/>
              <a:gd name="connsiteY1413" fmla="*/ 793468 h 4071735"/>
              <a:gd name="connsiteX1414" fmla="*/ 4633931 w 11856555"/>
              <a:gd name="connsiteY1414" fmla="*/ 786611 h 4071735"/>
              <a:gd name="connsiteX1415" fmla="*/ 6586607 w 11856555"/>
              <a:gd name="connsiteY1415" fmla="*/ 770313 h 4071735"/>
              <a:gd name="connsiteX1416" fmla="*/ 6586607 w 11856555"/>
              <a:gd name="connsiteY1416" fmla="*/ 770313 h 4071735"/>
              <a:gd name="connsiteX1417" fmla="*/ 6761069 w 11856555"/>
              <a:gd name="connsiteY1417" fmla="*/ 757687 h 4071735"/>
              <a:gd name="connsiteX1418" fmla="*/ 6755232 w 11856555"/>
              <a:gd name="connsiteY1418" fmla="*/ 768762 h 4071735"/>
              <a:gd name="connsiteX1419" fmla="*/ 6751379 w 11856555"/>
              <a:gd name="connsiteY1419" fmla="*/ 776074 h 4071735"/>
              <a:gd name="connsiteX1420" fmla="*/ 6750168 w 11856555"/>
              <a:gd name="connsiteY1420" fmla="*/ 778372 h 4071735"/>
              <a:gd name="connsiteX1421" fmla="*/ 6755232 w 11856555"/>
              <a:gd name="connsiteY1421" fmla="*/ 768762 h 4071735"/>
              <a:gd name="connsiteX1422" fmla="*/ 6757436 w 11856555"/>
              <a:gd name="connsiteY1422" fmla="*/ 764583 h 4071735"/>
              <a:gd name="connsiteX1423" fmla="*/ 6761069 w 11856555"/>
              <a:gd name="connsiteY1423" fmla="*/ 757687 h 4071735"/>
              <a:gd name="connsiteX1424" fmla="*/ 4884832 w 11856555"/>
              <a:gd name="connsiteY1424" fmla="*/ 734994 h 4071735"/>
              <a:gd name="connsiteX1425" fmla="*/ 4882730 w 11856555"/>
              <a:gd name="connsiteY1425" fmla="*/ 737459 h 4071735"/>
              <a:gd name="connsiteX1426" fmla="*/ 4881950 w 11856555"/>
              <a:gd name="connsiteY1426" fmla="*/ 735671 h 4071735"/>
              <a:gd name="connsiteX1427" fmla="*/ 11798890 w 11856555"/>
              <a:gd name="connsiteY1427" fmla="*/ 731654 h 4071735"/>
              <a:gd name="connsiteX1428" fmla="*/ 11801819 w 11856555"/>
              <a:gd name="connsiteY1428" fmla="*/ 736094 h 4071735"/>
              <a:gd name="connsiteX1429" fmla="*/ 11800193 w 11856555"/>
              <a:gd name="connsiteY1429" fmla="*/ 735723 h 4071735"/>
              <a:gd name="connsiteX1430" fmla="*/ 11798167 w 11856555"/>
              <a:gd name="connsiteY1430" fmla="*/ 731722 h 4071735"/>
              <a:gd name="connsiteX1431" fmla="*/ 4931192 w 11856555"/>
              <a:gd name="connsiteY1431" fmla="*/ 729458 h 4071735"/>
              <a:gd name="connsiteX1432" fmla="*/ 4915231 w 11856555"/>
              <a:gd name="connsiteY1432" fmla="*/ 744022 h 4071735"/>
              <a:gd name="connsiteX1433" fmla="*/ 4933447 w 11856555"/>
              <a:gd name="connsiteY1433" fmla="*/ 736557 h 4071735"/>
              <a:gd name="connsiteX1434" fmla="*/ 4931192 w 11856555"/>
              <a:gd name="connsiteY1434" fmla="*/ 729458 h 4071735"/>
              <a:gd name="connsiteX1435" fmla="*/ 11810486 w 11856555"/>
              <a:gd name="connsiteY1435" fmla="*/ 716781 h 4071735"/>
              <a:gd name="connsiteX1436" fmla="*/ 11818350 w 11856555"/>
              <a:gd name="connsiteY1436" fmla="*/ 727579 h 4071735"/>
              <a:gd name="connsiteX1437" fmla="*/ 11810486 w 11856555"/>
              <a:gd name="connsiteY1437" fmla="*/ 716781 h 4071735"/>
              <a:gd name="connsiteX1438" fmla="*/ 7130410 w 11856555"/>
              <a:gd name="connsiteY1438" fmla="*/ 707252 h 4071735"/>
              <a:gd name="connsiteX1439" fmla="*/ 7130410 w 11856555"/>
              <a:gd name="connsiteY1439" fmla="*/ 707252 h 4071735"/>
              <a:gd name="connsiteX1440" fmla="*/ 7157026 w 11856555"/>
              <a:gd name="connsiteY1440" fmla="*/ 706342 h 4071735"/>
              <a:gd name="connsiteX1441" fmla="*/ 7141066 w 11856555"/>
              <a:gd name="connsiteY1441" fmla="*/ 720905 h 4071735"/>
              <a:gd name="connsiteX1442" fmla="*/ 7159281 w 11856555"/>
              <a:gd name="connsiteY1442" fmla="*/ 713441 h 4071735"/>
              <a:gd name="connsiteX1443" fmla="*/ 7157026 w 11856555"/>
              <a:gd name="connsiteY1443" fmla="*/ 706342 h 4071735"/>
              <a:gd name="connsiteX1444" fmla="*/ 11205311 w 11856555"/>
              <a:gd name="connsiteY1444" fmla="*/ 691673 h 4071735"/>
              <a:gd name="connsiteX1445" fmla="*/ 11194210 w 11856555"/>
              <a:gd name="connsiteY1445" fmla="*/ 692251 h 4071735"/>
              <a:gd name="connsiteX1446" fmla="*/ 11205311 w 11856555"/>
              <a:gd name="connsiteY1446" fmla="*/ 691673 h 4071735"/>
              <a:gd name="connsiteX1447" fmla="*/ 11276492 w 11856555"/>
              <a:gd name="connsiteY1447" fmla="*/ 685330 h 4071735"/>
              <a:gd name="connsiteX1448" fmla="*/ 11258018 w 11856555"/>
              <a:gd name="connsiteY1448" fmla="*/ 689897 h 4071735"/>
              <a:gd name="connsiteX1449" fmla="*/ 11276492 w 11856555"/>
              <a:gd name="connsiteY1449" fmla="*/ 685330 h 4071735"/>
              <a:gd name="connsiteX1450" fmla="*/ 5184674 w 11856555"/>
              <a:gd name="connsiteY1450" fmla="*/ 666348 h 4071735"/>
              <a:gd name="connsiteX1451" fmla="*/ 5197437 w 11856555"/>
              <a:gd name="connsiteY1451" fmla="*/ 669226 h 4071735"/>
              <a:gd name="connsiteX1452" fmla="*/ 5171471 w 11856555"/>
              <a:gd name="connsiteY1452" fmla="*/ 674460 h 4071735"/>
              <a:gd name="connsiteX1453" fmla="*/ 5184674 w 11856555"/>
              <a:gd name="connsiteY1453" fmla="*/ 666348 h 4071735"/>
              <a:gd name="connsiteX1454" fmla="*/ 11674346 w 11856555"/>
              <a:gd name="connsiteY1454" fmla="*/ 658272 h 4071735"/>
              <a:gd name="connsiteX1455" fmla="*/ 11702992 w 11856555"/>
              <a:gd name="connsiteY1455" fmla="*/ 661926 h 4071735"/>
              <a:gd name="connsiteX1456" fmla="*/ 11662035 w 11856555"/>
              <a:gd name="connsiteY1456" fmla="*/ 669910 h 4071735"/>
              <a:gd name="connsiteX1457" fmla="*/ 7410507 w 11856555"/>
              <a:gd name="connsiteY1457" fmla="*/ 643232 h 4071735"/>
              <a:gd name="connsiteX1458" fmla="*/ 7423272 w 11856555"/>
              <a:gd name="connsiteY1458" fmla="*/ 646109 h 4071735"/>
              <a:gd name="connsiteX1459" fmla="*/ 7397305 w 11856555"/>
              <a:gd name="connsiteY1459" fmla="*/ 651344 h 4071735"/>
              <a:gd name="connsiteX1460" fmla="*/ 7410507 w 11856555"/>
              <a:gd name="connsiteY1460" fmla="*/ 643232 h 4071735"/>
              <a:gd name="connsiteX1461" fmla="*/ 6682601 w 11856555"/>
              <a:gd name="connsiteY1461" fmla="*/ 586895 h 4071735"/>
              <a:gd name="connsiteX1462" fmla="*/ 6674913 w 11856555"/>
              <a:gd name="connsiteY1462" fmla="*/ 595976 h 4071735"/>
              <a:gd name="connsiteX1463" fmla="*/ 6691256 w 11856555"/>
              <a:gd name="connsiteY1463" fmla="*/ 588679 h 4071735"/>
              <a:gd name="connsiteX1464" fmla="*/ 6682601 w 11856555"/>
              <a:gd name="connsiteY1464" fmla="*/ 586895 h 4071735"/>
              <a:gd name="connsiteX1465" fmla="*/ 10744005 w 11856555"/>
              <a:gd name="connsiteY1465" fmla="*/ 583345 h 4071735"/>
              <a:gd name="connsiteX1466" fmla="*/ 10737606 w 11856555"/>
              <a:gd name="connsiteY1466" fmla="*/ 583402 h 4071735"/>
              <a:gd name="connsiteX1467" fmla="*/ 10734506 w 11856555"/>
              <a:gd name="connsiteY1467" fmla="*/ 599284 h 4071735"/>
              <a:gd name="connsiteX1468" fmla="*/ 10744005 w 11856555"/>
              <a:gd name="connsiteY1468" fmla="*/ 583345 h 4071735"/>
              <a:gd name="connsiteX1469" fmla="*/ 10790847 w 11856555"/>
              <a:gd name="connsiteY1469" fmla="*/ 578018 h 4071735"/>
              <a:gd name="connsiteX1470" fmla="*/ 10806270 w 11856555"/>
              <a:gd name="connsiteY1470" fmla="*/ 578286 h 4071735"/>
              <a:gd name="connsiteX1471" fmla="*/ 10790847 w 11856555"/>
              <a:gd name="connsiteY1471" fmla="*/ 578018 h 4071735"/>
              <a:gd name="connsiteX1472" fmla="*/ 6664324 w 11856555"/>
              <a:gd name="connsiteY1472" fmla="*/ 561874 h 4071735"/>
              <a:gd name="connsiteX1473" fmla="*/ 6664324 w 11856555"/>
              <a:gd name="connsiteY1473" fmla="*/ 561874 h 4071735"/>
              <a:gd name="connsiteX1474" fmla="*/ 5603680 w 11856555"/>
              <a:gd name="connsiteY1474" fmla="*/ 561473 h 4071735"/>
              <a:gd name="connsiteX1475" fmla="*/ 5587254 w 11856555"/>
              <a:gd name="connsiteY1475" fmla="*/ 573158 h 4071735"/>
              <a:gd name="connsiteX1476" fmla="*/ 5613220 w 11856555"/>
              <a:gd name="connsiteY1476" fmla="*/ 567924 h 4071735"/>
              <a:gd name="connsiteX1477" fmla="*/ 5603680 w 11856555"/>
              <a:gd name="connsiteY1477" fmla="*/ 561473 h 4071735"/>
              <a:gd name="connsiteX1478" fmla="*/ 5632768 w 11856555"/>
              <a:gd name="connsiteY1478" fmla="*/ 551580 h 4071735"/>
              <a:gd name="connsiteX1479" fmla="*/ 5616453 w 11856555"/>
              <a:gd name="connsiteY1479" fmla="*/ 561795 h 4071735"/>
              <a:gd name="connsiteX1480" fmla="*/ 5652043 w 11856555"/>
              <a:gd name="connsiteY1480" fmla="*/ 558623 h 4071735"/>
              <a:gd name="connsiteX1481" fmla="*/ 5632768 w 11856555"/>
              <a:gd name="connsiteY1481" fmla="*/ 551580 h 4071735"/>
              <a:gd name="connsiteX1482" fmla="*/ 5596662 w 11856555"/>
              <a:gd name="connsiteY1482" fmla="*/ 548956 h 4071735"/>
              <a:gd name="connsiteX1483" fmla="*/ 5585531 w 11856555"/>
              <a:gd name="connsiteY1483" fmla="*/ 560728 h 4071735"/>
              <a:gd name="connsiteX1484" fmla="*/ 5576823 w 11856555"/>
              <a:gd name="connsiteY1484" fmla="*/ 565143 h 4071735"/>
              <a:gd name="connsiteX1485" fmla="*/ 5578002 w 11856555"/>
              <a:gd name="connsiteY1485" fmla="*/ 558377 h 4071735"/>
              <a:gd name="connsiteX1486" fmla="*/ 5596662 w 11856555"/>
              <a:gd name="connsiteY1486" fmla="*/ 548956 h 4071735"/>
              <a:gd name="connsiteX1487" fmla="*/ 8923594 w 11856555"/>
              <a:gd name="connsiteY1487" fmla="*/ 545863 h 4071735"/>
              <a:gd name="connsiteX1488" fmla="*/ 8932011 w 11856555"/>
              <a:gd name="connsiteY1488" fmla="*/ 552916 h 4071735"/>
              <a:gd name="connsiteX1489" fmla="*/ 8932666 w 11856555"/>
              <a:gd name="connsiteY1489" fmla="*/ 556093 h 4071735"/>
              <a:gd name="connsiteX1490" fmla="*/ 8930363 w 11856555"/>
              <a:gd name="connsiteY1490" fmla="*/ 555984 h 4071735"/>
              <a:gd name="connsiteX1491" fmla="*/ 8922044 w 11856555"/>
              <a:gd name="connsiteY1491" fmla="*/ 547184 h 4071735"/>
              <a:gd name="connsiteX1492" fmla="*/ 5665994 w 11856555"/>
              <a:gd name="connsiteY1492" fmla="*/ 545699 h 4071735"/>
              <a:gd name="connsiteX1493" fmla="*/ 5654403 w 11856555"/>
              <a:gd name="connsiteY1493" fmla="*/ 546732 h 4071735"/>
              <a:gd name="connsiteX1494" fmla="*/ 5665994 w 11856555"/>
              <a:gd name="connsiteY1494" fmla="*/ 545699 h 4071735"/>
              <a:gd name="connsiteX1495" fmla="*/ 8884977 w 11856555"/>
              <a:gd name="connsiteY1495" fmla="*/ 545517 h 4071735"/>
              <a:gd name="connsiteX1496" fmla="*/ 8894678 w 11856555"/>
              <a:gd name="connsiteY1496" fmla="*/ 547117 h 4071735"/>
              <a:gd name="connsiteX1497" fmla="*/ 8884977 w 11856555"/>
              <a:gd name="connsiteY1497" fmla="*/ 545517 h 4071735"/>
              <a:gd name="connsiteX1498" fmla="*/ 7829512 w 11856555"/>
              <a:gd name="connsiteY1498" fmla="*/ 538357 h 4071735"/>
              <a:gd name="connsiteX1499" fmla="*/ 7813088 w 11856555"/>
              <a:gd name="connsiteY1499" fmla="*/ 550042 h 4071735"/>
              <a:gd name="connsiteX1500" fmla="*/ 7839054 w 11856555"/>
              <a:gd name="connsiteY1500" fmla="*/ 544808 h 4071735"/>
              <a:gd name="connsiteX1501" fmla="*/ 7829512 w 11856555"/>
              <a:gd name="connsiteY1501" fmla="*/ 538357 h 4071735"/>
              <a:gd name="connsiteX1502" fmla="*/ 7858604 w 11856555"/>
              <a:gd name="connsiteY1502" fmla="*/ 528463 h 4071735"/>
              <a:gd name="connsiteX1503" fmla="*/ 7842285 w 11856555"/>
              <a:gd name="connsiteY1503" fmla="*/ 538678 h 4071735"/>
              <a:gd name="connsiteX1504" fmla="*/ 7877875 w 11856555"/>
              <a:gd name="connsiteY1504" fmla="*/ 535507 h 4071735"/>
              <a:gd name="connsiteX1505" fmla="*/ 7858604 w 11856555"/>
              <a:gd name="connsiteY1505" fmla="*/ 528463 h 4071735"/>
              <a:gd name="connsiteX1506" fmla="*/ 7818750 w 11856555"/>
              <a:gd name="connsiteY1506" fmla="*/ 526174 h 4071735"/>
              <a:gd name="connsiteX1507" fmla="*/ 7807619 w 11856555"/>
              <a:gd name="connsiteY1507" fmla="*/ 537946 h 4071735"/>
              <a:gd name="connsiteX1508" fmla="*/ 7798912 w 11856555"/>
              <a:gd name="connsiteY1508" fmla="*/ 542360 h 4071735"/>
              <a:gd name="connsiteX1509" fmla="*/ 7800090 w 11856555"/>
              <a:gd name="connsiteY1509" fmla="*/ 535594 h 4071735"/>
              <a:gd name="connsiteX1510" fmla="*/ 7818750 w 11856555"/>
              <a:gd name="connsiteY1510" fmla="*/ 526174 h 4071735"/>
              <a:gd name="connsiteX1511" fmla="*/ 7891828 w 11856555"/>
              <a:gd name="connsiteY1511" fmla="*/ 522581 h 4071735"/>
              <a:gd name="connsiteX1512" fmla="*/ 7891828 w 11856555"/>
              <a:gd name="connsiteY1512" fmla="*/ 522581 h 4071735"/>
              <a:gd name="connsiteX1513" fmla="*/ 11044812 w 11856555"/>
              <a:gd name="connsiteY1513" fmla="*/ 521984 h 4071735"/>
              <a:gd name="connsiteX1514" fmla="*/ 11044812 w 11856555"/>
              <a:gd name="connsiteY1514" fmla="*/ 521984 h 4071735"/>
              <a:gd name="connsiteX1515" fmla="*/ 10853381 w 11856555"/>
              <a:gd name="connsiteY1515" fmla="*/ 517247 h 4071735"/>
              <a:gd name="connsiteX1516" fmla="*/ 10825001 w 11856555"/>
              <a:gd name="connsiteY1516" fmla="*/ 576617 h 4071735"/>
              <a:gd name="connsiteX1517" fmla="*/ 10855473 w 11856555"/>
              <a:gd name="connsiteY1517" fmla="*/ 518202 h 4071735"/>
              <a:gd name="connsiteX1518" fmla="*/ 10853381 w 11856555"/>
              <a:gd name="connsiteY1518" fmla="*/ 517247 h 4071735"/>
              <a:gd name="connsiteX1519" fmla="*/ 9188315 w 11856555"/>
              <a:gd name="connsiteY1519" fmla="*/ 494666 h 4071735"/>
              <a:gd name="connsiteX1520" fmla="*/ 9188315 w 11856555"/>
              <a:gd name="connsiteY1520" fmla="*/ 494666 h 4071735"/>
              <a:gd name="connsiteX1521" fmla="*/ 9214932 w 11856555"/>
              <a:gd name="connsiteY1521" fmla="*/ 493755 h 4071735"/>
              <a:gd name="connsiteX1522" fmla="*/ 9198973 w 11856555"/>
              <a:gd name="connsiteY1522" fmla="*/ 508319 h 4071735"/>
              <a:gd name="connsiteX1523" fmla="*/ 9217187 w 11856555"/>
              <a:gd name="connsiteY1523" fmla="*/ 500855 h 4071735"/>
              <a:gd name="connsiteX1524" fmla="*/ 9214932 w 11856555"/>
              <a:gd name="connsiteY1524" fmla="*/ 493755 h 4071735"/>
              <a:gd name="connsiteX1525" fmla="*/ 6091142 w 11856555"/>
              <a:gd name="connsiteY1525" fmla="*/ 443563 h 4071735"/>
              <a:gd name="connsiteX1526" fmla="*/ 6090786 w 11856555"/>
              <a:gd name="connsiteY1526" fmla="*/ 444045 h 4071735"/>
              <a:gd name="connsiteX1527" fmla="*/ 6089725 w 11856555"/>
              <a:gd name="connsiteY1527" fmla="*/ 443990 h 4071735"/>
              <a:gd name="connsiteX1528" fmla="*/ 9468412 w 11856555"/>
              <a:gd name="connsiteY1528" fmla="*/ 430645 h 4071735"/>
              <a:gd name="connsiteX1529" fmla="*/ 9481178 w 11856555"/>
              <a:gd name="connsiteY1529" fmla="*/ 433522 h 4071735"/>
              <a:gd name="connsiteX1530" fmla="*/ 9455212 w 11856555"/>
              <a:gd name="connsiteY1530" fmla="*/ 438757 h 4071735"/>
              <a:gd name="connsiteX1531" fmla="*/ 9468412 w 11856555"/>
              <a:gd name="connsiteY1531" fmla="*/ 430645 h 4071735"/>
              <a:gd name="connsiteX1532" fmla="*/ 8316976 w 11856555"/>
              <a:gd name="connsiteY1532" fmla="*/ 420445 h 4071735"/>
              <a:gd name="connsiteX1533" fmla="*/ 8316864 w 11856555"/>
              <a:gd name="connsiteY1533" fmla="*/ 420598 h 4071735"/>
              <a:gd name="connsiteX1534" fmla="*/ 8316481 w 11856555"/>
              <a:gd name="connsiteY1534" fmla="*/ 420595 h 4071735"/>
              <a:gd name="connsiteX1535" fmla="*/ 6533407 w 11856555"/>
              <a:gd name="connsiteY1535" fmla="*/ 363995 h 4071735"/>
              <a:gd name="connsiteX1536" fmla="*/ 6522621 w 11856555"/>
              <a:gd name="connsiteY1536" fmla="*/ 370067 h 4071735"/>
              <a:gd name="connsiteX1537" fmla="*/ 6539737 w 11856555"/>
              <a:gd name="connsiteY1537" fmla="*/ 371463 h 4071735"/>
              <a:gd name="connsiteX1538" fmla="*/ 6533407 w 11856555"/>
              <a:gd name="connsiteY1538" fmla="*/ 363995 h 4071735"/>
              <a:gd name="connsiteX1539" fmla="*/ 6596333 w 11856555"/>
              <a:gd name="connsiteY1539" fmla="*/ 363682 h 4071735"/>
              <a:gd name="connsiteX1540" fmla="*/ 6570481 w 11856555"/>
              <a:gd name="connsiteY1540" fmla="*/ 377484 h 4071735"/>
              <a:gd name="connsiteX1541" fmla="*/ 6605296 w 11856555"/>
              <a:gd name="connsiteY1541" fmla="*/ 365621 h 4071735"/>
              <a:gd name="connsiteX1542" fmla="*/ 6596333 w 11856555"/>
              <a:gd name="connsiteY1542" fmla="*/ 363682 h 4071735"/>
              <a:gd name="connsiteX1543" fmla="*/ 6642632 w 11856555"/>
              <a:gd name="connsiteY1543" fmla="*/ 360833 h 4071735"/>
              <a:gd name="connsiteX1544" fmla="*/ 6633653 w 11856555"/>
              <a:gd name="connsiteY1544" fmla="*/ 366014 h 4071735"/>
              <a:gd name="connsiteX1545" fmla="*/ 6652384 w 11856555"/>
              <a:gd name="connsiteY1545" fmla="*/ 364345 h 4071735"/>
              <a:gd name="connsiteX1546" fmla="*/ 6642632 w 11856555"/>
              <a:gd name="connsiteY1546" fmla="*/ 360833 h 4071735"/>
              <a:gd name="connsiteX1547" fmla="*/ 7066244 w 11856555"/>
              <a:gd name="connsiteY1547" fmla="*/ 355666 h 4071735"/>
              <a:gd name="connsiteX1548" fmla="*/ 7055243 w 11856555"/>
              <a:gd name="connsiteY1548" fmla="*/ 372254 h 4071735"/>
              <a:gd name="connsiteX1549" fmla="*/ 7072685 w 11856555"/>
              <a:gd name="connsiteY1549" fmla="*/ 356097 h 4071735"/>
              <a:gd name="connsiteX1550" fmla="*/ 7066244 w 11856555"/>
              <a:gd name="connsiteY1550" fmla="*/ 355666 h 4071735"/>
              <a:gd name="connsiteX1551" fmla="*/ 10966342 w 11856555"/>
              <a:gd name="connsiteY1551" fmla="*/ 351193 h 4071735"/>
              <a:gd name="connsiteX1552" fmla="*/ 10958655 w 11856555"/>
              <a:gd name="connsiteY1552" fmla="*/ 360273 h 4071735"/>
              <a:gd name="connsiteX1553" fmla="*/ 10974997 w 11856555"/>
              <a:gd name="connsiteY1553" fmla="*/ 352976 h 4071735"/>
              <a:gd name="connsiteX1554" fmla="*/ 10966342 w 11856555"/>
              <a:gd name="connsiteY1554" fmla="*/ 351193 h 4071735"/>
              <a:gd name="connsiteX1555" fmla="*/ 6257433 w 11856555"/>
              <a:gd name="connsiteY1555" fmla="*/ 349480 h 4071735"/>
              <a:gd name="connsiteX1556" fmla="*/ 6250883 w 11856555"/>
              <a:gd name="connsiteY1556" fmla="*/ 350475 h 4071735"/>
              <a:gd name="connsiteX1557" fmla="*/ 6257433 w 11856555"/>
              <a:gd name="connsiteY1557" fmla="*/ 349480 h 4071735"/>
              <a:gd name="connsiteX1558" fmla="*/ 8759241 w 11856555"/>
              <a:gd name="connsiteY1558" fmla="*/ 340879 h 4071735"/>
              <a:gd name="connsiteX1559" fmla="*/ 8748454 w 11856555"/>
              <a:gd name="connsiteY1559" fmla="*/ 346951 h 4071735"/>
              <a:gd name="connsiteX1560" fmla="*/ 8765570 w 11856555"/>
              <a:gd name="connsiteY1560" fmla="*/ 348347 h 4071735"/>
              <a:gd name="connsiteX1561" fmla="*/ 8759241 w 11856555"/>
              <a:gd name="connsiteY1561" fmla="*/ 340879 h 4071735"/>
              <a:gd name="connsiteX1562" fmla="*/ 8822167 w 11856555"/>
              <a:gd name="connsiteY1562" fmla="*/ 340565 h 4071735"/>
              <a:gd name="connsiteX1563" fmla="*/ 8813336 w 11856555"/>
              <a:gd name="connsiteY1563" fmla="*/ 344090 h 4071735"/>
              <a:gd name="connsiteX1564" fmla="*/ 8796316 w 11856555"/>
              <a:gd name="connsiteY1564" fmla="*/ 354368 h 4071735"/>
              <a:gd name="connsiteX1565" fmla="*/ 8831131 w 11856555"/>
              <a:gd name="connsiteY1565" fmla="*/ 342505 h 4071735"/>
              <a:gd name="connsiteX1566" fmla="*/ 8822167 w 11856555"/>
              <a:gd name="connsiteY1566" fmla="*/ 340565 h 4071735"/>
              <a:gd name="connsiteX1567" fmla="*/ 8868466 w 11856555"/>
              <a:gd name="connsiteY1567" fmla="*/ 337717 h 4071735"/>
              <a:gd name="connsiteX1568" fmla="*/ 8859487 w 11856555"/>
              <a:gd name="connsiteY1568" fmla="*/ 342898 h 4071735"/>
              <a:gd name="connsiteX1569" fmla="*/ 8878219 w 11856555"/>
              <a:gd name="connsiteY1569" fmla="*/ 341229 h 4071735"/>
              <a:gd name="connsiteX1570" fmla="*/ 8868466 w 11856555"/>
              <a:gd name="connsiteY1570" fmla="*/ 337717 h 4071735"/>
              <a:gd name="connsiteX1571" fmla="*/ 9292078 w 11856555"/>
              <a:gd name="connsiteY1571" fmla="*/ 332550 h 4071735"/>
              <a:gd name="connsiteX1572" fmla="*/ 9281077 w 11856555"/>
              <a:gd name="connsiteY1572" fmla="*/ 349136 h 4071735"/>
              <a:gd name="connsiteX1573" fmla="*/ 9298518 w 11856555"/>
              <a:gd name="connsiteY1573" fmla="*/ 332980 h 4071735"/>
              <a:gd name="connsiteX1574" fmla="*/ 9292078 w 11856555"/>
              <a:gd name="connsiteY1574" fmla="*/ 332550 h 4071735"/>
              <a:gd name="connsiteX1575" fmla="*/ 8483267 w 11856555"/>
              <a:gd name="connsiteY1575" fmla="*/ 326364 h 4071735"/>
              <a:gd name="connsiteX1576" fmla="*/ 8476717 w 11856555"/>
              <a:gd name="connsiteY1576" fmla="*/ 327357 h 4071735"/>
              <a:gd name="connsiteX1577" fmla="*/ 8483267 w 11856555"/>
              <a:gd name="connsiteY1577" fmla="*/ 326364 h 4071735"/>
              <a:gd name="connsiteX1578" fmla="*/ 10948064 w 11856555"/>
              <a:gd name="connsiteY1578" fmla="*/ 326171 h 4071735"/>
              <a:gd name="connsiteX1579" fmla="*/ 10948064 w 11856555"/>
              <a:gd name="connsiteY1579" fmla="*/ 326171 h 4071735"/>
              <a:gd name="connsiteX1580" fmla="*/ 9887418 w 11856555"/>
              <a:gd name="connsiteY1580" fmla="*/ 325771 h 4071735"/>
              <a:gd name="connsiteX1581" fmla="*/ 9870994 w 11856555"/>
              <a:gd name="connsiteY1581" fmla="*/ 337456 h 4071735"/>
              <a:gd name="connsiteX1582" fmla="*/ 9896961 w 11856555"/>
              <a:gd name="connsiteY1582" fmla="*/ 332221 h 4071735"/>
              <a:gd name="connsiteX1583" fmla="*/ 9887418 w 11856555"/>
              <a:gd name="connsiteY1583" fmla="*/ 325771 h 4071735"/>
              <a:gd name="connsiteX1584" fmla="*/ 6665887 w 11856555"/>
              <a:gd name="connsiteY1584" fmla="*/ 325175 h 4071735"/>
              <a:gd name="connsiteX1585" fmla="*/ 6706190 w 11856555"/>
              <a:gd name="connsiteY1585" fmla="*/ 353709 h 4071735"/>
              <a:gd name="connsiteX1586" fmla="*/ 6665887 w 11856555"/>
              <a:gd name="connsiteY1586" fmla="*/ 325175 h 4071735"/>
              <a:gd name="connsiteX1587" fmla="*/ 9916509 w 11856555"/>
              <a:gd name="connsiteY1587" fmla="*/ 315878 h 4071735"/>
              <a:gd name="connsiteX1588" fmla="*/ 9900192 w 11856555"/>
              <a:gd name="connsiteY1588" fmla="*/ 326092 h 4071735"/>
              <a:gd name="connsiteX1589" fmla="*/ 9935781 w 11856555"/>
              <a:gd name="connsiteY1589" fmla="*/ 322921 h 4071735"/>
              <a:gd name="connsiteX1590" fmla="*/ 9916509 w 11856555"/>
              <a:gd name="connsiteY1590" fmla="*/ 315878 h 4071735"/>
              <a:gd name="connsiteX1591" fmla="*/ 9872909 w 11856555"/>
              <a:gd name="connsiteY1591" fmla="*/ 313922 h 4071735"/>
              <a:gd name="connsiteX1592" fmla="*/ 9861779 w 11856555"/>
              <a:gd name="connsiteY1592" fmla="*/ 325693 h 4071735"/>
              <a:gd name="connsiteX1593" fmla="*/ 9853069 w 11856555"/>
              <a:gd name="connsiteY1593" fmla="*/ 330108 h 4071735"/>
              <a:gd name="connsiteX1594" fmla="*/ 9854249 w 11856555"/>
              <a:gd name="connsiteY1594" fmla="*/ 323342 h 4071735"/>
              <a:gd name="connsiteX1595" fmla="*/ 9872909 w 11856555"/>
              <a:gd name="connsiteY1595" fmla="*/ 313922 h 4071735"/>
              <a:gd name="connsiteX1596" fmla="*/ 9949735 w 11856555"/>
              <a:gd name="connsiteY1596" fmla="*/ 309996 h 4071735"/>
              <a:gd name="connsiteX1597" fmla="*/ 9938144 w 11856555"/>
              <a:gd name="connsiteY1597" fmla="*/ 311029 h 4071735"/>
              <a:gd name="connsiteX1598" fmla="*/ 9949735 w 11856555"/>
              <a:gd name="connsiteY1598" fmla="*/ 309996 h 4071735"/>
              <a:gd name="connsiteX1599" fmla="*/ 8891721 w 11856555"/>
              <a:gd name="connsiteY1599" fmla="*/ 302058 h 4071735"/>
              <a:gd name="connsiteX1600" fmla="*/ 8932024 w 11856555"/>
              <a:gd name="connsiteY1600" fmla="*/ 330593 h 4071735"/>
              <a:gd name="connsiteX1601" fmla="*/ 8891721 w 11856555"/>
              <a:gd name="connsiteY1601" fmla="*/ 302058 h 4071735"/>
              <a:gd name="connsiteX1602" fmla="*/ 10374883 w 11856555"/>
              <a:gd name="connsiteY1602" fmla="*/ 207860 h 4071735"/>
              <a:gd name="connsiteX1603" fmla="*/ 10374507 w 11856555"/>
              <a:gd name="connsiteY1603" fmla="*/ 208370 h 4071735"/>
              <a:gd name="connsiteX1604" fmla="*/ 10373221 w 11856555"/>
              <a:gd name="connsiteY1604" fmla="*/ 208360 h 4071735"/>
              <a:gd name="connsiteX1605" fmla="*/ 10817148 w 11856555"/>
              <a:gd name="connsiteY1605" fmla="*/ 128293 h 4071735"/>
              <a:gd name="connsiteX1606" fmla="*/ 10806360 w 11856555"/>
              <a:gd name="connsiteY1606" fmla="*/ 134364 h 4071735"/>
              <a:gd name="connsiteX1607" fmla="*/ 10823477 w 11856555"/>
              <a:gd name="connsiteY1607" fmla="*/ 135760 h 4071735"/>
              <a:gd name="connsiteX1608" fmla="*/ 10817148 w 11856555"/>
              <a:gd name="connsiteY1608" fmla="*/ 128293 h 4071735"/>
              <a:gd name="connsiteX1609" fmla="*/ 10880075 w 11856555"/>
              <a:gd name="connsiteY1609" fmla="*/ 127979 h 4071735"/>
              <a:gd name="connsiteX1610" fmla="*/ 10854222 w 11856555"/>
              <a:gd name="connsiteY1610" fmla="*/ 141781 h 4071735"/>
              <a:gd name="connsiteX1611" fmla="*/ 10889039 w 11856555"/>
              <a:gd name="connsiteY1611" fmla="*/ 129918 h 4071735"/>
              <a:gd name="connsiteX1612" fmla="*/ 10880075 w 11856555"/>
              <a:gd name="connsiteY1612" fmla="*/ 127979 h 4071735"/>
              <a:gd name="connsiteX1613" fmla="*/ 10926373 w 11856555"/>
              <a:gd name="connsiteY1613" fmla="*/ 125130 h 4071735"/>
              <a:gd name="connsiteX1614" fmla="*/ 10917394 w 11856555"/>
              <a:gd name="connsiteY1614" fmla="*/ 130312 h 4071735"/>
              <a:gd name="connsiteX1615" fmla="*/ 10936126 w 11856555"/>
              <a:gd name="connsiteY1615" fmla="*/ 128642 h 4071735"/>
              <a:gd name="connsiteX1616" fmla="*/ 10926373 w 11856555"/>
              <a:gd name="connsiteY1616" fmla="*/ 125130 h 4071735"/>
              <a:gd name="connsiteX1617" fmla="*/ 11349985 w 11856555"/>
              <a:gd name="connsiteY1617" fmla="*/ 119964 h 4071735"/>
              <a:gd name="connsiteX1618" fmla="*/ 11338984 w 11856555"/>
              <a:gd name="connsiteY1618" fmla="*/ 136550 h 4071735"/>
              <a:gd name="connsiteX1619" fmla="*/ 11356425 w 11856555"/>
              <a:gd name="connsiteY1619" fmla="*/ 120395 h 4071735"/>
              <a:gd name="connsiteX1620" fmla="*/ 11349985 w 11856555"/>
              <a:gd name="connsiteY1620" fmla="*/ 119964 h 4071735"/>
              <a:gd name="connsiteX1621" fmla="*/ 10949628 w 11856555"/>
              <a:gd name="connsiteY1621" fmla="*/ 89473 h 4071735"/>
              <a:gd name="connsiteX1622" fmla="*/ 10989933 w 11856555"/>
              <a:gd name="connsiteY1622" fmla="*/ 118007 h 4071735"/>
              <a:gd name="connsiteX1623" fmla="*/ 10949628 w 11856555"/>
              <a:gd name="connsiteY1623" fmla="*/ 89473 h 4071735"/>
              <a:gd name="connsiteX1624" fmla="*/ 11264419 w 11856555"/>
              <a:gd name="connsiteY1624" fmla="*/ 40 h 4071735"/>
              <a:gd name="connsiteX1625" fmla="*/ 11218008 w 11856555"/>
              <a:gd name="connsiteY1625" fmla="*/ 71398 h 4071735"/>
              <a:gd name="connsiteX1626" fmla="*/ 11509640 w 11856555"/>
              <a:gd name="connsiteY1626" fmla="*/ 60013 h 4071735"/>
              <a:gd name="connsiteX1627" fmla="*/ 11234148 w 11856555"/>
              <a:gd name="connsiteY1627" fmla="*/ 210144 h 4071735"/>
              <a:gd name="connsiteX1628" fmla="*/ 10968927 w 11856555"/>
              <a:gd name="connsiteY1628" fmla="*/ 327232 h 4071735"/>
              <a:gd name="connsiteX1629" fmla="*/ 11049923 w 11856555"/>
              <a:gd name="connsiteY1629" fmla="*/ 346299 h 4071735"/>
              <a:gd name="connsiteX1630" fmla="*/ 11248090 w 11856555"/>
              <a:gd name="connsiteY1630" fmla="*/ 366606 h 4071735"/>
              <a:gd name="connsiteX1631" fmla="*/ 11022271 w 11856555"/>
              <a:gd name="connsiteY1631" fmla="*/ 459742 h 4071735"/>
              <a:gd name="connsiteX1632" fmla="*/ 10954513 w 11856555"/>
              <a:gd name="connsiteY1632" fmla="*/ 483303 h 4071735"/>
              <a:gd name="connsiteX1633" fmla="*/ 10869249 w 11856555"/>
              <a:gd name="connsiteY1633" fmla="*/ 543470 h 4071735"/>
              <a:gd name="connsiteX1634" fmla="*/ 10903290 w 11856555"/>
              <a:gd name="connsiteY1634" fmla="*/ 522913 h 4071735"/>
              <a:gd name="connsiteX1635" fmla="*/ 10892952 w 11856555"/>
              <a:gd name="connsiteY1635" fmla="*/ 576404 h 4071735"/>
              <a:gd name="connsiteX1636" fmla="*/ 11169154 w 11856555"/>
              <a:gd name="connsiteY1636" fmla="*/ 455415 h 4071735"/>
              <a:gd name="connsiteX1637" fmla="*/ 11254155 w 11856555"/>
              <a:gd name="connsiteY1637" fmla="*/ 477045 h 4071735"/>
              <a:gd name="connsiteX1638" fmla="*/ 11250602 w 11856555"/>
              <a:gd name="connsiteY1638" fmla="*/ 500725 h 4071735"/>
              <a:gd name="connsiteX1639" fmla="*/ 10927307 w 11856555"/>
              <a:gd name="connsiteY1639" fmla="*/ 707685 h 4071735"/>
              <a:gd name="connsiteX1640" fmla="*/ 11634359 w 11856555"/>
              <a:gd name="connsiteY1640" fmla="*/ 675305 h 4071735"/>
              <a:gd name="connsiteX1641" fmla="*/ 11662035 w 11856555"/>
              <a:gd name="connsiteY1641" fmla="*/ 669910 h 4071735"/>
              <a:gd name="connsiteX1642" fmla="*/ 11653450 w 11856555"/>
              <a:gd name="connsiteY1642" fmla="*/ 678023 h 4071735"/>
              <a:gd name="connsiteX1643" fmla="*/ 11840311 w 11856555"/>
              <a:gd name="connsiteY1643" fmla="*/ 719781 h 4071735"/>
              <a:gd name="connsiteX1644" fmla="*/ 11822758 w 11856555"/>
              <a:gd name="connsiteY1644" fmla="*/ 729377 h 4071735"/>
              <a:gd name="connsiteX1645" fmla="*/ 11798890 w 11856555"/>
              <a:gd name="connsiteY1645" fmla="*/ 731654 h 4071735"/>
              <a:gd name="connsiteX1646" fmla="*/ 11795613 w 11856555"/>
              <a:gd name="connsiteY1646" fmla="*/ 726685 h 4071735"/>
              <a:gd name="connsiteX1647" fmla="*/ 11798167 w 11856555"/>
              <a:gd name="connsiteY1647" fmla="*/ 731722 h 4071735"/>
              <a:gd name="connsiteX1648" fmla="*/ 11793624 w 11856555"/>
              <a:gd name="connsiteY1648" fmla="*/ 732155 h 4071735"/>
              <a:gd name="connsiteX1649" fmla="*/ 11773911 w 11856555"/>
              <a:gd name="connsiteY1649" fmla="*/ 737381 h 4071735"/>
              <a:gd name="connsiteX1650" fmla="*/ 11803799 w 11856555"/>
              <a:gd name="connsiteY1650" fmla="*/ 739097 h 4071735"/>
              <a:gd name="connsiteX1651" fmla="*/ 11801819 w 11856555"/>
              <a:gd name="connsiteY1651" fmla="*/ 736094 h 4071735"/>
              <a:gd name="connsiteX1652" fmla="*/ 11808385 w 11856555"/>
              <a:gd name="connsiteY1652" fmla="*/ 737595 h 4071735"/>
              <a:gd name="connsiteX1653" fmla="*/ 11835400 w 11856555"/>
              <a:gd name="connsiteY1653" fmla="*/ 749424 h 4071735"/>
              <a:gd name="connsiteX1654" fmla="*/ 11844184 w 11856555"/>
              <a:gd name="connsiteY1654" fmla="*/ 763244 h 4071735"/>
              <a:gd name="connsiteX1655" fmla="*/ 11605054 w 11856555"/>
              <a:gd name="connsiteY1655" fmla="*/ 918895 h 4071735"/>
              <a:gd name="connsiteX1656" fmla="*/ 11660346 w 11856555"/>
              <a:gd name="connsiteY1656" fmla="*/ 946093 h 4071735"/>
              <a:gd name="connsiteX1657" fmla="*/ 11418701 w 11856555"/>
              <a:gd name="connsiteY1657" fmla="*/ 1052320 h 4071735"/>
              <a:gd name="connsiteX1658" fmla="*/ 11267167 w 11856555"/>
              <a:gd name="connsiteY1658" fmla="*/ 1089188 h 4071735"/>
              <a:gd name="connsiteX1659" fmla="*/ 11320906 w 11856555"/>
              <a:gd name="connsiteY1659" fmla="*/ 1099001 h 4071735"/>
              <a:gd name="connsiteX1660" fmla="*/ 11252441 w 11856555"/>
              <a:gd name="connsiteY1660" fmla="*/ 1140256 h 4071735"/>
              <a:gd name="connsiteX1661" fmla="*/ 11215628 w 11856555"/>
              <a:gd name="connsiteY1661" fmla="*/ 1143634 h 4071735"/>
              <a:gd name="connsiteX1662" fmla="*/ 10772722 w 11856555"/>
              <a:gd name="connsiteY1662" fmla="*/ 1204252 h 4071735"/>
              <a:gd name="connsiteX1663" fmla="*/ 10721781 w 11856555"/>
              <a:gd name="connsiteY1663" fmla="*/ 1218953 h 4071735"/>
              <a:gd name="connsiteX1664" fmla="*/ 10672222 w 11856555"/>
              <a:gd name="connsiteY1664" fmla="*/ 1223846 h 4071735"/>
              <a:gd name="connsiteX1665" fmla="*/ 10619469 w 11856555"/>
              <a:gd name="connsiteY1665" fmla="*/ 1233863 h 4071735"/>
              <a:gd name="connsiteX1666" fmla="*/ 10608262 w 11856555"/>
              <a:gd name="connsiteY1666" fmla="*/ 1229814 h 4071735"/>
              <a:gd name="connsiteX1667" fmla="*/ 10606192 w 11856555"/>
              <a:gd name="connsiteY1667" fmla="*/ 1233563 h 4071735"/>
              <a:gd name="connsiteX1668" fmla="*/ 10607615 w 11856555"/>
              <a:gd name="connsiteY1668" fmla="*/ 1236114 h 4071735"/>
              <a:gd name="connsiteX1669" fmla="*/ 10583970 w 11856555"/>
              <a:gd name="connsiteY1669" fmla="*/ 1240602 h 4071735"/>
              <a:gd name="connsiteX1670" fmla="*/ 10613708 w 11856555"/>
              <a:gd name="connsiteY1670" fmla="*/ 1245044 h 4071735"/>
              <a:gd name="connsiteX1671" fmla="*/ 10620520 w 11856555"/>
              <a:gd name="connsiteY1671" fmla="*/ 1252229 h 4071735"/>
              <a:gd name="connsiteX1672" fmla="*/ 10451161 w 11856555"/>
              <a:gd name="connsiteY1672" fmla="*/ 1293279 h 4071735"/>
              <a:gd name="connsiteX1673" fmla="*/ 10391870 w 11856555"/>
              <a:gd name="connsiteY1673" fmla="*/ 1314628 h 4071735"/>
              <a:gd name="connsiteX1674" fmla="*/ 10341028 w 11856555"/>
              <a:gd name="connsiteY1674" fmla="*/ 1324312 h 4071735"/>
              <a:gd name="connsiteX1675" fmla="*/ 10237428 w 11856555"/>
              <a:gd name="connsiteY1675" fmla="*/ 1356178 h 4071735"/>
              <a:gd name="connsiteX1676" fmla="*/ 10104758 w 11856555"/>
              <a:gd name="connsiteY1676" fmla="*/ 1350477 h 4071735"/>
              <a:gd name="connsiteX1677" fmla="*/ 10055730 w 11856555"/>
              <a:gd name="connsiteY1677" fmla="*/ 1372369 h 4071735"/>
              <a:gd name="connsiteX1678" fmla="*/ 10058910 w 11856555"/>
              <a:gd name="connsiteY1678" fmla="*/ 1364539 h 4071735"/>
              <a:gd name="connsiteX1679" fmla="*/ 10069683 w 11856555"/>
              <a:gd name="connsiteY1679" fmla="*/ 1359444 h 4071735"/>
              <a:gd name="connsiteX1680" fmla="*/ 10060674 w 11856555"/>
              <a:gd name="connsiteY1680" fmla="*/ 1357808 h 4071735"/>
              <a:gd name="connsiteX1681" fmla="*/ 10059692 w 11856555"/>
              <a:gd name="connsiteY1681" fmla="*/ 1354583 h 4071735"/>
              <a:gd name="connsiteX1682" fmla="*/ 10054606 w 11856555"/>
              <a:gd name="connsiteY1682" fmla="*/ 1357235 h 4071735"/>
              <a:gd name="connsiteX1683" fmla="*/ 10026402 w 11856555"/>
              <a:gd name="connsiteY1683" fmla="*/ 1364031 h 4071735"/>
              <a:gd name="connsiteX1684" fmla="*/ 9811571 w 11856555"/>
              <a:gd name="connsiteY1684" fmla="*/ 1429172 h 4071735"/>
              <a:gd name="connsiteX1685" fmla="*/ 9667979 w 11856555"/>
              <a:gd name="connsiteY1685" fmla="*/ 1491615 h 4071735"/>
              <a:gd name="connsiteX1686" fmla="*/ 9668172 w 11856555"/>
              <a:gd name="connsiteY1686" fmla="*/ 1514962 h 4071735"/>
              <a:gd name="connsiteX1687" fmla="*/ 9718231 w 11856555"/>
              <a:gd name="connsiteY1687" fmla="*/ 1504661 h 4071735"/>
              <a:gd name="connsiteX1688" fmla="*/ 10096264 w 11856555"/>
              <a:gd name="connsiteY1688" fmla="*/ 1378979 h 4071735"/>
              <a:gd name="connsiteX1689" fmla="*/ 10138340 w 11856555"/>
              <a:gd name="connsiteY1689" fmla="*/ 1362621 h 4071735"/>
              <a:gd name="connsiteX1690" fmla="*/ 10153352 w 11856555"/>
              <a:gd name="connsiteY1690" fmla="*/ 1379156 h 4071735"/>
              <a:gd name="connsiteX1691" fmla="*/ 10185804 w 11856555"/>
              <a:gd name="connsiteY1691" fmla="*/ 1383002 h 4071735"/>
              <a:gd name="connsiteX1692" fmla="*/ 10247902 w 11856555"/>
              <a:gd name="connsiteY1692" fmla="*/ 1370653 h 4071735"/>
              <a:gd name="connsiteX1693" fmla="*/ 10102039 w 11856555"/>
              <a:gd name="connsiteY1693" fmla="*/ 1447096 h 4071735"/>
              <a:gd name="connsiteX1694" fmla="*/ 10301693 w 11856555"/>
              <a:gd name="connsiteY1694" fmla="*/ 1420542 h 4071735"/>
              <a:gd name="connsiteX1695" fmla="*/ 10230706 w 11856555"/>
              <a:gd name="connsiteY1695" fmla="*/ 1450233 h 4071735"/>
              <a:gd name="connsiteX1696" fmla="*/ 10250223 w 11856555"/>
              <a:gd name="connsiteY1696" fmla="*/ 1469327 h 4071735"/>
              <a:gd name="connsiteX1697" fmla="*/ 10243686 w 11856555"/>
              <a:gd name="connsiteY1697" fmla="*/ 1473433 h 4071735"/>
              <a:gd name="connsiteX1698" fmla="*/ 10244388 w 11856555"/>
              <a:gd name="connsiteY1698" fmla="*/ 1489900 h 4071735"/>
              <a:gd name="connsiteX1699" fmla="*/ 10262950 w 11856555"/>
              <a:gd name="connsiteY1699" fmla="*/ 1486025 h 4071735"/>
              <a:gd name="connsiteX1700" fmla="*/ 10256798 w 11856555"/>
              <a:gd name="connsiteY1700" fmla="*/ 1488793 h 4071735"/>
              <a:gd name="connsiteX1701" fmla="*/ 10268072 w 11856555"/>
              <a:gd name="connsiteY1701" fmla="*/ 1485264 h 4071735"/>
              <a:gd name="connsiteX1702" fmla="*/ 10274684 w 11856555"/>
              <a:gd name="connsiteY1702" fmla="*/ 1490069 h 4071735"/>
              <a:gd name="connsiteX1703" fmla="*/ 10240237 w 11856555"/>
              <a:gd name="connsiteY1703" fmla="*/ 1492642 h 4071735"/>
              <a:gd name="connsiteX1704" fmla="*/ 10219593 w 11856555"/>
              <a:gd name="connsiteY1704" fmla="*/ 1495029 h 4071735"/>
              <a:gd name="connsiteX1705" fmla="*/ 10237189 w 11856555"/>
              <a:gd name="connsiteY1705" fmla="*/ 1507549 h 4071735"/>
              <a:gd name="connsiteX1706" fmla="*/ 10233227 w 11856555"/>
              <a:gd name="connsiteY1706" fmla="*/ 1512296 h 4071735"/>
              <a:gd name="connsiteX1707" fmla="*/ 10199888 w 11856555"/>
              <a:gd name="connsiteY1707" fmla="*/ 1549353 h 4071735"/>
              <a:gd name="connsiteX1708" fmla="*/ 10848853 w 11856555"/>
              <a:gd name="connsiteY1708" fmla="*/ 1395149 h 4071735"/>
              <a:gd name="connsiteX1709" fmla="*/ 10839097 w 11856555"/>
              <a:gd name="connsiteY1709" fmla="*/ 1433985 h 4071735"/>
              <a:gd name="connsiteX1710" fmla="*/ 10967312 w 11856555"/>
              <a:gd name="connsiteY1710" fmla="*/ 1410877 h 4071735"/>
              <a:gd name="connsiteX1711" fmla="*/ 10928875 w 11856555"/>
              <a:gd name="connsiteY1711" fmla="*/ 1466871 h 4071735"/>
              <a:gd name="connsiteX1712" fmla="*/ 11244410 w 11856555"/>
              <a:gd name="connsiteY1712" fmla="*/ 1427072 h 4071735"/>
              <a:gd name="connsiteX1713" fmla="*/ 11223933 w 11856555"/>
              <a:gd name="connsiteY1713" fmla="*/ 1472704 h 4071735"/>
              <a:gd name="connsiteX1714" fmla="*/ 11296662 w 11856555"/>
              <a:gd name="connsiteY1714" fmla="*/ 1483746 h 4071735"/>
              <a:gd name="connsiteX1715" fmla="*/ 11264386 w 11856555"/>
              <a:gd name="connsiteY1715" fmla="*/ 1503917 h 4071735"/>
              <a:gd name="connsiteX1716" fmla="*/ 11239698 w 11856555"/>
              <a:gd name="connsiteY1716" fmla="*/ 1500219 h 4071735"/>
              <a:gd name="connsiteX1717" fmla="*/ 11233796 w 11856555"/>
              <a:gd name="connsiteY1717" fmla="*/ 1496330 h 4071735"/>
              <a:gd name="connsiteX1718" fmla="*/ 11239360 w 11856555"/>
              <a:gd name="connsiteY1718" fmla="*/ 1500169 h 4071735"/>
              <a:gd name="connsiteX1719" fmla="*/ 11239698 w 11856555"/>
              <a:gd name="connsiteY1719" fmla="*/ 1500219 h 4071735"/>
              <a:gd name="connsiteX1720" fmla="*/ 11242128 w 11856555"/>
              <a:gd name="connsiteY1720" fmla="*/ 1501822 h 4071735"/>
              <a:gd name="connsiteX1721" fmla="*/ 11259907 w 11856555"/>
              <a:gd name="connsiteY1721" fmla="*/ 1516227 h 4071735"/>
              <a:gd name="connsiteX1722" fmla="*/ 10769325 w 11856555"/>
              <a:gd name="connsiteY1722" fmla="*/ 1667999 h 4071735"/>
              <a:gd name="connsiteX1723" fmla="*/ 10990100 w 11856555"/>
              <a:gd name="connsiteY1723" fmla="*/ 1645406 h 4071735"/>
              <a:gd name="connsiteX1724" fmla="*/ 10890431 w 11856555"/>
              <a:gd name="connsiteY1724" fmla="*/ 1692254 h 4071735"/>
              <a:gd name="connsiteX1725" fmla="*/ 11001851 w 11856555"/>
              <a:gd name="connsiteY1725" fmla="*/ 1734894 h 4071735"/>
              <a:gd name="connsiteX1726" fmla="*/ 10995811 w 11856555"/>
              <a:gd name="connsiteY1726" fmla="*/ 1742812 h 4071735"/>
              <a:gd name="connsiteX1727" fmla="*/ 10993681 w 11856555"/>
              <a:gd name="connsiteY1727" fmla="*/ 1742878 h 4071735"/>
              <a:gd name="connsiteX1728" fmla="*/ 10981761 w 11856555"/>
              <a:gd name="connsiteY1728" fmla="*/ 1742525 h 4071735"/>
              <a:gd name="connsiteX1729" fmla="*/ 10993186 w 11856555"/>
              <a:gd name="connsiteY1729" fmla="*/ 1746253 h 4071735"/>
              <a:gd name="connsiteX1730" fmla="*/ 10995811 w 11856555"/>
              <a:gd name="connsiteY1730" fmla="*/ 1742812 h 4071735"/>
              <a:gd name="connsiteX1731" fmla="*/ 11013127 w 11856555"/>
              <a:gd name="connsiteY1731" fmla="*/ 1742285 h 4071735"/>
              <a:gd name="connsiteX1732" fmla="*/ 11046482 w 11856555"/>
              <a:gd name="connsiteY1732" fmla="*/ 1748439 h 4071735"/>
              <a:gd name="connsiteX1733" fmla="*/ 11020901 w 11856555"/>
              <a:gd name="connsiteY1733" fmla="*/ 1800368 h 4071735"/>
              <a:gd name="connsiteX1734" fmla="*/ 11080650 w 11856555"/>
              <a:gd name="connsiteY1734" fmla="*/ 1771679 h 4071735"/>
              <a:gd name="connsiteX1735" fmla="*/ 11123425 w 11856555"/>
              <a:gd name="connsiteY1735" fmla="*/ 1780279 h 4071735"/>
              <a:gd name="connsiteX1736" fmla="*/ 11164268 w 11856555"/>
              <a:gd name="connsiteY1736" fmla="*/ 1773923 h 4071735"/>
              <a:gd name="connsiteX1737" fmla="*/ 11160290 w 11856555"/>
              <a:gd name="connsiteY1737" fmla="*/ 1796708 h 4071735"/>
              <a:gd name="connsiteX1738" fmla="*/ 11223589 w 11856555"/>
              <a:gd name="connsiteY1738" fmla="*/ 1829034 h 4071735"/>
              <a:gd name="connsiteX1739" fmla="*/ 11493512 w 11856555"/>
              <a:gd name="connsiteY1739" fmla="*/ 1913038 h 4071735"/>
              <a:gd name="connsiteX1740" fmla="*/ 10961142 w 11856555"/>
              <a:gd name="connsiteY1740" fmla="*/ 1998445 h 4071735"/>
              <a:gd name="connsiteX1741" fmla="*/ 11032707 w 11856555"/>
              <a:gd name="connsiteY1741" fmla="*/ 2038795 h 4071735"/>
              <a:gd name="connsiteX1742" fmla="*/ 11210070 w 11856555"/>
              <a:gd name="connsiteY1742" fmla="*/ 2122287 h 4071735"/>
              <a:gd name="connsiteX1743" fmla="*/ 10994656 w 11856555"/>
              <a:gd name="connsiteY1743" fmla="*/ 2141483 h 4071735"/>
              <a:gd name="connsiteX1744" fmla="*/ 10930968 w 11856555"/>
              <a:gd name="connsiteY1744" fmla="*/ 2147158 h 4071735"/>
              <a:gd name="connsiteX1745" fmla="*/ 10888595 w 11856555"/>
              <a:gd name="connsiteY1745" fmla="*/ 2158965 h 4071735"/>
              <a:gd name="connsiteX1746" fmla="*/ 10871360 w 11856555"/>
              <a:gd name="connsiteY1746" fmla="*/ 2166119 h 4071735"/>
              <a:gd name="connsiteX1747" fmla="*/ 10871293 w 11856555"/>
              <a:gd name="connsiteY1747" fmla="*/ 2166074 h 4071735"/>
              <a:gd name="connsiteX1748" fmla="*/ 10871160 w 11856555"/>
              <a:gd name="connsiteY1748" fmla="*/ 2166203 h 4071735"/>
              <a:gd name="connsiteX1749" fmla="*/ 10860318 w 11856555"/>
              <a:gd name="connsiteY1749" fmla="*/ 2170703 h 4071735"/>
              <a:gd name="connsiteX1750" fmla="*/ 10847385 w 11856555"/>
              <a:gd name="connsiteY1750" fmla="*/ 2183810 h 4071735"/>
              <a:gd name="connsiteX1751" fmla="*/ 10863468 w 11856555"/>
              <a:gd name="connsiteY1751" fmla="*/ 2173616 h 4071735"/>
              <a:gd name="connsiteX1752" fmla="*/ 10871160 w 11856555"/>
              <a:gd name="connsiteY1752" fmla="*/ 2166203 h 4071735"/>
              <a:gd name="connsiteX1753" fmla="*/ 10871360 w 11856555"/>
              <a:gd name="connsiteY1753" fmla="*/ 2166119 h 4071735"/>
              <a:gd name="connsiteX1754" fmla="*/ 10880327 w 11856555"/>
              <a:gd name="connsiteY1754" fmla="*/ 2172113 h 4071735"/>
              <a:gd name="connsiteX1755" fmla="*/ 10865727 w 11856555"/>
              <a:gd name="connsiteY1755" fmla="*/ 2220142 h 4071735"/>
              <a:gd name="connsiteX1756" fmla="*/ 10904870 w 11856555"/>
              <a:gd name="connsiteY1756" fmla="*/ 2193290 h 4071735"/>
              <a:gd name="connsiteX1757" fmla="*/ 10911262 w 11856555"/>
              <a:gd name="connsiteY1757" fmla="*/ 2189466 h 4071735"/>
              <a:gd name="connsiteX1758" fmla="*/ 10912880 w 11856555"/>
              <a:gd name="connsiteY1758" fmla="*/ 2198418 h 4071735"/>
              <a:gd name="connsiteX1759" fmla="*/ 11130168 w 11856555"/>
              <a:gd name="connsiteY1759" fmla="*/ 2179055 h 4071735"/>
              <a:gd name="connsiteX1760" fmla="*/ 11202508 w 11856555"/>
              <a:gd name="connsiteY1760" fmla="*/ 2228099 h 4071735"/>
              <a:gd name="connsiteX1761" fmla="*/ 11196822 w 11856555"/>
              <a:gd name="connsiteY1761" fmla="*/ 2249047 h 4071735"/>
              <a:gd name="connsiteX1762" fmla="*/ 10543274 w 11856555"/>
              <a:gd name="connsiteY1762" fmla="*/ 2415345 h 4071735"/>
              <a:gd name="connsiteX1763" fmla="*/ 9816668 w 11856555"/>
              <a:gd name="connsiteY1763" fmla="*/ 2588151 h 4071735"/>
              <a:gd name="connsiteX1764" fmla="*/ 9889789 w 11856555"/>
              <a:gd name="connsiteY1764" fmla="*/ 2561191 h 4071735"/>
              <a:gd name="connsiteX1765" fmla="*/ 9902968 w 11856555"/>
              <a:gd name="connsiteY1765" fmla="*/ 2539573 h 4071735"/>
              <a:gd name="connsiteX1766" fmla="*/ 9490413 w 11856555"/>
              <a:gd name="connsiteY1766" fmla="*/ 2634746 h 4071735"/>
              <a:gd name="connsiteX1767" fmla="*/ 7884833 w 11856555"/>
              <a:gd name="connsiteY1767" fmla="*/ 3028982 h 4071735"/>
              <a:gd name="connsiteX1768" fmla="*/ 6245571 w 11856555"/>
              <a:gd name="connsiteY1768" fmla="*/ 3535237 h 4071735"/>
              <a:gd name="connsiteX1769" fmla="*/ 5741751 w 11856555"/>
              <a:gd name="connsiteY1769" fmla="*/ 3696984 h 4071735"/>
              <a:gd name="connsiteX1770" fmla="*/ 5744417 w 11856555"/>
              <a:gd name="connsiteY1770" fmla="*/ 3692835 h 4071735"/>
              <a:gd name="connsiteX1771" fmla="*/ 5732281 w 11856555"/>
              <a:gd name="connsiteY1771" fmla="*/ 3691726 h 4071735"/>
              <a:gd name="connsiteX1772" fmla="*/ 5723190 w 11856555"/>
              <a:gd name="connsiteY1772" fmla="*/ 3702943 h 4071735"/>
              <a:gd name="connsiteX1773" fmla="*/ 5720838 w 11856555"/>
              <a:gd name="connsiteY1773" fmla="*/ 3703697 h 4071735"/>
              <a:gd name="connsiteX1774" fmla="*/ 5155202 w 11856555"/>
              <a:gd name="connsiteY1774" fmla="*/ 3818352 h 4071735"/>
              <a:gd name="connsiteX1775" fmla="*/ 5322113 w 11856555"/>
              <a:gd name="connsiteY1775" fmla="*/ 3742149 h 4071735"/>
              <a:gd name="connsiteX1776" fmla="*/ 5657716 w 11856555"/>
              <a:gd name="connsiteY1776" fmla="*/ 3585932 h 4071735"/>
              <a:gd name="connsiteX1777" fmla="*/ 5733092 w 11856555"/>
              <a:gd name="connsiteY1777" fmla="*/ 3561903 h 4071735"/>
              <a:gd name="connsiteX1778" fmla="*/ 5753090 w 11856555"/>
              <a:gd name="connsiteY1778" fmla="*/ 3561735 h 4071735"/>
              <a:gd name="connsiteX1779" fmla="*/ 5860174 w 11856555"/>
              <a:gd name="connsiteY1779" fmla="*/ 3529925 h 4071735"/>
              <a:gd name="connsiteX1780" fmla="*/ 5884517 w 11856555"/>
              <a:gd name="connsiteY1780" fmla="*/ 3519180 h 4071735"/>
              <a:gd name="connsiteX1781" fmla="*/ 5953138 w 11856555"/>
              <a:gd name="connsiteY1781" fmla="*/ 3504882 h 4071735"/>
              <a:gd name="connsiteX1782" fmla="*/ 5995690 w 11856555"/>
              <a:gd name="connsiteY1782" fmla="*/ 3503977 h 4071735"/>
              <a:gd name="connsiteX1783" fmla="*/ 5969916 w 11856555"/>
              <a:gd name="connsiteY1783" fmla="*/ 3532558 h 4071735"/>
              <a:gd name="connsiteX1784" fmla="*/ 6081663 w 11856555"/>
              <a:gd name="connsiteY1784" fmla="*/ 3472950 h 4071735"/>
              <a:gd name="connsiteX1785" fmla="*/ 6630829 w 11856555"/>
              <a:gd name="connsiteY1785" fmla="*/ 3321797 h 4071735"/>
              <a:gd name="connsiteX1786" fmla="*/ 7395160 w 11856555"/>
              <a:gd name="connsiteY1786" fmla="*/ 3063856 h 4071735"/>
              <a:gd name="connsiteX1787" fmla="*/ 7560398 w 11856555"/>
              <a:gd name="connsiteY1787" fmla="*/ 2992045 h 4071735"/>
              <a:gd name="connsiteX1788" fmla="*/ 7607812 w 11856555"/>
              <a:gd name="connsiteY1788" fmla="*/ 2969572 h 4071735"/>
              <a:gd name="connsiteX1789" fmla="*/ 7635377 w 11856555"/>
              <a:gd name="connsiteY1789" fmla="*/ 2961134 h 4071735"/>
              <a:gd name="connsiteX1790" fmla="*/ 8161879 w 11856555"/>
              <a:gd name="connsiteY1790" fmla="*/ 2811543 h 4071735"/>
              <a:gd name="connsiteX1791" fmla="*/ 7669379 w 11856555"/>
              <a:gd name="connsiteY1791" fmla="*/ 2940391 h 4071735"/>
              <a:gd name="connsiteX1792" fmla="*/ 7607812 w 11856555"/>
              <a:gd name="connsiteY1792" fmla="*/ 2969572 h 4071735"/>
              <a:gd name="connsiteX1793" fmla="*/ 7109363 w 11856555"/>
              <a:gd name="connsiteY1793" fmla="*/ 3122180 h 4071735"/>
              <a:gd name="connsiteX1794" fmla="*/ 6056602 w 11856555"/>
              <a:gd name="connsiteY1794" fmla="*/ 3445980 h 4071735"/>
              <a:gd name="connsiteX1795" fmla="*/ 5970021 w 11856555"/>
              <a:gd name="connsiteY1795" fmla="*/ 3481440 h 4071735"/>
              <a:gd name="connsiteX1796" fmla="*/ 5932753 w 11856555"/>
              <a:gd name="connsiteY1796" fmla="*/ 3497889 h 4071735"/>
              <a:gd name="connsiteX1797" fmla="*/ 5912180 w 11856555"/>
              <a:gd name="connsiteY1797" fmla="*/ 3496450 h 4071735"/>
              <a:gd name="connsiteX1798" fmla="*/ 5899899 w 11856555"/>
              <a:gd name="connsiteY1798" fmla="*/ 3509592 h 4071735"/>
              <a:gd name="connsiteX1799" fmla="*/ 5916469 w 11856555"/>
              <a:gd name="connsiteY1799" fmla="*/ 3504830 h 4071735"/>
              <a:gd name="connsiteX1800" fmla="*/ 5930300 w 11856555"/>
              <a:gd name="connsiteY1800" fmla="*/ 3498973 h 4071735"/>
              <a:gd name="connsiteX1801" fmla="*/ 5884517 w 11856555"/>
              <a:gd name="connsiteY1801" fmla="*/ 3519180 h 4071735"/>
              <a:gd name="connsiteX1802" fmla="*/ 5874595 w 11856555"/>
              <a:gd name="connsiteY1802" fmla="*/ 3521247 h 4071735"/>
              <a:gd name="connsiteX1803" fmla="*/ 5772106 w 11856555"/>
              <a:gd name="connsiteY1803" fmla="*/ 3549466 h 4071735"/>
              <a:gd name="connsiteX1804" fmla="*/ 5733092 w 11856555"/>
              <a:gd name="connsiteY1804" fmla="*/ 3561903 h 4071735"/>
              <a:gd name="connsiteX1805" fmla="*/ 5708716 w 11856555"/>
              <a:gd name="connsiteY1805" fmla="*/ 3562109 h 4071735"/>
              <a:gd name="connsiteX1806" fmla="*/ 5697646 w 11856555"/>
              <a:gd name="connsiteY1806" fmla="*/ 3557235 h 4071735"/>
              <a:gd name="connsiteX1807" fmla="*/ 5701536 w 11856555"/>
              <a:gd name="connsiteY1807" fmla="*/ 3550632 h 4071735"/>
              <a:gd name="connsiteX1808" fmla="*/ 5689490 w 11856555"/>
              <a:gd name="connsiteY1808" fmla="*/ 3553166 h 4071735"/>
              <a:gd name="connsiteX1809" fmla="*/ 5689286 w 11856555"/>
              <a:gd name="connsiteY1809" fmla="*/ 3553553 h 4071735"/>
              <a:gd name="connsiteX1810" fmla="*/ 5674796 w 11856555"/>
              <a:gd name="connsiteY1810" fmla="*/ 3547174 h 4071735"/>
              <a:gd name="connsiteX1811" fmla="*/ 5349956 w 11856555"/>
              <a:gd name="connsiteY1811" fmla="*/ 3652054 h 4071735"/>
              <a:gd name="connsiteX1812" fmla="*/ 5381158 w 11856555"/>
              <a:gd name="connsiteY1812" fmla="*/ 3599624 h 4071735"/>
              <a:gd name="connsiteX1813" fmla="*/ 5262176 w 11856555"/>
              <a:gd name="connsiteY1813" fmla="*/ 3662795 h 4071735"/>
              <a:gd name="connsiteX1814" fmla="*/ 5188237 w 11856555"/>
              <a:gd name="connsiteY1814" fmla="*/ 3667331 h 4071735"/>
              <a:gd name="connsiteX1815" fmla="*/ 5177337 w 11856555"/>
              <a:gd name="connsiteY1815" fmla="*/ 3674625 h 4071735"/>
              <a:gd name="connsiteX1816" fmla="*/ 5174637 w 11856555"/>
              <a:gd name="connsiteY1816" fmla="*/ 3660376 h 4071735"/>
              <a:gd name="connsiteX1817" fmla="*/ 5174520 w 11856555"/>
              <a:gd name="connsiteY1817" fmla="*/ 3659056 h 4071735"/>
              <a:gd name="connsiteX1818" fmla="*/ 5180395 w 11856555"/>
              <a:gd name="connsiteY1818" fmla="*/ 3658767 h 4071735"/>
              <a:gd name="connsiteX1819" fmla="*/ 5187573 w 11856555"/>
              <a:gd name="connsiteY1819" fmla="*/ 3651921 h 4071735"/>
              <a:gd name="connsiteX1820" fmla="*/ 5181025 w 11856555"/>
              <a:gd name="connsiteY1820" fmla="*/ 3649949 h 4071735"/>
              <a:gd name="connsiteX1821" fmla="*/ 5174278 w 11856555"/>
              <a:gd name="connsiteY1821" fmla="*/ 3656334 h 4071735"/>
              <a:gd name="connsiteX1822" fmla="*/ 5172733 w 11856555"/>
              <a:gd name="connsiteY1822" fmla="*/ 3639005 h 4071735"/>
              <a:gd name="connsiteX1823" fmla="*/ 5176401 w 11856555"/>
              <a:gd name="connsiteY1823" fmla="*/ 3632472 h 4071735"/>
              <a:gd name="connsiteX1824" fmla="*/ 5153663 w 11856555"/>
              <a:gd name="connsiteY1824" fmla="*/ 3631580 h 4071735"/>
              <a:gd name="connsiteX1825" fmla="*/ 5161091 w 11856555"/>
              <a:gd name="connsiteY1825" fmla="*/ 3651359 h 4071735"/>
              <a:gd name="connsiteX1826" fmla="*/ 5133767 w 11856555"/>
              <a:gd name="connsiteY1826" fmla="*/ 3662556 h 4071735"/>
              <a:gd name="connsiteX1827" fmla="*/ 5099210 w 11856555"/>
              <a:gd name="connsiteY1827" fmla="*/ 3677317 h 4071735"/>
              <a:gd name="connsiteX1828" fmla="*/ 5012464 w 11856555"/>
              <a:gd name="connsiteY1828" fmla="*/ 3699650 h 4071735"/>
              <a:gd name="connsiteX1829" fmla="*/ 4915831 w 11856555"/>
              <a:gd name="connsiteY1829" fmla="*/ 3717023 h 4071735"/>
              <a:gd name="connsiteX1830" fmla="*/ 4888537 w 11856555"/>
              <a:gd name="connsiteY1830" fmla="*/ 3688790 h 4071735"/>
              <a:gd name="connsiteX1831" fmla="*/ 4878961 w 11856555"/>
              <a:gd name="connsiteY1831" fmla="*/ 3700890 h 4071735"/>
              <a:gd name="connsiteX1832" fmla="*/ 4877405 w 11856555"/>
              <a:gd name="connsiteY1832" fmla="*/ 3698954 h 4071735"/>
              <a:gd name="connsiteX1833" fmla="*/ 4877659 w 11856555"/>
              <a:gd name="connsiteY1833" fmla="*/ 3701806 h 4071735"/>
              <a:gd name="connsiteX1834" fmla="*/ 4877923 w 11856555"/>
              <a:gd name="connsiteY1834" fmla="*/ 3702203 h 4071735"/>
              <a:gd name="connsiteX1835" fmla="*/ 4865230 w 11856555"/>
              <a:gd name="connsiteY1835" fmla="*/ 3718247 h 4071735"/>
              <a:gd name="connsiteX1836" fmla="*/ 4849395 w 11856555"/>
              <a:gd name="connsiteY1836" fmla="*/ 3732081 h 4071735"/>
              <a:gd name="connsiteX1837" fmla="*/ 4842771 w 11856555"/>
              <a:gd name="connsiteY1837" fmla="*/ 3715501 h 4071735"/>
              <a:gd name="connsiteX1838" fmla="*/ 4835147 w 11856555"/>
              <a:gd name="connsiteY1838" fmla="*/ 3704416 h 4071735"/>
              <a:gd name="connsiteX1839" fmla="*/ 4850793 w 11856555"/>
              <a:gd name="connsiteY1839" fmla="*/ 3690647 h 4071735"/>
              <a:gd name="connsiteX1840" fmla="*/ 4826567 w 11856555"/>
              <a:gd name="connsiteY1840" fmla="*/ 3689931 h 4071735"/>
              <a:gd name="connsiteX1841" fmla="*/ 4930691 w 11856555"/>
              <a:gd name="connsiteY1841" fmla="*/ 3671892 h 4071735"/>
              <a:gd name="connsiteX1842" fmla="*/ 5166007 w 11856555"/>
              <a:gd name="connsiteY1842" fmla="*/ 3537024 h 4071735"/>
              <a:gd name="connsiteX1843" fmla="*/ 5153992 w 11856555"/>
              <a:gd name="connsiteY1843" fmla="*/ 3529332 h 4071735"/>
              <a:gd name="connsiteX1844" fmla="*/ 5162195 w 11856555"/>
              <a:gd name="connsiteY1844" fmla="*/ 3557806 h 4071735"/>
              <a:gd name="connsiteX1845" fmla="*/ 5465460 w 11856555"/>
              <a:gd name="connsiteY1845" fmla="*/ 3422724 h 4071735"/>
              <a:gd name="connsiteX1846" fmla="*/ 4878377 w 11856555"/>
              <a:gd name="connsiteY1846" fmla="*/ 3550973 h 4071735"/>
              <a:gd name="connsiteX1847" fmla="*/ 4258318 w 11856555"/>
              <a:gd name="connsiteY1847" fmla="*/ 3732902 h 4071735"/>
              <a:gd name="connsiteX1848" fmla="*/ 3890607 w 11856555"/>
              <a:gd name="connsiteY1848" fmla="*/ 3847740 h 4071735"/>
              <a:gd name="connsiteX1849" fmla="*/ 3888819 w 11856555"/>
              <a:gd name="connsiteY1849" fmla="*/ 3846734 h 4071735"/>
              <a:gd name="connsiteX1850" fmla="*/ 3886773 w 11856555"/>
              <a:gd name="connsiteY1850" fmla="*/ 3848938 h 4071735"/>
              <a:gd name="connsiteX1851" fmla="*/ 3681645 w 11856555"/>
              <a:gd name="connsiteY1851" fmla="*/ 3913001 h 4071735"/>
              <a:gd name="connsiteX1852" fmla="*/ 3686509 w 11856555"/>
              <a:gd name="connsiteY1852" fmla="*/ 3905422 h 4071735"/>
              <a:gd name="connsiteX1853" fmla="*/ 3664805 w 11856555"/>
              <a:gd name="connsiteY1853" fmla="*/ 3916117 h 4071735"/>
              <a:gd name="connsiteX1854" fmla="*/ 3670491 w 11856555"/>
              <a:gd name="connsiteY1854" fmla="*/ 3916485 h 4071735"/>
              <a:gd name="connsiteX1855" fmla="*/ 3661318 w 11856555"/>
              <a:gd name="connsiteY1855" fmla="*/ 3919348 h 4071735"/>
              <a:gd name="connsiteX1856" fmla="*/ 3095683 w 11856555"/>
              <a:gd name="connsiteY1856" fmla="*/ 4034003 h 4071735"/>
              <a:gd name="connsiteX1857" fmla="*/ 3262591 w 11856555"/>
              <a:gd name="connsiteY1857" fmla="*/ 3957800 h 4071735"/>
              <a:gd name="connsiteX1858" fmla="*/ 3598196 w 11856555"/>
              <a:gd name="connsiteY1858" fmla="*/ 3801582 h 4071735"/>
              <a:gd name="connsiteX1859" fmla="*/ 3673571 w 11856555"/>
              <a:gd name="connsiteY1859" fmla="*/ 3777554 h 4071735"/>
              <a:gd name="connsiteX1860" fmla="*/ 3693569 w 11856555"/>
              <a:gd name="connsiteY1860" fmla="*/ 3777387 h 4071735"/>
              <a:gd name="connsiteX1861" fmla="*/ 3800655 w 11856555"/>
              <a:gd name="connsiteY1861" fmla="*/ 3745576 h 4071735"/>
              <a:gd name="connsiteX1862" fmla="*/ 3825001 w 11856555"/>
              <a:gd name="connsiteY1862" fmla="*/ 3734830 h 4071735"/>
              <a:gd name="connsiteX1863" fmla="*/ 3893618 w 11856555"/>
              <a:gd name="connsiteY1863" fmla="*/ 3720532 h 4071735"/>
              <a:gd name="connsiteX1864" fmla="*/ 3936169 w 11856555"/>
              <a:gd name="connsiteY1864" fmla="*/ 3719627 h 4071735"/>
              <a:gd name="connsiteX1865" fmla="*/ 3910396 w 11856555"/>
              <a:gd name="connsiteY1865" fmla="*/ 3748208 h 4071735"/>
              <a:gd name="connsiteX1866" fmla="*/ 4022143 w 11856555"/>
              <a:gd name="connsiteY1866" fmla="*/ 3688602 h 4071735"/>
              <a:gd name="connsiteX1867" fmla="*/ 4571309 w 11856555"/>
              <a:gd name="connsiteY1867" fmla="*/ 3537448 h 4071735"/>
              <a:gd name="connsiteX1868" fmla="*/ 6035116 w 11856555"/>
              <a:gd name="connsiteY1868" fmla="*/ 3056548 h 4071735"/>
              <a:gd name="connsiteX1869" fmla="*/ 6015868 w 11856555"/>
              <a:gd name="connsiteY1869" fmla="*/ 3052423 h 4071735"/>
              <a:gd name="connsiteX1870" fmla="*/ 3997084 w 11856555"/>
              <a:gd name="connsiteY1870" fmla="*/ 3661630 h 4071735"/>
              <a:gd name="connsiteX1871" fmla="*/ 3910502 w 11856555"/>
              <a:gd name="connsiteY1871" fmla="*/ 3697090 h 4071735"/>
              <a:gd name="connsiteX1872" fmla="*/ 3825001 w 11856555"/>
              <a:gd name="connsiteY1872" fmla="*/ 3734830 h 4071735"/>
              <a:gd name="connsiteX1873" fmla="*/ 3815074 w 11856555"/>
              <a:gd name="connsiteY1873" fmla="*/ 3736897 h 4071735"/>
              <a:gd name="connsiteX1874" fmla="*/ 3712586 w 11856555"/>
              <a:gd name="connsiteY1874" fmla="*/ 3765116 h 4071735"/>
              <a:gd name="connsiteX1875" fmla="*/ 3673571 w 11856555"/>
              <a:gd name="connsiteY1875" fmla="*/ 3777554 h 4071735"/>
              <a:gd name="connsiteX1876" fmla="*/ 3649196 w 11856555"/>
              <a:gd name="connsiteY1876" fmla="*/ 3777759 h 4071735"/>
              <a:gd name="connsiteX1877" fmla="*/ 3637977 w 11856555"/>
              <a:gd name="connsiteY1877" fmla="*/ 3772819 h 4071735"/>
              <a:gd name="connsiteX1878" fmla="*/ 3643629 w 11856555"/>
              <a:gd name="connsiteY1878" fmla="*/ 3763218 h 4071735"/>
              <a:gd name="connsiteX1879" fmla="*/ 3631584 w 11856555"/>
              <a:gd name="connsiteY1879" fmla="*/ 3765752 h 4071735"/>
              <a:gd name="connsiteX1880" fmla="*/ 3629765 w 11856555"/>
              <a:gd name="connsiteY1880" fmla="*/ 3769203 h 4071735"/>
              <a:gd name="connsiteX1881" fmla="*/ 3615275 w 11856555"/>
              <a:gd name="connsiteY1881" fmla="*/ 3762824 h 4071735"/>
              <a:gd name="connsiteX1882" fmla="*/ 3290436 w 11856555"/>
              <a:gd name="connsiteY1882" fmla="*/ 3867704 h 4071735"/>
              <a:gd name="connsiteX1883" fmla="*/ 3321639 w 11856555"/>
              <a:gd name="connsiteY1883" fmla="*/ 3815275 h 4071735"/>
              <a:gd name="connsiteX1884" fmla="*/ 3202657 w 11856555"/>
              <a:gd name="connsiteY1884" fmla="*/ 3878446 h 4071735"/>
              <a:gd name="connsiteX1885" fmla="*/ 3128718 w 11856555"/>
              <a:gd name="connsiteY1885" fmla="*/ 3882982 h 4071735"/>
              <a:gd name="connsiteX1886" fmla="*/ 3117819 w 11856555"/>
              <a:gd name="connsiteY1886" fmla="*/ 3890275 h 4071735"/>
              <a:gd name="connsiteX1887" fmla="*/ 3115118 w 11856555"/>
              <a:gd name="connsiteY1887" fmla="*/ 3876026 h 4071735"/>
              <a:gd name="connsiteX1888" fmla="*/ 3114736 w 11856555"/>
              <a:gd name="connsiteY1888" fmla="*/ 3871735 h 4071735"/>
              <a:gd name="connsiteX1889" fmla="*/ 3122490 w 11856555"/>
              <a:gd name="connsiteY1889" fmla="*/ 3871353 h 4071735"/>
              <a:gd name="connsiteX1890" fmla="*/ 3129667 w 11856555"/>
              <a:gd name="connsiteY1890" fmla="*/ 3864508 h 4071735"/>
              <a:gd name="connsiteX1891" fmla="*/ 3123119 w 11856555"/>
              <a:gd name="connsiteY1891" fmla="*/ 3862535 h 4071735"/>
              <a:gd name="connsiteX1892" fmla="*/ 3114632 w 11856555"/>
              <a:gd name="connsiteY1892" fmla="*/ 3870569 h 4071735"/>
              <a:gd name="connsiteX1893" fmla="*/ 3113214 w 11856555"/>
              <a:gd name="connsiteY1893" fmla="*/ 3854657 h 4071735"/>
              <a:gd name="connsiteX1894" fmla="*/ 3116880 w 11856555"/>
              <a:gd name="connsiteY1894" fmla="*/ 3848124 h 4071735"/>
              <a:gd name="connsiteX1895" fmla="*/ 3094144 w 11856555"/>
              <a:gd name="connsiteY1895" fmla="*/ 3847229 h 4071735"/>
              <a:gd name="connsiteX1896" fmla="*/ 3101571 w 11856555"/>
              <a:gd name="connsiteY1896" fmla="*/ 3867012 h 4071735"/>
              <a:gd name="connsiteX1897" fmla="*/ 3074244 w 11856555"/>
              <a:gd name="connsiteY1897" fmla="*/ 3878207 h 4071735"/>
              <a:gd name="connsiteX1898" fmla="*/ 3039689 w 11856555"/>
              <a:gd name="connsiteY1898" fmla="*/ 3892968 h 4071735"/>
              <a:gd name="connsiteX1899" fmla="*/ 2952942 w 11856555"/>
              <a:gd name="connsiteY1899" fmla="*/ 3915301 h 4071735"/>
              <a:gd name="connsiteX1900" fmla="*/ 2856312 w 11856555"/>
              <a:gd name="connsiteY1900" fmla="*/ 3932673 h 4071735"/>
              <a:gd name="connsiteX1901" fmla="*/ 2829017 w 11856555"/>
              <a:gd name="connsiteY1901" fmla="*/ 3904441 h 4071735"/>
              <a:gd name="connsiteX1902" fmla="*/ 2821465 w 11856555"/>
              <a:gd name="connsiteY1902" fmla="*/ 3913984 h 4071735"/>
              <a:gd name="connsiteX1903" fmla="*/ 2819500 w 11856555"/>
              <a:gd name="connsiteY1903" fmla="*/ 3911541 h 4071735"/>
              <a:gd name="connsiteX1904" fmla="*/ 2819755 w 11856555"/>
              <a:gd name="connsiteY1904" fmla="*/ 3914392 h 4071735"/>
              <a:gd name="connsiteX1905" fmla="*/ 2820389 w 11856555"/>
              <a:gd name="connsiteY1905" fmla="*/ 3915345 h 4071735"/>
              <a:gd name="connsiteX1906" fmla="*/ 2805708 w 11856555"/>
              <a:gd name="connsiteY1906" fmla="*/ 3933898 h 4071735"/>
              <a:gd name="connsiteX1907" fmla="*/ 2789873 w 11856555"/>
              <a:gd name="connsiteY1907" fmla="*/ 3947733 h 4071735"/>
              <a:gd name="connsiteX1908" fmla="*/ 2783251 w 11856555"/>
              <a:gd name="connsiteY1908" fmla="*/ 3931152 h 4071735"/>
              <a:gd name="connsiteX1909" fmla="*/ 2775626 w 11856555"/>
              <a:gd name="connsiteY1909" fmla="*/ 3920066 h 4071735"/>
              <a:gd name="connsiteX1910" fmla="*/ 2791273 w 11856555"/>
              <a:gd name="connsiteY1910" fmla="*/ 3906297 h 4071735"/>
              <a:gd name="connsiteX1911" fmla="*/ 2767047 w 11856555"/>
              <a:gd name="connsiteY1911" fmla="*/ 3905582 h 4071735"/>
              <a:gd name="connsiteX1912" fmla="*/ 2871171 w 11856555"/>
              <a:gd name="connsiteY1912" fmla="*/ 3887543 h 4071735"/>
              <a:gd name="connsiteX1913" fmla="*/ 3106486 w 11856555"/>
              <a:gd name="connsiteY1913" fmla="*/ 3752674 h 4071735"/>
              <a:gd name="connsiteX1914" fmla="*/ 3094471 w 11856555"/>
              <a:gd name="connsiteY1914" fmla="*/ 3744983 h 4071735"/>
              <a:gd name="connsiteX1915" fmla="*/ 3102673 w 11856555"/>
              <a:gd name="connsiteY1915" fmla="*/ 3773457 h 4071735"/>
              <a:gd name="connsiteX1916" fmla="*/ 3405941 w 11856555"/>
              <a:gd name="connsiteY1916" fmla="*/ 3638374 h 4071735"/>
              <a:gd name="connsiteX1917" fmla="*/ 3060370 w 11856555"/>
              <a:gd name="connsiteY1917" fmla="*/ 3701293 h 4071735"/>
              <a:gd name="connsiteX1918" fmla="*/ 3181654 w 11856555"/>
              <a:gd name="connsiteY1918" fmla="*/ 3629521 h 4071735"/>
              <a:gd name="connsiteX1919" fmla="*/ 3248152 w 11856555"/>
              <a:gd name="connsiteY1919" fmla="*/ 3597384 h 4071735"/>
              <a:gd name="connsiteX1920" fmla="*/ 3259641 w 11856555"/>
              <a:gd name="connsiteY1920" fmla="*/ 3596287 h 4071735"/>
              <a:gd name="connsiteX1921" fmla="*/ 3322941 w 11856555"/>
              <a:gd name="connsiteY1921" fmla="*/ 3575679 h 4071735"/>
              <a:gd name="connsiteX1922" fmla="*/ 3269755 w 11856555"/>
              <a:gd name="connsiteY1922" fmla="*/ 3586944 h 4071735"/>
              <a:gd name="connsiteX1923" fmla="*/ 3248152 w 11856555"/>
              <a:gd name="connsiteY1923" fmla="*/ 3597384 h 4071735"/>
              <a:gd name="connsiteX1924" fmla="*/ 3223663 w 11856555"/>
              <a:gd name="connsiteY1924" fmla="*/ 3599721 h 4071735"/>
              <a:gd name="connsiteX1925" fmla="*/ 3211842 w 11856555"/>
              <a:gd name="connsiteY1925" fmla="*/ 3600181 h 4071735"/>
              <a:gd name="connsiteX1926" fmla="*/ 3224507 w 11856555"/>
              <a:gd name="connsiteY1926" fmla="*/ 3572768 h 4071735"/>
              <a:gd name="connsiteX1927" fmla="*/ 3238088 w 11856555"/>
              <a:gd name="connsiteY1927" fmla="*/ 3582146 h 4071735"/>
              <a:gd name="connsiteX1928" fmla="*/ 3240514 w 11856555"/>
              <a:gd name="connsiteY1928" fmla="*/ 3577921 h 4071735"/>
              <a:gd name="connsiteX1929" fmla="*/ 3237810 w 11856555"/>
              <a:gd name="connsiteY1929" fmla="*/ 3594946 h 4071735"/>
              <a:gd name="connsiteX1930" fmla="*/ 3373393 w 11856555"/>
              <a:gd name="connsiteY1930" fmla="*/ 3527376 h 4071735"/>
              <a:gd name="connsiteX1931" fmla="*/ 3345486 w 11856555"/>
              <a:gd name="connsiteY1931" fmla="*/ 3553227 h 4071735"/>
              <a:gd name="connsiteX1932" fmla="*/ 3886584 w 11856555"/>
              <a:gd name="connsiteY1932" fmla="*/ 3332700 h 4071735"/>
              <a:gd name="connsiteX1933" fmla="*/ 3853969 w 11856555"/>
              <a:gd name="connsiteY1933" fmla="*/ 3326845 h 4071735"/>
              <a:gd name="connsiteX1934" fmla="*/ 3848089 w 11856555"/>
              <a:gd name="connsiteY1934" fmla="*/ 3324449 h 4071735"/>
              <a:gd name="connsiteX1935" fmla="*/ 3908224 w 11856555"/>
              <a:gd name="connsiteY1935" fmla="*/ 3342453 h 4071735"/>
              <a:gd name="connsiteX1936" fmla="*/ 4067907 w 11856555"/>
              <a:gd name="connsiteY1936" fmla="*/ 3267259 h 4071735"/>
              <a:gd name="connsiteX1937" fmla="*/ 4133394 w 11856555"/>
              <a:gd name="connsiteY1937" fmla="*/ 3234545 h 4071735"/>
              <a:gd name="connsiteX1938" fmla="*/ 4175380 w 11856555"/>
              <a:gd name="connsiteY1938" fmla="*/ 3219306 h 4071735"/>
              <a:gd name="connsiteX1939" fmla="*/ 4204588 w 11856555"/>
              <a:gd name="connsiteY1939" fmla="*/ 3214149 h 4071735"/>
              <a:gd name="connsiteX1940" fmla="*/ 4210582 w 11856555"/>
              <a:gd name="connsiteY1940" fmla="*/ 3239577 h 4071735"/>
              <a:gd name="connsiteX1941" fmla="*/ 4373355 w 11856555"/>
              <a:gd name="connsiteY1941" fmla="*/ 3201709 h 4071735"/>
              <a:gd name="connsiteX1942" fmla="*/ 4428680 w 11856555"/>
              <a:gd name="connsiteY1942" fmla="*/ 3155162 h 4071735"/>
              <a:gd name="connsiteX1943" fmla="*/ 4465558 w 11856555"/>
              <a:gd name="connsiteY1943" fmla="*/ 3133652 h 4071735"/>
              <a:gd name="connsiteX1944" fmla="*/ 4474689 w 11856555"/>
              <a:gd name="connsiteY1944" fmla="*/ 3133750 h 4071735"/>
              <a:gd name="connsiteX1945" fmla="*/ 4474757 w 11856555"/>
              <a:gd name="connsiteY1945" fmla="*/ 3137231 h 4071735"/>
              <a:gd name="connsiteX1946" fmla="*/ 4482741 w 11856555"/>
              <a:gd name="connsiteY1946" fmla="*/ 3134310 h 4071735"/>
              <a:gd name="connsiteX1947" fmla="*/ 4483211 w 11856555"/>
              <a:gd name="connsiteY1947" fmla="*/ 3133841 h 4071735"/>
              <a:gd name="connsiteX1948" fmla="*/ 4496828 w 11856555"/>
              <a:gd name="connsiteY1948" fmla="*/ 3133987 h 4071735"/>
              <a:gd name="connsiteX1949" fmla="*/ 4502378 w 11856555"/>
              <a:gd name="connsiteY1949" fmla="*/ 3133603 h 4071735"/>
              <a:gd name="connsiteX1950" fmla="*/ 4500088 w 11856555"/>
              <a:gd name="connsiteY1950" fmla="*/ 3140768 h 4071735"/>
              <a:gd name="connsiteX1951" fmla="*/ 4509804 w 11856555"/>
              <a:gd name="connsiteY1951" fmla="*/ 3135887 h 4071735"/>
              <a:gd name="connsiteX1952" fmla="*/ 4508866 w 11856555"/>
              <a:gd name="connsiteY1952" fmla="*/ 3133155 h 4071735"/>
              <a:gd name="connsiteX1953" fmla="*/ 4517657 w 11856555"/>
              <a:gd name="connsiteY1953" fmla="*/ 3132547 h 4071735"/>
              <a:gd name="connsiteX1954" fmla="*/ 4513259 w 11856555"/>
              <a:gd name="connsiteY1954" fmla="*/ 3143246 h 4071735"/>
              <a:gd name="connsiteX1955" fmla="*/ 4499248 w 11856555"/>
              <a:gd name="connsiteY1955" fmla="*/ 3152525 h 4071735"/>
              <a:gd name="connsiteX1956" fmla="*/ 4551246 w 11856555"/>
              <a:gd name="connsiteY1956" fmla="*/ 3121607 h 4071735"/>
              <a:gd name="connsiteX1957" fmla="*/ 4533500 w 11856555"/>
              <a:gd name="connsiteY1957" fmla="*/ 3131454 h 4071735"/>
              <a:gd name="connsiteX1958" fmla="*/ 4517657 w 11856555"/>
              <a:gd name="connsiteY1958" fmla="*/ 3132547 h 4071735"/>
              <a:gd name="connsiteX1959" fmla="*/ 4519494 w 11856555"/>
              <a:gd name="connsiteY1959" fmla="*/ 3128088 h 4071735"/>
              <a:gd name="connsiteX1960" fmla="*/ 4527476 w 11856555"/>
              <a:gd name="connsiteY1960" fmla="*/ 3109122 h 4071735"/>
              <a:gd name="connsiteX1961" fmla="*/ 4474494 w 11856555"/>
              <a:gd name="connsiteY1961" fmla="*/ 3123700 h 4071735"/>
              <a:gd name="connsiteX1962" fmla="*/ 4474587 w 11856555"/>
              <a:gd name="connsiteY1962" fmla="*/ 3128491 h 4071735"/>
              <a:gd name="connsiteX1963" fmla="*/ 4474112 w 11856555"/>
              <a:gd name="connsiteY1963" fmla="*/ 3128663 h 4071735"/>
              <a:gd name="connsiteX1964" fmla="*/ 4465558 w 11856555"/>
              <a:gd name="connsiteY1964" fmla="*/ 3133652 h 4071735"/>
              <a:gd name="connsiteX1965" fmla="*/ 4388459 w 11856555"/>
              <a:gd name="connsiteY1965" fmla="*/ 3132827 h 4071735"/>
              <a:gd name="connsiteX1966" fmla="*/ 4219922 w 11856555"/>
              <a:gd name="connsiteY1966" fmla="*/ 3174489 h 4071735"/>
              <a:gd name="connsiteX1967" fmla="*/ 4186981 w 11856555"/>
              <a:gd name="connsiteY1967" fmla="*/ 3212157 h 4071735"/>
              <a:gd name="connsiteX1968" fmla="*/ 4160515 w 11856555"/>
              <a:gd name="connsiteY1968" fmla="*/ 3220996 h 4071735"/>
              <a:gd name="connsiteX1969" fmla="*/ 4133394 w 11856555"/>
              <a:gd name="connsiteY1969" fmla="*/ 3234545 h 4071735"/>
              <a:gd name="connsiteX1970" fmla="*/ 4125885 w 11856555"/>
              <a:gd name="connsiteY1970" fmla="*/ 3237269 h 4071735"/>
              <a:gd name="connsiteX1971" fmla="*/ 4045745 w 11856555"/>
              <a:gd name="connsiteY1971" fmla="*/ 3254267 h 4071735"/>
              <a:gd name="connsiteX1972" fmla="*/ 4064800 w 11856555"/>
              <a:gd name="connsiteY1972" fmla="*/ 3235046 h 4071735"/>
              <a:gd name="connsiteX1973" fmla="*/ 4039820 w 11856555"/>
              <a:gd name="connsiteY1973" fmla="*/ 3235446 h 4071735"/>
              <a:gd name="connsiteX1974" fmla="*/ 4036801 w 11856555"/>
              <a:gd name="connsiteY1974" fmla="*/ 3236814 h 4071735"/>
              <a:gd name="connsiteX1975" fmla="*/ 4037157 w 11856555"/>
              <a:gd name="connsiteY1975" fmla="*/ 3232085 h 4071735"/>
              <a:gd name="connsiteX1976" fmla="*/ 4170085 w 11856555"/>
              <a:gd name="connsiteY1976" fmla="*/ 3187697 h 4071735"/>
              <a:gd name="connsiteX1977" fmla="*/ 4154728 w 11856555"/>
              <a:gd name="connsiteY1977" fmla="*/ 3187835 h 4071735"/>
              <a:gd name="connsiteX1978" fmla="*/ 4105838 w 11856555"/>
              <a:gd name="connsiteY1978" fmla="*/ 3197809 h 4071735"/>
              <a:gd name="connsiteX1979" fmla="*/ 4110152 w 11856555"/>
              <a:gd name="connsiteY1979" fmla="*/ 3190484 h 4071735"/>
              <a:gd name="connsiteX1980" fmla="*/ 4105334 w 11856555"/>
              <a:gd name="connsiteY1980" fmla="*/ 3192008 h 4071735"/>
              <a:gd name="connsiteX1981" fmla="*/ 4099385 w 11856555"/>
              <a:gd name="connsiteY1981" fmla="*/ 3199124 h 4071735"/>
              <a:gd name="connsiteX1982" fmla="*/ 4096345 w 11856555"/>
              <a:gd name="connsiteY1982" fmla="*/ 3199745 h 4071735"/>
              <a:gd name="connsiteX1983" fmla="*/ 4005698 w 11856555"/>
              <a:gd name="connsiteY1983" fmla="*/ 3228630 h 4071735"/>
              <a:gd name="connsiteX1984" fmla="*/ 3888074 w 11856555"/>
              <a:gd name="connsiteY1984" fmla="*/ 3285840 h 4071735"/>
              <a:gd name="connsiteX1985" fmla="*/ 3609098 w 11856555"/>
              <a:gd name="connsiteY1985" fmla="*/ 3354507 h 4071735"/>
              <a:gd name="connsiteX1986" fmla="*/ 3041522 w 11856555"/>
              <a:gd name="connsiteY1986" fmla="*/ 3489778 h 4071735"/>
              <a:gd name="connsiteX1987" fmla="*/ 3060062 w 11856555"/>
              <a:gd name="connsiteY1987" fmla="*/ 3464762 h 4071735"/>
              <a:gd name="connsiteX1988" fmla="*/ 3026862 w 11856555"/>
              <a:gd name="connsiteY1988" fmla="*/ 3473562 h 4071735"/>
              <a:gd name="connsiteX1989" fmla="*/ 3044687 w 11856555"/>
              <a:gd name="connsiteY1989" fmla="*/ 3504099 h 4071735"/>
              <a:gd name="connsiteX1990" fmla="*/ 2978933 w 11856555"/>
              <a:gd name="connsiteY1990" fmla="*/ 3486593 h 4071735"/>
              <a:gd name="connsiteX1991" fmla="*/ 2086710 w 11856555"/>
              <a:gd name="connsiteY1991" fmla="*/ 3750092 h 4071735"/>
              <a:gd name="connsiteX1992" fmla="*/ 1753628 w 11856555"/>
              <a:gd name="connsiteY1992" fmla="*/ 3849864 h 4071735"/>
              <a:gd name="connsiteX1993" fmla="*/ 1666423 w 11856555"/>
              <a:gd name="connsiteY1993" fmla="*/ 3876074 h 4071735"/>
              <a:gd name="connsiteX1994" fmla="*/ 1667115 w 11856555"/>
              <a:gd name="connsiteY1994" fmla="*/ 3872176 h 4071735"/>
              <a:gd name="connsiteX1995" fmla="*/ 1659889 w 11856555"/>
              <a:gd name="connsiteY1995" fmla="*/ 3873185 h 4071735"/>
              <a:gd name="connsiteX1996" fmla="*/ 1657601 w 11856555"/>
              <a:gd name="connsiteY1996" fmla="*/ 3878726 h 4071735"/>
              <a:gd name="connsiteX1997" fmla="*/ 1587879 w 11856555"/>
              <a:gd name="connsiteY1997" fmla="*/ 3899680 h 4071735"/>
              <a:gd name="connsiteX1998" fmla="*/ 1430380 w 11856555"/>
              <a:gd name="connsiteY1998" fmla="*/ 3948761 h 4071735"/>
              <a:gd name="connsiteX1999" fmla="*/ 864745 w 11856555"/>
              <a:gd name="connsiteY1999" fmla="*/ 4063416 h 4071735"/>
              <a:gd name="connsiteX2000" fmla="*/ 1031654 w 11856555"/>
              <a:gd name="connsiteY2000" fmla="*/ 3987211 h 4071735"/>
              <a:gd name="connsiteX2001" fmla="*/ 1367259 w 11856555"/>
              <a:gd name="connsiteY2001" fmla="*/ 3830995 h 4071735"/>
              <a:gd name="connsiteX2002" fmla="*/ 1436366 w 11856555"/>
              <a:gd name="connsiteY2002" fmla="*/ 3808964 h 4071735"/>
              <a:gd name="connsiteX2003" fmla="*/ 1454907 w 11856555"/>
              <a:gd name="connsiteY2003" fmla="*/ 3811361 h 4071735"/>
              <a:gd name="connsiteX2004" fmla="*/ 1564421 w 11856555"/>
              <a:gd name="connsiteY2004" fmla="*/ 3799325 h 4071735"/>
              <a:gd name="connsiteX2005" fmla="*/ 1688621 w 11856555"/>
              <a:gd name="connsiteY2005" fmla="*/ 3767460 h 4071735"/>
              <a:gd name="connsiteX2006" fmla="*/ 1679456 w 11856555"/>
              <a:gd name="connsiteY2006" fmla="*/ 3777620 h 4071735"/>
              <a:gd name="connsiteX2007" fmla="*/ 1699252 w 11856555"/>
              <a:gd name="connsiteY2007" fmla="*/ 3767689 h 4071735"/>
              <a:gd name="connsiteX2008" fmla="*/ 1711881 w 11856555"/>
              <a:gd name="connsiteY2008" fmla="*/ 3760678 h 4071735"/>
              <a:gd name="connsiteX2009" fmla="*/ 1851072 w 11856555"/>
              <a:gd name="connsiteY2009" fmla="*/ 3714505 h 4071735"/>
              <a:gd name="connsiteX2010" fmla="*/ 1887885 w 11856555"/>
              <a:gd name="connsiteY2010" fmla="*/ 3700694 h 4071735"/>
              <a:gd name="connsiteX2011" fmla="*/ 1913737 w 11856555"/>
              <a:gd name="connsiteY2011" fmla="*/ 3692356 h 4071735"/>
              <a:gd name="connsiteX2012" fmla="*/ 1940866 w 11856555"/>
              <a:gd name="connsiteY2012" fmla="*/ 3680816 h 4071735"/>
              <a:gd name="connsiteX2013" fmla="*/ 2000796 w 11856555"/>
              <a:gd name="connsiteY2013" fmla="*/ 3658332 h 4071735"/>
              <a:gd name="connsiteX2014" fmla="*/ 2244492 w 11856555"/>
              <a:gd name="connsiteY2014" fmla="*/ 3559985 h 4071735"/>
              <a:gd name="connsiteX2015" fmla="*/ 2260535 w 11856555"/>
              <a:gd name="connsiteY2015" fmla="*/ 3553615 h 4071735"/>
              <a:gd name="connsiteX2016" fmla="*/ 2303165 w 11856555"/>
              <a:gd name="connsiteY2016" fmla="*/ 3548335 h 4071735"/>
              <a:gd name="connsiteX2017" fmla="*/ 2340372 w 11856555"/>
              <a:gd name="connsiteY2017" fmla="*/ 3566861 h 4071735"/>
              <a:gd name="connsiteX2018" fmla="*/ 2521965 w 11856555"/>
              <a:gd name="connsiteY2018" fmla="*/ 3488099 h 4071735"/>
              <a:gd name="connsiteX2019" fmla="*/ 2587995 w 11856555"/>
              <a:gd name="connsiteY2019" fmla="*/ 3455665 h 4071735"/>
              <a:gd name="connsiteX2020" fmla="*/ 2612587 w 11856555"/>
              <a:gd name="connsiteY2020" fmla="*/ 3448783 h 4071735"/>
              <a:gd name="connsiteX2021" fmla="*/ 2871782 w 11856555"/>
              <a:gd name="connsiteY2021" fmla="*/ 3364721 h 4071735"/>
              <a:gd name="connsiteX2022" fmla="*/ 2610559 w 11856555"/>
              <a:gd name="connsiteY2022" fmla="*/ 3444582 h 4071735"/>
              <a:gd name="connsiteX2023" fmla="*/ 2587995 w 11856555"/>
              <a:gd name="connsiteY2023" fmla="*/ 3455665 h 4071735"/>
              <a:gd name="connsiteX2024" fmla="*/ 2452096 w 11856555"/>
              <a:gd name="connsiteY2024" fmla="*/ 3493704 h 4071735"/>
              <a:gd name="connsiteX2025" fmla="*/ 2311051 w 11856555"/>
              <a:gd name="connsiteY2025" fmla="*/ 3534428 h 4071735"/>
              <a:gd name="connsiteX2026" fmla="*/ 2283807 w 11856555"/>
              <a:gd name="connsiteY2026" fmla="*/ 3544374 h 4071735"/>
              <a:gd name="connsiteX2027" fmla="*/ 2260535 w 11856555"/>
              <a:gd name="connsiteY2027" fmla="*/ 3553615 h 4071735"/>
              <a:gd name="connsiteX2028" fmla="*/ 2243242 w 11856555"/>
              <a:gd name="connsiteY2028" fmla="*/ 3555757 h 4071735"/>
              <a:gd name="connsiteX2029" fmla="*/ 1995854 w 11856555"/>
              <a:gd name="connsiteY2029" fmla="*/ 3657425 h 4071735"/>
              <a:gd name="connsiteX2030" fmla="*/ 1940866 w 11856555"/>
              <a:gd name="connsiteY2030" fmla="*/ 3680816 h 4071735"/>
              <a:gd name="connsiteX2031" fmla="*/ 1887885 w 11856555"/>
              <a:gd name="connsiteY2031" fmla="*/ 3700694 h 4071735"/>
              <a:gd name="connsiteX2032" fmla="*/ 1843230 w 11856555"/>
              <a:gd name="connsiteY2032" fmla="*/ 3715095 h 4071735"/>
              <a:gd name="connsiteX2033" fmla="*/ 1791204 w 11856555"/>
              <a:gd name="connsiteY2033" fmla="*/ 3718014 h 4071735"/>
              <a:gd name="connsiteX2034" fmla="*/ 1737342 w 11856555"/>
              <a:gd name="connsiteY2034" fmla="*/ 3746543 h 4071735"/>
              <a:gd name="connsiteX2035" fmla="*/ 1711881 w 11856555"/>
              <a:gd name="connsiteY2035" fmla="*/ 3760678 h 4071735"/>
              <a:gd name="connsiteX2036" fmla="*/ 1701047 w 11856555"/>
              <a:gd name="connsiteY2036" fmla="*/ 3764272 h 4071735"/>
              <a:gd name="connsiteX2037" fmla="*/ 1688621 w 11856555"/>
              <a:gd name="connsiteY2037" fmla="*/ 3767460 h 4071735"/>
              <a:gd name="connsiteX2038" fmla="*/ 1705231 w 11856555"/>
              <a:gd name="connsiteY2038" fmla="*/ 3749040 h 4071735"/>
              <a:gd name="connsiteX2039" fmla="*/ 1481646 w 11856555"/>
              <a:gd name="connsiteY2039" fmla="*/ 3794529 h 4071735"/>
              <a:gd name="connsiteX2040" fmla="*/ 1436366 w 11856555"/>
              <a:gd name="connsiteY2040" fmla="*/ 3808964 h 4071735"/>
              <a:gd name="connsiteX2041" fmla="*/ 1414599 w 11856555"/>
              <a:gd name="connsiteY2041" fmla="*/ 3806150 h 4071735"/>
              <a:gd name="connsiteX2042" fmla="*/ 1400988 w 11856555"/>
              <a:gd name="connsiteY2042" fmla="*/ 3799400 h 4071735"/>
              <a:gd name="connsiteX2043" fmla="*/ 1411439 w 11856555"/>
              <a:gd name="connsiteY2043" fmla="*/ 3797122 h 4071735"/>
              <a:gd name="connsiteX2044" fmla="*/ 1417795 w 11856555"/>
              <a:gd name="connsiteY2044" fmla="*/ 3786334 h 4071735"/>
              <a:gd name="connsiteX2045" fmla="*/ 1405748 w 11856555"/>
              <a:gd name="connsiteY2045" fmla="*/ 3788869 h 4071735"/>
              <a:gd name="connsiteX2046" fmla="*/ 1400362 w 11856555"/>
              <a:gd name="connsiteY2046" fmla="*/ 3799089 h 4071735"/>
              <a:gd name="connsiteX2047" fmla="*/ 1386209 w 11856555"/>
              <a:gd name="connsiteY2047" fmla="*/ 3792070 h 4071735"/>
              <a:gd name="connsiteX2048" fmla="*/ 1365189 w 11856555"/>
              <a:gd name="connsiteY2048" fmla="*/ 3809425 h 4071735"/>
              <a:gd name="connsiteX2049" fmla="*/ 1347352 w 11856555"/>
              <a:gd name="connsiteY2049" fmla="*/ 3818970 h 4071735"/>
              <a:gd name="connsiteX2050" fmla="*/ 1347066 w 11856555"/>
              <a:gd name="connsiteY2050" fmla="*/ 3818923 h 4071735"/>
              <a:gd name="connsiteX2051" fmla="*/ 1345038 w 11856555"/>
              <a:gd name="connsiteY2051" fmla="*/ 3820209 h 4071735"/>
              <a:gd name="connsiteX2052" fmla="*/ 1327260 w 11856555"/>
              <a:gd name="connsiteY2052" fmla="*/ 3829721 h 4071735"/>
              <a:gd name="connsiteX2053" fmla="*/ 1061371 w 11856555"/>
              <a:gd name="connsiteY2053" fmla="*/ 3896949 h 4071735"/>
              <a:gd name="connsiteX2054" fmla="*/ 1092572 w 11856555"/>
              <a:gd name="connsiteY2054" fmla="*/ 3844520 h 4071735"/>
              <a:gd name="connsiteX2055" fmla="*/ 973590 w 11856555"/>
              <a:gd name="connsiteY2055" fmla="*/ 3907691 h 4071735"/>
              <a:gd name="connsiteX2056" fmla="*/ 899654 w 11856555"/>
              <a:gd name="connsiteY2056" fmla="*/ 3912227 h 4071735"/>
              <a:gd name="connsiteX2057" fmla="*/ 888753 w 11856555"/>
              <a:gd name="connsiteY2057" fmla="*/ 3919522 h 4071735"/>
              <a:gd name="connsiteX2058" fmla="*/ 886053 w 11856555"/>
              <a:gd name="connsiteY2058" fmla="*/ 3905271 h 4071735"/>
              <a:gd name="connsiteX2059" fmla="*/ 887814 w 11856555"/>
              <a:gd name="connsiteY2059" fmla="*/ 3877369 h 4071735"/>
              <a:gd name="connsiteX2060" fmla="*/ 865078 w 11856555"/>
              <a:gd name="connsiteY2060" fmla="*/ 3876475 h 4071735"/>
              <a:gd name="connsiteX2061" fmla="*/ 872505 w 11856555"/>
              <a:gd name="connsiteY2061" fmla="*/ 3896256 h 4071735"/>
              <a:gd name="connsiteX2062" fmla="*/ 845181 w 11856555"/>
              <a:gd name="connsiteY2062" fmla="*/ 3907453 h 4071735"/>
              <a:gd name="connsiteX2063" fmla="*/ 810624 w 11856555"/>
              <a:gd name="connsiteY2063" fmla="*/ 3922213 h 4071735"/>
              <a:gd name="connsiteX2064" fmla="*/ 723876 w 11856555"/>
              <a:gd name="connsiteY2064" fmla="*/ 3944546 h 4071735"/>
              <a:gd name="connsiteX2065" fmla="*/ 627246 w 11856555"/>
              <a:gd name="connsiteY2065" fmla="*/ 3961919 h 4071735"/>
              <a:gd name="connsiteX2066" fmla="*/ 599950 w 11856555"/>
              <a:gd name="connsiteY2066" fmla="*/ 3933687 h 4071735"/>
              <a:gd name="connsiteX2067" fmla="*/ 596445 w 11856555"/>
              <a:gd name="connsiteY2067" fmla="*/ 3938116 h 4071735"/>
              <a:gd name="connsiteX2068" fmla="*/ 593665 w 11856555"/>
              <a:gd name="connsiteY2068" fmla="*/ 3934658 h 4071735"/>
              <a:gd name="connsiteX2069" fmla="*/ 593920 w 11856555"/>
              <a:gd name="connsiteY2069" fmla="*/ 3937509 h 4071735"/>
              <a:gd name="connsiteX2070" fmla="*/ 595293 w 11856555"/>
              <a:gd name="connsiteY2070" fmla="*/ 3939573 h 4071735"/>
              <a:gd name="connsiteX2071" fmla="*/ 576642 w 11856555"/>
              <a:gd name="connsiteY2071" fmla="*/ 3963143 h 4071735"/>
              <a:gd name="connsiteX2072" fmla="*/ 560809 w 11856555"/>
              <a:gd name="connsiteY2072" fmla="*/ 3976978 h 4071735"/>
              <a:gd name="connsiteX2073" fmla="*/ 554186 w 11856555"/>
              <a:gd name="connsiteY2073" fmla="*/ 3960398 h 4071735"/>
              <a:gd name="connsiteX2074" fmla="*/ 546561 w 11856555"/>
              <a:gd name="connsiteY2074" fmla="*/ 3949311 h 4071735"/>
              <a:gd name="connsiteX2075" fmla="*/ 562208 w 11856555"/>
              <a:gd name="connsiteY2075" fmla="*/ 3935543 h 4071735"/>
              <a:gd name="connsiteX2076" fmla="*/ 537983 w 11856555"/>
              <a:gd name="connsiteY2076" fmla="*/ 3934828 h 4071735"/>
              <a:gd name="connsiteX2077" fmla="*/ 642104 w 11856555"/>
              <a:gd name="connsiteY2077" fmla="*/ 3916787 h 4071735"/>
              <a:gd name="connsiteX2078" fmla="*/ 877420 w 11856555"/>
              <a:gd name="connsiteY2078" fmla="*/ 3781919 h 4071735"/>
              <a:gd name="connsiteX2079" fmla="*/ 865406 w 11856555"/>
              <a:gd name="connsiteY2079" fmla="*/ 3774229 h 4071735"/>
              <a:gd name="connsiteX2080" fmla="*/ 873608 w 11856555"/>
              <a:gd name="connsiteY2080" fmla="*/ 3802702 h 4071735"/>
              <a:gd name="connsiteX2081" fmla="*/ 1176876 w 11856555"/>
              <a:gd name="connsiteY2081" fmla="*/ 3667620 h 4071735"/>
              <a:gd name="connsiteX2082" fmla="*/ 831305 w 11856555"/>
              <a:gd name="connsiteY2082" fmla="*/ 3730539 h 4071735"/>
              <a:gd name="connsiteX2083" fmla="*/ 952588 w 11856555"/>
              <a:gd name="connsiteY2083" fmla="*/ 3658766 h 4071735"/>
              <a:gd name="connsiteX2084" fmla="*/ 1019087 w 11856555"/>
              <a:gd name="connsiteY2084" fmla="*/ 3626629 h 4071735"/>
              <a:gd name="connsiteX2085" fmla="*/ 1030578 w 11856555"/>
              <a:gd name="connsiteY2085" fmla="*/ 3625533 h 4071735"/>
              <a:gd name="connsiteX2086" fmla="*/ 1093879 w 11856555"/>
              <a:gd name="connsiteY2086" fmla="*/ 3604924 h 4071735"/>
              <a:gd name="connsiteX2087" fmla="*/ 1040691 w 11856555"/>
              <a:gd name="connsiteY2087" fmla="*/ 3616189 h 4071735"/>
              <a:gd name="connsiteX2088" fmla="*/ 1019087 w 11856555"/>
              <a:gd name="connsiteY2088" fmla="*/ 3626629 h 4071735"/>
              <a:gd name="connsiteX2089" fmla="*/ 994597 w 11856555"/>
              <a:gd name="connsiteY2089" fmla="*/ 3628967 h 4071735"/>
              <a:gd name="connsiteX2090" fmla="*/ 982780 w 11856555"/>
              <a:gd name="connsiteY2090" fmla="*/ 3629426 h 4071735"/>
              <a:gd name="connsiteX2091" fmla="*/ 995440 w 11856555"/>
              <a:gd name="connsiteY2091" fmla="*/ 3602014 h 4071735"/>
              <a:gd name="connsiteX2092" fmla="*/ 1009021 w 11856555"/>
              <a:gd name="connsiteY2092" fmla="*/ 3611391 h 4071735"/>
              <a:gd name="connsiteX2093" fmla="*/ 1011448 w 11856555"/>
              <a:gd name="connsiteY2093" fmla="*/ 3607165 h 4071735"/>
              <a:gd name="connsiteX2094" fmla="*/ 1008746 w 11856555"/>
              <a:gd name="connsiteY2094" fmla="*/ 3624192 h 4071735"/>
              <a:gd name="connsiteX2095" fmla="*/ 1144327 w 11856555"/>
              <a:gd name="connsiteY2095" fmla="*/ 3556622 h 4071735"/>
              <a:gd name="connsiteX2096" fmla="*/ 1116422 w 11856555"/>
              <a:gd name="connsiteY2096" fmla="*/ 3582472 h 4071735"/>
              <a:gd name="connsiteX2097" fmla="*/ 1657520 w 11856555"/>
              <a:gd name="connsiteY2097" fmla="*/ 3361946 h 4071735"/>
              <a:gd name="connsiteX2098" fmla="*/ 1624901 w 11856555"/>
              <a:gd name="connsiteY2098" fmla="*/ 3356091 h 4071735"/>
              <a:gd name="connsiteX2099" fmla="*/ 1619024 w 11856555"/>
              <a:gd name="connsiteY2099" fmla="*/ 3353694 h 4071735"/>
              <a:gd name="connsiteX2100" fmla="*/ 1679159 w 11856555"/>
              <a:gd name="connsiteY2100" fmla="*/ 3371699 h 4071735"/>
              <a:gd name="connsiteX2101" fmla="*/ 1838842 w 11856555"/>
              <a:gd name="connsiteY2101" fmla="*/ 3296505 h 4071735"/>
              <a:gd name="connsiteX2102" fmla="*/ 1904328 w 11856555"/>
              <a:gd name="connsiteY2102" fmla="*/ 3263791 h 4071735"/>
              <a:gd name="connsiteX2103" fmla="*/ 1946319 w 11856555"/>
              <a:gd name="connsiteY2103" fmla="*/ 3248551 h 4071735"/>
              <a:gd name="connsiteX2104" fmla="*/ 1979196 w 11856555"/>
              <a:gd name="connsiteY2104" fmla="*/ 3242746 h 4071735"/>
              <a:gd name="connsiteX2105" fmla="*/ 1931452 w 11856555"/>
              <a:gd name="connsiteY2105" fmla="*/ 3250240 h 4071735"/>
              <a:gd name="connsiteX2106" fmla="*/ 1904328 w 11856555"/>
              <a:gd name="connsiteY2106" fmla="*/ 3263791 h 4071735"/>
              <a:gd name="connsiteX2107" fmla="*/ 1896821 w 11856555"/>
              <a:gd name="connsiteY2107" fmla="*/ 3266514 h 4071735"/>
              <a:gd name="connsiteX2108" fmla="*/ 1816679 w 11856555"/>
              <a:gd name="connsiteY2108" fmla="*/ 3283512 h 4071735"/>
              <a:gd name="connsiteX2109" fmla="*/ 1835735 w 11856555"/>
              <a:gd name="connsiteY2109" fmla="*/ 3264291 h 4071735"/>
              <a:gd name="connsiteX2110" fmla="*/ 1810756 w 11856555"/>
              <a:gd name="connsiteY2110" fmla="*/ 3264693 h 4071735"/>
              <a:gd name="connsiteX2111" fmla="*/ 1807736 w 11856555"/>
              <a:gd name="connsiteY2111" fmla="*/ 3266059 h 4071735"/>
              <a:gd name="connsiteX2112" fmla="*/ 1808091 w 11856555"/>
              <a:gd name="connsiteY2112" fmla="*/ 3261330 h 4071735"/>
              <a:gd name="connsiteX2113" fmla="*/ 1941023 w 11856555"/>
              <a:gd name="connsiteY2113" fmla="*/ 3216943 h 4071735"/>
              <a:gd name="connsiteX2114" fmla="*/ 1925666 w 11856555"/>
              <a:gd name="connsiteY2114" fmla="*/ 3217079 h 4071735"/>
              <a:gd name="connsiteX2115" fmla="*/ 1875366 w 11856555"/>
              <a:gd name="connsiteY2115" fmla="*/ 3227340 h 4071735"/>
              <a:gd name="connsiteX2116" fmla="*/ 1879553 w 11856555"/>
              <a:gd name="connsiteY2116" fmla="*/ 3221690 h 4071735"/>
              <a:gd name="connsiteX2117" fmla="*/ 1868623 w 11856555"/>
              <a:gd name="connsiteY2117" fmla="*/ 3228140 h 4071735"/>
              <a:gd name="connsiteX2118" fmla="*/ 1868550 w 11856555"/>
              <a:gd name="connsiteY2118" fmla="*/ 3228732 h 4071735"/>
              <a:gd name="connsiteX2119" fmla="*/ 1867283 w 11856555"/>
              <a:gd name="connsiteY2119" fmla="*/ 3228989 h 4071735"/>
              <a:gd name="connsiteX2120" fmla="*/ 1776634 w 11856555"/>
              <a:gd name="connsiteY2120" fmla="*/ 3257875 h 4071735"/>
              <a:gd name="connsiteX2121" fmla="*/ 1659010 w 11856555"/>
              <a:gd name="connsiteY2121" fmla="*/ 3315085 h 4071735"/>
              <a:gd name="connsiteX2122" fmla="*/ 1380032 w 11856555"/>
              <a:gd name="connsiteY2122" fmla="*/ 3383752 h 4071735"/>
              <a:gd name="connsiteX2123" fmla="*/ 812457 w 11856555"/>
              <a:gd name="connsiteY2123" fmla="*/ 3519023 h 4071735"/>
              <a:gd name="connsiteX2124" fmla="*/ 830996 w 11856555"/>
              <a:gd name="connsiteY2124" fmla="*/ 3494007 h 4071735"/>
              <a:gd name="connsiteX2125" fmla="*/ 797794 w 11856555"/>
              <a:gd name="connsiteY2125" fmla="*/ 3502807 h 4071735"/>
              <a:gd name="connsiteX2126" fmla="*/ 815620 w 11856555"/>
              <a:gd name="connsiteY2126" fmla="*/ 3533344 h 4071735"/>
              <a:gd name="connsiteX2127" fmla="*/ 749868 w 11856555"/>
              <a:gd name="connsiteY2127" fmla="*/ 3515839 h 4071735"/>
              <a:gd name="connsiteX2128" fmla="*/ 644453 w 11856555"/>
              <a:gd name="connsiteY2128" fmla="*/ 3519392 h 4071735"/>
              <a:gd name="connsiteX2129" fmla="*/ 791943 w 11856555"/>
              <a:gd name="connsiteY2129" fmla="*/ 3431503 h 4071735"/>
              <a:gd name="connsiteX2130" fmla="*/ 829851 w 11856555"/>
              <a:gd name="connsiteY2130" fmla="*/ 3421154 h 4071735"/>
              <a:gd name="connsiteX2131" fmla="*/ 830492 w 11856555"/>
              <a:gd name="connsiteY2131" fmla="*/ 3423459 h 4071735"/>
              <a:gd name="connsiteX2132" fmla="*/ 890295 w 11856555"/>
              <a:gd name="connsiteY2132" fmla="*/ 3439074 h 4071735"/>
              <a:gd name="connsiteX2133" fmla="*/ 874858 w 11856555"/>
              <a:gd name="connsiteY2133" fmla="*/ 3414166 h 4071735"/>
              <a:gd name="connsiteX2134" fmla="*/ 804978 w 11856555"/>
              <a:gd name="connsiteY2134" fmla="*/ 3421854 h 4071735"/>
              <a:gd name="connsiteX2135" fmla="*/ 757749 w 11856555"/>
              <a:gd name="connsiteY2135" fmla="*/ 3440366 h 4071735"/>
              <a:gd name="connsiteX2136" fmla="*/ 760887 w 11856555"/>
              <a:gd name="connsiteY2136" fmla="*/ 3434910 h 4071735"/>
              <a:gd name="connsiteX2137" fmla="*/ 758350 w 11856555"/>
              <a:gd name="connsiteY2137" fmla="*/ 3436231 h 4071735"/>
              <a:gd name="connsiteX2138" fmla="*/ 756613 w 11856555"/>
              <a:gd name="connsiteY2138" fmla="*/ 3440810 h 4071735"/>
              <a:gd name="connsiteX2139" fmla="*/ 752842 w 11856555"/>
              <a:gd name="connsiteY2139" fmla="*/ 3442289 h 4071735"/>
              <a:gd name="connsiteX2140" fmla="*/ 751861 w 11856555"/>
              <a:gd name="connsiteY2140" fmla="*/ 3442698 h 4071735"/>
              <a:gd name="connsiteX2141" fmla="*/ 746667 w 11856555"/>
              <a:gd name="connsiteY2141" fmla="*/ 3440193 h 4071735"/>
              <a:gd name="connsiteX2142" fmla="*/ 742838 w 11856555"/>
              <a:gd name="connsiteY2142" fmla="*/ 3441902 h 4071735"/>
              <a:gd name="connsiteX2143" fmla="*/ 746026 w 11856555"/>
              <a:gd name="connsiteY2143" fmla="*/ 3445130 h 4071735"/>
              <a:gd name="connsiteX2144" fmla="*/ 716348 w 11856555"/>
              <a:gd name="connsiteY2144" fmla="*/ 3457496 h 4071735"/>
              <a:gd name="connsiteX2145" fmla="*/ 596273 w 11856555"/>
              <a:gd name="connsiteY2145" fmla="*/ 3444832 h 4071735"/>
              <a:gd name="connsiteX2146" fmla="*/ 599502 w 11856555"/>
              <a:gd name="connsiteY2146" fmla="*/ 3438703 h 4071735"/>
              <a:gd name="connsiteX2147" fmla="*/ 644848 w 11856555"/>
              <a:gd name="connsiteY2147" fmla="*/ 3396696 h 4071735"/>
              <a:gd name="connsiteX2148" fmla="*/ 611714 w 11856555"/>
              <a:gd name="connsiteY2148" fmla="*/ 3395634 h 4071735"/>
              <a:gd name="connsiteX2149" fmla="*/ 598992 w 11856555"/>
              <a:gd name="connsiteY2149" fmla="*/ 3395703 h 4071735"/>
              <a:gd name="connsiteX2150" fmla="*/ 583939 w 11856555"/>
              <a:gd name="connsiteY2150" fmla="*/ 3380585 h 4071735"/>
              <a:gd name="connsiteX2151" fmla="*/ 561138 w 11856555"/>
              <a:gd name="connsiteY2151" fmla="*/ 3389553 h 4071735"/>
              <a:gd name="connsiteX2152" fmla="*/ 771784 w 11856555"/>
              <a:gd name="connsiteY2152" fmla="*/ 3189712 h 4071735"/>
              <a:gd name="connsiteX2153" fmla="*/ 725021 w 11856555"/>
              <a:gd name="connsiteY2153" fmla="*/ 3173436 h 4071735"/>
              <a:gd name="connsiteX2154" fmla="*/ 903624 w 11856555"/>
              <a:gd name="connsiteY2154" fmla="*/ 3037780 h 4071735"/>
              <a:gd name="connsiteX2155" fmla="*/ 1021249 w 11856555"/>
              <a:gd name="connsiteY2155" fmla="*/ 2980571 h 4071735"/>
              <a:gd name="connsiteX2156" fmla="*/ 977651 w 11856555"/>
              <a:gd name="connsiteY2156" fmla="*/ 2978615 h 4071735"/>
              <a:gd name="connsiteX2157" fmla="*/ 1097519 w 11856555"/>
              <a:gd name="connsiteY2157" fmla="*/ 2890951 h 4071735"/>
              <a:gd name="connsiteX2158" fmla="*/ 1125101 w 11856555"/>
              <a:gd name="connsiteY2158" fmla="*/ 2880195 h 4071735"/>
              <a:gd name="connsiteX2159" fmla="*/ 1282137 w 11856555"/>
              <a:gd name="connsiteY2159" fmla="*/ 2832532 h 4071735"/>
              <a:gd name="connsiteX2160" fmla="*/ 1408097 w 11856555"/>
              <a:gd name="connsiteY2160" fmla="*/ 2803497 h 4071735"/>
              <a:gd name="connsiteX2161" fmla="*/ 1550849 w 11856555"/>
              <a:gd name="connsiteY2161" fmla="*/ 2758149 h 4071735"/>
              <a:gd name="connsiteX2162" fmla="*/ 1538386 w 11856555"/>
              <a:gd name="connsiteY2162" fmla="*/ 2761953 h 4071735"/>
              <a:gd name="connsiteX2163" fmla="*/ 1513102 w 11856555"/>
              <a:gd name="connsiteY2163" fmla="*/ 2757431 h 4071735"/>
              <a:gd name="connsiteX2164" fmla="*/ 1513111 w 11856555"/>
              <a:gd name="connsiteY2164" fmla="*/ 2757427 h 4071735"/>
              <a:gd name="connsiteX2165" fmla="*/ 1925043 w 11856555"/>
              <a:gd name="connsiteY2165" fmla="*/ 2529132 h 4071735"/>
              <a:gd name="connsiteX2166" fmla="*/ 1783427 w 11856555"/>
              <a:gd name="connsiteY2166" fmla="*/ 2557768 h 4071735"/>
              <a:gd name="connsiteX2167" fmla="*/ 1777335 w 11856555"/>
              <a:gd name="connsiteY2167" fmla="*/ 2560218 h 4071735"/>
              <a:gd name="connsiteX2168" fmla="*/ 1792833 w 11856555"/>
              <a:gd name="connsiteY2168" fmla="*/ 2547120 h 4071735"/>
              <a:gd name="connsiteX2169" fmla="*/ 1821761 w 11856555"/>
              <a:gd name="connsiteY2169" fmla="*/ 2535414 h 4071735"/>
              <a:gd name="connsiteX2170" fmla="*/ 1805230 w 11856555"/>
              <a:gd name="connsiteY2170" fmla="*/ 2519976 h 4071735"/>
              <a:gd name="connsiteX2171" fmla="*/ 1809140 w 11856555"/>
              <a:gd name="connsiteY2171" fmla="*/ 2516468 h 4071735"/>
              <a:gd name="connsiteX2172" fmla="*/ 1807094 w 11856555"/>
              <a:gd name="connsiteY2172" fmla="*/ 2500581 h 4071735"/>
              <a:gd name="connsiteX2173" fmla="*/ 1794183 w 11856555"/>
              <a:gd name="connsiteY2173" fmla="*/ 2504800 h 4071735"/>
              <a:gd name="connsiteX2174" fmla="*/ 1798059 w 11856555"/>
              <a:gd name="connsiteY2174" fmla="*/ 2502481 h 4071735"/>
              <a:gd name="connsiteX2175" fmla="*/ 1788383 w 11856555"/>
              <a:gd name="connsiteY2175" fmla="*/ 2506696 h 4071735"/>
              <a:gd name="connsiteX2176" fmla="*/ 1788234 w 11856555"/>
              <a:gd name="connsiteY2176" fmla="*/ 2506744 h 4071735"/>
              <a:gd name="connsiteX2177" fmla="*/ 1782797 w 11856555"/>
              <a:gd name="connsiteY2177" fmla="*/ 2503214 h 4071735"/>
              <a:gd name="connsiteX2178" fmla="*/ 1811035 w 11856555"/>
              <a:gd name="connsiteY2178" fmla="*/ 2497811 h 4071735"/>
              <a:gd name="connsiteX2179" fmla="*/ 1827513 w 11856555"/>
              <a:gd name="connsiteY2179" fmla="*/ 2494016 h 4071735"/>
              <a:gd name="connsiteX2180" fmla="*/ 1762792 w 11856555"/>
              <a:gd name="connsiteY2180" fmla="*/ 2488101 h 4071735"/>
              <a:gd name="connsiteX2181" fmla="*/ 1848249 w 11856555"/>
              <a:gd name="connsiteY2181" fmla="*/ 2451280 h 4071735"/>
              <a:gd name="connsiteX2182" fmla="*/ 1329952 w 11856555"/>
              <a:gd name="connsiteY2182" fmla="*/ 2652252 h 4071735"/>
              <a:gd name="connsiteX2183" fmla="*/ 1285686 w 11856555"/>
              <a:gd name="connsiteY2183" fmla="*/ 2608374 h 4071735"/>
              <a:gd name="connsiteX2184" fmla="*/ 1269718 w 11856555"/>
              <a:gd name="connsiteY2184" fmla="*/ 2626553 h 4071735"/>
              <a:gd name="connsiteX2185" fmla="*/ 1268447 w 11856555"/>
              <a:gd name="connsiteY2185" fmla="*/ 2624147 h 4071735"/>
              <a:gd name="connsiteX2186" fmla="*/ 1256772 w 11856555"/>
              <a:gd name="connsiteY2186" fmla="*/ 2614967 h 4071735"/>
              <a:gd name="connsiteX2187" fmla="*/ 957385 w 11856555"/>
              <a:gd name="connsiteY2187" fmla="*/ 2708817 h 4071735"/>
              <a:gd name="connsiteX2188" fmla="*/ 343754 w 11856555"/>
              <a:gd name="connsiteY2188" fmla="*/ 2856953 h 4071735"/>
              <a:gd name="connsiteX2189" fmla="*/ 524616 w 11856555"/>
              <a:gd name="connsiteY2189" fmla="*/ 2767824 h 4071735"/>
              <a:gd name="connsiteX2190" fmla="*/ 1010420 w 11856555"/>
              <a:gd name="connsiteY2190" fmla="*/ 2604793 h 4071735"/>
              <a:gd name="connsiteX2191" fmla="*/ 1210920 w 11856555"/>
              <a:gd name="connsiteY2191" fmla="*/ 2481789 h 4071735"/>
              <a:gd name="connsiteX2192" fmla="*/ 922579 w 11856555"/>
              <a:gd name="connsiteY2192" fmla="*/ 2551291 h 4071735"/>
              <a:gd name="connsiteX2193" fmla="*/ 569061 w 11856555"/>
              <a:gd name="connsiteY2193" fmla="*/ 2673328 h 4071735"/>
              <a:gd name="connsiteX2194" fmla="*/ 603751 w 11856555"/>
              <a:gd name="connsiteY2194" fmla="*/ 2617669 h 4071735"/>
              <a:gd name="connsiteX2195" fmla="*/ 476176 w 11856555"/>
              <a:gd name="connsiteY2195" fmla="*/ 2690367 h 4071735"/>
              <a:gd name="connsiteX2196" fmla="*/ 412680 w 11856555"/>
              <a:gd name="connsiteY2196" fmla="*/ 2719389 h 4071735"/>
              <a:gd name="connsiteX2197" fmla="*/ 380411 w 11856555"/>
              <a:gd name="connsiteY2197" fmla="*/ 2670106 h 4071735"/>
              <a:gd name="connsiteX2198" fmla="*/ 381436 w 11856555"/>
              <a:gd name="connsiteY2198" fmla="*/ 2667019 h 4071735"/>
              <a:gd name="connsiteX2199" fmla="*/ 382286 w 11856555"/>
              <a:gd name="connsiteY2199" fmla="*/ 2666973 h 4071735"/>
              <a:gd name="connsiteX2200" fmla="*/ 390401 w 11856555"/>
              <a:gd name="connsiteY2200" fmla="*/ 2660043 h 4071735"/>
              <a:gd name="connsiteX2201" fmla="*/ 372184 w 11856555"/>
              <a:gd name="connsiteY2201" fmla="*/ 2667509 h 4071735"/>
              <a:gd name="connsiteX2202" fmla="*/ 381237 w 11856555"/>
              <a:gd name="connsiteY2202" fmla="*/ 2667028 h 4071735"/>
              <a:gd name="connsiteX2203" fmla="*/ 367188 w 11856555"/>
              <a:gd name="connsiteY2203" fmla="*/ 2682921 h 4071735"/>
              <a:gd name="connsiteX2204" fmla="*/ 356941 w 11856555"/>
              <a:gd name="connsiteY2204" fmla="*/ 2665946 h 4071735"/>
              <a:gd name="connsiteX2205" fmla="*/ 366241 w 11856555"/>
              <a:gd name="connsiteY2205" fmla="*/ 2685561 h 4071735"/>
              <a:gd name="connsiteX2206" fmla="*/ 335173 w 11856555"/>
              <a:gd name="connsiteY2206" fmla="*/ 2697091 h 4071735"/>
              <a:gd name="connsiteX2207" fmla="*/ 298999 w 11856555"/>
              <a:gd name="connsiteY2207" fmla="*/ 2714917 h 4071735"/>
              <a:gd name="connsiteX2208" fmla="*/ 205276 w 11856555"/>
              <a:gd name="connsiteY2208" fmla="*/ 2743711 h 4071735"/>
              <a:gd name="connsiteX2209" fmla="*/ 101927 w 11856555"/>
              <a:gd name="connsiteY2209" fmla="*/ 2770445 h 4071735"/>
              <a:gd name="connsiteX2210" fmla="*/ 46829 w 11856555"/>
              <a:gd name="connsiteY2210" fmla="*/ 2777818 h 4071735"/>
              <a:gd name="connsiteX2211" fmla="*/ 29569 w 11856555"/>
              <a:gd name="connsiteY2211" fmla="*/ 2793661 h 4071735"/>
              <a:gd name="connsiteX2212" fmla="*/ 20920 w 11856555"/>
              <a:gd name="connsiteY2212" fmla="*/ 2775107 h 4071735"/>
              <a:gd name="connsiteX2213" fmla="*/ 13714 w 11856555"/>
              <a:gd name="connsiteY2213" fmla="*/ 2766189 h 4071735"/>
              <a:gd name="connsiteX2214" fmla="*/ 21177 w 11856555"/>
              <a:gd name="connsiteY2214" fmla="*/ 2759461 h 4071735"/>
              <a:gd name="connsiteX2215" fmla="*/ 4072 w 11856555"/>
              <a:gd name="connsiteY2215" fmla="*/ 2752880 h 4071735"/>
              <a:gd name="connsiteX2216" fmla="*/ 116527 w 11856555"/>
              <a:gd name="connsiteY2216" fmla="*/ 2722414 h 4071735"/>
              <a:gd name="connsiteX2217" fmla="*/ 370641 w 11856555"/>
              <a:gd name="connsiteY2217" fmla="*/ 2565429 h 4071735"/>
              <a:gd name="connsiteX2218" fmla="*/ 356755 w 11856555"/>
              <a:gd name="connsiteY2218" fmla="*/ 2557905 h 4071735"/>
              <a:gd name="connsiteX2219" fmla="*/ 364955 w 11856555"/>
              <a:gd name="connsiteY2219" fmla="*/ 2586378 h 4071735"/>
              <a:gd name="connsiteX2220" fmla="*/ 567665 w 11856555"/>
              <a:gd name="connsiteY2220" fmla="*/ 2525239 h 4071735"/>
              <a:gd name="connsiteX2221" fmla="*/ 629367 w 11856555"/>
              <a:gd name="connsiteY2221" fmla="*/ 2485112 h 4071735"/>
              <a:gd name="connsiteX2222" fmla="*/ 629692 w 11856555"/>
              <a:gd name="connsiteY2222" fmla="*/ 2485030 h 4071735"/>
              <a:gd name="connsiteX2223" fmla="*/ 640574 w 11856555"/>
              <a:gd name="connsiteY2223" fmla="*/ 2480044 h 4071735"/>
              <a:gd name="connsiteX2224" fmla="*/ 638477 w 11856555"/>
              <a:gd name="connsiteY2224" fmla="*/ 2479188 h 4071735"/>
              <a:gd name="connsiteX2225" fmla="*/ 648976 w 11856555"/>
              <a:gd name="connsiteY2225" fmla="*/ 2472360 h 4071735"/>
              <a:gd name="connsiteX2226" fmla="*/ 696643 w 11856555"/>
              <a:gd name="connsiteY2226" fmla="*/ 2431242 h 4071735"/>
              <a:gd name="connsiteX2227" fmla="*/ 318906 w 11856555"/>
              <a:gd name="connsiteY2227" fmla="*/ 2514550 h 4071735"/>
              <a:gd name="connsiteX2228" fmla="*/ 451630 w 11856555"/>
              <a:gd name="connsiteY2228" fmla="*/ 2430805 h 4071735"/>
              <a:gd name="connsiteX2229" fmla="*/ 518679 w 11856555"/>
              <a:gd name="connsiteY2229" fmla="*/ 2396603 h 4071735"/>
              <a:gd name="connsiteX2230" fmla="*/ 534310 w 11856555"/>
              <a:gd name="connsiteY2230" fmla="*/ 2394598 h 4071735"/>
              <a:gd name="connsiteX2231" fmla="*/ 579855 w 11856555"/>
              <a:gd name="connsiteY2231" fmla="*/ 2384608 h 4071735"/>
              <a:gd name="connsiteX2232" fmla="*/ 601260 w 11856555"/>
              <a:gd name="connsiteY2232" fmla="*/ 2372077 h 4071735"/>
              <a:gd name="connsiteX2233" fmla="*/ 599010 w 11856555"/>
              <a:gd name="connsiteY2233" fmla="*/ 2378885 h 4071735"/>
              <a:gd name="connsiteX2234" fmla="*/ 606606 w 11856555"/>
              <a:gd name="connsiteY2234" fmla="*/ 2395457 h 4071735"/>
              <a:gd name="connsiteX2235" fmla="*/ 633300 w 11856555"/>
              <a:gd name="connsiteY2235" fmla="*/ 2388150 h 4071735"/>
              <a:gd name="connsiteX2236" fmla="*/ 622717 w 11856555"/>
              <a:gd name="connsiteY2236" fmla="*/ 2376354 h 4071735"/>
              <a:gd name="connsiteX2237" fmla="*/ 634460 w 11856555"/>
              <a:gd name="connsiteY2237" fmla="*/ 2374677 h 4071735"/>
              <a:gd name="connsiteX2238" fmla="*/ 687733 w 11856555"/>
              <a:gd name="connsiteY2238" fmla="*/ 2373625 h 4071735"/>
              <a:gd name="connsiteX2239" fmla="*/ 628506 w 11856555"/>
              <a:gd name="connsiteY2239" fmla="*/ 2368561 h 4071735"/>
              <a:gd name="connsiteX2240" fmla="*/ 621659 w 11856555"/>
              <a:gd name="connsiteY2240" fmla="*/ 2375174 h 4071735"/>
              <a:gd name="connsiteX2241" fmla="*/ 621019 w 11856555"/>
              <a:gd name="connsiteY2241" fmla="*/ 2374460 h 4071735"/>
              <a:gd name="connsiteX2242" fmla="*/ 602400 w 11856555"/>
              <a:gd name="connsiteY2242" fmla="*/ 2371410 h 4071735"/>
              <a:gd name="connsiteX2243" fmla="*/ 606153 w 11856555"/>
              <a:gd name="connsiteY2243" fmla="*/ 2369213 h 4071735"/>
              <a:gd name="connsiteX2244" fmla="*/ 547120 w 11856555"/>
              <a:gd name="connsiteY2244" fmla="*/ 2382094 h 4071735"/>
              <a:gd name="connsiteX2245" fmla="*/ 518679 w 11856555"/>
              <a:gd name="connsiteY2245" fmla="*/ 2396603 h 4071735"/>
              <a:gd name="connsiteX2246" fmla="*/ 494701 w 11856555"/>
              <a:gd name="connsiteY2246" fmla="*/ 2399678 h 4071735"/>
              <a:gd name="connsiteX2247" fmla="*/ 486206 w 11856555"/>
              <a:gd name="connsiteY2247" fmla="*/ 2400344 h 4071735"/>
              <a:gd name="connsiteX2248" fmla="*/ 500482 w 11856555"/>
              <a:gd name="connsiteY2248" fmla="*/ 2369868 h 4071735"/>
              <a:gd name="connsiteX2249" fmla="*/ 515806 w 11856555"/>
              <a:gd name="connsiteY2249" fmla="*/ 2377629 h 4071735"/>
              <a:gd name="connsiteX2250" fmla="*/ 520200 w 11856555"/>
              <a:gd name="connsiteY2250" fmla="*/ 2370391 h 4071735"/>
              <a:gd name="connsiteX2251" fmla="*/ 517274 w 11856555"/>
              <a:gd name="connsiteY2251" fmla="*/ 2388815 h 4071735"/>
              <a:gd name="connsiteX2252" fmla="*/ 665193 w 11856555"/>
              <a:gd name="connsiteY2252" fmla="*/ 2311383 h 4071735"/>
              <a:gd name="connsiteX2253" fmla="*/ 633801 w 11856555"/>
              <a:gd name="connsiteY2253" fmla="*/ 2340465 h 4071735"/>
              <a:gd name="connsiteX2254" fmla="*/ 1229546 w 11856555"/>
              <a:gd name="connsiteY2254" fmla="*/ 2097546 h 4071735"/>
              <a:gd name="connsiteX2255" fmla="*/ 1187302 w 11856555"/>
              <a:gd name="connsiteY2255" fmla="*/ 2089628 h 4071735"/>
              <a:gd name="connsiteX2256" fmla="*/ 1251183 w 11856555"/>
              <a:gd name="connsiteY2256" fmla="*/ 2107300 h 4071735"/>
              <a:gd name="connsiteX2257" fmla="*/ 1862289 w 11856555"/>
              <a:gd name="connsiteY2257" fmla="*/ 1903751 h 4071735"/>
              <a:gd name="connsiteX2258" fmla="*/ 1930489 w 11856555"/>
              <a:gd name="connsiteY2258" fmla="*/ 1850723 h 4071735"/>
              <a:gd name="connsiteX2259" fmla="*/ 1954362 w 11856555"/>
              <a:gd name="connsiteY2259" fmla="*/ 1846091 h 4071735"/>
              <a:gd name="connsiteX2260" fmla="*/ 1935995 w 11856555"/>
              <a:gd name="connsiteY2260" fmla="*/ 1848550 h 4071735"/>
              <a:gd name="connsiteX2261" fmla="*/ 1931425 w 11856555"/>
              <a:gd name="connsiteY2261" fmla="*/ 1849995 h 4071735"/>
              <a:gd name="connsiteX2262" fmla="*/ 1934191 w 11856555"/>
              <a:gd name="connsiteY2262" fmla="*/ 1847844 h 4071735"/>
              <a:gd name="connsiteX2263" fmla="*/ 1937164 w 11856555"/>
              <a:gd name="connsiteY2263" fmla="*/ 1838817 h 4071735"/>
              <a:gd name="connsiteX2264" fmla="*/ 1359898 w 11856555"/>
              <a:gd name="connsiteY2264" fmla="*/ 1992475 h 4071735"/>
              <a:gd name="connsiteX2265" fmla="*/ 1229419 w 11856555"/>
              <a:gd name="connsiteY2265" fmla="*/ 2053750 h 4071735"/>
              <a:gd name="connsiteX2266" fmla="*/ 922861 w 11856555"/>
              <a:gd name="connsiteY2266" fmla="*/ 2130716 h 4071735"/>
              <a:gd name="connsiteX2267" fmla="*/ 299799 w 11856555"/>
              <a:gd name="connsiteY2267" fmla="*/ 2300136 h 4071735"/>
              <a:gd name="connsiteX2268" fmla="*/ 322085 w 11856555"/>
              <a:gd name="connsiteY2268" fmla="*/ 2274787 h 4071735"/>
              <a:gd name="connsiteX2269" fmla="*/ 285138 w 11856555"/>
              <a:gd name="connsiteY2269" fmla="*/ 2283920 h 4071735"/>
              <a:gd name="connsiteX2270" fmla="*/ 304837 w 11856555"/>
              <a:gd name="connsiteY2270" fmla="*/ 2314290 h 4071735"/>
              <a:gd name="connsiteX2271" fmla="*/ 223051 w 11856555"/>
              <a:gd name="connsiteY2271" fmla="*/ 2326095 h 4071735"/>
              <a:gd name="connsiteX2272" fmla="*/ 230864 w 11856555"/>
              <a:gd name="connsiteY2272" fmla="*/ 2306383 h 4071735"/>
              <a:gd name="connsiteX2273" fmla="*/ 245978 w 11856555"/>
              <a:gd name="connsiteY2273" fmla="*/ 2305297 h 4071735"/>
              <a:gd name="connsiteX2274" fmla="*/ 268537 w 11856555"/>
              <a:gd name="connsiteY2274" fmla="*/ 2288319 h 4071735"/>
              <a:gd name="connsiteX2275" fmla="*/ 246609 w 11856555"/>
              <a:gd name="connsiteY2275" fmla="*/ 2296480 h 4071735"/>
              <a:gd name="connsiteX2276" fmla="*/ 232045 w 11856555"/>
              <a:gd name="connsiteY2276" fmla="*/ 2303402 h 4071735"/>
              <a:gd name="connsiteX2277" fmla="*/ 232107 w 11856555"/>
              <a:gd name="connsiteY2277" fmla="*/ 2303247 h 4071735"/>
              <a:gd name="connsiteX2278" fmla="*/ 115971 w 11856555"/>
              <a:gd name="connsiteY2278" fmla="*/ 2313596 h 4071735"/>
              <a:gd name="connsiteX2279" fmla="*/ 280633 w 11856555"/>
              <a:gd name="connsiteY2279" fmla="*/ 2230765 h 4071735"/>
              <a:gd name="connsiteX2280" fmla="*/ 294665 w 11856555"/>
              <a:gd name="connsiteY2280" fmla="*/ 2213247 h 4071735"/>
              <a:gd name="connsiteX2281" fmla="*/ 298123 w 11856555"/>
              <a:gd name="connsiteY2281" fmla="*/ 2238955 h 4071735"/>
              <a:gd name="connsiteX2282" fmla="*/ 454997 w 11856555"/>
              <a:gd name="connsiteY2282" fmla="*/ 2162569 h 4071735"/>
              <a:gd name="connsiteX2283" fmla="*/ 469990 w 11856555"/>
              <a:gd name="connsiteY2283" fmla="*/ 2151504 h 4071735"/>
              <a:gd name="connsiteX2284" fmla="*/ 463979 w 11856555"/>
              <a:gd name="connsiteY2284" fmla="*/ 2159195 h 4071735"/>
              <a:gd name="connsiteX2285" fmla="*/ 485896 w 11856555"/>
              <a:gd name="connsiteY2285" fmla="*/ 2163812 h 4071735"/>
              <a:gd name="connsiteX2286" fmla="*/ 491501 w 11856555"/>
              <a:gd name="connsiteY2286" fmla="*/ 2140315 h 4071735"/>
              <a:gd name="connsiteX2287" fmla="*/ 479569 w 11856555"/>
              <a:gd name="connsiteY2287" fmla="*/ 2143757 h 4071735"/>
              <a:gd name="connsiteX2288" fmla="*/ 428814 w 11856555"/>
              <a:gd name="connsiteY2288" fmla="*/ 2136683 h 4071735"/>
              <a:gd name="connsiteX2289" fmla="*/ 293709 w 11856555"/>
              <a:gd name="connsiteY2289" fmla="*/ 2167888 h 4071735"/>
              <a:gd name="connsiteX2290" fmla="*/ 279713 w 11856555"/>
              <a:gd name="connsiteY2290" fmla="*/ 2179396 h 4071735"/>
              <a:gd name="connsiteX2291" fmla="*/ 270118 w 11856555"/>
              <a:gd name="connsiteY2291" fmla="*/ 2178935 h 4071735"/>
              <a:gd name="connsiteX2292" fmla="*/ 51321 w 11856555"/>
              <a:gd name="connsiteY2292" fmla="*/ 2202538 h 4071735"/>
              <a:gd name="connsiteX2293" fmla="*/ 23806 w 11856555"/>
              <a:gd name="connsiteY2293" fmla="*/ 2190388 h 4071735"/>
              <a:gd name="connsiteX2294" fmla="*/ 141946 w 11856555"/>
              <a:gd name="connsiteY2294" fmla="*/ 2138973 h 4071735"/>
              <a:gd name="connsiteX2295" fmla="*/ 122051 w 11856555"/>
              <a:gd name="connsiteY2295" fmla="*/ 2169951 h 4071735"/>
              <a:gd name="connsiteX2296" fmla="*/ 132244 w 11856555"/>
              <a:gd name="connsiteY2296" fmla="*/ 2167180 h 4071735"/>
              <a:gd name="connsiteX2297" fmla="*/ 135958 w 11856555"/>
              <a:gd name="connsiteY2297" fmla="*/ 2167435 h 4071735"/>
              <a:gd name="connsiteX2298" fmla="*/ 136228 w 11856555"/>
              <a:gd name="connsiteY2298" fmla="*/ 2166096 h 4071735"/>
              <a:gd name="connsiteX2299" fmla="*/ 180722 w 11856555"/>
              <a:gd name="connsiteY2299" fmla="*/ 2153999 h 4071735"/>
              <a:gd name="connsiteX2300" fmla="*/ 245241 w 11856555"/>
              <a:gd name="connsiteY2300" fmla="*/ 2141481 h 4071735"/>
              <a:gd name="connsiteX2301" fmla="*/ 246262 w 11856555"/>
              <a:gd name="connsiteY2301" fmla="*/ 2144281 h 4071735"/>
              <a:gd name="connsiteX2302" fmla="*/ 246859 w 11856555"/>
              <a:gd name="connsiteY2302" fmla="*/ 2141167 h 4071735"/>
              <a:gd name="connsiteX2303" fmla="*/ 249016 w 11856555"/>
              <a:gd name="connsiteY2303" fmla="*/ 2140749 h 4071735"/>
              <a:gd name="connsiteX2304" fmla="*/ 358784 w 11856555"/>
              <a:gd name="connsiteY2304" fmla="*/ 2093367 h 4071735"/>
              <a:gd name="connsiteX2305" fmla="*/ 379713 w 11856555"/>
              <a:gd name="connsiteY2305" fmla="*/ 2073979 h 4071735"/>
              <a:gd name="connsiteX2306" fmla="*/ 330830 w 11856555"/>
              <a:gd name="connsiteY2306" fmla="*/ 2078819 h 4071735"/>
              <a:gd name="connsiteX2307" fmla="*/ 309292 w 11856555"/>
              <a:gd name="connsiteY2307" fmla="*/ 2081795 h 4071735"/>
              <a:gd name="connsiteX2308" fmla="*/ 317164 w 11856555"/>
              <a:gd name="connsiteY2308" fmla="*/ 2059463 h 4071735"/>
              <a:gd name="connsiteX2309" fmla="*/ 557602 w 11856555"/>
              <a:gd name="connsiteY2309" fmla="*/ 1993877 h 4071735"/>
              <a:gd name="connsiteX2310" fmla="*/ 510840 w 11856555"/>
              <a:gd name="connsiteY2310" fmla="*/ 1977599 h 4071735"/>
              <a:gd name="connsiteX2311" fmla="*/ 540587 w 11856555"/>
              <a:gd name="connsiteY2311" fmla="*/ 1966462 h 4071735"/>
              <a:gd name="connsiteX2312" fmla="*/ 547320 w 11856555"/>
              <a:gd name="connsiteY2312" fmla="*/ 1953389 h 4071735"/>
              <a:gd name="connsiteX2313" fmla="*/ 549521 w 11856555"/>
              <a:gd name="connsiteY2313" fmla="*/ 1956813 h 4071735"/>
              <a:gd name="connsiteX2314" fmla="*/ 556119 w 11856555"/>
              <a:gd name="connsiteY2314" fmla="*/ 1956042 h 4071735"/>
              <a:gd name="connsiteX2315" fmla="*/ 555240 w 11856555"/>
              <a:gd name="connsiteY2315" fmla="*/ 1948819 h 4071735"/>
              <a:gd name="connsiteX2316" fmla="*/ 553165 w 11856555"/>
              <a:gd name="connsiteY2316" fmla="*/ 1942370 h 4071735"/>
              <a:gd name="connsiteX2317" fmla="*/ 562926 w 11856555"/>
              <a:gd name="connsiteY2317" fmla="*/ 1924497 h 4071735"/>
              <a:gd name="connsiteX2318" fmla="*/ 602047 w 11856555"/>
              <a:gd name="connsiteY2318" fmla="*/ 1899381 h 4071735"/>
              <a:gd name="connsiteX2319" fmla="*/ 819160 w 11856555"/>
              <a:gd name="connsiteY2319" fmla="*/ 1851558 h 4071735"/>
              <a:gd name="connsiteX2320" fmla="*/ 849443 w 11856555"/>
              <a:gd name="connsiteY2320" fmla="*/ 1845830 h 4071735"/>
              <a:gd name="connsiteX2321" fmla="*/ 850474 w 11856555"/>
              <a:gd name="connsiteY2321" fmla="*/ 1845757 h 4071735"/>
              <a:gd name="connsiteX2322" fmla="*/ 851000 w 11856555"/>
              <a:gd name="connsiteY2322" fmla="*/ 1845534 h 4071735"/>
              <a:gd name="connsiteX2323" fmla="*/ 900566 w 11856555"/>
              <a:gd name="connsiteY2323" fmla="*/ 1836159 h 4071735"/>
              <a:gd name="connsiteX2324" fmla="*/ 1062723 w 11856555"/>
              <a:gd name="connsiteY2324" fmla="*/ 1814522 h 4071735"/>
              <a:gd name="connsiteX2325" fmla="*/ 1239761 w 11856555"/>
              <a:gd name="connsiteY2325" fmla="*/ 1780494 h 4071735"/>
              <a:gd name="connsiteX2326" fmla="*/ 1337258 w 11856555"/>
              <a:gd name="connsiteY2326" fmla="*/ 1762362 h 4071735"/>
              <a:gd name="connsiteX2327" fmla="*/ 1321286 w 11856555"/>
              <a:gd name="connsiteY2327" fmla="*/ 1771038 h 4071735"/>
              <a:gd name="connsiteX2328" fmla="*/ 1318772 w 11856555"/>
              <a:gd name="connsiteY2328" fmla="*/ 1789244 h 4071735"/>
              <a:gd name="connsiteX2329" fmla="*/ 1319364 w 11856555"/>
              <a:gd name="connsiteY2329" fmla="*/ 1793273 h 4071735"/>
              <a:gd name="connsiteX2330" fmla="*/ 1335083 w 11856555"/>
              <a:gd name="connsiteY2330" fmla="*/ 1788309 h 4071735"/>
              <a:gd name="connsiteX2331" fmla="*/ 1340809 w 11856555"/>
              <a:gd name="connsiteY2331" fmla="*/ 1779945 h 4071735"/>
              <a:gd name="connsiteX2332" fmla="*/ 1344331 w 11856555"/>
              <a:gd name="connsiteY2332" fmla="*/ 1764468 h 4071735"/>
              <a:gd name="connsiteX2333" fmla="*/ 1338310 w 11856555"/>
              <a:gd name="connsiteY2333" fmla="*/ 1762166 h 4071735"/>
              <a:gd name="connsiteX2334" fmla="*/ 1382045 w 11856555"/>
              <a:gd name="connsiteY2334" fmla="*/ 1754033 h 4071735"/>
              <a:gd name="connsiteX2335" fmla="*/ 1387801 w 11856555"/>
              <a:gd name="connsiteY2335" fmla="*/ 1753839 h 4071735"/>
              <a:gd name="connsiteX2336" fmla="*/ 1382326 w 11856555"/>
              <a:gd name="connsiteY2336" fmla="*/ 1756836 h 4071735"/>
              <a:gd name="connsiteX2337" fmla="*/ 1401573 w 11856555"/>
              <a:gd name="connsiteY2337" fmla="*/ 1760963 h 4071735"/>
              <a:gd name="connsiteX2338" fmla="*/ 1394883 w 11856555"/>
              <a:gd name="connsiteY2338" fmla="*/ 1753599 h 4071735"/>
              <a:gd name="connsiteX2339" fmla="*/ 1440042 w 11856555"/>
              <a:gd name="connsiteY2339" fmla="*/ 1752071 h 4071735"/>
              <a:gd name="connsiteX2340" fmla="*/ 1479147 w 11856555"/>
              <a:gd name="connsiteY2340" fmla="*/ 1762811 h 4071735"/>
              <a:gd name="connsiteX2341" fmla="*/ 1544774 w 11856555"/>
              <a:gd name="connsiteY2341" fmla="*/ 1736521 h 4071735"/>
              <a:gd name="connsiteX2342" fmla="*/ 1509765 w 11856555"/>
              <a:gd name="connsiteY2342" fmla="*/ 1725038 h 4071735"/>
              <a:gd name="connsiteX2343" fmla="*/ 1584978 w 11856555"/>
              <a:gd name="connsiteY2343" fmla="*/ 1692416 h 4071735"/>
              <a:gd name="connsiteX2344" fmla="*/ 1614473 w 11856555"/>
              <a:gd name="connsiteY2344" fmla="*/ 1674982 h 4071735"/>
              <a:gd name="connsiteX2345" fmla="*/ 1614866 w 11856555"/>
              <a:gd name="connsiteY2345" fmla="*/ 1675164 h 4071735"/>
              <a:gd name="connsiteX2346" fmla="*/ 1617096 w 11856555"/>
              <a:gd name="connsiteY2346" fmla="*/ 1687363 h 4071735"/>
              <a:gd name="connsiteX2347" fmla="*/ 1624678 w 11856555"/>
              <a:gd name="connsiteY2347" fmla="*/ 1679752 h 4071735"/>
              <a:gd name="connsiteX2348" fmla="*/ 1624678 w 11856555"/>
              <a:gd name="connsiteY2348" fmla="*/ 1679752 h 4071735"/>
              <a:gd name="connsiteX2349" fmla="*/ 1614866 w 11856555"/>
              <a:gd name="connsiteY2349" fmla="*/ 1675164 h 4071735"/>
              <a:gd name="connsiteX2350" fmla="*/ 1614796 w 11856555"/>
              <a:gd name="connsiteY2350" fmla="*/ 1674792 h 4071735"/>
              <a:gd name="connsiteX2351" fmla="*/ 1614473 w 11856555"/>
              <a:gd name="connsiteY2351" fmla="*/ 1674982 h 4071735"/>
              <a:gd name="connsiteX2352" fmla="*/ 1610730 w 11856555"/>
              <a:gd name="connsiteY2352" fmla="*/ 1673232 h 4071735"/>
              <a:gd name="connsiteX2353" fmla="*/ 1401210 w 11856555"/>
              <a:gd name="connsiteY2353" fmla="*/ 1699949 h 4071735"/>
              <a:gd name="connsiteX2354" fmla="*/ 1383896 w 11856555"/>
              <a:gd name="connsiteY2354" fmla="*/ 1706993 h 4071735"/>
              <a:gd name="connsiteX2355" fmla="*/ 1383289 w 11856555"/>
              <a:gd name="connsiteY2355" fmla="*/ 1706738 h 4071735"/>
              <a:gd name="connsiteX2356" fmla="*/ 1365341 w 11856555"/>
              <a:gd name="connsiteY2356" fmla="*/ 1714544 h 4071735"/>
              <a:gd name="connsiteX2357" fmla="*/ 1383896 w 11856555"/>
              <a:gd name="connsiteY2357" fmla="*/ 1706993 h 4071735"/>
              <a:gd name="connsiteX2358" fmla="*/ 1401188 w 11856555"/>
              <a:gd name="connsiteY2358" fmla="*/ 1714270 h 4071735"/>
              <a:gd name="connsiteX2359" fmla="*/ 1220266 w 11856555"/>
              <a:gd name="connsiteY2359" fmla="*/ 1739154 h 4071735"/>
              <a:gd name="connsiteX2360" fmla="*/ 1224594 w 11856555"/>
              <a:gd name="connsiteY2360" fmla="*/ 1724165 h 4071735"/>
              <a:gd name="connsiteX2361" fmla="*/ 1240936 w 11856555"/>
              <a:gd name="connsiteY2361" fmla="*/ 1716867 h 4071735"/>
              <a:gd name="connsiteX2362" fmla="*/ 1186047 w 11856555"/>
              <a:gd name="connsiteY2362" fmla="*/ 1722307 h 4071735"/>
              <a:gd name="connsiteX2363" fmla="*/ 1141476 w 11856555"/>
              <a:gd name="connsiteY2363" fmla="*/ 1725891 h 4071735"/>
              <a:gd name="connsiteX2364" fmla="*/ 1141658 w 11856555"/>
              <a:gd name="connsiteY2364" fmla="*/ 1725714 h 4071735"/>
              <a:gd name="connsiteX2365" fmla="*/ 1122926 w 11856555"/>
              <a:gd name="connsiteY2365" fmla="*/ 1727383 h 4071735"/>
              <a:gd name="connsiteX2366" fmla="*/ 1122937 w 11856555"/>
              <a:gd name="connsiteY2366" fmla="*/ 1727389 h 4071735"/>
              <a:gd name="connsiteX2367" fmla="*/ 1066439 w 11856555"/>
              <a:gd name="connsiteY2367" fmla="*/ 1734060 h 4071735"/>
              <a:gd name="connsiteX2368" fmla="*/ 1030043 w 11856555"/>
              <a:gd name="connsiteY2368" fmla="*/ 1744423 h 4071735"/>
              <a:gd name="connsiteX2369" fmla="*/ 1015836 w 11856555"/>
              <a:gd name="connsiteY2369" fmla="*/ 1766086 h 4071735"/>
              <a:gd name="connsiteX2370" fmla="*/ 996012 w 11856555"/>
              <a:gd name="connsiteY2370" fmla="*/ 1789768 h 4071735"/>
              <a:gd name="connsiteX2371" fmla="*/ 975103 w 11856555"/>
              <a:gd name="connsiteY2371" fmla="*/ 1787696 h 4071735"/>
              <a:gd name="connsiteX2372" fmla="*/ 949418 w 11856555"/>
              <a:gd name="connsiteY2372" fmla="*/ 1783505 h 4071735"/>
              <a:gd name="connsiteX2373" fmla="*/ 950567 w 11856555"/>
              <a:gd name="connsiteY2373" fmla="*/ 1779949 h 4071735"/>
              <a:gd name="connsiteX2374" fmla="*/ 956635 w 11856555"/>
              <a:gd name="connsiteY2374" fmla="*/ 1781720 h 4071735"/>
              <a:gd name="connsiteX2375" fmla="*/ 961418 w 11856555"/>
              <a:gd name="connsiteY2375" fmla="*/ 1776857 h 4071735"/>
              <a:gd name="connsiteX2376" fmla="*/ 957686 w 11856555"/>
              <a:gd name="connsiteY2376" fmla="*/ 1766817 h 4071735"/>
              <a:gd name="connsiteX2377" fmla="*/ 960740 w 11856555"/>
              <a:gd name="connsiteY2377" fmla="*/ 1764881 h 4071735"/>
              <a:gd name="connsiteX2378" fmla="*/ 949430 w 11856555"/>
              <a:gd name="connsiteY2378" fmla="*/ 1772049 h 4071735"/>
              <a:gd name="connsiteX2379" fmla="*/ 954074 w 11856555"/>
              <a:gd name="connsiteY2379" fmla="*/ 1769105 h 4071735"/>
              <a:gd name="connsiteX2380" fmla="*/ 950567 w 11856555"/>
              <a:gd name="connsiteY2380" fmla="*/ 1779949 h 4071735"/>
              <a:gd name="connsiteX2381" fmla="*/ 944911 w 11856555"/>
              <a:gd name="connsiteY2381" fmla="*/ 1778297 h 4071735"/>
              <a:gd name="connsiteX2382" fmla="*/ 947815 w 11856555"/>
              <a:gd name="connsiteY2382" fmla="*/ 1775113 h 4071735"/>
              <a:gd name="connsiteX2383" fmla="*/ 933404 w 11856555"/>
              <a:gd name="connsiteY2383" fmla="*/ 1774938 h 4071735"/>
              <a:gd name="connsiteX2384" fmla="*/ 944911 w 11856555"/>
              <a:gd name="connsiteY2384" fmla="*/ 1778297 h 4071735"/>
              <a:gd name="connsiteX2385" fmla="*/ 903844 w 11856555"/>
              <a:gd name="connsiteY2385" fmla="*/ 1823329 h 4071735"/>
              <a:gd name="connsiteX2386" fmla="*/ 851000 w 11856555"/>
              <a:gd name="connsiteY2386" fmla="*/ 1845534 h 4071735"/>
              <a:gd name="connsiteX2387" fmla="*/ 849443 w 11856555"/>
              <a:gd name="connsiteY2387" fmla="*/ 1845830 h 4071735"/>
              <a:gd name="connsiteX2388" fmla="*/ 790835 w 11856555"/>
              <a:gd name="connsiteY2388" fmla="*/ 1849987 h 4071735"/>
              <a:gd name="connsiteX2389" fmla="*/ 728061 w 11856555"/>
              <a:gd name="connsiteY2389" fmla="*/ 1843615 h 4071735"/>
              <a:gd name="connsiteX2390" fmla="*/ 691254 w 11856555"/>
              <a:gd name="connsiteY2390" fmla="*/ 1838111 h 4071735"/>
              <a:gd name="connsiteX2391" fmla="*/ 744688 w 11856555"/>
              <a:gd name="connsiteY2391" fmla="*/ 1820959 h 4071735"/>
              <a:gd name="connsiteX2392" fmla="*/ 862038 w 11856555"/>
              <a:gd name="connsiteY2392" fmla="*/ 1744791 h 4071735"/>
              <a:gd name="connsiteX2393" fmla="*/ 850409 w 11856555"/>
              <a:gd name="connsiteY2393" fmla="*/ 1783793 h 4071735"/>
              <a:gd name="connsiteX2394" fmla="*/ 908868 w 11856555"/>
              <a:gd name="connsiteY2394" fmla="*/ 1740618 h 4071735"/>
              <a:gd name="connsiteX2395" fmla="*/ 902599 w 11856555"/>
              <a:gd name="connsiteY2395" fmla="*/ 1732672 h 4071735"/>
              <a:gd name="connsiteX2396" fmla="*/ 904417 w 11856555"/>
              <a:gd name="connsiteY2396" fmla="*/ 1730093 h 4071735"/>
              <a:gd name="connsiteX2397" fmla="*/ 917153 w 11856555"/>
              <a:gd name="connsiteY2397" fmla="*/ 1726327 h 4071735"/>
              <a:gd name="connsiteX2398" fmla="*/ 907013 w 11856555"/>
              <a:gd name="connsiteY2398" fmla="*/ 1726409 h 4071735"/>
              <a:gd name="connsiteX2399" fmla="*/ 904417 w 11856555"/>
              <a:gd name="connsiteY2399" fmla="*/ 1730093 h 4071735"/>
              <a:gd name="connsiteX2400" fmla="*/ 889228 w 11856555"/>
              <a:gd name="connsiteY2400" fmla="*/ 1734581 h 4071735"/>
              <a:gd name="connsiteX2401" fmla="*/ 837689 w 11856555"/>
              <a:gd name="connsiteY2401" fmla="*/ 1746961 h 4071735"/>
              <a:gd name="connsiteX2402" fmla="*/ 1235514 w 11856555"/>
              <a:gd name="connsiteY2402" fmla="*/ 1656020 h 4071735"/>
              <a:gd name="connsiteX2403" fmla="*/ 1759621 w 11856555"/>
              <a:gd name="connsiteY2403" fmla="*/ 1477895 h 4071735"/>
              <a:gd name="connsiteX2404" fmla="*/ 1735472 w 11856555"/>
              <a:gd name="connsiteY2404" fmla="*/ 1479682 h 4071735"/>
              <a:gd name="connsiteX2405" fmla="*/ 1723782 w 11856555"/>
              <a:gd name="connsiteY2405" fmla="*/ 1481851 h 4071735"/>
              <a:gd name="connsiteX2406" fmla="*/ 1748811 w 11856555"/>
              <a:gd name="connsiteY2406" fmla="*/ 1470462 h 4071735"/>
              <a:gd name="connsiteX2407" fmla="*/ 1785913 w 11856555"/>
              <a:gd name="connsiteY2407" fmla="*/ 1455110 h 4071735"/>
              <a:gd name="connsiteX2408" fmla="*/ 1771054 w 11856555"/>
              <a:gd name="connsiteY2408" fmla="*/ 1500240 h 4071735"/>
              <a:gd name="connsiteX2409" fmla="*/ 1799507 w 11856555"/>
              <a:gd name="connsiteY2409" fmla="*/ 1471394 h 4071735"/>
              <a:gd name="connsiteX2410" fmla="*/ 1814030 w 11856555"/>
              <a:gd name="connsiteY2410" fmla="*/ 1475009 h 4071735"/>
              <a:gd name="connsiteX2411" fmla="*/ 1814228 w 11856555"/>
              <a:gd name="connsiteY2411" fmla="*/ 1468284 h 4071735"/>
              <a:gd name="connsiteX2412" fmla="*/ 1807943 w 11856555"/>
              <a:gd name="connsiteY2412" fmla="*/ 1464859 h 4071735"/>
              <a:gd name="connsiteX2413" fmla="*/ 1827946 w 11856555"/>
              <a:gd name="connsiteY2413" fmla="*/ 1450086 h 4071735"/>
              <a:gd name="connsiteX2414" fmla="*/ 1833689 w 11856555"/>
              <a:gd name="connsiteY2414" fmla="*/ 1447780 h 4071735"/>
              <a:gd name="connsiteX2415" fmla="*/ 1831957 w 11856555"/>
              <a:gd name="connsiteY2415" fmla="*/ 1455388 h 4071735"/>
              <a:gd name="connsiteX2416" fmla="*/ 1858192 w 11856555"/>
              <a:gd name="connsiteY2416" fmla="*/ 1439906 h 4071735"/>
              <a:gd name="connsiteX2417" fmla="*/ 1851109 w 11856555"/>
              <a:gd name="connsiteY2417" fmla="*/ 1440786 h 4071735"/>
              <a:gd name="connsiteX2418" fmla="*/ 1877618 w 11856555"/>
              <a:gd name="connsiteY2418" fmla="*/ 1430144 h 4071735"/>
              <a:gd name="connsiteX2419" fmla="*/ 1923438 w 11856555"/>
              <a:gd name="connsiteY2419" fmla="*/ 1422594 h 4071735"/>
              <a:gd name="connsiteX2420" fmla="*/ 1960623 w 11856555"/>
              <a:gd name="connsiteY2420" fmla="*/ 1411944 h 4071735"/>
              <a:gd name="connsiteX2421" fmla="*/ 1963172 w 11856555"/>
              <a:gd name="connsiteY2421" fmla="*/ 1413138 h 4071735"/>
              <a:gd name="connsiteX2422" fmla="*/ 1968776 w 11856555"/>
              <a:gd name="connsiteY2422" fmla="*/ 1409609 h 4071735"/>
              <a:gd name="connsiteX2423" fmla="*/ 1960623 w 11856555"/>
              <a:gd name="connsiteY2423" fmla="*/ 1411944 h 4071735"/>
              <a:gd name="connsiteX2424" fmla="*/ 1957988 w 11856555"/>
              <a:gd name="connsiteY2424" fmla="*/ 1410708 h 4071735"/>
              <a:gd name="connsiteX2425" fmla="*/ 1948043 w 11856555"/>
              <a:gd name="connsiteY2425" fmla="*/ 1367649 h 4071735"/>
              <a:gd name="connsiteX2426" fmla="*/ 2436802 w 11856555"/>
              <a:gd name="connsiteY2426" fmla="*/ 1298861 h 4071735"/>
              <a:gd name="connsiteX2427" fmla="*/ 2456936 w 11856555"/>
              <a:gd name="connsiteY2427" fmla="*/ 1305605 h 4071735"/>
              <a:gd name="connsiteX2428" fmla="*/ 2463981 w 11856555"/>
              <a:gd name="connsiteY2428" fmla="*/ 1304782 h 4071735"/>
              <a:gd name="connsiteX2429" fmla="*/ 2478716 w 11856555"/>
              <a:gd name="connsiteY2429" fmla="*/ 1287453 h 4071735"/>
              <a:gd name="connsiteX2430" fmla="*/ 2547398 w 11856555"/>
              <a:gd name="connsiteY2430" fmla="*/ 1249989 h 4071735"/>
              <a:gd name="connsiteX2431" fmla="*/ 2535769 w 11856555"/>
              <a:gd name="connsiteY2431" fmla="*/ 1288992 h 4071735"/>
              <a:gd name="connsiteX2432" fmla="*/ 2649632 w 11856555"/>
              <a:gd name="connsiteY2432" fmla="*/ 1246812 h 4071735"/>
              <a:gd name="connsiteX2433" fmla="*/ 2675832 w 11856555"/>
              <a:gd name="connsiteY2433" fmla="*/ 1230783 h 4071735"/>
              <a:gd name="connsiteX2434" fmla="*/ 2680069 w 11856555"/>
              <a:gd name="connsiteY2434" fmla="*/ 1255690 h 4071735"/>
              <a:gd name="connsiteX2435" fmla="*/ 2721927 w 11856555"/>
              <a:gd name="connsiteY2435" fmla="*/ 1216915 h 4071735"/>
              <a:gd name="connsiteX2436" fmla="*/ 2693478 w 11856555"/>
              <a:gd name="connsiteY2436" fmla="*/ 1215480 h 4071735"/>
              <a:gd name="connsiteX2437" fmla="*/ 2675521 w 11856555"/>
              <a:gd name="connsiteY2437" fmla="*/ 1227695 h 4071735"/>
              <a:gd name="connsiteX2438" fmla="*/ 2671610 w 11856555"/>
              <a:gd name="connsiteY2438" fmla="*/ 1224319 h 4071735"/>
              <a:gd name="connsiteX2439" fmla="*/ 2653462 w 11856555"/>
              <a:gd name="connsiteY2439" fmla="*/ 1211333 h 4071735"/>
              <a:gd name="connsiteX2440" fmla="*/ 2669287 w 11856555"/>
              <a:gd name="connsiteY2440" fmla="*/ 1198241 h 4071735"/>
              <a:gd name="connsiteX2441" fmla="*/ 2738971 w 11856555"/>
              <a:gd name="connsiteY2441" fmla="*/ 1177794 h 4071735"/>
              <a:gd name="connsiteX2442" fmla="*/ 2741582 w 11856555"/>
              <a:gd name="connsiteY2442" fmla="*/ 1177078 h 4071735"/>
              <a:gd name="connsiteX2443" fmla="*/ 2741165 w 11856555"/>
              <a:gd name="connsiteY2443" fmla="*/ 1177776 h 4071735"/>
              <a:gd name="connsiteX2444" fmla="*/ 2733231 w 11856555"/>
              <a:gd name="connsiteY2444" fmla="*/ 1195464 h 4071735"/>
              <a:gd name="connsiteX2445" fmla="*/ 2796986 w 11856555"/>
              <a:gd name="connsiteY2445" fmla="*/ 1169340 h 4071735"/>
              <a:gd name="connsiteX2446" fmla="*/ 2775170 w 11856555"/>
              <a:gd name="connsiteY2446" fmla="*/ 1167860 h 4071735"/>
              <a:gd name="connsiteX2447" fmla="*/ 2741582 w 11856555"/>
              <a:gd name="connsiteY2447" fmla="*/ 1177078 h 4071735"/>
              <a:gd name="connsiteX2448" fmla="*/ 2746727 w 11856555"/>
              <a:gd name="connsiteY2448" fmla="*/ 1168478 h 4071735"/>
              <a:gd name="connsiteX2449" fmla="*/ 2760945 w 11856555"/>
              <a:gd name="connsiteY2449" fmla="*/ 1146267 h 4071735"/>
              <a:gd name="connsiteX2450" fmla="*/ 2861064 w 11856555"/>
              <a:gd name="connsiteY2450" fmla="*/ 1125663 h 4071735"/>
              <a:gd name="connsiteX2451" fmla="*/ 2861987 w 11856555"/>
              <a:gd name="connsiteY2451" fmla="*/ 1136042 h 4071735"/>
              <a:gd name="connsiteX2452" fmla="*/ 2849097 w 11856555"/>
              <a:gd name="connsiteY2452" fmla="*/ 1144024 h 4071735"/>
              <a:gd name="connsiteX2453" fmla="*/ 2839788 w 11856555"/>
              <a:gd name="connsiteY2453" fmla="*/ 1156965 h 4071735"/>
              <a:gd name="connsiteX2454" fmla="*/ 2828291 w 11856555"/>
              <a:gd name="connsiteY2454" fmla="*/ 1163081 h 4071735"/>
              <a:gd name="connsiteX2455" fmla="*/ 2830961 w 11856555"/>
              <a:gd name="connsiteY2455" fmla="*/ 1169232 h 4071735"/>
              <a:gd name="connsiteX2456" fmla="*/ 2839788 w 11856555"/>
              <a:gd name="connsiteY2456" fmla="*/ 1156965 h 4071735"/>
              <a:gd name="connsiteX2457" fmla="*/ 2845187 w 11856555"/>
              <a:gd name="connsiteY2457" fmla="*/ 1154092 h 4071735"/>
              <a:gd name="connsiteX2458" fmla="*/ 2862497 w 11856555"/>
              <a:gd name="connsiteY2458" fmla="*/ 1141780 h 4071735"/>
              <a:gd name="connsiteX2459" fmla="*/ 2861987 w 11856555"/>
              <a:gd name="connsiteY2459" fmla="*/ 1136042 h 4071735"/>
              <a:gd name="connsiteX2460" fmla="*/ 2879659 w 11856555"/>
              <a:gd name="connsiteY2460" fmla="*/ 1125101 h 4071735"/>
              <a:gd name="connsiteX2461" fmla="*/ 2941867 w 11856555"/>
              <a:gd name="connsiteY2461" fmla="*/ 1121382 h 4071735"/>
              <a:gd name="connsiteX2462" fmla="*/ 2928431 w 11856555"/>
              <a:gd name="connsiteY2462" fmla="*/ 1140104 h 4071735"/>
              <a:gd name="connsiteX2463" fmla="*/ 2986308 w 11856555"/>
              <a:gd name="connsiteY2463" fmla="*/ 1111582 h 4071735"/>
              <a:gd name="connsiteX2464" fmla="*/ 2964965 w 11856555"/>
              <a:gd name="connsiteY2464" fmla="*/ 1142551 h 4071735"/>
              <a:gd name="connsiteX2465" fmla="*/ 2910988 w 11856555"/>
              <a:gd name="connsiteY2465" fmla="*/ 1166114 h 4071735"/>
              <a:gd name="connsiteX2466" fmla="*/ 2909070 w 11856555"/>
              <a:gd name="connsiteY2466" fmla="*/ 1166150 h 4071735"/>
              <a:gd name="connsiteX2467" fmla="*/ 2893034 w 11856555"/>
              <a:gd name="connsiteY2467" fmla="*/ 1166621 h 4071735"/>
              <a:gd name="connsiteX2468" fmla="*/ 2908884 w 11856555"/>
              <a:gd name="connsiteY2468" fmla="*/ 1167034 h 4071735"/>
              <a:gd name="connsiteX2469" fmla="*/ 2910988 w 11856555"/>
              <a:gd name="connsiteY2469" fmla="*/ 1166114 h 4071735"/>
              <a:gd name="connsiteX2470" fmla="*/ 2942259 w 11856555"/>
              <a:gd name="connsiteY2470" fmla="*/ 1165520 h 4071735"/>
              <a:gd name="connsiteX2471" fmla="*/ 2967019 w 11856555"/>
              <a:gd name="connsiteY2471" fmla="*/ 1165526 h 4071735"/>
              <a:gd name="connsiteX2472" fmla="*/ 2966604 w 11856555"/>
              <a:gd name="connsiteY2472" fmla="*/ 1165906 h 4071735"/>
              <a:gd name="connsiteX2473" fmla="*/ 2967931 w 11856555"/>
              <a:gd name="connsiteY2473" fmla="*/ 1165526 h 4071735"/>
              <a:gd name="connsiteX2474" fmla="*/ 2974448 w 11856555"/>
              <a:gd name="connsiteY2474" fmla="*/ 1165527 h 4071735"/>
              <a:gd name="connsiteX2475" fmla="*/ 2987467 w 11856555"/>
              <a:gd name="connsiteY2475" fmla="*/ 1166968 h 4071735"/>
              <a:gd name="connsiteX2476" fmla="*/ 2982137 w 11856555"/>
              <a:gd name="connsiteY2476" fmla="*/ 1158429 h 4071735"/>
              <a:gd name="connsiteX2477" fmla="*/ 2991849 w 11856555"/>
              <a:gd name="connsiteY2477" fmla="*/ 1149968 h 4071735"/>
              <a:gd name="connsiteX2478" fmla="*/ 3060006 w 11856555"/>
              <a:gd name="connsiteY2478" fmla="*/ 1114460 h 4071735"/>
              <a:gd name="connsiteX2479" fmla="*/ 3057976 w 11856555"/>
              <a:gd name="connsiteY2479" fmla="*/ 1143815 h 4071735"/>
              <a:gd name="connsiteX2480" fmla="*/ 3054393 w 11856555"/>
              <a:gd name="connsiteY2480" fmla="*/ 1152608 h 4071735"/>
              <a:gd name="connsiteX2481" fmla="*/ 3074472 w 11856555"/>
              <a:gd name="connsiteY2481" fmla="*/ 1147532 h 4071735"/>
              <a:gd name="connsiteX2482" fmla="*/ 3069539 w 11856555"/>
              <a:gd name="connsiteY2482" fmla="*/ 1146082 h 4071735"/>
              <a:gd name="connsiteX2483" fmla="*/ 3071730 w 11856555"/>
              <a:gd name="connsiteY2483" fmla="*/ 1145541 h 4071735"/>
              <a:gd name="connsiteX2484" fmla="*/ 3129635 w 11856555"/>
              <a:gd name="connsiteY2484" fmla="*/ 1130935 h 4071735"/>
              <a:gd name="connsiteX2485" fmla="*/ 3111227 w 11856555"/>
              <a:gd name="connsiteY2485" fmla="*/ 1115053 h 4071735"/>
              <a:gd name="connsiteX2486" fmla="*/ 3463581 w 11856555"/>
              <a:gd name="connsiteY2486" fmla="*/ 1022323 h 4071735"/>
              <a:gd name="connsiteX2487" fmla="*/ 3446074 w 11856555"/>
              <a:gd name="connsiteY2487" fmla="*/ 1058930 h 4071735"/>
              <a:gd name="connsiteX2488" fmla="*/ 3601613 w 11856555"/>
              <a:gd name="connsiteY2488" fmla="*/ 1024626 h 4071735"/>
              <a:gd name="connsiteX2489" fmla="*/ 3518937 w 11856555"/>
              <a:gd name="connsiteY2489" fmla="*/ 1029072 h 4071735"/>
              <a:gd name="connsiteX2490" fmla="*/ 3967920 w 11856555"/>
              <a:gd name="connsiteY2490" fmla="*/ 918973 h 4071735"/>
              <a:gd name="connsiteX2491" fmla="*/ 3934044 w 11856555"/>
              <a:gd name="connsiteY2491" fmla="*/ 941340 h 4071735"/>
              <a:gd name="connsiteX2492" fmla="*/ 3933014 w 11856555"/>
              <a:gd name="connsiteY2492" fmla="*/ 941861 h 4071735"/>
              <a:gd name="connsiteX2493" fmla="*/ 3924255 w 11856555"/>
              <a:gd name="connsiteY2493" fmla="*/ 937464 h 4071735"/>
              <a:gd name="connsiteX2494" fmla="*/ 3915147 w 11856555"/>
              <a:gd name="connsiteY2494" fmla="*/ 941197 h 4071735"/>
              <a:gd name="connsiteX2495" fmla="*/ 3934139 w 11856555"/>
              <a:gd name="connsiteY2495" fmla="*/ 942426 h 4071735"/>
              <a:gd name="connsiteX2496" fmla="*/ 3934004 w 11856555"/>
              <a:gd name="connsiteY2496" fmla="*/ 942359 h 4071735"/>
              <a:gd name="connsiteX2497" fmla="*/ 3938616 w 11856555"/>
              <a:gd name="connsiteY2497" fmla="*/ 941707 h 4071735"/>
              <a:gd name="connsiteX2498" fmla="*/ 3999182 w 11856555"/>
              <a:gd name="connsiteY2498" fmla="*/ 930789 h 4071735"/>
              <a:gd name="connsiteX2499" fmla="*/ 4338097 w 11856555"/>
              <a:gd name="connsiteY2499" fmla="*/ 856781 h 4071735"/>
              <a:gd name="connsiteX2500" fmla="*/ 4315493 w 11856555"/>
              <a:gd name="connsiteY2500" fmla="*/ 814987 h 4071735"/>
              <a:gd name="connsiteX2501" fmla="*/ 4342233 w 11856555"/>
              <a:gd name="connsiteY2501" fmla="*/ 818445 h 4071735"/>
              <a:gd name="connsiteX2502" fmla="*/ 4518827 w 11856555"/>
              <a:gd name="connsiteY2502" fmla="*/ 808551 h 4071735"/>
              <a:gd name="connsiteX2503" fmla="*/ 4848445 w 11856555"/>
              <a:gd name="connsiteY2503" fmla="*/ 714927 h 4071735"/>
              <a:gd name="connsiteX2504" fmla="*/ 4882323 w 11856555"/>
              <a:gd name="connsiteY2504" fmla="*/ 737936 h 4071735"/>
              <a:gd name="connsiteX2505" fmla="*/ 4882730 w 11856555"/>
              <a:gd name="connsiteY2505" fmla="*/ 737459 h 4071735"/>
              <a:gd name="connsiteX2506" fmla="*/ 4885173 w 11856555"/>
              <a:gd name="connsiteY2506" fmla="*/ 743049 h 4071735"/>
              <a:gd name="connsiteX2507" fmla="*/ 4904574 w 11856555"/>
              <a:gd name="connsiteY2507" fmla="*/ 730369 h 4071735"/>
              <a:gd name="connsiteX2508" fmla="*/ 4884832 w 11856555"/>
              <a:gd name="connsiteY2508" fmla="*/ 734994 h 4071735"/>
              <a:gd name="connsiteX2509" fmla="*/ 4898593 w 11856555"/>
              <a:gd name="connsiteY2509" fmla="*/ 718855 h 4071735"/>
              <a:gd name="connsiteX2510" fmla="*/ 4984928 w 11856555"/>
              <a:gd name="connsiteY2510" fmla="*/ 699844 h 4071735"/>
              <a:gd name="connsiteX2511" fmla="*/ 4957280 w 11856555"/>
              <a:gd name="connsiteY2511" fmla="*/ 728593 h 4071735"/>
              <a:gd name="connsiteX2512" fmla="*/ 5016257 w 11856555"/>
              <a:gd name="connsiteY2512" fmla="*/ 691211 h 4071735"/>
              <a:gd name="connsiteX2513" fmla="*/ 5000623 w 11856555"/>
              <a:gd name="connsiteY2513" fmla="*/ 727650 h 4071735"/>
              <a:gd name="connsiteX2514" fmla="*/ 5580536 w 11856555"/>
              <a:gd name="connsiteY2514" fmla="*/ 582519 h 4071735"/>
              <a:gd name="connsiteX2515" fmla="*/ 5555410 w 11856555"/>
              <a:gd name="connsiteY2515" fmla="*/ 575996 h 4071735"/>
              <a:gd name="connsiteX2516" fmla="*/ 5576823 w 11856555"/>
              <a:gd name="connsiteY2516" fmla="*/ 565143 h 4071735"/>
              <a:gd name="connsiteX2517" fmla="*/ 5575756 w 11856555"/>
              <a:gd name="connsiteY2517" fmla="*/ 571262 h 4071735"/>
              <a:gd name="connsiteX2518" fmla="*/ 5706753 w 11856555"/>
              <a:gd name="connsiteY2518" fmla="*/ 515782 h 4071735"/>
              <a:gd name="connsiteX2519" fmla="*/ 5754357 w 11856555"/>
              <a:gd name="connsiteY2519" fmla="*/ 520301 h 4071735"/>
              <a:gd name="connsiteX2520" fmla="*/ 5732587 w 11856555"/>
              <a:gd name="connsiteY2520" fmla="*/ 551446 h 4071735"/>
              <a:gd name="connsiteX2521" fmla="*/ 5863907 w 11856555"/>
              <a:gd name="connsiteY2521" fmla="*/ 478415 h 4071735"/>
              <a:gd name="connsiteX2522" fmla="*/ 5903760 w 11856555"/>
              <a:gd name="connsiteY2522" fmla="*/ 480704 h 4071735"/>
              <a:gd name="connsiteX2523" fmla="*/ 5863974 w 11856555"/>
              <a:gd name="connsiteY2523" fmla="*/ 457964 h 4071735"/>
              <a:gd name="connsiteX2524" fmla="*/ 6075330 w 11856555"/>
              <a:gd name="connsiteY2524" fmla="*/ 443237 h 4071735"/>
              <a:gd name="connsiteX2525" fmla="*/ 6089725 w 11856555"/>
              <a:gd name="connsiteY2525" fmla="*/ 443990 h 4071735"/>
              <a:gd name="connsiteX2526" fmla="*/ 6077351 w 11856555"/>
              <a:gd name="connsiteY2526" fmla="*/ 447712 h 4071735"/>
              <a:gd name="connsiteX2527" fmla="*/ 6064334 w 11856555"/>
              <a:gd name="connsiteY2527" fmla="*/ 460554 h 4071735"/>
              <a:gd name="connsiteX2528" fmla="*/ 6081033 w 11856555"/>
              <a:gd name="connsiteY2528" fmla="*/ 457240 h 4071735"/>
              <a:gd name="connsiteX2529" fmla="*/ 6090786 w 11856555"/>
              <a:gd name="connsiteY2529" fmla="*/ 444045 h 4071735"/>
              <a:gd name="connsiteX2530" fmla="*/ 6108258 w 11856555"/>
              <a:gd name="connsiteY2530" fmla="*/ 444958 h 4071735"/>
              <a:gd name="connsiteX2531" fmla="*/ 6255920 w 11856555"/>
              <a:gd name="connsiteY2531" fmla="*/ 364629 h 4071735"/>
              <a:gd name="connsiteX2532" fmla="*/ 6120081 w 11856555"/>
              <a:gd name="connsiteY2532" fmla="*/ 429302 h 4071735"/>
              <a:gd name="connsiteX2533" fmla="*/ 6399325 w 11856555"/>
              <a:gd name="connsiteY2533" fmla="*/ 262711 h 4071735"/>
              <a:gd name="connsiteX2534" fmla="*/ 6414887 w 11856555"/>
              <a:gd name="connsiteY2534" fmla="*/ 262848 h 4071735"/>
              <a:gd name="connsiteX2535" fmla="*/ 6390596 w 11856555"/>
              <a:gd name="connsiteY2535" fmla="*/ 329263 h 4071735"/>
              <a:gd name="connsiteX2536" fmla="*/ 6700768 w 11856555"/>
              <a:gd name="connsiteY2536" fmla="*/ 292863 h 4071735"/>
              <a:gd name="connsiteX2537" fmla="*/ 6697490 w 11856555"/>
              <a:gd name="connsiteY2537" fmla="*/ 300086 h 4071735"/>
              <a:gd name="connsiteX2538" fmla="*/ 6693793 w 11856555"/>
              <a:gd name="connsiteY2538" fmla="*/ 301332 h 4071735"/>
              <a:gd name="connsiteX2539" fmla="*/ 6681197 w 11856555"/>
              <a:gd name="connsiteY2539" fmla="*/ 306288 h 4071735"/>
              <a:gd name="connsiteX2540" fmla="*/ 6693865 w 11856555"/>
              <a:gd name="connsiteY2540" fmla="*/ 308079 h 4071735"/>
              <a:gd name="connsiteX2541" fmla="*/ 6697490 w 11856555"/>
              <a:gd name="connsiteY2541" fmla="*/ 300086 h 4071735"/>
              <a:gd name="connsiteX2542" fmla="*/ 6713670 w 11856555"/>
              <a:gd name="connsiteY2542" fmla="*/ 294633 h 4071735"/>
              <a:gd name="connsiteX2543" fmla="*/ 6749728 w 11856555"/>
              <a:gd name="connsiteY2543" fmla="*/ 291420 h 4071735"/>
              <a:gd name="connsiteX2544" fmla="*/ 6730284 w 11856555"/>
              <a:gd name="connsiteY2544" fmla="*/ 348642 h 4071735"/>
              <a:gd name="connsiteX2545" fmla="*/ 6911145 w 11856555"/>
              <a:gd name="connsiteY2545" fmla="*/ 259513 h 4071735"/>
              <a:gd name="connsiteX2546" fmla="*/ 6873034 w 11856555"/>
              <a:gd name="connsiteY2546" fmla="*/ 297955 h 4071735"/>
              <a:gd name="connsiteX2547" fmla="*/ 6941759 w 11856555"/>
              <a:gd name="connsiteY2547" fmla="*/ 306433 h 4071735"/>
              <a:gd name="connsiteX2548" fmla="*/ 7233392 w 11856555"/>
              <a:gd name="connsiteY2548" fmla="*/ 295048 h 4071735"/>
              <a:gd name="connsiteX2549" fmla="*/ 6957899 w 11856555"/>
              <a:gd name="connsiteY2549" fmla="*/ 445179 h 4071735"/>
              <a:gd name="connsiteX2550" fmla="*/ 6692678 w 11856555"/>
              <a:gd name="connsiteY2550" fmla="*/ 562268 h 4071735"/>
              <a:gd name="connsiteX2551" fmla="*/ 6773675 w 11856555"/>
              <a:gd name="connsiteY2551" fmla="*/ 581335 h 4071735"/>
              <a:gd name="connsiteX2552" fmla="*/ 6971841 w 11856555"/>
              <a:gd name="connsiteY2552" fmla="*/ 601642 h 4071735"/>
              <a:gd name="connsiteX2553" fmla="*/ 6746023 w 11856555"/>
              <a:gd name="connsiteY2553" fmla="*/ 694777 h 4071735"/>
              <a:gd name="connsiteX2554" fmla="*/ 6678266 w 11856555"/>
              <a:gd name="connsiteY2554" fmla="*/ 718338 h 4071735"/>
              <a:gd name="connsiteX2555" fmla="*/ 6593000 w 11856555"/>
              <a:gd name="connsiteY2555" fmla="*/ 778505 h 4071735"/>
              <a:gd name="connsiteX2556" fmla="*/ 6627041 w 11856555"/>
              <a:gd name="connsiteY2556" fmla="*/ 757948 h 4071735"/>
              <a:gd name="connsiteX2557" fmla="*/ 6616705 w 11856555"/>
              <a:gd name="connsiteY2557" fmla="*/ 811438 h 4071735"/>
              <a:gd name="connsiteX2558" fmla="*/ 6892906 w 11856555"/>
              <a:gd name="connsiteY2558" fmla="*/ 690449 h 4071735"/>
              <a:gd name="connsiteX2559" fmla="*/ 6977906 w 11856555"/>
              <a:gd name="connsiteY2559" fmla="*/ 712080 h 4071735"/>
              <a:gd name="connsiteX2560" fmla="*/ 7070532 w 11856555"/>
              <a:gd name="connsiteY2560" fmla="*/ 692145 h 4071735"/>
              <a:gd name="connsiteX2561" fmla="*/ 7207016 w 11856555"/>
              <a:gd name="connsiteY2561" fmla="*/ 677061 h 4071735"/>
              <a:gd name="connsiteX2562" fmla="*/ 7179369 w 11856555"/>
              <a:gd name="connsiteY2562" fmla="*/ 705809 h 4071735"/>
              <a:gd name="connsiteX2563" fmla="*/ 7238344 w 11856555"/>
              <a:gd name="connsiteY2563" fmla="*/ 668429 h 4071735"/>
              <a:gd name="connsiteX2564" fmla="*/ 7222710 w 11856555"/>
              <a:gd name="connsiteY2564" fmla="*/ 704868 h 4071735"/>
              <a:gd name="connsiteX2565" fmla="*/ 7802623 w 11856555"/>
              <a:gd name="connsiteY2565" fmla="*/ 559735 h 4071735"/>
              <a:gd name="connsiteX2566" fmla="*/ 7777498 w 11856555"/>
              <a:gd name="connsiteY2566" fmla="*/ 553214 h 4071735"/>
              <a:gd name="connsiteX2567" fmla="*/ 7798912 w 11856555"/>
              <a:gd name="connsiteY2567" fmla="*/ 542360 h 4071735"/>
              <a:gd name="connsiteX2568" fmla="*/ 7797845 w 11856555"/>
              <a:gd name="connsiteY2568" fmla="*/ 548480 h 4071735"/>
              <a:gd name="connsiteX2569" fmla="*/ 7928840 w 11856555"/>
              <a:gd name="connsiteY2569" fmla="*/ 492999 h 4071735"/>
              <a:gd name="connsiteX2570" fmla="*/ 7976445 w 11856555"/>
              <a:gd name="connsiteY2570" fmla="*/ 497519 h 4071735"/>
              <a:gd name="connsiteX2571" fmla="*/ 7954675 w 11856555"/>
              <a:gd name="connsiteY2571" fmla="*/ 528663 h 4071735"/>
              <a:gd name="connsiteX2572" fmla="*/ 8085995 w 11856555"/>
              <a:gd name="connsiteY2572" fmla="*/ 455631 h 4071735"/>
              <a:gd name="connsiteX2573" fmla="*/ 8125848 w 11856555"/>
              <a:gd name="connsiteY2573" fmla="*/ 457921 h 4071735"/>
              <a:gd name="connsiteX2574" fmla="*/ 8086061 w 11856555"/>
              <a:gd name="connsiteY2574" fmla="*/ 435182 h 4071735"/>
              <a:gd name="connsiteX2575" fmla="*/ 8297418 w 11856555"/>
              <a:gd name="connsiteY2575" fmla="*/ 420455 h 4071735"/>
              <a:gd name="connsiteX2576" fmla="*/ 8316481 w 11856555"/>
              <a:gd name="connsiteY2576" fmla="*/ 420595 h 4071735"/>
              <a:gd name="connsiteX2577" fmla="*/ 8303185 w 11856555"/>
              <a:gd name="connsiteY2577" fmla="*/ 424596 h 4071735"/>
              <a:gd name="connsiteX2578" fmla="*/ 8290169 w 11856555"/>
              <a:gd name="connsiteY2578" fmla="*/ 437437 h 4071735"/>
              <a:gd name="connsiteX2579" fmla="*/ 8306866 w 11856555"/>
              <a:gd name="connsiteY2579" fmla="*/ 434125 h 4071735"/>
              <a:gd name="connsiteX2580" fmla="*/ 8316864 w 11856555"/>
              <a:gd name="connsiteY2580" fmla="*/ 420598 h 4071735"/>
              <a:gd name="connsiteX2581" fmla="*/ 8321909 w 11856555"/>
              <a:gd name="connsiteY2581" fmla="*/ 420634 h 4071735"/>
              <a:gd name="connsiteX2582" fmla="*/ 8330347 w 11856555"/>
              <a:gd name="connsiteY2582" fmla="*/ 422175 h 4071735"/>
              <a:gd name="connsiteX2583" fmla="*/ 8478008 w 11856555"/>
              <a:gd name="connsiteY2583" fmla="*/ 341845 h 4071735"/>
              <a:gd name="connsiteX2584" fmla="*/ 8342167 w 11856555"/>
              <a:gd name="connsiteY2584" fmla="*/ 406519 h 4071735"/>
              <a:gd name="connsiteX2585" fmla="*/ 8636976 w 11856555"/>
              <a:gd name="connsiteY2585" fmla="*/ 240065 h 4071735"/>
              <a:gd name="connsiteX2586" fmla="*/ 8612685 w 11856555"/>
              <a:gd name="connsiteY2586" fmla="*/ 306481 h 4071735"/>
              <a:gd name="connsiteX2587" fmla="*/ 8922856 w 11856555"/>
              <a:gd name="connsiteY2587" fmla="*/ 270080 h 4071735"/>
              <a:gd name="connsiteX2588" fmla="*/ 8919578 w 11856555"/>
              <a:gd name="connsiteY2588" fmla="*/ 277304 h 4071735"/>
              <a:gd name="connsiteX2589" fmla="*/ 8915882 w 11856555"/>
              <a:gd name="connsiteY2589" fmla="*/ 278550 h 4071735"/>
              <a:gd name="connsiteX2590" fmla="*/ 8903284 w 11856555"/>
              <a:gd name="connsiteY2590" fmla="*/ 283506 h 4071735"/>
              <a:gd name="connsiteX2591" fmla="*/ 8915951 w 11856555"/>
              <a:gd name="connsiteY2591" fmla="*/ 285297 h 4071735"/>
              <a:gd name="connsiteX2592" fmla="*/ 8919578 w 11856555"/>
              <a:gd name="connsiteY2592" fmla="*/ 277304 h 4071735"/>
              <a:gd name="connsiteX2593" fmla="*/ 8935758 w 11856555"/>
              <a:gd name="connsiteY2593" fmla="*/ 271850 h 4071735"/>
              <a:gd name="connsiteX2594" fmla="*/ 8971816 w 11856555"/>
              <a:gd name="connsiteY2594" fmla="*/ 268637 h 4071735"/>
              <a:gd name="connsiteX2595" fmla="*/ 8952370 w 11856555"/>
              <a:gd name="connsiteY2595" fmla="*/ 325859 h 4071735"/>
              <a:gd name="connsiteX2596" fmla="*/ 9133233 w 11856555"/>
              <a:gd name="connsiteY2596" fmla="*/ 236731 h 4071735"/>
              <a:gd name="connsiteX2597" fmla="*/ 9095122 w 11856555"/>
              <a:gd name="connsiteY2597" fmla="*/ 275172 h 4071735"/>
              <a:gd name="connsiteX2598" fmla="*/ 9163848 w 11856555"/>
              <a:gd name="connsiteY2598" fmla="*/ 283651 h 4071735"/>
              <a:gd name="connsiteX2599" fmla="*/ 9455480 w 11856555"/>
              <a:gd name="connsiteY2599" fmla="*/ 272266 h 4071735"/>
              <a:gd name="connsiteX2600" fmla="*/ 9179987 w 11856555"/>
              <a:gd name="connsiteY2600" fmla="*/ 422395 h 4071735"/>
              <a:gd name="connsiteX2601" fmla="*/ 8914766 w 11856555"/>
              <a:gd name="connsiteY2601" fmla="*/ 539485 h 4071735"/>
              <a:gd name="connsiteX2602" fmla="*/ 8922044 w 11856555"/>
              <a:gd name="connsiteY2602" fmla="*/ 547184 h 4071735"/>
              <a:gd name="connsiteX2603" fmla="*/ 8917672 w 11856555"/>
              <a:gd name="connsiteY2603" fmla="*/ 550908 h 4071735"/>
              <a:gd name="connsiteX2604" fmla="*/ 8933258 w 11856555"/>
              <a:gd name="connsiteY2604" fmla="*/ 558965 h 4071735"/>
              <a:gd name="connsiteX2605" fmla="*/ 8932666 w 11856555"/>
              <a:gd name="connsiteY2605" fmla="*/ 556093 h 4071735"/>
              <a:gd name="connsiteX2606" fmla="*/ 8957148 w 11856555"/>
              <a:gd name="connsiteY2606" fmla="*/ 557248 h 4071735"/>
              <a:gd name="connsiteX2607" fmla="*/ 9124692 w 11856555"/>
              <a:gd name="connsiteY2607" fmla="*/ 479892 h 4071735"/>
              <a:gd name="connsiteX2608" fmla="*/ 9261176 w 11856555"/>
              <a:gd name="connsiteY2608" fmla="*/ 464808 h 4071735"/>
              <a:gd name="connsiteX2609" fmla="*/ 9233529 w 11856555"/>
              <a:gd name="connsiteY2609" fmla="*/ 493556 h 4071735"/>
              <a:gd name="connsiteX2610" fmla="*/ 9292505 w 11856555"/>
              <a:gd name="connsiteY2610" fmla="*/ 456176 h 4071735"/>
              <a:gd name="connsiteX2611" fmla="*/ 9276871 w 11856555"/>
              <a:gd name="connsiteY2611" fmla="*/ 492615 h 4071735"/>
              <a:gd name="connsiteX2612" fmla="*/ 9856784 w 11856555"/>
              <a:gd name="connsiteY2612" fmla="*/ 347482 h 4071735"/>
              <a:gd name="connsiteX2613" fmla="*/ 9831658 w 11856555"/>
              <a:gd name="connsiteY2613" fmla="*/ 340961 h 4071735"/>
              <a:gd name="connsiteX2614" fmla="*/ 9853069 w 11856555"/>
              <a:gd name="connsiteY2614" fmla="*/ 330108 h 4071735"/>
              <a:gd name="connsiteX2615" fmla="*/ 9852004 w 11856555"/>
              <a:gd name="connsiteY2615" fmla="*/ 336227 h 4071735"/>
              <a:gd name="connsiteX2616" fmla="*/ 9983000 w 11856555"/>
              <a:gd name="connsiteY2616" fmla="*/ 280747 h 4071735"/>
              <a:gd name="connsiteX2617" fmla="*/ 10030604 w 11856555"/>
              <a:gd name="connsiteY2617" fmla="*/ 285267 h 4071735"/>
              <a:gd name="connsiteX2618" fmla="*/ 10008836 w 11856555"/>
              <a:gd name="connsiteY2618" fmla="*/ 316412 h 4071735"/>
              <a:gd name="connsiteX2619" fmla="*/ 10140155 w 11856555"/>
              <a:gd name="connsiteY2619" fmla="*/ 243378 h 4071735"/>
              <a:gd name="connsiteX2620" fmla="*/ 10180008 w 11856555"/>
              <a:gd name="connsiteY2620" fmla="*/ 245669 h 4071735"/>
              <a:gd name="connsiteX2621" fmla="*/ 10140220 w 11856555"/>
              <a:gd name="connsiteY2621" fmla="*/ 222929 h 4071735"/>
              <a:gd name="connsiteX2622" fmla="*/ 10351579 w 11856555"/>
              <a:gd name="connsiteY2622" fmla="*/ 208202 h 4071735"/>
              <a:gd name="connsiteX2623" fmla="*/ 10373221 w 11856555"/>
              <a:gd name="connsiteY2623" fmla="*/ 208360 h 4071735"/>
              <a:gd name="connsiteX2624" fmla="*/ 10361093 w 11856555"/>
              <a:gd name="connsiteY2624" fmla="*/ 212010 h 4071735"/>
              <a:gd name="connsiteX2625" fmla="*/ 10348078 w 11856555"/>
              <a:gd name="connsiteY2625" fmla="*/ 224851 h 4071735"/>
              <a:gd name="connsiteX2626" fmla="*/ 10364774 w 11856555"/>
              <a:gd name="connsiteY2626" fmla="*/ 221538 h 4071735"/>
              <a:gd name="connsiteX2627" fmla="*/ 10374507 w 11856555"/>
              <a:gd name="connsiteY2627" fmla="*/ 208370 h 4071735"/>
              <a:gd name="connsiteX2628" fmla="*/ 10376069 w 11856555"/>
              <a:gd name="connsiteY2628" fmla="*/ 208382 h 4071735"/>
              <a:gd name="connsiteX2629" fmla="*/ 10384507 w 11856555"/>
              <a:gd name="connsiteY2629" fmla="*/ 209922 h 4071735"/>
              <a:gd name="connsiteX2630" fmla="*/ 10532168 w 11856555"/>
              <a:gd name="connsiteY2630" fmla="*/ 129593 h 4071735"/>
              <a:gd name="connsiteX2631" fmla="*/ 10396329 w 11856555"/>
              <a:gd name="connsiteY2631" fmla="*/ 194266 h 4071735"/>
              <a:gd name="connsiteX2632" fmla="*/ 10691135 w 11856555"/>
              <a:gd name="connsiteY2632" fmla="*/ 27813 h 4071735"/>
              <a:gd name="connsiteX2633" fmla="*/ 10666845 w 11856555"/>
              <a:gd name="connsiteY2633" fmla="*/ 94228 h 4071735"/>
              <a:gd name="connsiteX2634" fmla="*/ 10977017 w 11856555"/>
              <a:gd name="connsiteY2634" fmla="*/ 57827 h 4071735"/>
              <a:gd name="connsiteX2635" fmla="*/ 10973739 w 11856555"/>
              <a:gd name="connsiteY2635" fmla="*/ 65051 h 4071735"/>
              <a:gd name="connsiteX2636" fmla="*/ 10970044 w 11856555"/>
              <a:gd name="connsiteY2636" fmla="*/ 66298 h 4071735"/>
              <a:gd name="connsiteX2637" fmla="*/ 10957445 w 11856555"/>
              <a:gd name="connsiteY2637" fmla="*/ 71253 h 4071735"/>
              <a:gd name="connsiteX2638" fmla="*/ 10970113 w 11856555"/>
              <a:gd name="connsiteY2638" fmla="*/ 73045 h 4071735"/>
              <a:gd name="connsiteX2639" fmla="*/ 10973739 w 11856555"/>
              <a:gd name="connsiteY2639" fmla="*/ 65051 h 4071735"/>
              <a:gd name="connsiteX2640" fmla="*/ 10989918 w 11856555"/>
              <a:gd name="connsiteY2640" fmla="*/ 59598 h 4071735"/>
              <a:gd name="connsiteX2641" fmla="*/ 11025976 w 11856555"/>
              <a:gd name="connsiteY2641" fmla="*/ 56385 h 4071735"/>
              <a:gd name="connsiteX2642" fmla="*/ 11006532 w 11856555"/>
              <a:gd name="connsiteY2642" fmla="*/ 113606 h 4071735"/>
              <a:gd name="connsiteX2643" fmla="*/ 11187393 w 11856555"/>
              <a:gd name="connsiteY2643" fmla="*/ 24478 h 4071735"/>
              <a:gd name="connsiteX2644" fmla="*/ 11149282 w 11856555"/>
              <a:gd name="connsiteY2644" fmla="*/ 62919 h 4071735"/>
              <a:gd name="connsiteX2645" fmla="*/ 11264419 w 11856555"/>
              <a:gd name="connsiteY2645" fmla="*/ 40 h 407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Lst>
            <a:rect l="l" t="t" r="r" b="b"/>
            <a:pathLst>
              <a:path w="11856555" h="4071735">
                <a:moveTo>
                  <a:pt x="560809" y="3976978"/>
                </a:moveTo>
                <a:lnTo>
                  <a:pt x="563867" y="3984634"/>
                </a:lnTo>
                <a:cubicBezTo>
                  <a:pt x="564188" y="3990538"/>
                  <a:pt x="560602" y="3992682"/>
                  <a:pt x="550123" y="3986314"/>
                </a:cubicBezTo>
                <a:close/>
                <a:moveTo>
                  <a:pt x="2789873" y="3947733"/>
                </a:moveTo>
                <a:lnTo>
                  <a:pt x="2792933" y="3955388"/>
                </a:lnTo>
                <a:cubicBezTo>
                  <a:pt x="2793251" y="3961292"/>
                  <a:pt x="2789667" y="3963436"/>
                  <a:pt x="2779189" y="3957068"/>
                </a:cubicBezTo>
                <a:close/>
                <a:moveTo>
                  <a:pt x="539016" y="3942128"/>
                </a:moveTo>
                <a:cubicBezTo>
                  <a:pt x="541006" y="3943091"/>
                  <a:pt x="543513" y="3945492"/>
                  <a:pt x="546164" y="3948735"/>
                </a:cubicBezTo>
                <a:lnTo>
                  <a:pt x="546561" y="3949311"/>
                </a:lnTo>
                <a:lnTo>
                  <a:pt x="536302" y="3958341"/>
                </a:lnTo>
                <a:cubicBezTo>
                  <a:pt x="533136" y="3944020"/>
                  <a:pt x="535038" y="3940199"/>
                  <a:pt x="539016" y="3942128"/>
                </a:cubicBezTo>
                <a:close/>
                <a:moveTo>
                  <a:pt x="596445" y="3938116"/>
                </a:moveTo>
                <a:lnTo>
                  <a:pt x="603219" y="3946538"/>
                </a:lnTo>
                <a:cubicBezTo>
                  <a:pt x="602412" y="3948070"/>
                  <a:pt x="600660" y="3946947"/>
                  <a:pt x="598823" y="3944875"/>
                </a:cubicBezTo>
                <a:lnTo>
                  <a:pt x="595293" y="3939573"/>
                </a:lnTo>
                <a:close/>
                <a:moveTo>
                  <a:pt x="1448542" y="3927428"/>
                </a:moveTo>
                <a:cubicBezTo>
                  <a:pt x="1444626" y="3928508"/>
                  <a:pt x="1441137" y="3931739"/>
                  <a:pt x="1438974" y="3939233"/>
                </a:cubicBezTo>
                <a:cubicBezTo>
                  <a:pt x="1446981" y="3944360"/>
                  <a:pt x="1461710" y="3940127"/>
                  <a:pt x="1460677" y="3928537"/>
                </a:cubicBezTo>
                <a:cubicBezTo>
                  <a:pt x="1456802" y="3927423"/>
                  <a:pt x="1452456" y="3926349"/>
                  <a:pt x="1448542" y="3927428"/>
                </a:cubicBezTo>
                <a:close/>
                <a:moveTo>
                  <a:pt x="889638" y="3924201"/>
                </a:moveTo>
                <a:lnTo>
                  <a:pt x="892720" y="3932422"/>
                </a:lnTo>
                <a:cubicBezTo>
                  <a:pt x="892447" y="3934637"/>
                  <a:pt x="891368" y="3931812"/>
                  <a:pt x="890064" y="3926452"/>
                </a:cubicBezTo>
                <a:close/>
                <a:moveTo>
                  <a:pt x="888753" y="3919522"/>
                </a:moveTo>
                <a:lnTo>
                  <a:pt x="889638" y="3924201"/>
                </a:lnTo>
                <a:lnTo>
                  <a:pt x="888058" y="3919986"/>
                </a:lnTo>
                <a:close/>
                <a:moveTo>
                  <a:pt x="2821465" y="3913984"/>
                </a:moveTo>
                <a:lnTo>
                  <a:pt x="2829056" y="3923420"/>
                </a:lnTo>
                <a:cubicBezTo>
                  <a:pt x="2828248" y="3924952"/>
                  <a:pt x="2826495" y="3923831"/>
                  <a:pt x="2824658" y="3921758"/>
                </a:cubicBezTo>
                <a:lnTo>
                  <a:pt x="2820389" y="3915345"/>
                </a:lnTo>
                <a:close/>
                <a:moveTo>
                  <a:pt x="3681645" y="3913001"/>
                </a:moveTo>
                <a:lnTo>
                  <a:pt x="3679049" y="3917039"/>
                </a:lnTo>
                <a:lnTo>
                  <a:pt x="3670491" y="3916485"/>
                </a:lnTo>
                <a:close/>
                <a:moveTo>
                  <a:pt x="2768082" y="3912883"/>
                </a:moveTo>
                <a:cubicBezTo>
                  <a:pt x="2770070" y="3913847"/>
                  <a:pt x="2772578" y="3916247"/>
                  <a:pt x="2775228" y="3919489"/>
                </a:cubicBezTo>
                <a:lnTo>
                  <a:pt x="2775626" y="3920066"/>
                </a:lnTo>
                <a:lnTo>
                  <a:pt x="2765366" y="3929096"/>
                </a:lnTo>
                <a:cubicBezTo>
                  <a:pt x="2762203" y="3914776"/>
                  <a:pt x="2764105" y="3910955"/>
                  <a:pt x="2768082" y="3912883"/>
                </a:cubicBezTo>
                <a:close/>
                <a:moveTo>
                  <a:pt x="3118704" y="3894956"/>
                </a:moveTo>
                <a:lnTo>
                  <a:pt x="3121786" y="3903176"/>
                </a:lnTo>
                <a:cubicBezTo>
                  <a:pt x="3121513" y="3905391"/>
                  <a:pt x="3120435" y="3902566"/>
                  <a:pt x="3119130" y="3897207"/>
                </a:cubicBezTo>
                <a:close/>
                <a:moveTo>
                  <a:pt x="3117819" y="3890275"/>
                </a:moveTo>
                <a:lnTo>
                  <a:pt x="3118704" y="3894956"/>
                </a:lnTo>
                <a:lnTo>
                  <a:pt x="3117124" y="3890740"/>
                </a:lnTo>
                <a:close/>
                <a:moveTo>
                  <a:pt x="897285" y="3885652"/>
                </a:moveTo>
                <a:cubicBezTo>
                  <a:pt x="894209" y="3885562"/>
                  <a:pt x="890591" y="3887343"/>
                  <a:pt x="887491" y="3894920"/>
                </a:cubicBezTo>
                <a:cubicBezTo>
                  <a:pt x="895499" y="3900049"/>
                  <a:pt x="898470" y="3891022"/>
                  <a:pt x="903833" y="3887624"/>
                </a:cubicBezTo>
                <a:cubicBezTo>
                  <a:pt x="902896" y="3887707"/>
                  <a:pt x="900362" y="3885742"/>
                  <a:pt x="897285" y="3885652"/>
                </a:cubicBezTo>
                <a:close/>
                <a:moveTo>
                  <a:pt x="1666423" y="3876074"/>
                </a:moveTo>
                <a:lnTo>
                  <a:pt x="1665071" y="3883675"/>
                </a:lnTo>
                <a:cubicBezTo>
                  <a:pt x="1661850" y="3887247"/>
                  <a:pt x="1657297" y="3889114"/>
                  <a:pt x="1655035" y="3884934"/>
                </a:cubicBezTo>
                <a:lnTo>
                  <a:pt x="1657601" y="3878726"/>
                </a:lnTo>
                <a:close/>
                <a:moveTo>
                  <a:pt x="3114632" y="3870569"/>
                </a:moveTo>
                <a:lnTo>
                  <a:pt x="3114736" y="3871735"/>
                </a:lnTo>
                <a:lnTo>
                  <a:pt x="3113326" y="3871804"/>
                </a:lnTo>
                <a:close/>
                <a:moveTo>
                  <a:pt x="1184558" y="3857133"/>
                </a:moveTo>
                <a:cubicBezTo>
                  <a:pt x="1181078" y="3857808"/>
                  <a:pt x="1177994" y="3860274"/>
                  <a:pt x="1175701" y="3866318"/>
                </a:cubicBezTo>
                <a:cubicBezTo>
                  <a:pt x="1183710" y="3871444"/>
                  <a:pt x="1196564" y="3867378"/>
                  <a:pt x="1195790" y="3858686"/>
                </a:cubicBezTo>
                <a:cubicBezTo>
                  <a:pt x="1191913" y="3857571"/>
                  <a:pt x="1188037" y="3856458"/>
                  <a:pt x="1184558" y="3857133"/>
                </a:cubicBezTo>
                <a:close/>
                <a:moveTo>
                  <a:pt x="3890607" y="3847740"/>
                </a:moveTo>
                <a:lnTo>
                  <a:pt x="3892951" y="3849059"/>
                </a:lnTo>
                <a:cubicBezTo>
                  <a:pt x="3899085" y="3854353"/>
                  <a:pt x="3885392" y="3870176"/>
                  <a:pt x="3880870" y="3861818"/>
                </a:cubicBezTo>
                <a:cubicBezTo>
                  <a:pt x="3882484" y="3858754"/>
                  <a:pt x="3883907" y="3853516"/>
                  <a:pt x="3885723" y="3850068"/>
                </a:cubicBezTo>
                <a:lnTo>
                  <a:pt x="3886773" y="3848938"/>
                </a:lnTo>
                <a:close/>
                <a:moveTo>
                  <a:pt x="1249142" y="3834356"/>
                </a:moveTo>
                <a:cubicBezTo>
                  <a:pt x="1246924" y="3833961"/>
                  <a:pt x="1244840" y="3834420"/>
                  <a:pt x="1242781" y="3835151"/>
                </a:cubicBezTo>
                <a:cubicBezTo>
                  <a:pt x="1238664" y="3836612"/>
                  <a:pt x="1234643" y="3839161"/>
                  <a:pt x="1229829" y="3838129"/>
                </a:cubicBezTo>
                <a:cubicBezTo>
                  <a:pt x="1230862" y="3849720"/>
                  <a:pt x="1249337" y="3845154"/>
                  <a:pt x="1256312" y="3838691"/>
                </a:cubicBezTo>
                <a:cubicBezTo>
                  <a:pt x="1253714" y="3836002"/>
                  <a:pt x="1251361" y="3834752"/>
                  <a:pt x="1249142" y="3834356"/>
                </a:cubicBezTo>
                <a:close/>
                <a:moveTo>
                  <a:pt x="3410394" y="3834015"/>
                </a:moveTo>
                <a:cubicBezTo>
                  <a:pt x="3406913" y="3834691"/>
                  <a:pt x="3403830" y="3837155"/>
                  <a:pt x="3401536" y="3843201"/>
                </a:cubicBezTo>
                <a:cubicBezTo>
                  <a:pt x="3409547" y="3848328"/>
                  <a:pt x="3422397" y="3844263"/>
                  <a:pt x="3421625" y="3835571"/>
                </a:cubicBezTo>
                <a:cubicBezTo>
                  <a:pt x="3417751" y="3834455"/>
                  <a:pt x="3413876" y="3833340"/>
                  <a:pt x="3410394" y="3834015"/>
                </a:cubicBezTo>
                <a:close/>
                <a:moveTo>
                  <a:pt x="1347352" y="3818970"/>
                </a:moveTo>
                <a:lnTo>
                  <a:pt x="1358563" y="3820818"/>
                </a:lnTo>
                <a:cubicBezTo>
                  <a:pt x="1353717" y="3830010"/>
                  <a:pt x="1345967" y="3827780"/>
                  <a:pt x="1336343" y="3825718"/>
                </a:cubicBezTo>
                <a:lnTo>
                  <a:pt x="1345038" y="3820209"/>
                </a:lnTo>
                <a:close/>
                <a:moveTo>
                  <a:pt x="3474974" y="3811240"/>
                </a:moveTo>
                <a:cubicBezTo>
                  <a:pt x="3472758" y="3810845"/>
                  <a:pt x="3470675" y="3811304"/>
                  <a:pt x="3468618" y="3812035"/>
                </a:cubicBezTo>
                <a:cubicBezTo>
                  <a:pt x="3464498" y="3813496"/>
                  <a:pt x="3460477" y="3816045"/>
                  <a:pt x="3455667" y="3815013"/>
                </a:cubicBezTo>
                <a:cubicBezTo>
                  <a:pt x="3456699" y="3826603"/>
                  <a:pt x="3475171" y="3822037"/>
                  <a:pt x="3482146" y="3815575"/>
                </a:cubicBezTo>
                <a:cubicBezTo>
                  <a:pt x="3479549" y="3812886"/>
                  <a:pt x="3477196" y="3811636"/>
                  <a:pt x="3474974" y="3811240"/>
                </a:cubicBezTo>
                <a:close/>
                <a:moveTo>
                  <a:pt x="1400362" y="3799089"/>
                </a:moveTo>
                <a:lnTo>
                  <a:pt x="1400988" y="3799400"/>
                </a:lnTo>
                <a:lnTo>
                  <a:pt x="1400096" y="3799594"/>
                </a:lnTo>
                <a:close/>
                <a:moveTo>
                  <a:pt x="3572901" y="3795806"/>
                </a:moveTo>
                <a:cubicBezTo>
                  <a:pt x="3576709" y="3796196"/>
                  <a:pt x="3580650" y="3798036"/>
                  <a:pt x="3584396" y="3797702"/>
                </a:cubicBezTo>
                <a:cubicBezTo>
                  <a:pt x="3579552" y="3806895"/>
                  <a:pt x="3571802" y="3804664"/>
                  <a:pt x="3562180" y="3802601"/>
                </a:cubicBezTo>
                <a:cubicBezTo>
                  <a:pt x="3565407" y="3796473"/>
                  <a:pt x="3569089" y="3795414"/>
                  <a:pt x="3572901" y="3795806"/>
                </a:cubicBezTo>
                <a:close/>
                <a:moveTo>
                  <a:pt x="3629765" y="3769203"/>
                </a:moveTo>
                <a:lnTo>
                  <a:pt x="3637977" y="3772819"/>
                </a:lnTo>
                <a:lnTo>
                  <a:pt x="3637276" y="3774006"/>
                </a:lnTo>
                <a:cubicBezTo>
                  <a:pt x="3633425" y="3775810"/>
                  <a:pt x="3628743" y="3776227"/>
                  <a:pt x="3625930" y="3776478"/>
                </a:cubicBezTo>
                <a:close/>
                <a:moveTo>
                  <a:pt x="1746374" y="3765817"/>
                </a:moveTo>
                <a:cubicBezTo>
                  <a:pt x="1740755" y="3766318"/>
                  <a:pt x="1735135" y="3766818"/>
                  <a:pt x="1730291" y="3776011"/>
                </a:cubicBezTo>
                <a:cubicBezTo>
                  <a:pt x="1738300" y="3781139"/>
                  <a:pt x="1741273" y="3772112"/>
                  <a:pt x="1746374" y="3765817"/>
                </a:cubicBezTo>
                <a:close/>
                <a:moveTo>
                  <a:pt x="1545496" y="3757433"/>
                </a:moveTo>
                <a:cubicBezTo>
                  <a:pt x="1541491" y="3754869"/>
                  <a:pt x="1538277" y="3755885"/>
                  <a:pt x="1535363" y="3757606"/>
                </a:cubicBezTo>
                <a:cubicBezTo>
                  <a:pt x="1532447" y="3759326"/>
                  <a:pt x="1529832" y="3761748"/>
                  <a:pt x="1527022" y="3761998"/>
                </a:cubicBezTo>
                <a:cubicBezTo>
                  <a:pt x="1517398" y="3759936"/>
                  <a:pt x="1543040" y="3772253"/>
                  <a:pt x="1545496" y="3757433"/>
                </a:cubicBezTo>
                <a:close/>
                <a:moveTo>
                  <a:pt x="1824630" y="3743511"/>
                </a:moveTo>
                <a:cubicBezTo>
                  <a:pt x="1821949" y="3745210"/>
                  <a:pt x="1820398" y="3748999"/>
                  <a:pt x="1820787" y="3753345"/>
                </a:cubicBezTo>
                <a:cubicBezTo>
                  <a:pt x="1826921" y="3758639"/>
                  <a:pt x="1832025" y="3752343"/>
                  <a:pt x="1835255" y="3746214"/>
                </a:cubicBezTo>
                <a:cubicBezTo>
                  <a:pt x="1831121" y="3742202"/>
                  <a:pt x="1827309" y="3741811"/>
                  <a:pt x="1824630" y="3743511"/>
                </a:cubicBezTo>
                <a:close/>
                <a:moveTo>
                  <a:pt x="3972211" y="3742700"/>
                </a:moveTo>
                <a:cubicBezTo>
                  <a:pt x="3966591" y="3743200"/>
                  <a:pt x="3960970" y="3743701"/>
                  <a:pt x="3956125" y="3752894"/>
                </a:cubicBezTo>
                <a:cubicBezTo>
                  <a:pt x="3964134" y="3758022"/>
                  <a:pt x="3967109" y="3748995"/>
                  <a:pt x="3972211" y="3742700"/>
                </a:cubicBezTo>
                <a:close/>
                <a:moveTo>
                  <a:pt x="3771332" y="3734315"/>
                </a:moveTo>
                <a:cubicBezTo>
                  <a:pt x="3767327" y="3731753"/>
                  <a:pt x="3764113" y="3732769"/>
                  <a:pt x="3761200" y="3734489"/>
                </a:cubicBezTo>
                <a:cubicBezTo>
                  <a:pt x="3758283" y="3736208"/>
                  <a:pt x="3755667" y="3738632"/>
                  <a:pt x="3752858" y="3738882"/>
                </a:cubicBezTo>
                <a:cubicBezTo>
                  <a:pt x="3743231" y="3736819"/>
                  <a:pt x="3768875" y="3749137"/>
                  <a:pt x="3771332" y="3734315"/>
                </a:cubicBezTo>
                <a:close/>
                <a:moveTo>
                  <a:pt x="1628439" y="3732154"/>
                </a:moveTo>
                <a:cubicBezTo>
                  <a:pt x="1621684" y="3733120"/>
                  <a:pt x="1616322" y="3736519"/>
                  <a:pt x="1616159" y="3745295"/>
                </a:cubicBezTo>
                <a:cubicBezTo>
                  <a:pt x="1626881" y="3738497"/>
                  <a:pt x="1638638" y="3743292"/>
                  <a:pt x="1649102" y="3733598"/>
                </a:cubicBezTo>
                <a:cubicBezTo>
                  <a:pt x="1643353" y="3732650"/>
                  <a:pt x="1635198" y="3731186"/>
                  <a:pt x="1628439" y="3732154"/>
                </a:cubicBezTo>
                <a:close/>
                <a:moveTo>
                  <a:pt x="4849395" y="3732081"/>
                </a:moveTo>
                <a:lnTo>
                  <a:pt x="4852454" y="3739737"/>
                </a:lnTo>
                <a:cubicBezTo>
                  <a:pt x="4852770" y="3745641"/>
                  <a:pt x="4849189" y="3747785"/>
                  <a:pt x="4838707" y="3741418"/>
                </a:cubicBezTo>
                <a:close/>
                <a:moveTo>
                  <a:pt x="4050463" y="3720395"/>
                </a:moveTo>
                <a:cubicBezTo>
                  <a:pt x="4047784" y="3722093"/>
                  <a:pt x="4046234" y="3725882"/>
                  <a:pt x="4046620" y="3730229"/>
                </a:cubicBezTo>
                <a:cubicBezTo>
                  <a:pt x="4052754" y="3735522"/>
                  <a:pt x="4057858" y="3729228"/>
                  <a:pt x="4061086" y="3723098"/>
                </a:cubicBezTo>
                <a:cubicBezTo>
                  <a:pt x="4056954" y="3719086"/>
                  <a:pt x="4053143" y="3718696"/>
                  <a:pt x="4050463" y="3720395"/>
                </a:cubicBezTo>
                <a:close/>
                <a:moveTo>
                  <a:pt x="1129668" y="3716227"/>
                </a:moveTo>
                <a:cubicBezTo>
                  <a:pt x="1128116" y="3715682"/>
                  <a:pt x="1126091" y="3716136"/>
                  <a:pt x="1123947" y="3717239"/>
                </a:cubicBezTo>
                <a:cubicBezTo>
                  <a:pt x="1119660" y="3719445"/>
                  <a:pt x="1114896" y="3724251"/>
                  <a:pt x="1112473" y="3728848"/>
                </a:cubicBezTo>
                <a:cubicBezTo>
                  <a:pt x="1120483" y="3733975"/>
                  <a:pt x="1127201" y="3724616"/>
                  <a:pt x="1132562" y="3721217"/>
                </a:cubicBezTo>
                <a:cubicBezTo>
                  <a:pt x="1132303" y="3718320"/>
                  <a:pt x="1131223" y="3716774"/>
                  <a:pt x="1129668" y="3716227"/>
                </a:cubicBezTo>
                <a:close/>
                <a:moveTo>
                  <a:pt x="3854276" y="3709037"/>
                </a:moveTo>
                <a:cubicBezTo>
                  <a:pt x="3847517" y="3710004"/>
                  <a:pt x="3842156" y="3713403"/>
                  <a:pt x="3841994" y="3722179"/>
                </a:cubicBezTo>
                <a:cubicBezTo>
                  <a:pt x="3852716" y="3715381"/>
                  <a:pt x="3864471" y="3720176"/>
                  <a:pt x="3874934" y="3710481"/>
                </a:cubicBezTo>
                <a:cubicBezTo>
                  <a:pt x="3869186" y="3709534"/>
                  <a:pt x="3861036" y="3708070"/>
                  <a:pt x="3854276" y="3709037"/>
                </a:cubicBezTo>
                <a:close/>
                <a:moveTo>
                  <a:pt x="1946545" y="3702667"/>
                </a:moveTo>
                <a:cubicBezTo>
                  <a:pt x="1935390" y="3704619"/>
                  <a:pt x="1943383" y="3730738"/>
                  <a:pt x="1964312" y="3711350"/>
                </a:cubicBezTo>
                <a:cubicBezTo>
                  <a:pt x="1956108" y="3704049"/>
                  <a:pt x="1950262" y="3702015"/>
                  <a:pt x="1946545" y="3702667"/>
                </a:cubicBezTo>
                <a:close/>
                <a:moveTo>
                  <a:pt x="1915785" y="3702521"/>
                </a:moveTo>
                <a:cubicBezTo>
                  <a:pt x="1915710" y="3699618"/>
                  <a:pt x="1908866" y="3722132"/>
                  <a:pt x="1901722" y="3708166"/>
                </a:cubicBezTo>
                <a:cubicBezTo>
                  <a:pt x="1858572" y="3732454"/>
                  <a:pt x="1859863" y="3746941"/>
                  <a:pt x="1907210" y="3748564"/>
                </a:cubicBezTo>
                <a:cubicBezTo>
                  <a:pt x="1913436" y="3715153"/>
                  <a:pt x="1915828" y="3704262"/>
                  <a:pt x="1915785" y="3702521"/>
                </a:cubicBezTo>
                <a:close/>
                <a:moveTo>
                  <a:pt x="4878961" y="3700890"/>
                </a:moveTo>
                <a:lnTo>
                  <a:pt x="4886958" y="3710834"/>
                </a:lnTo>
                <a:cubicBezTo>
                  <a:pt x="4886155" y="3712365"/>
                  <a:pt x="4884400" y="3711245"/>
                  <a:pt x="4882564" y="3709171"/>
                </a:cubicBezTo>
                <a:lnTo>
                  <a:pt x="4877923" y="3702203"/>
                </a:lnTo>
                <a:close/>
                <a:moveTo>
                  <a:pt x="4827601" y="3697232"/>
                </a:moveTo>
                <a:cubicBezTo>
                  <a:pt x="4829589" y="3698196"/>
                  <a:pt x="4832097" y="3700597"/>
                  <a:pt x="4834750" y="3703838"/>
                </a:cubicBezTo>
                <a:lnTo>
                  <a:pt x="4835147" y="3704416"/>
                </a:lnTo>
                <a:lnTo>
                  <a:pt x="4824886" y="3713446"/>
                </a:lnTo>
                <a:cubicBezTo>
                  <a:pt x="4821721" y="3699125"/>
                  <a:pt x="4823625" y="3695304"/>
                  <a:pt x="4827601" y="3697232"/>
                </a:cubicBezTo>
                <a:close/>
                <a:moveTo>
                  <a:pt x="5741751" y="3696984"/>
                </a:moveTo>
                <a:lnTo>
                  <a:pt x="5736954" y="3704452"/>
                </a:lnTo>
                <a:cubicBezTo>
                  <a:pt x="5732401" y="3706318"/>
                  <a:pt x="5726718" y="3706094"/>
                  <a:pt x="5722712" y="3703530"/>
                </a:cubicBezTo>
                <a:lnTo>
                  <a:pt x="5723190" y="3702943"/>
                </a:lnTo>
                <a:close/>
                <a:moveTo>
                  <a:pt x="3355504" y="3693111"/>
                </a:moveTo>
                <a:cubicBezTo>
                  <a:pt x="3353950" y="3692565"/>
                  <a:pt x="3351927" y="3693019"/>
                  <a:pt x="3349784" y="3694123"/>
                </a:cubicBezTo>
                <a:cubicBezTo>
                  <a:pt x="3345494" y="3696329"/>
                  <a:pt x="3340732" y="3701135"/>
                  <a:pt x="3338306" y="3705732"/>
                </a:cubicBezTo>
                <a:cubicBezTo>
                  <a:pt x="3346319" y="3710859"/>
                  <a:pt x="3353035" y="3701499"/>
                  <a:pt x="3358395" y="3698101"/>
                </a:cubicBezTo>
                <a:cubicBezTo>
                  <a:pt x="3358138" y="3695204"/>
                  <a:pt x="3357057" y="3693658"/>
                  <a:pt x="3355504" y="3693111"/>
                </a:cubicBezTo>
                <a:close/>
                <a:moveTo>
                  <a:pt x="4172379" y="3679550"/>
                </a:moveTo>
                <a:cubicBezTo>
                  <a:pt x="4161224" y="3681502"/>
                  <a:pt x="4169217" y="3707622"/>
                  <a:pt x="4190145" y="3688233"/>
                </a:cubicBezTo>
                <a:cubicBezTo>
                  <a:pt x="4181942" y="3680933"/>
                  <a:pt x="4176096" y="3678899"/>
                  <a:pt x="4172379" y="3679550"/>
                </a:cubicBezTo>
                <a:close/>
                <a:moveTo>
                  <a:pt x="4141618" y="3679404"/>
                </a:moveTo>
                <a:cubicBezTo>
                  <a:pt x="4141544" y="3676502"/>
                  <a:pt x="4134699" y="3699016"/>
                  <a:pt x="4127557" y="3685050"/>
                </a:cubicBezTo>
                <a:cubicBezTo>
                  <a:pt x="4084406" y="3709338"/>
                  <a:pt x="4085698" y="3723825"/>
                  <a:pt x="4133042" y="3725447"/>
                </a:cubicBezTo>
                <a:cubicBezTo>
                  <a:pt x="4139270" y="3692037"/>
                  <a:pt x="4141662" y="3681146"/>
                  <a:pt x="4141618" y="3679404"/>
                </a:cubicBezTo>
                <a:close/>
                <a:moveTo>
                  <a:pt x="5178225" y="3679306"/>
                </a:moveTo>
                <a:lnTo>
                  <a:pt x="5181305" y="3687525"/>
                </a:lnTo>
                <a:cubicBezTo>
                  <a:pt x="5181031" y="3689740"/>
                  <a:pt x="5179953" y="3686917"/>
                  <a:pt x="5178651" y="3681556"/>
                </a:cubicBezTo>
                <a:close/>
                <a:moveTo>
                  <a:pt x="5177337" y="3674625"/>
                </a:moveTo>
                <a:lnTo>
                  <a:pt x="5178225" y="3679306"/>
                </a:lnTo>
                <a:lnTo>
                  <a:pt x="5176644" y="3675089"/>
                </a:lnTo>
                <a:close/>
                <a:moveTo>
                  <a:pt x="2033654" y="3673776"/>
                </a:moveTo>
                <a:cubicBezTo>
                  <a:pt x="2030908" y="3674751"/>
                  <a:pt x="2028358" y="3677899"/>
                  <a:pt x="2025932" y="3682495"/>
                </a:cubicBezTo>
                <a:cubicBezTo>
                  <a:pt x="2031552" y="3681994"/>
                  <a:pt x="2037691" y="3687289"/>
                  <a:pt x="2042535" y="3678095"/>
                </a:cubicBezTo>
                <a:cubicBezTo>
                  <a:pt x="2039340" y="3673999"/>
                  <a:pt x="2036400" y="3672801"/>
                  <a:pt x="2033654" y="3673776"/>
                </a:cubicBezTo>
                <a:close/>
                <a:moveTo>
                  <a:pt x="5174278" y="3656334"/>
                </a:moveTo>
                <a:lnTo>
                  <a:pt x="5174520" y="3659056"/>
                </a:lnTo>
                <a:lnTo>
                  <a:pt x="5171232" y="3659217"/>
                </a:lnTo>
                <a:close/>
                <a:moveTo>
                  <a:pt x="4259486" y="3650660"/>
                </a:moveTo>
                <a:cubicBezTo>
                  <a:pt x="4256740" y="3651634"/>
                  <a:pt x="4254189" y="3654782"/>
                  <a:pt x="4251766" y="3659379"/>
                </a:cubicBezTo>
                <a:cubicBezTo>
                  <a:pt x="4257386" y="3658878"/>
                  <a:pt x="4263522" y="3664172"/>
                  <a:pt x="4268366" y="3654979"/>
                </a:cubicBezTo>
                <a:cubicBezTo>
                  <a:pt x="4265170" y="3650884"/>
                  <a:pt x="4262231" y="3649686"/>
                  <a:pt x="4259486" y="3650660"/>
                </a:cubicBezTo>
                <a:close/>
                <a:moveTo>
                  <a:pt x="2141952" y="3650618"/>
                </a:moveTo>
                <a:cubicBezTo>
                  <a:pt x="2139894" y="3649706"/>
                  <a:pt x="2137377" y="3649931"/>
                  <a:pt x="2134748" y="3650895"/>
                </a:cubicBezTo>
                <a:cubicBezTo>
                  <a:pt x="2129493" y="3652824"/>
                  <a:pt x="2123793" y="3657713"/>
                  <a:pt x="2120431" y="3662393"/>
                </a:cubicBezTo>
                <a:cubicBezTo>
                  <a:pt x="2132187" y="3667185"/>
                  <a:pt x="2139164" y="3660724"/>
                  <a:pt x="2146399" y="3657157"/>
                </a:cubicBezTo>
                <a:cubicBezTo>
                  <a:pt x="2145609" y="3653577"/>
                  <a:pt x="2144010" y="3651530"/>
                  <a:pt x="2141952" y="3650618"/>
                </a:cubicBezTo>
                <a:close/>
                <a:moveTo>
                  <a:pt x="5946724" y="3634150"/>
                </a:moveTo>
                <a:cubicBezTo>
                  <a:pt x="5947903" y="3633815"/>
                  <a:pt x="5949255" y="3634426"/>
                  <a:pt x="5950854" y="3636473"/>
                </a:cubicBezTo>
                <a:cubicBezTo>
                  <a:pt x="5956990" y="3641766"/>
                  <a:pt x="5943296" y="3657589"/>
                  <a:pt x="5938776" y="3649232"/>
                </a:cubicBezTo>
                <a:cubicBezTo>
                  <a:pt x="5941197" y="3644634"/>
                  <a:pt x="5943185" y="3635149"/>
                  <a:pt x="5946724" y="3634150"/>
                </a:cubicBezTo>
                <a:close/>
                <a:moveTo>
                  <a:pt x="4367785" y="3627502"/>
                </a:moveTo>
                <a:cubicBezTo>
                  <a:pt x="4365726" y="3626590"/>
                  <a:pt x="4363210" y="3626815"/>
                  <a:pt x="4360584" y="3627779"/>
                </a:cubicBezTo>
                <a:cubicBezTo>
                  <a:pt x="4355325" y="3629707"/>
                  <a:pt x="4349623" y="3634595"/>
                  <a:pt x="4346266" y="3639277"/>
                </a:cubicBezTo>
                <a:cubicBezTo>
                  <a:pt x="4358021" y="3644069"/>
                  <a:pt x="4364997" y="3637607"/>
                  <a:pt x="4372230" y="3634042"/>
                </a:cubicBezTo>
                <a:cubicBezTo>
                  <a:pt x="4371441" y="3630462"/>
                  <a:pt x="4369842" y="3628414"/>
                  <a:pt x="4367785" y="3627502"/>
                </a:cubicBezTo>
                <a:close/>
                <a:moveTo>
                  <a:pt x="5468299" y="3621429"/>
                </a:moveTo>
                <a:cubicBezTo>
                  <a:pt x="5464819" y="3622104"/>
                  <a:pt x="5461734" y="3624570"/>
                  <a:pt x="5459440" y="3630615"/>
                </a:cubicBezTo>
                <a:cubicBezTo>
                  <a:pt x="5467450" y="3635742"/>
                  <a:pt x="5480304" y="3631676"/>
                  <a:pt x="5479529" y="3622984"/>
                </a:cubicBezTo>
                <a:cubicBezTo>
                  <a:pt x="5475654" y="3621869"/>
                  <a:pt x="5471779" y="3620753"/>
                  <a:pt x="5468299" y="3621429"/>
                </a:cubicBezTo>
                <a:close/>
                <a:moveTo>
                  <a:pt x="1112661" y="3617494"/>
                </a:moveTo>
                <a:lnTo>
                  <a:pt x="1113667" y="3617764"/>
                </a:lnTo>
                <a:lnTo>
                  <a:pt x="1113794" y="3617925"/>
                </a:lnTo>
                <a:lnTo>
                  <a:pt x="1112027" y="3617909"/>
                </a:lnTo>
                <a:close/>
                <a:moveTo>
                  <a:pt x="5532881" y="3598654"/>
                </a:moveTo>
                <a:cubicBezTo>
                  <a:pt x="5530663" y="3598258"/>
                  <a:pt x="5528582" y="3598718"/>
                  <a:pt x="5526521" y="3599448"/>
                </a:cubicBezTo>
                <a:cubicBezTo>
                  <a:pt x="5522403" y="3600910"/>
                  <a:pt x="5518384" y="3603458"/>
                  <a:pt x="5513573" y="3602426"/>
                </a:cubicBezTo>
                <a:cubicBezTo>
                  <a:pt x="5514603" y="3614017"/>
                  <a:pt x="5533075" y="3609451"/>
                  <a:pt x="5540051" y="3602988"/>
                </a:cubicBezTo>
                <a:cubicBezTo>
                  <a:pt x="5537452" y="3600299"/>
                  <a:pt x="5535102" y="3599049"/>
                  <a:pt x="5532881" y="3598654"/>
                </a:cubicBezTo>
                <a:close/>
                <a:moveTo>
                  <a:pt x="3338496" y="3594377"/>
                </a:moveTo>
                <a:lnTo>
                  <a:pt x="3339504" y="3594647"/>
                </a:lnTo>
                <a:lnTo>
                  <a:pt x="3339632" y="3594809"/>
                </a:lnTo>
                <a:lnTo>
                  <a:pt x="3337864" y="3594793"/>
                </a:lnTo>
                <a:close/>
                <a:moveTo>
                  <a:pt x="1022506" y="3587921"/>
                </a:moveTo>
                <a:lnTo>
                  <a:pt x="1011448" y="3607165"/>
                </a:lnTo>
                <a:lnTo>
                  <a:pt x="1011921" y="3604196"/>
                </a:lnTo>
                <a:cubicBezTo>
                  <a:pt x="1016127" y="3595791"/>
                  <a:pt x="1021570" y="3588003"/>
                  <a:pt x="1022506" y="3587921"/>
                </a:cubicBezTo>
                <a:close/>
                <a:moveTo>
                  <a:pt x="2318945" y="3585928"/>
                </a:moveTo>
                <a:cubicBezTo>
                  <a:pt x="2317104" y="3586457"/>
                  <a:pt x="2314891" y="3588114"/>
                  <a:pt x="2311952" y="3586916"/>
                </a:cubicBezTo>
                <a:cubicBezTo>
                  <a:pt x="2307106" y="3596109"/>
                  <a:pt x="2318863" y="3600902"/>
                  <a:pt x="2323707" y="3591709"/>
                </a:cubicBezTo>
                <a:cubicBezTo>
                  <a:pt x="2322255" y="3585999"/>
                  <a:pt x="2320786" y="3585400"/>
                  <a:pt x="2318945" y="3585928"/>
                </a:cubicBezTo>
                <a:close/>
                <a:moveTo>
                  <a:pt x="1074954" y="3583247"/>
                </a:moveTo>
                <a:cubicBezTo>
                  <a:pt x="1070691" y="3577786"/>
                  <a:pt x="1060486" y="3590377"/>
                  <a:pt x="1064748" y="3595838"/>
                </a:cubicBezTo>
                <a:cubicBezTo>
                  <a:pt x="1071143" y="3604029"/>
                  <a:pt x="1074954" y="3583247"/>
                  <a:pt x="1074954" y="3583247"/>
                </a:cubicBezTo>
                <a:close/>
                <a:moveTo>
                  <a:pt x="5630805" y="3583219"/>
                </a:moveTo>
                <a:cubicBezTo>
                  <a:pt x="5634617" y="3583609"/>
                  <a:pt x="5638555" y="3585449"/>
                  <a:pt x="5642302" y="3585115"/>
                </a:cubicBezTo>
                <a:cubicBezTo>
                  <a:pt x="5637456" y="3594309"/>
                  <a:pt x="5629708" y="3592078"/>
                  <a:pt x="5620083" y="3590017"/>
                </a:cubicBezTo>
                <a:cubicBezTo>
                  <a:pt x="5623317" y="3583886"/>
                  <a:pt x="5626995" y="3582829"/>
                  <a:pt x="5630805" y="3583219"/>
                </a:cubicBezTo>
                <a:close/>
                <a:moveTo>
                  <a:pt x="1095558" y="3581410"/>
                </a:moveTo>
                <a:cubicBezTo>
                  <a:pt x="1078117" y="3597567"/>
                  <a:pt x="1121717" y="3599523"/>
                  <a:pt x="1095558" y="3581410"/>
                </a:cubicBezTo>
                <a:close/>
                <a:moveTo>
                  <a:pt x="1193301" y="3578982"/>
                </a:moveTo>
                <a:cubicBezTo>
                  <a:pt x="1189016" y="3579404"/>
                  <a:pt x="1183316" y="3580984"/>
                  <a:pt x="1176913" y="3583288"/>
                </a:cubicBezTo>
                <a:cubicBezTo>
                  <a:pt x="1164106" y="3587897"/>
                  <a:pt x="1148491" y="3595403"/>
                  <a:pt x="1135775" y="3602332"/>
                </a:cubicBezTo>
                <a:lnTo>
                  <a:pt x="1112661" y="3617494"/>
                </a:lnTo>
                <a:lnTo>
                  <a:pt x="1095988" y="3613043"/>
                </a:lnTo>
                <a:cubicBezTo>
                  <a:pt x="1092191" y="3615115"/>
                  <a:pt x="1092084" y="3621877"/>
                  <a:pt x="1100464" y="3636463"/>
                </a:cubicBezTo>
                <a:cubicBezTo>
                  <a:pt x="1117646" y="3638583"/>
                  <a:pt x="1124142" y="3635996"/>
                  <a:pt x="1124744" y="3631835"/>
                </a:cubicBezTo>
                <a:lnTo>
                  <a:pt x="1113794" y="3617925"/>
                </a:lnTo>
                <a:lnTo>
                  <a:pt x="1125491" y="3618033"/>
                </a:lnTo>
                <a:cubicBezTo>
                  <a:pt x="1140218" y="3612477"/>
                  <a:pt x="1158180" y="3595544"/>
                  <a:pt x="1174359" y="3618197"/>
                </a:cubicBezTo>
                <a:cubicBezTo>
                  <a:pt x="1206262" y="3586879"/>
                  <a:pt x="1206152" y="3577716"/>
                  <a:pt x="1193301" y="3578982"/>
                </a:cubicBezTo>
                <a:close/>
                <a:moveTo>
                  <a:pt x="4544778" y="3562811"/>
                </a:moveTo>
                <a:cubicBezTo>
                  <a:pt x="4542936" y="3563341"/>
                  <a:pt x="4540725" y="3564998"/>
                  <a:pt x="4537784" y="3563800"/>
                </a:cubicBezTo>
                <a:cubicBezTo>
                  <a:pt x="4532941" y="3572992"/>
                  <a:pt x="4544696" y="3577787"/>
                  <a:pt x="4549542" y="3568592"/>
                </a:cubicBezTo>
                <a:cubicBezTo>
                  <a:pt x="4548087" y="3562882"/>
                  <a:pt x="4546617" y="3562283"/>
                  <a:pt x="4544778" y="3562811"/>
                </a:cubicBezTo>
                <a:close/>
                <a:moveTo>
                  <a:pt x="3300789" y="3560131"/>
                </a:moveTo>
                <a:cubicBezTo>
                  <a:pt x="3296526" y="3554669"/>
                  <a:pt x="3286318" y="3567260"/>
                  <a:pt x="3290581" y="3572722"/>
                </a:cubicBezTo>
                <a:cubicBezTo>
                  <a:pt x="3296977" y="3580913"/>
                  <a:pt x="3300789" y="3560131"/>
                  <a:pt x="3300789" y="3560131"/>
                </a:cubicBezTo>
                <a:close/>
                <a:moveTo>
                  <a:pt x="3251569" y="3558675"/>
                </a:moveTo>
                <a:lnTo>
                  <a:pt x="3240514" y="3577921"/>
                </a:lnTo>
                <a:lnTo>
                  <a:pt x="3240985" y="3574952"/>
                </a:lnTo>
                <a:cubicBezTo>
                  <a:pt x="3245192" y="3566545"/>
                  <a:pt x="3250633" y="3558758"/>
                  <a:pt x="3251569" y="3558675"/>
                </a:cubicBezTo>
                <a:close/>
                <a:moveTo>
                  <a:pt x="3321395" y="3558295"/>
                </a:moveTo>
                <a:cubicBezTo>
                  <a:pt x="3303955" y="3574451"/>
                  <a:pt x="3347552" y="3576407"/>
                  <a:pt x="3321395" y="3558295"/>
                </a:cubicBezTo>
                <a:close/>
                <a:moveTo>
                  <a:pt x="3419133" y="3555865"/>
                </a:moveTo>
                <a:cubicBezTo>
                  <a:pt x="3414849" y="3556287"/>
                  <a:pt x="3409150" y="3557867"/>
                  <a:pt x="3402745" y="3560171"/>
                </a:cubicBezTo>
                <a:cubicBezTo>
                  <a:pt x="3389941" y="3564780"/>
                  <a:pt x="3374326" y="3572287"/>
                  <a:pt x="3361607" y="3579216"/>
                </a:cubicBezTo>
                <a:lnTo>
                  <a:pt x="3338496" y="3594377"/>
                </a:lnTo>
                <a:lnTo>
                  <a:pt x="3321823" y="3589925"/>
                </a:lnTo>
                <a:cubicBezTo>
                  <a:pt x="3318025" y="3591998"/>
                  <a:pt x="3317920" y="3598760"/>
                  <a:pt x="3326297" y="3613346"/>
                </a:cubicBezTo>
                <a:cubicBezTo>
                  <a:pt x="3343480" y="3615466"/>
                  <a:pt x="3349975" y="3612879"/>
                  <a:pt x="3350580" y="3608718"/>
                </a:cubicBezTo>
                <a:lnTo>
                  <a:pt x="3339632" y="3594809"/>
                </a:lnTo>
                <a:lnTo>
                  <a:pt x="3351327" y="3594916"/>
                </a:lnTo>
                <a:cubicBezTo>
                  <a:pt x="3366052" y="3589361"/>
                  <a:pt x="3384015" y="3572426"/>
                  <a:pt x="3400195" y="3595079"/>
                </a:cubicBezTo>
                <a:cubicBezTo>
                  <a:pt x="3432094" y="3563762"/>
                  <a:pt x="3431989" y="3554600"/>
                  <a:pt x="3419133" y="3555865"/>
                </a:cubicBezTo>
                <a:close/>
                <a:moveTo>
                  <a:pt x="1276224" y="3553630"/>
                </a:moveTo>
                <a:cubicBezTo>
                  <a:pt x="1260205" y="3543375"/>
                  <a:pt x="1199292" y="3601371"/>
                  <a:pt x="1203879" y="3589282"/>
                </a:cubicBezTo>
                <a:cubicBezTo>
                  <a:pt x="1190251" y="3584654"/>
                  <a:pt x="1283518" y="3614310"/>
                  <a:pt x="1277191" y="3585668"/>
                </a:cubicBezTo>
                <a:cubicBezTo>
                  <a:pt x="1305420" y="3542267"/>
                  <a:pt x="1265434" y="3580876"/>
                  <a:pt x="1243217" y="3585776"/>
                </a:cubicBezTo>
                <a:cubicBezTo>
                  <a:pt x="1251033" y="3567556"/>
                  <a:pt x="1261496" y="3557862"/>
                  <a:pt x="1276224" y="3553630"/>
                </a:cubicBezTo>
                <a:close/>
                <a:moveTo>
                  <a:pt x="5689286" y="3553553"/>
                </a:moveTo>
                <a:lnTo>
                  <a:pt x="5697646" y="3557235"/>
                </a:lnTo>
                <a:lnTo>
                  <a:pt x="5695182" y="3561420"/>
                </a:lnTo>
                <a:cubicBezTo>
                  <a:pt x="5691329" y="3563223"/>
                  <a:pt x="5686646" y="3563641"/>
                  <a:pt x="5683837" y="3563891"/>
                </a:cubicBezTo>
                <a:close/>
                <a:moveTo>
                  <a:pt x="1311528" y="3543274"/>
                </a:moveTo>
                <a:cubicBezTo>
                  <a:pt x="1309058" y="3544680"/>
                  <a:pt x="1305663" y="3550275"/>
                  <a:pt x="1301607" y="3563050"/>
                </a:cubicBezTo>
                <a:cubicBezTo>
                  <a:pt x="1318030" y="3572539"/>
                  <a:pt x="1318941" y="3539054"/>
                  <a:pt x="1311528" y="3543274"/>
                </a:cubicBezTo>
                <a:close/>
                <a:moveTo>
                  <a:pt x="1348964" y="3540942"/>
                </a:moveTo>
                <a:cubicBezTo>
                  <a:pt x="1345419" y="3540893"/>
                  <a:pt x="1342205" y="3541910"/>
                  <a:pt x="1339653" y="3545057"/>
                </a:cubicBezTo>
                <a:cubicBezTo>
                  <a:pt x="1347920" y="3553082"/>
                  <a:pt x="1355414" y="3552414"/>
                  <a:pt x="1360258" y="3543221"/>
                </a:cubicBezTo>
                <a:cubicBezTo>
                  <a:pt x="1356384" y="3542105"/>
                  <a:pt x="1352508" y="3540991"/>
                  <a:pt x="1348964" y="3540942"/>
                </a:cubicBezTo>
                <a:close/>
                <a:moveTo>
                  <a:pt x="3502058" y="3530514"/>
                </a:moveTo>
                <a:cubicBezTo>
                  <a:pt x="3486042" y="3520258"/>
                  <a:pt x="3425129" y="3578254"/>
                  <a:pt x="3429715" y="3566164"/>
                </a:cubicBezTo>
                <a:cubicBezTo>
                  <a:pt x="3416085" y="3561538"/>
                  <a:pt x="3509354" y="3591193"/>
                  <a:pt x="3503028" y="3562552"/>
                </a:cubicBezTo>
                <a:cubicBezTo>
                  <a:pt x="3531255" y="3519149"/>
                  <a:pt x="3491271" y="3557759"/>
                  <a:pt x="3469049" y="3562658"/>
                </a:cubicBezTo>
                <a:cubicBezTo>
                  <a:pt x="3476866" y="3544441"/>
                  <a:pt x="3487332" y="3534745"/>
                  <a:pt x="3502058" y="3530514"/>
                </a:cubicBezTo>
                <a:close/>
                <a:moveTo>
                  <a:pt x="6030115" y="3530113"/>
                </a:moveTo>
                <a:cubicBezTo>
                  <a:pt x="6024496" y="3530614"/>
                  <a:pt x="6018877" y="3531115"/>
                  <a:pt x="6014033" y="3540309"/>
                </a:cubicBezTo>
                <a:cubicBezTo>
                  <a:pt x="6022040" y="3545435"/>
                  <a:pt x="6025011" y="3536409"/>
                  <a:pt x="6030115" y="3530113"/>
                </a:cubicBezTo>
                <a:close/>
                <a:moveTo>
                  <a:pt x="1385113" y="3523380"/>
                </a:moveTo>
                <a:cubicBezTo>
                  <a:pt x="1380205" y="3522483"/>
                  <a:pt x="1376198" y="3522955"/>
                  <a:pt x="1373056" y="3524284"/>
                </a:cubicBezTo>
                <a:cubicBezTo>
                  <a:pt x="1354208" y="3532260"/>
                  <a:pt x="1366522" y="3571137"/>
                  <a:pt x="1402568" y="3530689"/>
                </a:cubicBezTo>
                <a:cubicBezTo>
                  <a:pt x="1395827" y="3526544"/>
                  <a:pt x="1390020" y="3524278"/>
                  <a:pt x="1385113" y="3523380"/>
                </a:cubicBezTo>
                <a:close/>
                <a:moveTo>
                  <a:pt x="5829234" y="3521729"/>
                </a:moveTo>
                <a:cubicBezTo>
                  <a:pt x="5825231" y="3519166"/>
                  <a:pt x="5822019" y="3520182"/>
                  <a:pt x="5819103" y="3521903"/>
                </a:cubicBezTo>
                <a:cubicBezTo>
                  <a:pt x="5816187" y="3523623"/>
                  <a:pt x="5813572" y="3526045"/>
                  <a:pt x="5810764" y="3526296"/>
                </a:cubicBezTo>
                <a:cubicBezTo>
                  <a:pt x="5801140" y="3524233"/>
                  <a:pt x="5826779" y="3536550"/>
                  <a:pt x="5829234" y="3521729"/>
                </a:cubicBezTo>
                <a:close/>
                <a:moveTo>
                  <a:pt x="3537362" y="3520158"/>
                </a:moveTo>
                <a:cubicBezTo>
                  <a:pt x="3534893" y="3521564"/>
                  <a:pt x="3531498" y="3527160"/>
                  <a:pt x="3527443" y="3539934"/>
                </a:cubicBezTo>
                <a:cubicBezTo>
                  <a:pt x="3543864" y="3549422"/>
                  <a:pt x="3544774" y="3515939"/>
                  <a:pt x="3537362" y="3520158"/>
                </a:cubicBezTo>
                <a:close/>
                <a:moveTo>
                  <a:pt x="1276037" y="3519103"/>
                </a:moveTo>
                <a:cubicBezTo>
                  <a:pt x="1274271" y="3518484"/>
                  <a:pt x="1271939" y="3518783"/>
                  <a:pt x="1269412" y="3519557"/>
                </a:cubicBezTo>
                <a:cubicBezTo>
                  <a:pt x="1264356" y="3521101"/>
                  <a:pt x="1258527" y="3524542"/>
                  <a:pt x="1254911" y="3526324"/>
                </a:cubicBezTo>
                <a:cubicBezTo>
                  <a:pt x="1257558" y="3534850"/>
                  <a:pt x="1273643" y="3524654"/>
                  <a:pt x="1279261" y="3524154"/>
                </a:cubicBezTo>
                <a:cubicBezTo>
                  <a:pt x="1279002" y="3521256"/>
                  <a:pt x="1277805" y="3519720"/>
                  <a:pt x="1276037" y="3519103"/>
                </a:cubicBezTo>
                <a:close/>
                <a:moveTo>
                  <a:pt x="3574797" y="3517825"/>
                </a:moveTo>
                <a:cubicBezTo>
                  <a:pt x="3571255" y="3517775"/>
                  <a:pt x="3568040" y="3518793"/>
                  <a:pt x="3565487" y="3521941"/>
                </a:cubicBezTo>
                <a:cubicBezTo>
                  <a:pt x="3573755" y="3529965"/>
                  <a:pt x="3581248" y="3529297"/>
                  <a:pt x="3586093" y="3520105"/>
                </a:cubicBezTo>
                <a:cubicBezTo>
                  <a:pt x="3582219" y="3518989"/>
                  <a:pt x="3578344" y="3517875"/>
                  <a:pt x="3574797" y="3517825"/>
                </a:cubicBezTo>
                <a:close/>
                <a:moveTo>
                  <a:pt x="1426882" y="3512871"/>
                </a:moveTo>
                <a:cubicBezTo>
                  <a:pt x="1425324" y="3511960"/>
                  <a:pt x="1423344" y="3512228"/>
                  <a:pt x="1421316" y="3513320"/>
                </a:cubicBezTo>
                <a:cubicBezTo>
                  <a:pt x="1417262" y="3515508"/>
                  <a:pt x="1413031" y="3520996"/>
                  <a:pt x="1411674" y="3526957"/>
                </a:cubicBezTo>
                <a:cubicBezTo>
                  <a:pt x="1423431" y="3531750"/>
                  <a:pt x="1420266" y="3517430"/>
                  <a:pt x="1429890" y="3519494"/>
                </a:cubicBezTo>
                <a:cubicBezTo>
                  <a:pt x="1429568" y="3515872"/>
                  <a:pt x="1428436" y="3513782"/>
                  <a:pt x="1426882" y="3512871"/>
                </a:cubicBezTo>
                <a:close/>
                <a:moveTo>
                  <a:pt x="790819" y="3509271"/>
                </a:moveTo>
                <a:cubicBezTo>
                  <a:pt x="777449" y="3507540"/>
                  <a:pt x="763496" y="3520466"/>
                  <a:pt x="750643" y="3524532"/>
                </a:cubicBezTo>
                <a:cubicBezTo>
                  <a:pt x="758651" y="3529659"/>
                  <a:pt x="780871" y="3524758"/>
                  <a:pt x="790819" y="3509271"/>
                </a:cubicBezTo>
                <a:close/>
                <a:moveTo>
                  <a:pt x="6108369" y="3507808"/>
                </a:moveTo>
                <a:cubicBezTo>
                  <a:pt x="6105689" y="3509507"/>
                  <a:pt x="6104138" y="3513297"/>
                  <a:pt x="6104525" y="3517642"/>
                </a:cubicBezTo>
                <a:cubicBezTo>
                  <a:pt x="6110661" y="3522936"/>
                  <a:pt x="6115764" y="3516640"/>
                  <a:pt x="6118994" y="3510511"/>
                </a:cubicBezTo>
                <a:cubicBezTo>
                  <a:pt x="6114861" y="3506499"/>
                  <a:pt x="6111049" y="3506109"/>
                  <a:pt x="6108369" y="3507808"/>
                </a:cubicBezTo>
                <a:close/>
                <a:moveTo>
                  <a:pt x="3610948" y="3500263"/>
                </a:moveTo>
                <a:cubicBezTo>
                  <a:pt x="3606041" y="3499366"/>
                  <a:pt x="3602032" y="3499838"/>
                  <a:pt x="3598891" y="3501167"/>
                </a:cubicBezTo>
                <a:cubicBezTo>
                  <a:pt x="3580045" y="3509143"/>
                  <a:pt x="3592357" y="3548021"/>
                  <a:pt x="3628399" y="3507572"/>
                </a:cubicBezTo>
                <a:cubicBezTo>
                  <a:pt x="3621659" y="3503427"/>
                  <a:pt x="3615852" y="3501161"/>
                  <a:pt x="3610948" y="3500263"/>
                </a:cubicBezTo>
                <a:close/>
                <a:moveTo>
                  <a:pt x="5932753" y="3497889"/>
                </a:moveTo>
                <a:lnTo>
                  <a:pt x="5932842" y="3497896"/>
                </a:lnTo>
                <a:lnTo>
                  <a:pt x="5930300" y="3498973"/>
                </a:lnTo>
                <a:close/>
                <a:moveTo>
                  <a:pt x="3501874" y="3495987"/>
                </a:moveTo>
                <a:cubicBezTo>
                  <a:pt x="3500108" y="3495368"/>
                  <a:pt x="3497773" y="3495667"/>
                  <a:pt x="3495248" y="3496440"/>
                </a:cubicBezTo>
                <a:cubicBezTo>
                  <a:pt x="3490192" y="3497984"/>
                  <a:pt x="3484363" y="3501425"/>
                  <a:pt x="3480745" y="3503207"/>
                </a:cubicBezTo>
                <a:cubicBezTo>
                  <a:pt x="3483394" y="3511732"/>
                  <a:pt x="3499478" y="3501538"/>
                  <a:pt x="3505097" y="3501037"/>
                </a:cubicBezTo>
                <a:cubicBezTo>
                  <a:pt x="3504840" y="3498140"/>
                  <a:pt x="3503640" y="3496604"/>
                  <a:pt x="3501874" y="3495987"/>
                </a:cubicBezTo>
                <a:close/>
                <a:moveTo>
                  <a:pt x="1503268" y="3495432"/>
                </a:moveTo>
                <a:cubicBezTo>
                  <a:pt x="1492029" y="3496433"/>
                  <a:pt x="1482663" y="3497267"/>
                  <a:pt x="1473556" y="3501000"/>
                </a:cubicBezTo>
                <a:cubicBezTo>
                  <a:pt x="1473489" y="3521449"/>
                  <a:pt x="1497065" y="3510587"/>
                  <a:pt x="1503268" y="3495432"/>
                </a:cubicBezTo>
                <a:close/>
                <a:moveTo>
                  <a:pt x="3652715" y="3489755"/>
                </a:moveTo>
                <a:cubicBezTo>
                  <a:pt x="3651160" y="3488843"/>
                  <a:pt x="3649178" y="3489111"/>
                  <a:pt x="3647152" y="3490204"/>
                </a:cubicBezTo>
                <a:cubicBezTo>
                  <a:pt x="3643098" y="3492390"/>
                  <a:pt x="3638866" y="3497878"/>
                  <a:pt x="3637508" y="3503841"/>
                </a:cubicBezTo>
                <a:cubicBezTo>
                  <a:pt x="3649264" y="3508633"/>
                  <a:pt x="3646100" y="3494313"/>
                  <a:pt x="3655727" y="3496376"/>
                </a:cubicBezTo>
                <a:cubicBezTo>
                  <a:pt x="3655403" y="3492755"/>
                  <a:pt x="3654271" y="3490665"/>
                  <a:pt x="3652715" y="3489755"/>
                </a:cubicBezTo>
                <a:close/>
                <a:moveTo>
                  <a:pt x="3016656" y="3486152"/>
                </a:moveTo>
                <a:cubicBezTo>
                  <a:pt x="3003285" y="3484423"/>
                  <a:pt x="2989333" y="3497350"/>
                  <a:pt x="2976477" y="3501415"/>
                </a:cubicBezTo>
                <a:cubicBezTo>
                  <a:pt x="2984487" y="3506543"/>
                  <a:pt x="3006706" y="3501642"/>
                  <a:pt x="3016656" y="3486152"/>
                </a:cubicBezTo>
                <a:close/>
                <a:moveTo>
                  <a:pt x="1535530" y="3486031"/>
                </a:moveTo>
                <a:cubicBezTo>
                  <a:pt x="1530909" y="3483840"/>
                  <a:pt x="1547270" y="3496621"/>
                  <a:pt x="1548480" y="3494323"/>
                </a:cubicBezTo>
                <a:cubicBezTo>
                  <a:pt x="1540940" y="3489153"/>
                  <a:pt x="1537070" y="3486761"/>
                  <a:pt x="1535530" y="3486031"/>
                </a:cubicBezTo>
                <a:close/>
                <a:moveTo>
                  <a:pt x="1523098" y="3484903"/>
                </a:moveTo>
                <a:cubicBezTo>
                  <a:pt x="1515863" y="3488467"/>
                  <a:pt x="1510501" y="3491866"/>
                  <a:pt x="1505399" y="3498162"/>
                </a:cubicBezTo>
                <a:cubicBezTo>
                  <a:pt x="1515022" y="3500224"/>
                  <a:pt x="1522258" y="3496660"/>
                  <a:pt x="1523098" y="3484903"/>
                </a:cubicBezTo>
                <a:close/>
                <a:moveTo>
                  <a:pt x="788827" y="3484259"/>
                </a:moveTo>
                <a:cubicBezTo>
                  <a:pt x="785347" y="3484934"/>
                  <a:pt x="782326" y="3488124"/>
                  <a:pt x="780163" y="3495617"/>
                </a:cubicBezTo>
                <a:cubicBezTo>
                  <a:pt x="788172" y="3500744"/>
                  <a:pt x="793016" y="3491551"/>
                  <a:pt x="800251" y="3487985"/>
                </a:cubicBezTo>
                <a:cubicBezTo>
                  <a:pt x="796247" y="3485423"/>
                  <a:pt x="792305" y="3483583"/>
                  <a:pt x="788827" y="3484259"/>
                </a:cubicBezTo>
                <a:close/>
                <a:moveTo>
                  <a:pt x="5413409" y="3480525"/>
                </a:moveTo>
                <a:cubicBezTo>
                  <a:pt x="5411858" y="3479978"/>
                  <a:pt x="5409831" y="3480433"/>
                  <a:pt x="5407687" y="3481536"/>
                </a:cubicBezTo>
                <a:cubicBezTo>
                  <a:pt x="5403400" y="3483743"/>
                  <a:pt x="5398637" y="3488548"/>
                  <a:pt x="5396216" y="3493145"/>
                </a:cubicBezTo>
                <a:cubicBezTo>
                  <a:pt x="5404222" y="3498273"/>
                  <a:pt x="5410941" y="3488913"/>
                  <a:pt x="5416303" y="3485515"/>
                </a:cubicBezTo>
                <a:cubicBezTo>
                  <a:pt x="5416044" y="3482617"/>
                  <a:pt x="5414961" y="3481071"/>
                  <a:pt x="5413409" y="3480525"/>
                </a:cubicBezTo>
                <a:close/>
                <a:moveTo>
                  <a:pt x="740198" y="3476180"/>
                </a:moveTo>
                <a:cubicBezTo>
                  <a:pt x="736952" y="3476833"/>
                  <a:pt x="732464" y="3479423"/>
                  <a:pt x="729653" y="3479674"/>
                </a:cubicBezTo>
                <a:cubicBezTo>
                  <a:pt x="729070" y="3494328"/>
                  <a:pt x="739018" y="3478839"/>
                  <a:pt x="743281" y="3484301"/>
                </a:cubicBezTo>
                <a:cubicBezTo>
                  <a:pt x="745446" y="3476808"/>
                  <a:pt x="743442" y="3475525"/>
                  <a:pt x="740198" y="3476180"/>
                </a:cubicBezTo>
                <a:close/>
                <a:moveTo>
                  <a:pt x="757233" y="3471376"/>
                </a:moveTo>
                <a:cubicBezTo>
                  <a:pt x="753745" y="3474607"/>
                  <a:pt x="777965" y="3513336"/>
                  <a:pt x="757233" y="3471376"/>
                </a:cubicBezTo>
                <a:close/>
                <a:moveTo>
                  <a:pt x="1552178" y="3468256"/>
                </a:moveTo>
                <a:cubicBezTo>
                  <a:pt x="1549267" y="3468699"/>
                  <a:pt x="1545479" y="3471226"/>
                  <a:pt x="1541313" y="3477439"/>
                </a:cubicBezTo>
                <a:cubicBezTo>
                  <a:pt x="1561757" y="3484378"/>
                  <a:pt x="1560909" y="3466931"/>
                  <a:pt x="1552178" y="3468256"/>
                </a:cubicBezTo>
                <a:close/>
                <a:moveTo>
                  <a:pt x="6230283" y="3466964"/>
                </a:moveTo>
                <a:cubicBezTo>
                  <a:pt x="6219129" y="3468916"/>
                  <a:pt x="6227121" y="3495036"/>
                  <a:pt x="6248050" y="3475647"/>
                </a:cubicBezTo>
                <a:cubicBezTo>
                  <a:pt x="6239848" y="3468347"/>
                  <a:pt x="6234002" y="3466313"/>
                  <a:pt x="6230283" y="3466964"/>
                </a:cubicBezTo>
                <a:close/>
                <a:moveTo>
                  <a:pt x="6199524" y="3466819"/>
                </a:moveTo>
                <a:cubicBezTo>
                  <a:pt x="6199450" y="3463915"/>
                  <a:pt x="6192606" y="3486429"/>
                  <a:pt x="6185461" y="3472463"/>
                </a:cubicBezTo>
                <a:cubicBezTo>
                  <a:pt x="6142312" y="3496751"/>
                  <a:pt x="6143603" y="3511239"/>
                  <a:pt x="6190949" y="3512862"/>
                </a:cubicBezTo>
                <a:cubicBezTo>
                  <a:pt x="6197176" y="3479450"/>
                  <a:pt x="6199569" y="3468560"/>
                  <a:pt x="6199524" y="3466819"/>
                </a:cubicBezTo>
                <a:close/>
                <a:moveTo>
                  <a:pt x="5222833" y="3460637"/>
                </a:moveTo>
                <a:cubicBezTo>
                  <a:pt x="5230405" y="3461194"/>
                  <a:pt x="5250303" y="3465991"/>
                  <a:pt x="5221624" y="3461975"/>
                </a:cubicBezTo>
                <a:cubicBezTo>
                  <a:pt x="5219154" y="3460735"/>
                  <a:pt x="5220308" y="3460450"/>
                  <a:pt x="5222833" y="3460637"/>
                </a:cubicBezTo>
                <a:close/>
                <a:moveTo>
                  <a:pt x="854793" y="3456476"/>
                </a:moveTo>
                <a:cubicBezTo>
                  <a:pt x="851441" y="3458600"/>
                  <a:pt x="848211" y="3464729"/>
                  <a:pt x="855156" y="3468490"/>
                </a:cubicBezTo>
                <a:cubicBezTo>
                  <a:pt x="861615" y="3456232"/>
                  <a:pt x="858144" y="3454351"/>
                  <a:pt x="854793" y="3456476"/>
                </a:cubicBezTo>
                <a:close/>
                <a:moveTo>
                  <a:pt x="1710223" y="3444864"/>
                </a:moveTo>
                <a:cubicBezTo>
                  <a:pt x="1702989" y="3448429"/>
                  <a:pt x="1708608" y="3447928"/>
                  <a:pt x="1703763" y="3457121"/>
                </a:cubicBezTo>
                <a:cubicBezTo>
                  <a:pt x="1712030" y="3465147"/>
                  <a:pt x="1721719" y="3446760"/>
                  <a:pt x="1710223" y="3444864"/>
                </a:cubicBezTo>
                <a:close/>
                <a:moveTo>
                  <a:pt x="926889" y="3443526"/>
                </a:moveTo>
                <a:cubicBezTo>
                  <a:pt x="922042" y="3445738"/>
                  <a:pt x="918601" y="3454806"/>
                  <a:pt x="914580" y="3457355"/>
                </a:cubicBezTo>
                <a:cubicBezTo>
                  <a:pt x="922847" y="3465380"/>
                  <a:pt x="925561" y="3453456"/>
                  <a:pt x="932280" y="3444095"/>
                </a:cubicBezTo>
                <a:cubicBezTo>
                  <a:pt x="930277" y="3442814"/>
                  <a:pt x="928504" y="3442789"/>
                  <a:pt x="926889" y="3443526"/>
                </a:cubicBezTo>
                <a:close/>
                <a:moveTo>
                  <a:pt x="751861" y="3442698"/>
                </a:moveTo>
                <a:lnTo>
                  <a:pt x="751939" y="3442735"/>
                </a:lnTo>
                <a:cubicBezTo>
                  <a:pt x="752924" y="3444198"/>
                  <a:pt x="752634" y="3446232"/>
                  <a:pt x="749548" y="3448698"/>
                </a:cubicBezTo>
                <a:lnTo>
                  <a:pt x="746026" y="3445130"/>
                </a:lnTo>
                <a:close/>
                <a:moveTo>
                  <a:pt x="757749" y="3440366"/>
                </a:moveTo>
                <a:lnTo>
                  <a:pt x="754910" y="3445298"/>
                </a:lnTo>
                <a:lnTo>
                  <a:pt x="756613" y="3440810"/>
                </a:lnTo>
                <a:close/>
                <a:moveTo>
                  <a:pt x="5269716" y="3440167"/>
                </a:moveTo>
                <a:cubicBezTo>
                  <a:pt x="5273121" y="3441323"/>
                  <a:pt x="5279596" y="3445127"/>
                  <a:pt x="5278917" y="3448109"/>
                </a:cubicBezTo>
                <a:cubicBezTo>
                  <a:pt x="5265966" y="3440502"/>
                  <a:pt x="5266307" y="3439011"/>
                  <a:pt x="5269716" y="3440167"/>
                </a:cubicBezTo>
                <a:close/>
                <a:moveTo>
                  <a:pt x="6317393" y="3438073"/>
                </a:moveTo>
                <a:cubicBezTo>
                  <a:pt x="6314648" y="3439049"/>
                  <a:pt x="6312095" y="3442197"/>
                  <a:pt x="6309673" y="3446792"/>
                </a:cubicBezTo>
                <a:cubicBezTo>
                  <a:pt x="6315293" y="3446291"/>
                  <a:pt x="6321428" y="3451585"/>
                  <a:pt x="6326273" y="3442392"/>
                </a:cubicBezTo>
                <a:cubicBezTo>
                  <a:pt x="6323077" y="3438297"/>
                  <a:pt x="6320138" y="3437099"/>
                  <a:pt x="6317393" y="3438073"/>
                </a:cubicBezTo>
                <a:close/>
                <a:moveTo>
                  <a:pt x="1104273" y="3430230"/>
                </a:moveTo>
                <a:cubicBezTo>
                  <a:pt x="1099653" y="3431371"/>
                  <a:pt x="1095632" y="3433920"/>
                  <a:pt x="1092273" y="3438600"/>
                </a:cubicBezTo>
                <a:cubicBezTo>
                  <a:pt x="1104288" y="3446290"/>
                  <a:pt x="1111780" y="3445622"/>
                  <a:pt x="1119856" y="3430300"/>
                </a:cubicBezTo>
                <a:cubicBezTo>
                  <a:pt x="1114107" y="3429353"/>
                  <a:pt x="1108891" y="3429088"/>
                  <a:pt x="1104273" y="3430230"/>
                </a:cubicBezTo>
                <a:close/>
                <a:moveTo>
                  <a:pt x="1533773" y="3420295"/>
                </a:moveTo>
                <a:cubicBezTo>
                  <a:pt x="1532219" y="3419748"/>
                  <a:pt x="1530195" y="3420202"/>
                  <a:pt x="1528051" y="3421305"/>
                </a:cubicBezTo>
                <a:cubicBezTo>
                  <a:pt x="1523764" y="3423513"/>
                  <a:pt x="1518999" y="3428318"/>
                  <a:pt x="1516577" y="3432915"/>
                </a:cubicBezTo>
                <a:cubicBezTo>
                  <a:pt x="1524585" y="3438042"/>
                  <a:pt x="1528656" y="3420157"/>
                  <a:pt x="1536666" y="3425283"/>
                </a:cubicBezTo>
                <a:cubicBezTo>
                  <a:pt x="1536407" y="3422387"/>
                  <a:pt x="1535325" y="3420841"/>
                  <a:pt x="1533773" y="3420295"/>
                </a:cubicBezTo>
                <a:close/>
                <a:moveTo>
                  <a:pt x="948710" y="3419267"/>
                </a:moveTo>
                <a:cubicBezTo>
                  <a:pt x="941306" y="3423577"/>
                  <a:pt x="933507" y="3436684"/>
                  <a:pt x="947522" y="3445657"/>
                </a:cubicBezTo>
                <a:cubicBezTo>
                  <a:pt x="963123" y="3419442"/>
                  <a:pt x="956116" y="3414957"/>
                  <a:pt x="948710" y="3419267"/>
                </a:cubicBezTo>
                <a:close/>
                <a:moveTo>
                  <a:pt x="829233" y="3418922"/>
                </a:moveTo>
                <a:cubicBezTo>
                  <a:pt x="829183" y="3418374"/>
                  <a:pt x="829499" y="3418938"/>
                  <a:pt x="830161" y="3421069"/>
                </a:cubicBezTo>
                <a:lnTo>
                  <a:pt x="829851" y="3421154"/>
                </a:lnTo>
                <a:close/>
                <a:moveTo>
                  <a:pt x="6425691" y="3414916"/>
                </a:moveTo>
                <a:cubicBezTo>
                  <a:pt x="6423633" y="3414004"/>
                  <a:pt x="6421116" y="3414228"/>
                  <a:pt x="6418487" y="3415192"/>
                </a:cubicBezTo>
                <a:cubicBezTo>
                  <a:pt x="6413232" y="3417120"/>
                  <a:pt x="6407531" y="3422009"/>
                  <a:pt x="6404172" y="3426689"/>
                </a:cubicBezTo>
                <a:cubicBezTo>
                  <a:pt x="6415927" y="3431483"/>
                  <a:pt x="6422904" y="3425021"/>
                  <a:pt x="6430138" y="3421455"/>
                </a:cubicBezTo>
                <a:cubicBezTo>
                  <a:pt x="6429347" y="3417875"/>
                  <a:pt x="6427748" y="3415828"/>
                  <a:pt x="6425691" y="3414916"/>
                </a:cubicBezTo>
                <a:close/>
                <a:moveTo>
                  <a:pt x="901391" y="3409977"/>
                </a:moveTo>
                <a:cubicBezTo>
                  <a:pt x="897951" y="3408459"/>
                  <a:pt x="895722" y="3415228"/>
                  <a:pt x="905022" y="3434843"/>
                </a:cubicBezTo>
                <a:cubicBezTo>
                  <a:pt x="909481" y="3421303"/>
                  <a:pt x="904831" y="3411496"/>
                  <a:pt x="901391" y="3409977"/>
                </a:cubicBezTo>
                <a:close/>
                <a:moveTo>
                  <a:pt x="3330107" y="3407113"/>
                </a:moveTo>
                <a:cubicBezTo>
                  <a:pt x="3325489" y="3408254"/>
                  <a:pt x="3321466" y="3410803"/>
                  <a:pt x="3318110" y="3415484"/>
                </a:cubicBezTo>
                <a:cubicBezTo>
                  <a:pt x="3330124" y="3423174"/>
                  <a:pt x="3337615" y="3422506"/>
                  <a:pt x="3345690" y="3407184"/>
                </a:cubicBezTo>
                <a:cubicBezTo>
                  <a:pt x="3339939" y="3406237"/>
                  <a:pt x="3334726" y="3405970"/>
                  <a:pt x="3330107" y="3407113"/>
                </a:cubicBezTo>
                <a:close/>
                <a:moveTo>
                  <a:pt x="1070184" y="3402601"/>
                </a:moveTo>
                <a:cubicBezTo>
                  <a:pt x="1064308" y="3400204"/>
                  <a:pt x="1060477" y="3400911"/>
                  <a:pt x="1058260" y="3402844"/>
                </a:cubicBezTo>
                <a:cubicBezTo>
                  <a:pt x="1051608" y="3408638"/>
                  <a:pt x="1059479" y="3425460"/>
                  <a:pt x="1070184" y="3402601"/>
                </a:cubicBezTo>
                <a:close/>
                <a:moveTo>
                  <a:pt x="2859637" y="3397928"/>
                </a:moveTo>
                <a:cubicBezTo>
                  <a:pt x="2859121" y="3392134"/>
                  <a:pt x="2826370" y="3427177"/>
                  <a:pt x="2859637" y="3397928"/>
                </a:cubicBezTo>
                <a:close/>
                <a:moveTo>
                  <a:pt x="3759608" y="3397177"/>
                </a:moveTo>
                <a:cubicBezTo>
                  <a:pt x="3758055" y="3396631"/>
                  <a:pt x="3756030" y="3397086"/>
                  <a:pt x="3753887" y="3398189"/>
                </a:cubicBezTo>
                <a:cubicBezTo>
                  <a:pt x="3749599" y="3400397"/>
                  <a:pt x="3744834" y="3405202"/>
                  <a:pt x="3742412" y="3409799"/>
                </a:cubicBezTo>
                <a:cubicBezTo>
                  <a:pt x="3750421" y="3414926"/>
                  <a:pt x="3754490" y="3397040"/>
                  <a:pt x="3762501" y="3402167"/>
                </a:cubicBezTo>
                <a:cubicBezTo>
                  <a:pt x="3762242" y="3399270"/>
                  <a:pt x="3761160" y="3397724"/>
                  <a:pt x="3759608" y="3397177"/>
                </a:cubicBezTo>
                <a:close/>
                <a:moveTo>
                  <a:pt x="598992" y="3395703"/>
                </a:moveTo>
                <a:lnTo>
                  <a:pt x="603639" y="3400368"/>
                </a:lnTo>
                <a:cubicBezTo>
                  <a:pt x="597436" y="3415524"/>
                  <a:pt x="596405" y="3403934"/>
                  <a:pt x="585165" y="3404935"/>
                </a:cubicBezTo>
                <a:cubicBezTo>
                  <a:pt x="587522" y="3399615"/>
                  <a:pt x="591295" y="3396906"/>
                  <a:pt x="595909" y="3395719"/>
                </a:cubicBezTo>
                <a:close/>
                <a:moveTo>
                  <a:pt x="1213762" y="3394280"/>
                </a:moveTo>
                <a:cubicBezTo>
                  <a:pt x="1209555" y="3394746"/>
                  <a:pt x="1204488" y="3400125"/>
                  <a:pt x="1199625" y="3414431"/>
                </a:cubicBezTo>
                <a:cubicBezTo>
                  <a:pt x="1231260" y="3435707"/>
                  <a:pt x="1226381" y="3392881"/>
                  <a:pt x="1213762" y="3394280"/>
                </a:cubicBezTo>
                <a:close/>
                <a:moveTo>
                  <a:pt x="3275487" y="3390076"/>
                </a:moveTo>
                <a:cubicBezTo>
                  <a:pt x="3272509" y="3391072"/>
                  <a:pt x="3270021" y="3394945"/>
                  <a:pt x="3276963" y="3398705"/>
                </a:cubicBezTo>
                <a:cubicBezTo>
                  <a:pt x="3281940" y="3390962"/>
                  <a:pt x="3278468" y="3389080"/>
                  <a:pt x="3275487" y="3390076"/>
                </a:cubicBezTo>
                <a:close/>
                <a:moveTo>
                  <a:pt x="991095" y="3387381"/>
                </a:moveTo>
                <a:cubicBezTo>
                  <a:pt x="982571" y="3382117"/>
                  <a:pt x="952402" y="3405066"/>
                  <a:pt x="989122" y="3403984"/>
                </a:cubicBezTo>
                <a:cubicBezTo>
                  <a:pt x="994371" y="3394025"/>
                  <a:pt x="993935" y="3389135"/>
                  <a:pt x="991095" y="3387381"/>
                </a:cubicBezTo>
                <a:close/>
                <a:moveTo>
                  <a:pt x="3288552" y="3384395"/>
                </a:moveTo>
                <a:cubicBezTo>
                  <a:pt x="3287008" y="3384305"/>
                  <a:pt x="3285231" y="3385558"/>
                  <a:pt x="3283684" y="3389346"/>
                </a:cubicBezTo>
                <a:cubicBezTo>
                  <a:pt x="3295696" y="3397038"/>
                  <a:pt x="3293177" y="3384667"/>
                  <a:pt x="3288552" y="3384395"/>
                </a:cubicBezTo>
                <a:close/>
                <a:moveTo>
                  <a:pt x="1670825" y="3384123"/>
                </a:moveTo>
                <a:cubicBezTo>
                  <a:pt x="1663205" y="3383342"/>
                  <a:pt x="1655646" y="3383285"/>
                  <a:pt x="1648484" y="3385019"/>
                </a:cubicBezTo>
                <a:cubicBezTo>
                  <a:pt x="1641322" y="3386753"/>
                  <a:pt x="1634557" y="3390277"/>
                  <a:pt x="1628517" y="3396656"/>
                </a:cubicBezTo>
                <a:cubicBezTo>
                  <a:pt x="1645117" y="3392256"/>
                  <a:pt x="1652610" y="3391588"/>
                  <a:pt x="1670825" y="3384123"/>
                </a:cubicBezTo>
                <a:close/>
                <a:moveTo>
                  <a:pt x="1025004" y="3375279"/>
                </a:moveTo>
                <a:cubicBezTo>
                  <a:pt x="1020774" y="3372506"/>
                  <a:pt x="1033028" y="3414675"/>
                  <a:pt x="1035694" y="3396914"/>
                </a:cubicBezTo>
                <a:cubicBezTo>
                  <a:pt x="1029655" y="3382120"/>
                  <a:pt x="1026414" y="3376203"/>
                  <a:pt x="1025004" y="3375279"/>
                </a:cubicBezTo>
                <a:close/>
                <a:moveTo>
                  <a:pt x="3439597" y="3371164"/>
                </a:moveTo>
                <a:cubicBezTo>
                  <a:pt x="3435390" y="3371630"/>
                  <a:pt x="3430322" y="3377009"/>
                  <a:pt x="3425463" y="3391315"/>
                </a:cubicBezTo>
                <a:cubicBezTo>
                  <a:pt x="3457095" y="3412589"/>
                  <a:pt x="3452215" y="3369765"/>
                  <a:pt x="3439597" y="3371164"/>
                </a:cubicBezTo>
                <a:close/>
                <a:moveTo>
                  <a:pt x="1049971" y="3366437"/>
                </a:moveTo>
                <a:cubicBezTo>
                  <a:pt x="1046158" y="3387219"/>
                  <a:pt x="1064698" y="3362204"/>
                  <a:pt x="1049971" y="3366437"/>
                </a:cubicBezTo>
                <a:close/>
                <a:moveTo>
                  <a:pt x="3896662" y="3361008"/>
                </a:moveTo>
                <a:cubicBezTo>
                  <a:pt x="3889037" y="3360227"/>
                  <a:pt x="3881482" y="3360170"/>
                  <a:pt x="3874321" y="3361903"/>
                </a:cubicBezTo>
                <a:cubicBezTo>
                  <a:pt x="3867157" y="3363637"/>
                  <a:pt x="3860391" y="3367161"/>
                  <a:pt x="3854350" y="3373539"/>
                </a:cubicBezTo>
                <a:cubicBezTo>
                  <a:pt x="3870953" y="3369139"/>
                  <a:pt x="3878444" y="3368471"/>
                  <a:pt x="3896662" y="3361008"/>
                </a:cubicBezTo>
                <a:close/>
                <a:moveTo>
                  <a:pt x="1978930" y="3355774"/>
                </a:moveTo>
                <a:cubicBezTo>
                  <a:pt x="1978925" y="3358745"/>
                  <a:pt x="1980810" y="3369460"/>
                  <a:pt x="1983063" y="3370903"/>
                </a:cubicBezTo>
                <a:cubicBezTo>
                  <a:pt x="1981353" y="3362294"/>
                  <a:pt x="1980246" y="3357829"/>
                  <a:pt x="1979615" y="3356014"/>
                </a:cubicBezTo>
                <a:cubicBezTo>
                  <a:pt x="1979138" y="3354653"/>
                  <a:pt x="1978930" y="3354783"/>
                  <a:pt x="1978930" y="3355774"/>
                </a:cubicBezTo>
                <a:close/>
                <a:moveTo>
                  <a:pt x="1765781" y="3351249"/>
                </a:moveTo>
                <a:cubicBezTo>
                  <a:pt x="1753239" y="3347575"/>
                  <a:pt x="1714554" y="3366355"/>
                  <a:pt x="1765325" y="3364021"/>
                </a:cubicBezTo>
                <a:cubicBezTo>
                  <a:pt x="1771236" y="3356194"/>
                  <a:pt x="1769959" y="3352473"/>
                  <a:pt x="1765781" y="3351249"/>
                </a:cubicBezTo>
                <a:close/>
                <a:moveTo>
                  <a:pt x="6602683" y="3350226"/>
                </a:moveTo>
                <a:cubicBezTo>
                  <a:pt x="6600843" y="3350754"/>
                  <a:pt x="6598629" y="3352411"/>
                  <a:pt x="6595691" y="3351213"/>
                </a:cubicBezTo>
                <a:cubicBezTo>
                  <a:pt x="6590845" y="3360405"/>
                  <a:pt x="6602601" y="3365200"/>
                  <a:pt x="6607446" y="3356007"/>
                </a:cubicBezTo>
                <a:cubicBezTo>
                  <a:pt x="6605994" y="3350296"/>
                  <a:pt x="6604524" y="3349697"/>
                  <a:pt x="6602683" y="3350226"/>
                </a:cubicBezTo>
                <a:close/>
                <a:moveTo>
                  <a:pt x="1367568" y="3349818"/>
                </a:moveTo>
                <a:cubicBezTo>
                  <a:pt x="1364597" y="3358843"/>
                  <a:pt x="1358720" y="3356446"/>
                  <a:pt x="1355748" y="3365473"/>
                </a:cubicBezTo>
                <a:cubicBezTo>
                  <a:pt x="1361884" y="3370767"/>
                  <a:pt x="1379582" y="3357508"/>
                  <a:pt x="1367568" y="3349818"/>
                </a:cubicBezTo>
                <a:close/>
                <a:moveTo>
                  <a:pt x="5550576" y="3348973"/>
                </a:moveTo>
                <a:cubicBezTo>
                  <a:pt x="5546797" y="3346296"/>
                  <a:pt x="5535207" y="3363209"/>
                  <a:pt x="5550465" y="3359661"/>
                </a:cubicBezTo>
                <a:cubicBezTo>
                  <a:pt x="5552227" y="3352933"/>
                  <a:pt x="5551836" y="3349863"/>
                  <a:pt x="5550576" y="3348973"/>
                </a:cubicBezTo>
                <a:close/>
                <a:moveTo>
                  <a:pt x="5216915" y="3345576"/>
                </a:moveTo>
                <a:cubicBezTo>
                  <a:pt x="5258575" y="3368147"/>
                  <a:pt x="5150257" y="3360276"/>
                  <a:pt x="5216915" y="3345576"/>
                </a:cubicBezTo>
                <a:close/>
                <a:moveTo>
                  <a:pt x="5527523" y="3343817"/>
                </a:moveTo>
                <a:cubicBezTo>
                  <a:pt x="5522386" y="3346465"/>
                  <a:pt x="5513296" y="3355672"/>
                  <a:pt x="5499052" y="3375923"/>
                </a:cubicBezTo>
                <a:cubicBezTo>
                  <a:pt x="5522691" y="3386960"/>
                  <a:pt x="5542918" y="3335874"/>
                  <a:pt x="5527523" y="3343817"/>
                </a:cubicBezTo>
                <a:close/>
                <a:moveTo>
                  <a:pt x="3593402" y="3326701"/>
                </a:moveTo>
                <a:cubicBezTo>
                  <a:pt x="3590432" y="3335727"/>
                  <a:pt x="3584556" y="3333330"/>
                  <a:pt x="3581582" y="3342355"/>
                </a:cubicBezTo>
                <a:cubicBezTo>
                  <a:pt x="3587717" y="3347651"/>
                  <a:pt x="3605417" y="3334391"/>
                  <a:pt x="3593402" y="3326701"/>
                </a:cubicBezTo>
                <a:close/>
                <a:moveTo>
                  <a:pt x="1485814" y="3307520"/>
                </a:moveTo>
                <a:cubicBezTo>
                  <a:pt x="1483206" y="3307388"/>
                  <a:pt x="1480994" y="3309046"/>
                  <a:pt x="1479507" y="3313558"/>
                </a:cubicBezTo>
                <a:cubicBezTo>
                  <a:pt x="1485644" y="3318851"/>
                  <a:pt x="1491263" y="3318350"/>
                  <a:pt x="1494493" y="3312222"/>
                </a:cubicBezTo>
                <a:cubicBezTo>
                  <a:pt x="1491426" y="3309575"/>
                  <a:pt x="1488422" y="3307652"/>
                  <a:pt x="1485814" y="3307520"/>
                </a:cubicBezTo>
                <a:close/>
                <a:moveTo>
                  <a:pt x="1557479" y="3306610"/>
                </a:moveTo>
                <a:cubicBezTo>
                  <a:pt x="1550820" y="3308664"/>
                  <a:pt x="1537158" y="3314263"/>
                  <a:pt x="1536478" y="3317243"/>
                </a:cubicBezTo>
                <a:cubicBezTo>
                  <a:pt x="1563800" y="3306046"/>
                  <a:pt x="1564141" y="3304557"/>
                  <a:pt x="1557479" y="3306610"/>
                </a:cubicBezTo>
                <a:close/>
                <a:moveTo>
                  <a:pt x="5346599" y="3302852"/>
                </a:moveTo>
                <a:cubicBezTo>
                  <a:pt x="5348138" y="3303217"/>
                  <a:pt x="5349202" y="3304583"/>
                  <a:pt x="5349460" y="3307480"/>
                </a:cubicBezTo>
                <a:cubicBezTo>
                  <a:pt x="5341711" y="3305250"/>
                  <a:pt x="5337380" y="3320238"/>
                  <a:pt x="5329114" y="3312214"/>
                </a:cubicBezTo>
                <a:cubicBezTo>
                  <a:pt x="5331795" y="3310515"/>
                  <a:pt x="5336624" y="3306433"/>
                  <a:pt x="5340911" y="3304227"/>
                </a:cubicBezTo>
                <a:cubicBezTo>
                  <a:pt x="5343055" y="3303123"/>
                  <a:pt x="5345063" y="3302488"/>
                  <a:pt x="5346599" y="3302852"/>
                </a:cubicBezTo>
                <a:close/>
                <a:moveTo>
                  <a:pt x="689044" y="3296746"/>
                </a:moveTo>
                <a:cubicBezTo>
                  <a:pt x="686161" y="3298828"/>
                  <a:pt x="681123" y="3305849"/>
                  <a:pt x="682576" y="3311560"/>
                </a:cubicBezTo>
                <a:cubicBezTo>
                  <a:pt x="692653" y="3297520"/>
                  <a:pt x="691926" y="3294664"/>
                  <a:pt x="689044" y="3296746"/>
                </a:cubicBezTo>
                <a:close/>
                <a:moveTo>
                  <a:pt x="1923676" y="3287119"/>
                </a:moveTo>
                <a:cubicBezTo>
                  <a:pt x="1919525" y="3288220"/>
                  <a:pt x="1915505" y="3290769"/>
                  <a:pt x="1912143" y="3295448"/>
                </a:cubicBezTo>
                <a:cubicBezTo>
                  <a:pt x="1920154" y="3300576"/>
                  <a:pt x="1929261" y="3296843"/>
                  <a:pt x="1935981" y="3287484"/>
                </a:cubicBezTo>
                <a:cubicBezTo>
                  <a:pt x="1932104" y="3286368"/>
                  <a:pt x="1927825" y="3286020"/>
                  <a:pt x="1923676" y="3287119"/>
                </a:cubicBezTo>
                <a:close/>
                <a:moveTo>
                  <a:pt x="3711649" y="3284403"/>
                </a:moveTo>
                <a:cubicBezTo>
                  <a:pt x="3709042" y="3284271"/>
                  <a:pt x="3706830" y="3285928"/>
                  <a:pt x="3705345" y="3290441"/>
                </a:cubicBezTo>
                <a:cubicBezTo>
                  <a:pt x="3711479" y="3295735"/>
                  <a:pt x="3717100" y="3295234"/>
                  <a:pt x="3720328" y="3289106"/>
                </a:cubicBezTo>
                <a:cubicBezTo>
                  <a:pt x="3717262" y="3286459"/>
                  <a:pt x="3714258" y="3284536"/>
                  <a:pt x="3711649" y="3284403"/>
                </a:cubicBezTo>
                <a:close/>
                <a:moveTo>
                  <a:pt x="3783313" y="3283494"/>
                </a:moveTo>
                <a:cubicBezTo>
                  <a:pt x="3776654" y="3285547"/>
                  <a:pt x="3762991" y="3291145"/>
                  <a:pt x="3762312" y="3294126"/>
                </a:cubicBezTo>
                <a:cubicBezTo>
                  <a:pt x="3789637" y="3282930"/>
                  <a:pt x="3789976" y="3281440"/>
                  <a:pt x="3783313" y="3283494"/>
                </a:cubicBezTo>
                <a:close/>
                <a:moveTo>
                  <a:pt x="1807736" y="3266059"/>
                </a:moveTo>
                <a:lnTo>
                  <a:pt x="1806796" y="3278552"/>
                </a:lnTo>
                <a:cubicBezTo>
                  <a:pt x="1800322" y="3274748"/>
                  <a:pt x="1798759" y="3271785"/>
                  <a:pt x="1800092" y="3269521"/>
                </a:cubicBezTo>
                <a:close/>
                <a:moveTo>
                  <a:pt x="1765462" y="3238428"/>
                </a:moveTo>
                <a:cubicBezTo>
                  <a:pt x="1756095" y="3239263"/>
                  <a:pt x="1745114" y="3243162"/>
                  <a:pt x="1736781" y="3255587"/>
                </a:cubicBezTo>
                <a:cubicBezTo>
                  <a:pt x="1746146" y="3254752"/>
                  <a:pt x="1757128" y="3250853"/>
                  <a:pt x="1765462" y="3238428"/>
                </a:cubicBezTo>
                <a:close/>
                <a:moveTo>
                  <a:pt x="4036801" y="3236814"/>
                </a:moveTo>
                <a:lnTo>
                  <a:pt x="4035860" y="3249306"/>
                </a:lnTo>
                <a:cubicBezTo>
                  <a:pt x="4029389" y="3245502"/>
                  <a:pt x="4027825" y="3242539"/>
                  <a:pt x="4029157" y="3240275"/>
                </a:cubicBezTo>
                <a:close/>
                <a:moveTo>
                  <a:pt x="1875366" y="3227340"/>
                </a:moveTo>
                <a:lnTo>
                  <a:pt x="1867386" y="3238107"/>
                </a:lnTo>
                <a:lnTo>
                  <a:pt x="1868550" y="3228732"/>
                </a:lnTo>
                <a:close/>
                <a:moveTo>
                  <a:pt x="3991296" y="3215311"/>
                </a:moveTo>
                <a:cubicBezTo>
                  <a:pt x="3981930" y="3216146"/>
                  <a:pt x="3970951" y="3220045"/>
                  <a:pt x="3962616" y="3232470"/>
                </a:cubicBezTo>
                <a:cubicBezTo>
                  <a:pt x="3971982" y="3231635"/>
                  <a:pt x="3982965" y="3227736"/>
                  <a:pt x="3991296" y="3215311"/>
                </a:cubicBezTo>
                <a:close/>
                <a:moveTo>
                  <a:pt x="1951930" y="3214877"/>
                </a:moveTo>
                <a:cubicBezTo>
                  <a:pt x="1943364" y="3216734"/>
                  <a:pt x="1935789" y="3221789"/>
                  <a:pt x="1954911" y="3224467"/>
                </a:cubicBezTo>
                <a:cubicBezTo>
                  <a:pt x="1970058" y="3214357"/>
                  <a:pt x="1960498" y="3213018"/>
                  <a:pt x="1951930" y="3214877"/>
                </a:cubicBezTo>
                <a:close/>
                <a:moveTo>
                  <a:pt x="4192497" y="3210314"/>
                </a:moveTo>
                <a:cubicBezTo>
                  <a:pt x="4200732" y="3208833"/>
                  <a:pt x="4206264" y="3209664"/>
                  <a:pt x="4208257" y="3213501"/>
                </a:cubicBezTo>
                <a:lnTo>
                  <a:pt x="4204588" y="3214149"/>
                </a:lnTo>
                <a:lnTo>
                  <a:pt x="4204512" y="3213835"/>
                </a:lnTo>
                <a:cubicBezTo>
                  <a:pt x="4199910" y="3209864"/>
                  <a:pt x="4192886" y="3210490"/>
                  <a:pt x="4183906" y="3215671"/>
                </a:cubicBezTo>
                <a:lnTo>
                  <a:pt x="4186981" y="3212157"/>
                </a:lnTo>
                <a:close/>
                <a:moveTo>
                  <a:pt x="4105838" y="3197809"/>
                </a:moveTo>
                <a:lnTo>
                  <a:pt x="4105388" y="3198573"/>
                </a:lnTo>
                <a:cubicBezTo>
                  <a:pt x="4102673" y="3202558"/>
                  <a:pt x="4098727" y="3207930"/>
                  <a:pt x="4093220" y="3214991"/>
                </a:cubicBezTo>
                <a:cubicBezTo>
                  <a:pt x="4090281" y="3213792"/>
                  <a:pt x="4091564" y="3209663"/>
                  <a:pt x="4094455" y="3205024"/>
                </a:cubicBezTo>
                <a:lnTo>
                  <a:pt x="4099385" y="3199124"/>
                </a:lnTo>
                <a:close/>
                <a:moveTo>
                  <a:pt x="4177763" y="3191759"/>
                </a:moveTo>
                <a:cubicBezTo>
                  <a:pt x="4169197" y="3193617"/>
                  <a:pt x="4161623" y="3198674"/>
                  <a:pt x="4180742" y="3201350"/>
                </a:cubicBezTo>
                <a:cubicBezTo>
                  <a:pt x="4195890" y="3191240"/>
                  <a:pt x="4186332" y="3189901"/>
                  <a:pt x="4177763" y="3191759"/>
                </a:cubicBezTo>
                <a:close/>
                <a:moveTo>
                  <a:pt x="2092298" y="3177178"/>
                </a:moveTo>
                <a:cubicBezTo>
                  <a:pt x="2136156" y="3182030"/>
                  <a:pt x="2086937" y="3180576"/>
                  <a:pt x="2092298" y="3177178"/>
                </a:cubicBezTo>
                <a:close/>
                <a:moveTo>
                  <a:pt x="773736" y="3165947"/>
                </a:moveTo>
                <a:cubicBezTo>
                  <a:pt x="768487" y="3164635"/>
                  <a:pt x="760529" y="3174652"/>
                  <a:pt x="759512" y="3179124"/>
                </a:cubicBezTo>
                <a:cubicBezTo>
                  <a:pt x="768619" y="3175391"/>
                  <a:pt x="768360" y="3172494"/>
                  <a:pt x="777727" y="3171659"/>
                </a:cubicBezTo>
                <a:cubicBezTo>
                  <a:pt x="776937" y="3168080"/>
                  <a:pt x="775487" y="3166384"/>
                  <a:pt x="773736" y="3165947"/>
                </a:cubicBezTo>
                <a:close/>
                <a:moveTo>
                  <a:pt x="4318131" y="3154062"/>
                </a:moveTo>
                <a:cubicBezTo>
                  <a:pt x="4361989" y="3158914"/>
                  <a:pt x="4312770" y="3157460"/>
                  <a:pt x="4318131" y="3154062"/>
                </a:cubicBezTo>
                <a:close/>
                <a:moveTo>
                  <a:pt x="2245575" y="3153356"/>
                </a:moveTo>
                <a:lnTo>
                  <a:pt x="2239724" y="3156768"/>
                </a:lnTo>
                <a:lnTo>
                  <a:pt x="2162624" y="3155943"/>
                </a:lnTo>
                <a:cubicBezTo>
                  <a:pt x="2082063" y="3157647"/>
                  <a:pt x="1994538" y="3171287"/>
                  <a:pt x="1958074" y="3238787"/>
                </a:cubicBezTo>
                <a:cubicBezTo>
                  <a:pt x="1976033" y="3228426"/>
                  <a:pt x="1986170" y="3236283"/>
                  <a:pt x="1984750" y="3262694"/>
                </a:cubicBezTo>
                <a:cubicBezTo>
                  <a:pt x="2024734" y="3224086"/>
                  <a:pt x="2138933" y="3234353"/>
                  <a:pt x="2147524" y="3224825"/>
                </a:cubicBezTo>
                <a:cubicBezTo>
                  <a:pt x="2140580" y="3221065"/>
                  <a:pt x="2170680" y="3198669"/>
                  <a:pt x="2202848" y="3178278"/>
                </a:cubicBezTo>
                <a:lnTo>
                  <a:pt x="2239724" y="3156768"/>
                </a:lnTo>
                <a:lnTo>
                  <a:pt x="2246300" y="3156839"/>
                </a:lnTo>
                <a:close/>
                <a:moveTo>
                  <a:pt x="7270825" y="3138456"/>
                </a:moveTo>
                <a:cubicBezTo>
                  <a:pt x="7266376" y="3138853"/>
                  <a:pt x="7262613" y="3144299"/>
                  <a:pt x="7272883" y="3153605"/>
                </a:cubicBezTo>
                <a:cubicBezTo>
                  <a:pt x="7280409" y="3142713"/>
                  <a:pt x="7275273" y="3138060"/>
                  <a:pt x="7270825" y="3138456"/>
                </a:cubicBezTo>
                <a:close/>
                <a:moveTo>
                  <a:pt x="4506289" y="3125613"/>
                </a:moveTo>
                <a:lnTo>
                  <a:pt x="4508866" y="3133155"/>
                </a:lnTo>
                <a:lnTo>
                  <a:pt x="4502378" y="3133603"/>
                </a:lnTo>
                <a:lnTo>
                  <a:pt x="4502486" y="3133253"/>
                </a:lnTo>
                <a:cubicBezTo>
                  <a:pt x="4502527" y="3131058"/>
                  <a:pt x="4502804" y="3128845"/>
                  <a:pt x="4506289" y="3125613"/>
                </a:cubicBezTo>
                <a:close/>
                <a:moveTo>
                  <a:pt x="4496408" y="3120652"/>
                </a:moveTo>
                <a:lnTo>
                  <a:pt x="4483211" y="3133841"/>
                </a:lnTo>
                <a:lnTo>
                  <a:pt x="4474689" y="3133750"/>
                </a:lnTo>
                <a:lnTo>
                  <a:pt x="4474587" y="3128491"/>
                </a:lnTo>
                <a:close/>
                <a:moveTo>
                  <a:pt x="7404727" y="3092757"/>
                </a:moveTo>
                <a:cubicBezTo>
                  <a:pt x="7403171" y="3092166"/>
                  <a:pt x="7401138" y="3092528"/>
                  <a:pt x="7398977" y="3093452"/>
                </a:cubicBezTo>
                <a:cubicBezTo>
                  <a:pt x="7394658" y="3095296"/>
                  <a:pt x="7389830" y="3099377"/>
                  <a:pt x="7387279" y="3102525"/>
                </a:cubicBezTo>
                <a:cubicBezTo>
                  <a:pt x="7395544" y="3110549"/>
                  <a:pt x="7399616" y="3092663"/>
                  <a:pt x="7407625" y="3097790"/>
                </a:cubicBezTo>
                <a:cubicBezTo>
                  <a:pt x="7407366" y="3094894"/>
                  <a:pt x="7406285" y="3093348"/>
                  <a:pt x="7404727" y="3092757"/>
                </a:cubicBezTo>
                <a:close/>
                <a:moveTo>
                  <a:pt x="6096673" y="3048143"/>
                </a:moveTo>
                <a:cubicBezTo>
                  <a:pt x="6096076" y="3046736"/>
                  <a:pt x="6090238" y="3047440"/>
                  <a:pt x="6081989" y="3049224"/>
                </a:cubicBezTo>
                <a:cubicBezTo>
                  <a:pt x="6057243" y="3054578"/>
                  <a:pt x="6010797" y="3069668"/>
                  <a:pt x="6019033" y="3066744"/>
                </a:cubicBezTo>
                <a:cubicBezTo>
                  <a:pt x="6026459" y="3086525"/>
                  <a:pt x="6095574" y="3057003"/>
                  <a:pt x="6096931" y="3051040"/>
                </a:cubicBezTo>
                <a:cubicBezTo>
                  <a:pt x="6095057" y="3051207"/>
                  <a:pt x="6095057" y="3051207"/>
                  <a:pt x="6096673" y="3048143"/>
                </a:cubicBezTo>
                <a:close/>
                <a:moveTo>
                  <a:pt x="7937544" y="2927270"/>
                </a:moveTo>
                <a:cubicBezTo>
                  <a:pt x="7937607" y="2928634"/>
                  <a:pt x="7938047" y="2932246"/>
                  <a:pt x="7939160" y="2939448"/>
                </a:cubicBezTo>
                <a:cubicBezTo>
                  <a:pt x="7940566" y="2939323"/>
                  <a:pt x="7937356" y="2923181"/>
                  <a:pt x="7937544" y="2927270"/>
                </a:cubicBezTo>
                <a:close/>
                <a:moveTo>
                  <a:pt x="7980565" y="2906188"/>
                </a:moveTo>
                <a:cubicBezTo>
                  <a:pt x="7971039" y="2905211"/>
                  <a:pt x="7965192" y="2913764"/>
                  <a:pt x="7991608" y="2934774"/>
                </a:cubicBezTo>
                <a:cubicBezTo>
                  <a:pt x="8003301" y="2917669"/>
                  <a:pt x="7990093" y="2907164"/>
                  <a:pt x="7980565" y="2906188"/>
                </a:cubicBezTo>
                <a:close/>
                <a:moveTo>
                  <a:pt x="8021041" y="2891630"/>
                </a:moveTo>
                <a:cubicBezTo>
                  <a:pt x="8015688" y="2892471"/>
                  <a:pt x="8009924" y="2896636"/>
                  <a:pt x="8011504" y="2903796"/>
                </a:cubicBezTo>
                <a:cubicBezTo>
                  <a:pt x="8017382" y="2906193"/>
                  <a:pt x="8022485" y="2899896"/>
                  <a:pt x="8028105" y="2899395"/>
                </a:cubicBezTo>
                <a:cubicBezTo>
                  <a:pt x="8031335" y="2893267"/>
                  <a:pt x="8026394" y="2890787"/>
                  <a:pt x="8021041" y="2891630"/>
                </a:cubicBezTo>
                <a:close/>
                <a:moveTo>
                  <a:pt x="1109464" y="2884942"/>
                </a:moveTo>
                <a:lnTo>
                  <a:pt x="1058541" y="2904134"/>
                </a:lnTo>
                <a:cubicBezTo>
                  <a:pt x="932282" y="2952176"/>
                  <a:pt x="821263" y="2995471"/>
                  <a:pt x="787619" y="3007231"/>
                </a:cubicBezTo>
                <a:cubicBezTo>
                  <a:pt x="880327" y="2961734"/>
                  <a:pt x="976462" y="2926882"/>
                  <a:pt x="1073843" y="2895753"/>
                </a:cubicBezTo>
                <a:close/>
                <a:moveTo>
                  <a:pt x="8186481" y="2829065"/>
                </a:moveTo>
                <a:cubicBezTo>
                  <a:pt x="8179097" y="2828626"/>
                  <a:pt x="8167869" y="2841673"/>
                  <a:pt x="8160457" y="2837953"/>
                </a:cubicBezTo>
                <a:cubicBezTo>
                  <a:pt x="8165752" y="2855005"/>
                  <a:pt x="8180804" y="2833220"/>
                  <a:pt x="8192301" y="2835117"/>
                </a:cubicBezTo>
                <a:cubicBezTo>
                  <a:pt x="8190977" y="2830853"/>
                  <a:pt x="8188943" y="2829211"/>
                  <a:pt x="8186481" y="2829065"/>
                </a:cubicBezTo>
                <a:close/>
                <a:moveTo>
                  <a:pt x="8298195" y="2812127"/>
                </a:moveTo>
                <a:cubicBezTo>
                  <a:pt x="8296271" y="2812709"/>
                  <a:pt x="8294293" y="2814346"/>
                  <a:pt x="8292678" y="2817410"/>
                </a:cubicBezTo>
                <a:cubicBezTo>
                  <a:pt x="8296682" y="2819973"/>
                  <a:pt x="8298814" y="2822704"/>
                  <a:pt x="8302817" y="2825268"/>
                </a:cubicBezTo>
                <a:cubicBezTo>
                  <a:pt x="8307113" y="2820505"/>
                  <a:pt x="8306193" y="2815476"/>
                  <a:pt x="8303392" y="2813170"/>
                </a:cubicBezTo>
                <a:cubicBezTo>
                  <a:pt x="8301991" y="2812016"/>
                  <a:pt x="8300120" y="2811545"/>
                  <a:pt x="8298195" y="2812127"/>
                </a:cubicBezTo>
                <a:close/>
                <a:moveTo>
                  <a:pt x="8251072" y="2811731"/>
                </a:moveTo>
                <a:cubicBezTo>
                  <a:pt x="8250135" y="2811085"/>
                  <a:pt x="8249618" y="2811242"/>
                  <a:pt x="8250011" y="2812678"/>
                </a:cubicBezTo>
                <a:cubicBezTo>
                  <a:pt x="8250536" y="2814594"/>
                  <a:pt x="8252680" y="2818784"/>
                  <a:pt x="8257604" y="2826376"/>
                </a:cubicBezTo>
                <a:cubicBezTo>
                  <a:pt x="8260475" y="2822835"/>
                  <a:pt x="8253883" y="2813668"/>
                  <a:pt x="8251072" y="2811731"/>
                </a:cubicBezTo>
                <a:close/>
                <a:moveTo>
                  <a:pt x="29569" y="2793661"/>
                </a:moveTo>
                <a:lnTo>
                  <a:pt x="32338" y="2799599"/>
                </a:lnTo>
                <a:cubicBezTo>
                  <a:pt x="32994" y="2805975"/>
                  <a:pt x="29372" y="2809036"/>
                  <a:pt x="18084" y="2804200"/>
                </a:cubicBezTo>
                <a:close/>
                <a:moveTo>
                  <a:pt x="8388797" y="2786347"/>
                </a:moveTo>
                <a:cubicBezTo>
                  <a:pt x="8384012" y="2788281"/>
                  <a:pt x="8394670" y="2796639"/>
                  <a:pt x="8399515" y="2787446"/>
                </a:cubicBezTo>
                <a:cubicBezTo>
                  <a:pt x="8393702" y="2785774"/>
                  <a:pt x="8390392" y="2785705"/>
                  <a:pt x="8388797" y="2786347"/>
                </a:cubicBezTo>
                <a:close/>
                <a:moveTo>
                  <a:pt x="8443437" y="2771850"/>
                </a:moveTo>
                <a:cubicBezTo>
                  <a:pt x="8441161" y="2772783"/>
                  <a:pt x="8439013" y="2775165"/>
                  <a:pt x="8436461" y="2778312"/>
                </a:cubicBezTo>
                <a:cubicBezTo>
                  <a:pt x="8442598" y="2783607"/>
                  <a:pt x="8446086" y="2780376"/>
                  <a:pt x="8451188" y="2774080"/>
                </a:cubicBezTo>
                <a:cubicBezTo>
                  <a:pt x="8448121" y="2771433"/>
                  <a:pt x="8445714" y="2770918"/>
                  <a:pt x="8443437" y="2771850"/>
                </a:cubicBezTo>
                <a:close/>
                <a:moveTo>
                  <a:pt x="1489924" y="2765261"/>
                </a:moveTo>
                <a:lnTo>
                  <a:pt x="1486639" y="2771172"/>
                </a:lnTo>
                <a:cubicBezTo>
                  <a:pt x="1484126" y="2772126"/>
                  <a:pt x="1481252" y="2771652"/>
                  <a:pt x="1480187" y="2770286"/>
                </a:cubicBezTo>
                <a:lnTo>
                  <a:pt x="1481152" y="2768224"/>
                </a:lnTo>
                <a:close/>
                <a:moveTo>
                  <a:pt x="8425756" y="2764117"/>
                </a:moveTo>
                <a:cubicBezTo>
                  <a:pt x="8421784" y="2767209"/>
                  <a:pt x="8422752" y="2778075"/>
                  <a:pt x="8427354" y="2782045"/>
                </a:cubicBezTo>
                <a:cubicBezTo>
                  <a:pt x="8432456" y="2775749"/>
                  <a:pt x="8428194" y="2770288"/>
                  <a:pt x="8431423" y="2764159"/>
                </a:cubicBezTo>
                <a:cubicBezTo>
                  <a:pt x="8428953" y="2762920"/>
                  <a:pt x="8427080" y="2763087"/>
                  <a:pt x="8425756" y="2764117"/>
                </a:cubicBezTo>
                <a:close/>
                <a:moveTo>
                  <a:pt x="4163" y="2758211"/>
                </a:moveTo>
                <a:cubicBezTo>
                  <a:pt x="6272" y="2758866"/>
                  <a:pt x="9006" y="2760985"/>
                  <a:pt x="11940" y="2763992"/>
                </a:cubicBezTo>
                <a:lnTo>
                  <a:pt x="13714" y="2766189"/>
                </a:lnTo>
                <a:lnTo>
                  <a:pt x="2390" y="2776393"/>
                </a:lnTo>
                <a:cubicBezTo>
                  <a:pt x="-1774" y="2761432"/>
                  <a:pt x="-55" y="2756898"/>
                  <a:pt x="4163" y="2758211"/>
                </a:cubicBezTo>
                <a:close/>
                <a:moveTo>
                  <a:pt x="8476995" y="2756448"/>
                </a:moveTo>
                <a:cubicBezTo>
                  <a:pt x="8472990" y="2753884"/>
                  <a:pt x="8474119" y="2755974"/>
                  <a:pt x="8492399" y="2770408"/>
                </a:cubicBezTo>
                <a:cubicBezTo>
                  <a:pt x="8490138" y="2766228"/>
                  <a:pt x="8480998" y="2759012"/>
                  <a:pt x="8476995" y="2756448"/>
                </a:cubicBezTo>
                <a:close/>
                <a:moveTo>
                  <a:pt x="1497718" y="2750132"/>
                </a:moveTo>
                <a:lnTo>
                  <a:pt x="1497570" y="2750166"/>
                </a:lnTo>
                <a:cubicBezTo>
                  <a:pt x="1496137" y="2751982"/>
                  <a:pt x="1502157" y="2754640"/>
                  <a:pt x="1510626" y="2756988"/>
                </a:cubicBezTo>
                <a:lnTo>
                  <a:pt x="1513102" y="2757431"/>
                </a:lnTo>
                <a:lnTo>
                  <a:pt x="1489924" y="2765261"/>
                </a:lnTo>
                <a:lnTo>
                  <a:pt x="1490910" y="2763491"/>
                </a:lnTo>
                <a:cubicBezTo>
                  <a:pt x="1489974" y="2763574"/>
                  <a:pt x="1486566" y="2762417"/>
                  <a:pt x="1483756" y="2762667"/>
                </a:cubicBezTo>
                <a:lnTo>
                  <a:pt x="1481152" y="2768224"/>
                </a:lnTo>
                <a:lnTo>
                  <a:pt x="1367545" y="2806609"/>
                </a:lnTo>
                <a:lnTo>
                  <a:pt x="1282137" y="2832532"/>
                </a:lnTo>
                <a:lnTo>
                  <a:pt x="1248992" y="2840172"/>
                </a:lnTo>
                <a:cubicBezTo>
                  <a:pt x="1222444" y="2846827"/>
                  <a:pt x="1196216" y="2854070"/>
                  <a:pt x="1170801" y="2862374"/>
                </a:cubicBezTo>
                <a:lnTo>
                  <a:pt x="1125101" y="2880195"/>
                </a:lnTo>
                <a:lnTo>
                  <a:pt x="1109464" y="2884942"/>
                </a:lnTo>
                <a:lnTo>
                  <a:pt x="1187581" y="2855501"/>
                </a:lnTo>
                <a:cubicBezTo>
                  <a:pt x="1317099" y="2807272"/>
                  <a:pt x="1441148" y="2763225"/>
                  <a:pt x="1497596" y="2750152"/>
                </a:cubicBezTo>
                <a:close/>
                <a:moveTo>
                  <a:pt x="1505928" y="2748217"/>
                </a:moveTo>
                <a:lnTo>
                  <a:pt x="1508735" y="2748238"/>
                </a:lnTo>
                <a:lnTo>
                  <a:pt x="1497718" y="2750132"/>
                </a:lnTo>
                <a:close/>
                <a:moveTo>
                  <a:pt x="1519901" y="2746321"/>
                </a:moveTo>
                <a:cubicBezTo>
                  <a:pt x="1525266" y="2745987"/>
                  <a:pt x="1528466" y="2746637"/>
                  <a:pt x="1529213" y="2748395"/>
                </a:cubicBezTo>
                <a:lnTo>
                  <a:pt x="1508735" y="2748238"/>
                </a:lnTo>
                <a:close/>
                <a:moveTo>
                  <a:pt x="53439" y="2732829"/>
                </a:moveTo>
                <a:cubicBezTo>
                  <a:pt x="48420" y="2730128"/>
                  <a:pt x="61801" y="2749197"/>
                  <a:pt x="65629" y="2744474"/>
                </a:cubicBezTo>
                <a:cubicBezTo>
                  <a:pt x="58830" y="2737049"/>
                  <a:pt x="55112" y="2733729"/>
                  <a:pt x="53439" y="2732829"/>
                </a:cubicBezTo>
                <a:close/>
                <a:moveTo>
                  <a:pt x="1617576" y="2722998"/>
                </a:moveTo>
                <a:cubicBezTo>
                  <a:pt x="1597745" y="2733527"/>
                  <a:pt x="1568615" y="2724441"/>
                  <a:pt x="1559700" y="2751519"/>
                </a:cubicBezTo>
                <a:cubicBezTo>
                  <a:pt x="1576042" y="2744222"/>
                  <a:pt x="1608144" y="2744282"/>
                  <a:pt x="1617576" y="2722998"/>
                </a:cubicBezTo>
                <a:close/>
                <a:moveTo>
                  <a:pt x="980712" y="2671328"/>
                </a:moveTo>
                <a:cubicBezTo>
                  <a:pt x="976829" y="2672768"/>
                  <a:pt x="973405" y="2676723"/>
                  <a:pt x="970303" y="2684301"/>
                </a:cubicBezTo>
                <a:cubicBezTo>
                  <a:pt x="980187" y="2689261"/>
                  <a:pt x="994654" y="2682131"/>
                  <a:pt x="993881" y="2673438"/>
                </a:cubicBezTo>
                <a:cubicBezTo>
                  <a:pt x="988940" y="2670959"/>
                  <a:pt x="984595" y="2669886"/>
                  <a:pt x="980712" y="2671328"/>
                </a:cubicBezTo>
                <a:close/>
                <a:moveTo>
                  <a:pt x="381551" y="2666674"/>
                </a:moveTo>
                <a:lnTo>
                  <a:pt x="381436" y="2667019"/>
                </a:lnTo>
                <a:lnTo>
                  <a:pt x="381237" y="2667028"/>
                </a:lnTo>
                <a:close/>
                <a:moveTo>
                  <a:pt x="1905143" y="2644804"/>
                </a:moveTo>
                <a:cubicBezTo>
                  <a:pt x="1907789" y="2653329"/>
                  <a:pt x="1903205" y="2665420"/>
                  <a:pt x="1910697" y="2664752"/>
                </a:cubicBezTo>
                <a:cubicBezTo>
                  <a:pt x="1912054" y="2658790"/>
                  <a:pt x="1910762" y="2644304"/>
                  <a:pt x="1905143" y="2644804"/>
                </a:cubicBezTo>
                <a:close/>
                <a:moveTo>
                  <a:pt x="1253077" y="2643980"/>
                </a:moveTo>
                <a:lnTo>
                  <a:pt x="1247662" y="2649085"/>
                </a:lnTo>
                <a:cubicBezTo>
                  <a:pt x="1243172" y="2652365"/>
                  <a:pt x="1238588" y="2654554"/>
                  <a:pt x="1233905" y="2654970"/>
                </a:cubicBezTo>
                <a:close/>
                <a:moveTo>
                  <a:pt x="1882258" y="2643785"/>
                </a:moveTo>
                <a:lnTo>
                  <a:pt x="1881050" y="2649872"/>
                </a:lnTo>
                <a:lnTo>
                  <a:pt x="1877608" y="2646167"/>
                </a:lnTo>
                <a:close/>
                <a:moveTo>
                  <a:pt x="1918866" y="2640890"/>
                </a:moveTo>
                <a:lnTo>
                  <a:pt x="1919123" y="2641751"/>
                </a:lnTo>
                <a:lnTo>
                  <a:pt x="1918225" y="2641269"/>
                </a:lnTo>
                <a:close/>
                <a:moveTo>
                  <a:pt x="1871652" y="2639757"/>
                </a:moveTo>
                <a:lnTo>
                  <a:pt x="1877608" y="2646167"/>
                </a:lnTo>
                <a:lnTo>
                  <a:pt x="1868101" y="2651039"/>
                </a:lnTo>
                <a:lnTo>
                  <a:pt x="1864191" y="2651374"/>
                </a:lnTo>
                <a:cubicBezTo>
                  <a:pt x="1866356" y="2643880"/>
                  <a:pt x="1868845" y="2640008"/>
                  <a:pt x="1871652" y="2639757"/>
                </a:cubicBezTo>
                <a:close/>
                <a:moveTo>
                  <a:pt x="1892734" y="2639059"/>
                </a:moveTo>
                <a:lnTo>
                  <a:pt x="1893389" y="2640010"/>
                </a:lnTo>
                <a:lnTo>
                  <a:pt x="1891890" y="2639080"/>
                </a:lnTo>
                <a:close/>
                <a:moveTo>
                  <a:pt x="1884142" y="2634263"/>
                </a:moveTo>
                <a:lnTo>
                  <a:pt x="1891890" y="2639080"/>
                </a:lnTo>
                <a:lnTo>
                  <a:pt x="1891418" y="2639091"/>
                </a:lnTo>
                <a:lnTo>
                  <a:pt x="1882258" y="2643785"/>
                </a:lnTo>
                <a:close/>
                <a:moveTo>
                  <a:pt x="1269718" y="2626553"/>
                </a:moveTo>
                <a:lnTo>
                  <a:pt x="1271996" y="2630859"/>
                </a:lnTo>
                <a:cubicBezTo>
                  <a:pt x="1269952" y="2633095"/>
                  <a:pt x="1266174" y="2636056"/>
                  <a:pt x="1260035" y="2639990"/>
                </a:cubicBezTo>
                <a:lnTo>
                  <a:pt x="1253077" y="2643980"/>
                </a:lnTo>
                <a:lnTo>
                  <a:pt x="1260857" y="2636644"/>
                </a:lnTo>
                <a:close/>
                <a:moveTo>
                  <a:pt x="697699" y="2612583"/>
                </a:moveTo>
                <a:cubicBezTo>
                  <a:pt x="693985" y="2613278"/>
                  <a:pt x="690431" y="2615785"/>
                  <a:pt x="687202" y="2621913"/>
                </a:cubicBezTo>
                <a:cubicBezTo>
                  <a:pt x="695210" y="2627042"/>
                  <a:pt x="709939" y="2622809"/>
                  <a:pt x="709163" y="2614116"/>
                </a:cubicBezTo>
                <a:cubicBezTo>
                  <a:pt x="705288" y="2613002"/>
                  <a:pt x="701412" y="2611886"/>
                  <a:pt x="697699" y="2612583"/>
                </a:cubicBezTo>
                <a:close/>
                <a:moveTo>
                  <a:pt x="1882538" y="2603011"/>
                </a:moveTo>
                <a:cubicBezTo>
                  <a:pt x="1865939" y="2607411"/>
                  <a:pt x="1888350" y="2625857"/>
                  <a:pt x="1882538" y="2603011"/>
                </a:cubicBezTo>
                <a:close/>
                <a:moveTo>
                  <a:pt x="765711" y="2586580"/>
                </a:moveTo>
                <a:cubicBezTo>
                  <a:pt x="763317" y="2586201"/>
                  <a:pt x="761001" y="2586681"/>
                  <a:pt x="758708" y="2587431"/>
                </a:cubicBezTo>
                <a:cubicBezTo>
                  <a:pt x="754121" y="2588935"/>
                  <a:pt x="749631" y="2591527"/>
                  <a:pt x="744819" y="2590495"/>
                </a:cubicBezTo>
                <a:cubicBezTo>
                  <a:pt x="747725" y="2601918"/>
                  <a:pt x="766457" y="2600248"/>
                  <a:pt x="773176" y="2590889"/>
                </a:cubicBezTo>
                <a:cubicBezTo>
                  <a:pt x="770576" y="2588200"/>
                  <a:pt x="768105" y="2586960"/>
                  <a:pt x="765711" y="2586580"/>
                </a:cubicBezTo>
                <a:close/>
                <a:moveTo>
                  <a:pt x="873842" y="2565855"/>
                </a:moveTo>
                <a:cubicBezTo>
                  <a:pt x="869629" y="2566230"/>
                  <a:pt x="865543" y="2568055"/>
                  <a:pt x="862312" y="2574184"/>
                </a:cubicBezTo>
                <a:cubicBezTo>
                  <a:pt x="871936" y="2576247"/>
                  <a:pt x="879688" y="2578477"/>
                  <a:pt x="886148" y="2566219"/>
                </a:cubicBezTo>
                <a:cubicBezTo>
                  <a:pt x="882400" y="2566553"/>
                  <a:pt x="878057" y="2565479"/>
                  <a:pt x="873842" y="2565855"/>
                </a:cubicBezTo>
                <a:close/>
                <a:moveTo>
                  <a:pt x="9906384" y="2560716"/>
                </a:moveTo>
                <a:cubicBezTo>
                  <a:pt x="9901553" y="2558135"/>
                  <a:pt x="9916303" y="2572700"/>
                  <a:pt x="9918918" y="2570277"/>
                </a:cubicBezTo>
                <a:cubicBezTo>
                  <a:pt x="9911782" y="2564343"/>
                  <a:pt x="9907995" y="2561577"/>
                  <a:pt x="9906384" y="2560716"/>
                </a:cubicBezTo>
                <a:close/>
                <a:moveTo>
                  <a:pt x="1777335" y="2560218"/>
                </a:moveTo>
                <a:lnTo>
                  <a:pt x="1766276" y="2569564"/>
                </a:lnTo>
                <a:cubicBezTo>
                  <a:pt x="1762635" y="2568429"/>
                  <a:pt x="1762897" y="2566763"/>
                  <a:pt x="1766084" y="2564738"/>
                </a:cubicBezTo>
                <a:close/>
                <a:moveTo>
                  <a:pt x="9964434" y="2548700"/>
                </a:moveTo>
                <a:cubicBezTo>
                  <a:pt x="9962326" y="2548886"/>
                  <a:pt x="9963779" y="2554598"/>
                  <a:pt x="9975115" y="2565269"/>
                </a:cubicBezTo>
                <a:cubicBezTo>
                  <a:pt x="9972209" y="2553847"/>
                  <a:pt x="9966541" y="2548512"/>
                  <a:pt x="9964434" y="2548700"/>
                </a:cubicBezTo>
                <a:close/>
                <a:moveTo>
                  <a:pt x="9933340" y="2546724"/>
                </a:moveTo>
                <a:cubicBezTo>
                  <a:pt x="9926898" y="2543282"/>
                  <a:pt x="9922602" y="2548046"/>
                  <a:pt x="9939782" y="2571339"/>
                </a:cubicBezTo>
                <a:cubicBezTo>
                  <a:pt x="9948373" y="2561812"/>
                  <a:pt x="9939784" y="2550165"/>
                  <a:pt x="9933340" y="2546724"/>
                </a:cubicBezTo>
                <a:close/>
                <a:moveTo>
                  <a:pt x="949385" y="2534300"/>
                </a:moveTo>
                <a:cubicBezTo>
                  <a:pt x="941633" y="2532070"/>
                  <a:pt x="929039" y="2539034"/>
                  <a:pt x="929813" y="2547726"/>
                </a:cubicBezTo>
                <a:cubicBezTo>
                  <a:pt x="937305" y="2547058"/>
                  <a:pt x="950159" y="2542992"/>
                  <a:pt x="949385" y="2534300"/>
                </a:cubicBezTo>
                <a:close/>
                <a:moveTo>
                  <a:pt x="1965771" y="2520027"/>
                </a:moveTo>
                <a:cubicBezTo>
                  <a:pt x="1962994" y="2520638"/>
                  <a:pt x="1961313" y="2522979"/>
                  <a:pt x="1962768" y="2528690"/>
                </a:cubicBezTo>
                <a:cubicBezTo>
                  <a:pt x="1968126" y="2525293"/>
                  <a:pt x="1976396" y="2533317"/>
                  <a:pt x="1975361" y="2521727"/>
                </a:cubicBezTo>
                <a:cubicBezTo>
                  <a:pt x="1972426" y="2520529"/>
                  <a:pt x="1968549" y="2519414"/>
                  <a:pt x="1965771" y="2520027"/>
                </a:cubicBezTo>
                <a:close/>
                <a:moveTo>
                  <a:pt x="1789526" y="2507585"/>
                </a:moveTo>
                <a:lnTo>
                  <a:pt x="1797523" y="2512780"/>
                </a:lnTo>
                <a:lnTo>
                  <a:pt x="1805230" y="2519976"/>
                </a:lnTo>
                <a:lnTo>
                  <a:pt x="1784298" y="2538753"/>
                </a:lnTo>
                <a:cubicBezTo>
                  <a:pt x="1784491" y="2540926"/>
                  <a:pt x="1781997" y="2536767"/>
                  <a:pt x="1779379" y="2530567"/>
                </a:cubicBezTo>
                <a:lnTo>
                  <a:pt x="1775365" y="2516058"/>
                </a:lnTo>
                <a:close/>
                <a:moveTo>
                  <a:pt x="1788234" y="2506744"/>
                </a:moveTo>
                <a:lnTo>
                  <a:pt x="1788248" y="2506755"/>
                </a:lnTo>
                <a:lnTo>
                  <a:pt x="1787142" y="2507236"/>
                </a:lnTo>
                <a:cubicBezTo>
                  <a:pt x="1785738" y="2507812"/>
                  <a:pt x="1786309" y="2507521"/>
                  <a:pt x="1788089" y="2506793"/>
                </a:cubicBezTo>
                <a:close/>
                <a:moveTo>
                  <a:pt x="1775006" y="2505026"/>
                </a:moveTo>
                <a:lnTo>
                  <a:pt x="1773722" y="2510126"/>
                </a:lnTo>
                <a:lnTo>
                  <a:pt x="1775365" y="2516058"/>
                </a:lnTo>
                <a:lnTo>
                  <a:pt x="1769380" y="2519639"/>
                </a:lnTo>
                <a:cubicBezTo>
                  <a:pt x="1759739" y="2522689"/>
                  <a:pt x="1749839" y="2522842"/>
                  <a:pt x="1739149" y="2519413"/>
                </a:cubicBezTo>
                <a:cubicBezTo>
                  <a:pt x="1738423" y="2516557"/>
                  <a:pt x="1743248" y="2513755"/>
                  <a:pt x="1750976" y="2511103"/>
                </a:cubicBezTo>
                <a:close/>
                <a:moveTo>
                  <a:pt x="1794183" y="2504800"/>
                </a:moveTo>
                <a:lnTo>
                  <a:pt x="1789526" y="2507585"/>
                </a:lnTo>
                <a:lnTo>
                  <a:pt x="1788248" y="2506755"/>
                </a:lnTo>
                <a:lnTo>
                  <a:pt x="1788383" y="2506696"/>
                </a:lnTo>
                <a:close/>
                <a:moveTo>
                  <a:pt x="1782721" y="2503164"/>
                </a:moveTo>
                <a:lnTo>
                  <a:pt x="1782797" y="2503214"/>
                </a:lnTo>
                <a:lnTo>
                  <a:pt x="1780230" y="2503706"/>
                </a:lnTo>
                <a:lnTo>
                  <a:pt x="1775006" y="2505026"/>
                </a:lnTo>
                <a:lnTo>
                  <a:pt x="1775427" y="2503352"/>
                </a:lnTo>
                <a:cubicBezTo>
                  <a:pt x="1776820" y="2502013"/>
                  <a:pt x="1779145" y="2501770"/>
                  <a:pt x="1782721" y="2503164"/>
                </a:cubicBezTo>
                <a:close/>
                <a:moveTo>
                  <a:pt x="1089422" y="2495537"/>
                </a:moveTo>
                <a:cubicBezTo>
                  <a:pt x="1085419" y="2492973"/>
                  <a:pt x="1082204" y="2493989"/>
                  <a:pt x="1079055" y="2495730"/>
                </a:cubicBezTo>
                <a:cubicBezTo>
                  <a:pt x="1075906" y="2497471"/>
                  <a:pt x="1072822" y="2499937"/>
                  <a:pt x="1069075" y="2500271"/>
                </a:cubicBezTo>
                <a:cubicBezTo>
                  <a:pt x="1057838" y="2501272"/>
                  <a:pt x="1085352" y="2513423"/>
                  <a:pt x="1089422" y="2495537"/>
                </a:cubicBezTo>
                <a:close/>
                <a:moveTo>
                  <a:pt x="631023" y="2476150"/>
                </a:moveTo>
                <a:lnTo>
                  <a:pt x="638477" y="2479188"/>
                </a:lnTo>
                <a:lnTo>
                  <a:pt x="629367" y="2485112"/>
                </a:lnTo>
                <a:lnTo>
                  <a:pt x="618613" y="2487843"/>
                </a:lnTo>
                <a:cubicBezTo>
                  <a:pt x="621036" y="2483246"/>
                  <a:pt x="626268" y="2478398"/>
                  <a:pt x="631023" y="2476150"/>
                </a:cubicBezTo>
                <a:close/>
                <a:moveTo>
                  <a:pt x="1179627" y="2469610"/>
                </a:moveTo>
                <a:cubicBezTo>
                  <a:pt x="1172634" y="2470599"/>
                  <a:pt x="1166804" y="2474039"/>
                  <a:pt x="1165705" y="2482897"/>
                </a:cubicBezTo>
                <a:cubicBezTo>
                  <a:pt x="1178302" y="2475934"/>
                  <a:pt x="1192189" y="2483458"/>
                  <a:pt x="1200522" y="2471034"/>
                </a:cubicBezTo>
                <a:cubicBezTo>
                  <a:pt x="1194774" y="2470085"/>
                  <a:pt x="1186620" y="2468621"/>
                  <a:pt x="1179627" y="2469610"/>
                </a:cubicBezTo>
                <a:close/>
                <a:moveTo>
                  <a:pt x="2285600" y="2464876"/>
                </a:moveTo>
                <a:cubicBezTo>
                  <a:pt x="2276492" y="2468609"/>
                  <a:pt x="2265252" y="2469611"/>
                  <a:pt x="2266544" y="2484098"/>
                </a:cubicBezTo>
                <a:cubicBezTo>
                  <a:pt x="2273778" y="2480532"/>
                  <a:pt x="2286893" y="2479365"/>
                  <a:pt x="2285600" y="2464876"/>
                </a:cubicBezTo>
                <a:close/>
                <a:moveTo>
                  <a:pt x="2235479" y="2457776"/>
                </a:moveTo>
                <a:cubicBezTo>
                  <a:pt x="2170122" y="2465083"/>
                  <a:pt x="2018332" y="2574209"/>
                  <a:pt x="1930049" y="2626340"/>
                </a:cubicBezTo>
                <a:lnTo>
                  <a:pt x="1906442" y="2638727"/>
                </a:lnTo>
                <a:lnTo>
                  <a:pt x="1892734" y="2639059"/>
                </a:lnTo>
                <a:lnTo>
                  <a:pt x="1881398" y="2622564"/>
                </a:lnTo>
                <a:cubicBezTo>
                  <a:pt x="1840587" y="2602004"/>
                  <a:pt x="1719075" y="2709938"/>
                  <a:pt x="1708393" y="2682779"/>
                </a:cubicBezTo>
                <a:cubicBezTo>
                  <a:pt x="1678099" y="2703002"/>
                  <a:pt x="1649162" y="2717263"/>
                  <a:pt x="1618349" y="2731690"/>
                </a:cubicBezTo>
                <a:cubicBezTo>
                  <a:pt x="1727384" y="2684008"/>
                  <a:pt x="1806058" y="2676997"/>
                  <a:pt x="1831957" y="2692212"/>
                </a:cubicBezTo>
                <a:cubicBezTo>
                  <a:pt x="1841712" y="2674550"/>
                  <a:pt x="1852185" y="2662300"/>
                  <a:pt x="1862415" y="2653951"/>
                </a:cubicBezTo>
                <a:lnTo>
                  <a:pt x="1868101" y="2651039"/>
                </a:lnTo>
                <a:lnTo>
                  <a:pt x="1885900" y="2649508"/>
                </a:lnTo>
                <a:lnTo>
                  <a:pt x="1906442" y="2638727"/>
                </a:lnTo>
                <a:lnTo>
                  <a:pt x="1913200" y="2638565"/>
                </a:lnTo>
                <a:lnTo>
                  <a:pt x="1918225" y="2641269"/>
                </a:lnTo>
                <a:lnTo>
                  <a:pt x="1914243" y="2643628"/>
                </a:lnTo>
                <a:cubicBezTo>
                  <a:pt x="1912086" y="2648566"/>
                  <a:pt x="1912861" y="2657258"/>
                  <a:pt x="1923034" y="2654891"/>
                </a:cubicBezTo>
                <a:lnTo>
                  <a:pt x="1919123" y="2641751"/>
                </a:lnTo>
                <a:lnTo>
                  <a:pt x="1922001" y="2643302"/>
                </a:lnTo>
                <a:cubicBezTo>
                  <a:pt x="1927880" y="2645699"/>
                  <a:pt x="1979362" y="2608985"/>
                  <a:pt x="1949326" y="2632106"/>
                </a:cubicBezTo>
                <a:cubicBezTo>
                  <a:pt x="1956237" y="2646093"/>
                  <a:pt x="2147046" y="2541474"/>
                  <a:pt x="2153699" y="2552563"/>
                </a:cubicBezTo>
                <a:cubicBezTo>
                  <a:pt x="2181019" y="2541368"/>
                  <a:pt x="2244841" y="2494793"/>
                  <a:pt x="2264930" y="2487163"/>
                </a:cubicBezTo>
                <a:cubicBezTo>
                  <a:pt x="2255305" y="2485100"/>
                  <a:pt x="2254533" y="2476407"/>
                  <a:pt x="2263122" y="2466880"/>
                </a:cubicBezTo>
                <a:cubicBezTo>
                  <a:pt x="2258165" y="2458926"/>
                  <a:pt x="2248552" y="2456315"/>
                  <a:pt x="2235479" y="2457776"/>
                </a:cubicBezTo>
                <a:close/>
                <a:moveTo>
                  <a:pt x="2180251" y="2447980"/>
                </a:moveTo>
                <a:cubicBezTo>
                  <a:pt x="2078386" y="2512546"/>
                  <a:pt x="2180702" y="2474225"/>
                  <a:pt x="2180251" y="2447980"/>
                </a:cubicBezTo>
                <a:close/>
                <a:moveTo>
                  <a:pt x="2299651" y="2442452"/>
                </a:moveTo>
                <a:lnTo>
                  <a:pt x="2295290" y="2446491"/>
                </a:lnTo>
                <a:lnTo>
                  <a:pt x="2303922" y="2443349"/>
                </a:lnTo>
                <a:cubicBezTo>
                  <a:pt x="2304149" y="2442599"/>
                  <a:pt x="2302227" y="2442222"/>
                  <a:pt x="2299651" y="2442452"/>
                </a:cubicBezTo>
                <a:close/>
                <a:moveTo>
                  <a:pt x="621659" y="2375174"/>
                </a:moveTo>
                <a:lnTo>
                  <a:pt x="622717" y="2376354"/>
                </a:lnTo>
                <a:lnTo>
                  <a:pt x="620041" y="2376737"/>
                </a:lnTo>
                <a:close/>
                <a:moveTo>
                  <a:pt x="601527" y="2371268"/>
                </a:moveTo>
                <a:lnTo>
                  <a:pt x="602400" y="2371410"/>
                </a:lnTo>
                <a:lnTo>
                  <a:pt x="601260" y="2372077"/>
                </a:lnTo>
                <a:close/>
                <a:moveTo>
                  <a:pt x="531035" y="2352543"/>
                </a:moveTo>
                <a:lnTo>
                  <a:pt x="520200" y="2370391"/>
                </a:lnTo>
                <a:lnTo>
                  <a:pt x="520449" y="2368819"/>
                </a:lnTo>
                <a:cubicBezTo>
                  <a:pt x="525124" y="2360372"/>
                  <a:pt x="531035" y="2352543"/>
                  <a:pt x="531035" y="2352543"/>
                </a:cubicBezTo>
                <a:close/>
                <a:moveTo>
                  <a:pt x="579222" y="2342407"/>
                </a:moveTo>
                <a:cubicBezTo>
                  <a:pt x="574957" y="2336947"/>
                  <a:pt x="561005" y="2349873"/>
                  <a:pt x="567141" y="2355166"/>
                </a:cubicBezTo>
                <a:cubicBezTo>
                  <a:pt x="575150" y="2360293"/>
                  <a:pt x="579222" y="2342407"/>
                  <a:pt x="579222" y="2342407"/>
                </a:cubicBezTo>
                <a:close/>
                <a:moveTo>
                  <a:pt x="601441" y="2337507"/>
                </a:moveTo>
                <a:cubicBezTo>
                  <a:pt x="582126" y="2353831"/>
                  <a:pt x="631347" y="2355287"/>
                  <a:pt x="601441" y="2337507"/>
                </a:cubicBezTo>
                <a:close/>
                <a:moveTo>
                  <a:pt x="232045" y="2303402"/>
                </a:moveTo>
                <a:lnTo>
                  <a:pt x="230864" y="2306383"/>
                </a:lnTo>
                <a:lnTo>
                  <a:pt x="224872" y="2306812"/>
                </a:lnTo>
                <a:close/>
                <a:moveTo>
                  <a:pt x="798448" y="2302429"/>
                </a:moveTo>
                <a:cubicBezTo>
                  <a:pt x="786434" y="2294737"/>
                  <a:pt x="720483" y="2338581"/>
                  <a:pt x="721516" y="2350172"/>
                </a:cubicBezTo>
                <a:cubicBezTo>
                  <a:pt x="720225" y="2335684"/>
                  <a:pt x="718610" y="2338748"/>
                  <a:pt x="718803" y="2362095"/>
                </a:cubicBezTo>
                <a:cubicBezTo>
                  <a:pt x="717188" y="2365160"/>
                  <a:pt x="799673" y="2337366"/>
                  <a:pt x="799673" y="2337366"/>
                </a:cubicBezTo>
                <a:cubicBezTo>
                  <a:pt x="833263" y="2290564"/>
                  <a:pt x="785787" y="2329842"/>
                  <a:pt x="761693" y="2334909"/>
                </a:cubicBezTo>
                <a:cubicBezTo>
                  <a:pt x="771641" y="2319421"/>
                  <a:pt x="783721" y="2306662"/>
                  <a:pt x="798448" y="2302429"/>
                </a:cubicBezTo>
                <a:close/>
                <a:moveTo>
                  <a:pt x="799842" y="2267762"/>
                </a:moveTo>
                <a:cubicBezTo>
                  <a:pt x="797900" y="2267159"/>
                  <a:pt x="795332" y="2267479"/>
                  <a:pt x="792573" y="2268273"/>
                </a:cubicBezTo>
                <a:cubicBezTo>
                  <a:pt x="787049" y="2269859"/>
                  <a:pt x="780751" y="2273341"/>
                  <a:pt x="777134" y="2275123"/>
                </a:cubicBezTo>
                <a:cubicBezTo>
                  <a:pt x="777909" y="2283816"/>
                  <a:pt x="795866" y="2273454"/>
                  <a:pt x="803358" y="2272786"/>
                </a:cubicBezTo>
                <a:cubicBezTo>
                  <a:pt x="803100" y="2269890"/>
                  <a:pt x="801783" y="2268364"/>
                  <a:pt x="799842" y="2267762"/>
                </a:cubicBezTo>
                <a:close/>
                <a:moveTo>
                  <a:pt x="267223" y="2260327"/>
                </a:moveTo>
                <a:cubicBezTo>
                  <a:pt x="263274" y="2261044"/>
                  <a:pt x="259786" y="2264276"/>
                  <a:pt x="257623" y="2271769"/>
                </a:cubicBezTo>
                <a:cubicBezTo>
                  <a:pt x="265890" y="2279794"/>
                  <a:pt x="272350" y="2267536"/>
                  <a:pt x="279585" y="2263971"/>
                </a:cubicBezTo>
                <a:cubicBezTo>
                  <a:pt x="275580" y="2261409"/>
                  <a:pt x="271171" y="2259611"/>
                  <a:pt x="267223" y="2260327"/>
                </a:cubicBezTo>
                <a:close/>
                <a:moveTo>
                  <a:pt x="213329" y="2256735"/>
                </a:moveTo>
                <a:cubicBezTo>
                  <a:pt x="209649" y="2257791"/>
                  <a:pt x="204690" y="2260424"/>
                  <a:pt x="201752" y="2259225"/>
                </a:cubicBezTo>
                <a:cubicBezTo>
                  <a:pt x="201169" y="2273879"/>
                  <a:pt x="212990" y="2258223"/>
                  <a:pt x="217254" y="2263684"/>
                </a:cubicBezTo>
                <a:cubicBezTo>
                  <a:pt x="219417" y="2256192"/>
                  <a:pt x="217012" y="2255675"/>
                  <a:pt x="213329" y="2256735"/>
                </a:cubicBezTo>
                <a:close/>
                <a:moveTo>
                  <a:pt x="231206" y="2250760"/>
                </a:moveTo>
                <a:cubicBezTo>
                  <a:pt x="229591" y="2253823"/>
                  <a:pt x="255942" y="2295283"/>
                  <a:pt x="231206" y="2250760"/>
                </a:cubicBezTo>
                <a:close/>
                <a:moveTo>
                  <a:pt x="10996782" y="2228907"/>
                </a:moveTo>
                <a:cubicBezTo>
                  <a:pt x="10968037" y="2266514"/>
                  <a:pt x="10998915" y="2231638"/>
                  <a:pt x="10996782" y="2228907"/>
                </a:cubicBezTo>
                <a:close/>
                <a:moveTo>
                  <a:pt x="339390" y="2227978"/>
                </a:moveTo>
                <a:cubicBezTo>
                  <a:pt x="335603" y="2230505"/>
                  <a:pt x="331971" y="2237400"/>
                  <a:pt x="339849" y="2241079"/>
                </a:cubicBezTo>
                <a:cubicBezTo>
                  <a:pt x="347117" y="2227289"/>
                  <a:pt x="343177" y="2225450"/>
                  <a:pt x="339390" y="2227978"/>
                </a:cubicBezTo>
                <a:close/>
                <a:moveTo>
                  <a:pt x="295013" y="2212814"/>
                </a:moveTo>
                <a:lnTo>
                  <a:pt x="294665" y="2213247"/>
                </a:lnTo>
                <a:lnTo>
                  <a:pt x="294630" y="2212982"/>
                </a:lnTo>
                <a:close/>
                <a:moveTo>
                  <a:pt x="297415" y="2209814"/>
                </a:moveTo>
                <a:lnTo>
                  <a:pt x="299013" y="2211040"/>
                </a:lnTo>
                <a:lnTo>
                  <a:pt x="295013" y="2212814"/>
                </a:lnTo>
                <a:close/>
                <a:moveTo>
                  <a:pt x="10772134" y="2208039"/>
                </a:moveTo>
                <a:cubicBezTo>
                  <a:pt x="10692812" y="2250153"/>
                  <a:pt x="10783049" y="2224590"/>
                  <a:pt x="10772134" y="2208039"/>
                </a:cubicBezTo>
                <a:close/>
                <a:moveTo>
                  <a:pt x="418313" y="2207209"/>
                </a:moveTo>
                <a:cubicBezTo>
                  <a:pt x="413450" y="2210243"/>
                  <a:pt x="409804" y="2220972"/>
                  <a:pt x="404379" y="2223646"/>
                </a:cubicBezTo>
                <a:cubicBezTo>
                  <a:pt x="412646" y="2231671"/>
                  <a:pt x="417232" y="2219580"/>
                  <a:pt x="423691" y="2207323"/>
                </a:cubicBezTo>
                <a:cubicBezTo>
                  <a:pt x="421690" y="2206041"/>
                  <a:pt x="419933" y="2206198"/>
                  <a:pt x="418313" y="2207209"/>
                </a:cubicBezTo>
                <a:close/>
                <a:moveTo>
                  <a:pt x="319375" y="2202016"/>
                </a:moveTo>
                <a:cubicBezTo>
                  <a:pt x="315468" y="2211126"/>
                  <a:pt x="311706" y="2216572"/>
                  <a:pt x="308056" y="2217991"/>
                </a:cubicBezTo>
                <a:lnTo>
                  <a:pt x="299013" y="2211040"/>
                </a:lnTo>
                <a:close/>
                <a:moveTo>
                  <a:pt x="10822097" y="2191398"/>
                </a:moveTo>
                <a:cubicBezTo>
                  <a:pt x="10817317" y="2190769"/>
                  <a:pt x="10812852" y="2191064"/>
                  <a:pt x="10808903" y="2191940"/>
                </a:cubicBezTo>
                <a:cubicBezTo>
                  <a:pt x="10785211" y="2197201"/>
                  <a:pt x="10780109" y="2223391"/>
                  <a:pt x="10837178" y="2196403"/>
                </a:cubicBezTo>
                <a:cubicBezTo>
                  <a:pt x="10831971" y="2193581"/>
                  <a:pt x="10826877" y="2192027"/>
                  <a:pt x="10822097" y="2191398"/>
                </a:cubicBezTo>
                <a:close/>
                <a:moveTo>
                  <a:pt x="10696352" y="2189237"/>
                </a:moveTo>
                <a:cubicBezTo>
                  <a:pt x="10693203" y="2190979"/>
                  <a:pt x="10679186" y="2203179"/>
                  <a:pt x="10663748" y="2220618"/>
                </a:cubicBezTo>
                <a:cubicBezTo>
                  <a:pt x="10691783" y="2196217"/>
                  <a:pt x="10699501" y="2187497"/>
                  <a:pt x="10696352" y="2189237"/>
                </a:cubicBezTo>
                <a:close/>
                <a:moveTo>
                  <a:pt x="442860" y="2184076"/>
                </a:moveTo>
                <a:cubicBezTo>
                  <a:pt x="434787" y="2188811"/>
                  <a:pt x="426114" y="2202726"/>
                  <a:pt x="441065" y="2211616"/>
                </a:cubicBezTo>
                <a:cubicBezTo>
                  <a:pt x="458412" y="2183785"/>
                  <a:pt x="450935" y="2179341"/>
                  <a:pt x="442860" y="2184076"/>
                </a:cubicBezTo>
                <a:close/>
                <a:moveTo>
                  <a:pt x="279713" y="2179396"/>
                </a:moveTo>
                <a:lnTo>
                  <a:pt x="301805" y="2180458"/>
                </a:lnTo>
                <a:cubicBezTo>
                  <a:pt x="309820" y="2181830"/>
                  <a:pt x="314954" y="2184157"/>
                  <a:pt x="316212" y="2187695"/>
                </a:cubicBezTo>
                <a:cubicBezTo>
                  <a:pt x="284044" y="2208084"/>
                  <a:pt x="265637" y="2192202"/>
                  <a:pt x="238505" y="2226744"/>
                </a:cubicBezTo>
                <a:cubicBezTo>
                  <a:pt x="245837" y="2213679"/>
                  <a:pt x="254301" y="2202384"/>
                  <a:pt x="263600" y="2192647"/>
                </a:cubicBezTo>
                <a:close/>
                <a:moveTo>
                  <a:pt x="10933550" y="2176131"/>
                </a:moveTo>
                <a:lnTo>
                  <a:pt x="10911262" y="2189466"/>
                </a:lnTo>
                <a:lnTo>
                  <a:pt x="10910087" y="2182969"/>
                </a:lnTo>
                <a:cubicBezTo>
                  <a:pt x="10913543" y="2179375"/>
                  <a:pt x="10921376" y="2177217"/>
                  <a:pt x="10933550" y="2176131"/>
                </a:cubicBezTo>
                <a:close/>
                <a:moveTo>
                  <a:pt x="1083025" y="2157923"/>
                </a:moveTo>
                <a:cubicBezTo>
                  <a:pt x="1081298" y="2157393"/>
                  <a:pt x="1079039" y="2157868"/>
                  <a:pt x="1076661" y="2158992"/>
                </a:cubicBezTo>
                <a:cubicBezTo>
                  <a:pt x="1071905" y="2161242"/>
                  <a:pt x="1066673" y="2166090"/>
                  <a:pt x="1064250" y="2170685"/>
                </a:cubicBezTo>
                <a:cubicBezTo>
                  <a:pt x="1072260" y="2175813"/>
                  <a:pt x="1076330" y="2157927"/>
                  <a:pt x="1086213" y="2162887"/>
                </a:cubicBezTo>
                <a:cubicBezTo>
                  <a:pt x="1085954" y="2159989"/>
                  <a:pt x="1084756" y="2158454"/>
                  <a:pt x="1083025" y="2157923"/>
                </a:cubicBezTo>
                <a:close/>
                <a:moveTo>
                  <a:pt x="133978" y="2151184"/>
                </a:moveTo>
                <a:cubicBezTo>
                  <a:pt x="136183" y="2150439"/>
                  <a:pt x="137671" y="2153227"/>
                  <a:pt x="138110" y="2156837"/>
                </a:cubicBezTo>
                <a:lnTo>
                  <a:pt x="136228" y="2166096"/>
                </a:lnTo>
                <a:lnTo>
                  <a:pt x="132244" y="2167180"/>
                </a:lnTo>
                <a:lnTo>
                  <a:pt x="125538" y="2166720"/>
                </a:lnTo>
                <a:cubicBezTo>
                  <a:pt x="128850" y="2156204"/>
                  <a:pt x="131773" y="2151928"/>
                  <a:pt x="133978" y="2151184"/>
                </a:cubicBezTo>
                <a:close/>
                <a:moveTo>
                  <a:pt x="479569" y="2143757"/>
                </a:moveTo>
                <a:lnTo>
                  <a:pt x="480342" y="2143865"/>
                </a:lnTo>
                <a:lnTo>
                  <a:pt x="469990" y="2151504"/>
                </a:lnTo>
                <a:lnTo>
                  <a:pt x="475021" y="2145069"/>
                </a:lnTo>
                <a:close/>
                <a:moveTo>
                  <a:pt x="177368" y="2136548"/>
                </a:moveTo>
                <a:cubicBezTo>
                  <a:pt x="184092" y="2135218"/>
                  <a:pt x="189971" y="2137614"/>
                  <a:pt x="184190" y="2146891"/>
                </a:cubicBezTo>
                <a:cubicBezTo>
                  <a:pt x="177279" y="2132905"/>
                  <a:pt x="175082" y="2150623"/>
                  <a:pt x="165458" y="2148560"/>
                </a:cubicBezTo>
                <a:cubicBezTo>
                  <a:pt x="163068" y="2142933"/>
                  <a:pt x="170640" y="2137877"/>
                  <a:pt x="177368" y="2136548"/>
                </a:cubicBezTo>
                <a:close/>
                <a:moveTo>
                  <a:pt x="249706" y="2126315"/>
                </a:moveTo>
                <a:lnTo>
                  <a:pt x="246859" y="2141167"/>
                </a:lnTo>
                <a:lnTo>
                  <a:pt x="245241" y="2141481"/>
                </a:lnTo>
                <a:lnTo>
                  <a:pt x="243801" y="2137518"/>
                </a:lnTo>
                <a:cubicBezTo>
                  <a:pt x="244675" y="2130778"/>
                  <a:pt x="249267" y="2122063"/>
                  <a:pt x="249706" y="2126315"/>
                </a:cubicBezTo>
                <a:close/>
                <a:moveTo>
                  <a:pt x="390690" y="2123013"/>
                </a:moveTo>
                <a:cubicBezTo>
                  <a:pt x="387105" y="2125158"/>
                  <a:pt x="383004" y="2132095"/>
                  <a:pt x="389140" y="2137389"/>
                </a:cubicBezTo>
                <a:cubicBezTo>
                  <a:pt x="397344" y="2123516"/>
                  <a:pt x="394275" y="2120869"/>
                  <a:pt x="390690" y="2123013"/>
                </a:cubicBezTo>
                <a:close/>
                <a:moveTo>
                  <a:pt x="1235098" y="2117495"/>
                </a:moveTo>
                <a:cubicBezTo>
                  <a:pt x="1226413" y="2115348"/>
                  <a:pt x="1217918" y="2115374"/>
                  <a:pt x="1209853" y="2117554"/>
                </a:cubicBezTo>
                <a:cubicBezTo>
                  <a:pt x="1201787" y="2119733"/>
                  <a:pt x="1194147" y="2124064"/>
                  <a:pt x="1187170" y="2130526"/>
                </a:cubicBezTo>
                <a:cubicBezTo>
                  <a:pt x="1205903" y="2128858"/>
                  <a:pt x="1215010" y="2125125"/>
                  <a:pt x="1235098" y="2117495"/>
                </a:cubicBezTo>
                <a:close/>
                <a:moveTo>
                  <a:pt x="395621" y="2101538"/>
                </a:moveTo>
                <a:cubicBezTo>
                  <a:pt x="384782" y="2099081"/>
                  <a:pt x="428477" y="2112711"/>
                  <a:pt x="428282" y="2110537"/>
                </a:cubicBezTo>
                <a:cubicBezTo>
                  <a:pt x="408906" y="2104963"/>
                  <a:pt x="399235" y="2102356"/>
                  <a:pt x="395621" y="2101538"/>
                </a:cubicBezTo>
                <a:close/>
                <a:moveTo>
                  <a:pt x="477664" y="2092630"/>
                </a:moveTo>
                <a:cubicBezTo>
                  <a:pt x="473015" y="2093409"/>
                  <a:pt x="467653" y="2096808"/>
                  <a:pt x="465231" y="2101404"/>
                </a:cubicBezTo>
                <a:cubicBezTo>
                  <a:pt x="469106" y="2102519"/>
                  <a:pt x="472319" y="2101502"/>
                  <a:pt x="475533" y="2100486"/>
                </a:cubicBezTo>
                <a:lnTo>
                  <a:pt x="481809" y="2099926"/>
                </a:lnTo>
                <a:lnTo>
                  <a:pt x="480179" y="2094766"/>
                </a:lnTo>
                <a:close/>
                <a:moveTo>
                  <a:pt x="1587249" y="2084061"/>
                </a:moveTo>
                <a:cubicBezTo>
                  <a:pt x="1586796" y="2083599"/>
                  <a:pt x="1585190" y="2084107"/>
                  <a:pt x="1581637" y="2086614"/>
                </a:cubicBezTo>
                <a:cubicBezTo>
                  <a:pt x="1579601" y="2095557"/>
                  <a:pt x="1588612" y="2085446"/>
                  <a:pt x="1587249" y="2084061"/>
                </a:cubicBezTo>
                <a:close/>
                <a:moveTo>
                  <a:pt x="1338624" y="2083811"/>
                </a:moveTo>
                <a:cubicBezTo>
                  <a:pt x="1343200" y="2084497"/>
                  <a:pt x="1344745" y="2087281"/>
                  <a:pt x="1338705" y="2093660"/>
                </a:cubicBezTo>
                <a:cubicBezTo>
                  <a:pt x="1283915" y="2098542"/>
                  <a:pt x="1324901" y="2081748"/>
                  <a:pt x="1338624" y="2083811"/>
                </a:cubicBezTo>
                <a:close/>
                <a:moveTo>
                  <a:pt x="458544" y="2082651"/>
                </a:moveTo>
                <a:cubicBezTo>
                  <a:pt x="453884" y="2083980"/>
                  <a:pt x="445741" y="2089269"/>
                  <a:pt x="433129" y="2101345"/>
                </a:cubicBezTo>
                <a:cubicBezTo>
                  <a:pt x="455169" y="2110332"/>
                  <a:pt x="472527" y="2078667"/>
                  <a:pt x="458544" y="2082651"/>
                </a:cubicBezTo>
                <a:close/>
                <a:moveTo>
                  <a:pt x="309292" y="2081795"/>
                </a:moveTo>
                <a:lnTo>
                  <a:pt x="308790" y="2083219"/>
                </a:lnTo>
                <a:cubicBezTo>
                  <a:pt x="355733" y="2085606"/>
                  <a:pt x="277327" y="2087666"/>
                  <a:pt x="306312" y="2082207"/>
                </a:cubicBezTo>
                <a:close/>
                <a:moveTo>
                  <a:pt x="470150" y="2069206"/>
                </a:moveTo>
                <a:cubicBezTo>
                  <a:pt x="467607" y="2069797"/>
                  <a:pt x="465328" y="2070730"/>
                  <a:pt x="462390" y="2069532"/>
                </a:cubicBezTo>
                <a:cubicBezTo>
                  <a:pt x="460225" y="2077027"/>
                  <a:pt x="463294" y="2079673"/>
                  <a:pt x="467508" y="2079297"/>
                </a:cubicBezTo>
                <a:lnTo>
                  <a:pt x="473889" y="2074847"/>
                </a:lnTo>
                <a:lnTo>
                  <a:pt x="472228" y="2069589"/>
                </a:lnTo>
                <a:close/>
                <a:moveTo>
                  <a:pt x="10946090" y="2041403"/>
                </a:moveTo>
                <a:cubicBezTo>
                  <a:pt x="10944346" y="2043018"/>
                  <a:pt x="10942795" y="2046806"/>
                  <a:pt x="10939307" y="2050039"/>
                </a:cubicBezTo>
                <a:cubicBezTo>
                  <a:pt x="10943828" y="2058396"/>
                  <a:pt x="10954550" y="2051601"/>
                  <a:pt x="10954033" y="2045805"/>
                </a:cubicBezTo>
                <a:cubicBezTo>
                  <a:pt x="10949771" y="2040345"/>
                  <a:pt x="10947834" y="2039787"/>
                  <a:pt x="10946090" y="2041403"/>
                </a:cubicBezTo>
                <a:close/>
                <a:moveTo>
                  <a:pt x="513871" y="2032819"/>
                </a:moveTo>
                <a:cubicBezTo>
                  <a:pt x="458775" y="2028967"/>
                  <a:pt x="445273" y="2068136"/>
                  <a:pt x="407035" y="2062783"/>
                </a:cubicBezTo>
                <a:cubicBezTo>
                  <a:pt x="415818" y="2076603"/>
                  <a:pt x="511159" y="2044742"/>
                  <a:pt x="513871" y="2032819"/>
                </a:cubicBezTo>
                <a:close/>
                <a:moveTo>
                  <a:pt x="529270" y="2028162"/>
                </a:moveTo>
                <a:cubicBezTo>
                  <a:pt x="526826" y="2028562"/>
                  <a:pt x="524479" y="2030687"/>
                  <a:pt x="524057" y="2034238"/>
                </a:cubicBezTo>
                <a:lnTo>
                  <a:pt x="527941" y="2043189"/>
                </a:lnTo>
                <a:lnTo>
                  <a:pt x="532410" y="2041778"/>
                </a:lnTo>
                <a:lnTo>
                  <a:pt x="535049" y="2032438"/>
                </a:lnTo>
                <a:cubicBezTo>
                  <a:pt x="534248" y="2029086"/>
                  <a:pt x="531711" y="2027761"/>
                  <a:pt x="529270" y="2028162"/>
                </a:cubicBezTo>
                <a:close/>
                <a:moveTo>
                  <a:pt x="10925067" y="2024658"/>
                </a:moveTo>
                <a:cubicBezTo>
                  <a:pt x="10921836" y="2023485"/>
                  <a:pt x="10919059" y="2024098"/>
                  <a:pt x="10918510" y="2028528"/>
                </a:cubicBezTo>
                <a:cubicBezTo>
                  <a:pt x="10948543" y="2047756"/>
                  <a:pt x="10934762" y="2028175"/>
                  <a:pt x="10925067" y="2024658"/>
                </a:cubicBezTo>
                <a:close/>
                <a:moveTo>
                  <a:pt x="620357" y="1984679"/>
                </a:moveTo>
                <a:cubicBezTo>
                  <a:pt x="612221" y="1985084"/>
                  <a:pt x="599730" y="1985924"/>
                  <a:pt x="587921" y="1987158"/>
                </a:cubicBezTo>
                <a:cubicBezTo>
                  <a:pt x="564306" y="1989628"/>
                  <a:pt x="543426" y="1993679"/>
                  <a:pt x="565612" y="1999003"/>
                </a:cubicBezTo>
                <a:cubicBezTo>
                  <a:pt x="563998" y="2002067"/>
                  <a:pt x="628268" y="1981738"/>
                  <a:pt x="626651" y="1984802"/>
                </a:cubicBezTo>
                <a:cubicBezTo>
                  <a:pt x="632272" y="1984301"/>
                  <a:pt x="628494" y="1984273"/>
                  <a:pt x="620357" y="1984679"/>
                </a:cubicBezTo>
                <a:close/>
                <a:moveTo>
                  <a:pt x="1554719" y="1975570"/>
                </a:moveTo>
                <a:cubicBezTo>
                  <a:pt x="1555563" y="1974126"/>
                  <a:pt x="1559793" y="1973931"/>
                  <a:pt x="1569950" y="1976677"/>
                </a:cubicBezTo>
                <a:cubicBezTo>
                  <a:pt x="1580125" y="1995484"/>
                  <a:pt x="1552185" y="1979902"/>
                  <a:pt x="1554719" y="1975570"/>
                </a:cubicBezTo>
                <a:close/>
                <a:moveTo>
                  <a:pt x="1739054" y="1967450"/>
                </a:moveTo>
                <a:cubicBezTo>
                  <a:pt x="1748935" y="1972410"/>
                  <a:pt x="1707724" y="1976083"/>
                  <a:pt x="1739054" y="1967450"/>
                </a:cubicBezTo>
                <a:close/>
                <a:moveTo>
                  <a:pt x="632079" y="1960955"/>
                </a:moveTo>
                <a:cubicBezTo>
                  <a:pt x="626976" y="1967250"/>
                  <a:pt x="634727" y="1969481"/>
                  <a:pt x="640862" y="1974775"/>
                </a:cubicBezTo>
                <a:cubicBezTo>
                  <a:pt x="647581" y="1965414"/>
                  <a:pt x="635567" y="1957724"/>
                  <a:pt x="632079" y="1960955"/>
                </a:cubicBezTo>
                <a:close/>
                <a:moveTo>
                  <a:pt x="1746460" y="1953557"/>
                </a:moveTo>
                <a:cubicBezTo>
                  <a:pt x="1746620" y="1954364"/>
                  <a:pt x="1747048" y="1956516"/>
                  <a:pt x="1747902" y="1960819"/>
                </a:cubicBezTo>
                <a:cubicBezTo>
                  <a:pt x="1747902" y="1960819"/>
                  <a:pt x="1745978" y="1951135"/>
                  <a:pt x="1746460" y="1953557"/>
                </a:cubicBezTo>
                <a:close/>
                <a:moveTo>
                  <a:pt x="11323706" y="1943503"/>
                </a:moveTo>
                <a:cubicBezTo>
                  <a:pt x="11319920" y="1946029"/>
                  <a:pt x="11316561" y="1950710"/>
                  <a:pt x="11316012" y="1955140"/>
                </a:cubicBezTo>
                <a:cubicBezTo>
                  <a:pt x="11321630" y="1954639"/>
                  <a:pt x="11332871" y="1953638"/>
                  <a:pt x="11333969" y="1944778"/>
                </a:cubicBezTo>
                <a:cubicBezTo>
                  <a:pt x="11331709" y="1940599"/>
                  <a:pt x="11327494" y="1940975"/>
                  <a:pt x="11323706" y="1943503"/>
                </a:cubicBezTo>
                <a:close/>
                <a:moveTo>
                  <a:pt x="552954" y="1941721"/>
                </a:moveTo>
                <a:lnTo>
                  <a:pt x="553165" y="1942370"/>
                </a:lnTo>
                <a:lnTo>
                  <a:pt x="550193" y="1947809"/>
                </a:lnTo>
                <a:lnTo>
                  <a:pt x="547320" y="1953389"/>
                </a:lnTo>
                <a:lnTo>
                  <a:pt x="546301" y="1951805"/>
                </a:lnTo>
                <a:cubicBezTo>
                  <a:pt x="545447" y="1947501"/>
                  <a:pt x="547336" y="1942222"/>
                  <a:pt x="552954" y="1941721"/>
                </a:cubicBezTo>
                <a:close/>
                <a:moveTo>
                  <a:pt x="1721634" y="1921270"/>
                </a:moveTo>
                <a:cubicBezTo>
                  <a:pt x="1725173" y="1916300"/>
                  <a:pt x="1726105" y="1938668"/>
                  <a:pt x="1717480" y="1937247"/>
                </a:cubicBezTo>
                <a:cubicBezTo>
                  <a:pt x="1718984" y="1927621"/>
                  <a:pt x="1720453" y="1922927"/>
                  <a:pt x="1721634" y="1921270"/>
                </a:cubicBezTo>
                <a:close/>
                <a:moveTo>
                  <a:pt x="1913002" y="1889477"/>
                </a:moveTo>
                <a:cubicBezTo>
                  <a:pt x="1906608" y="1893196"/>
                  <a:pt x="1915909" y="1918105"/>
                  <a:pt x="1925212" y="1895371"/>
                </a:cubicBezTo>
                <a:cubicBezTo>
                  <a:pt x="1919011" y="1889354"/>
                  <a:pt x="1915136" y="1888238"/>
                  <a:pt x="1913002" y="1889477"/>
                </a:cubicBezTo>
                <a:close/>
                <a:moveTo>
                  <a:pt x="535642" y="1852045"/>
                </a:moveTo>
                <a:cubicBezTo>
                  <a:pt x="540167" y="1852508"/>
                  <a:pt x="543804" y="1854923"/>
                  <a:pt x="543853" y="1860759"/>
                </a:cubicBezTo>
                <a:cubicBezTo>
                  <a:pt x="529402" y="1862777"/>
                  <a:pt x="522162" y="1862327"/>
                  <a:pt x="519437" y="1860881"/>
                </a:cubicBezTo>
                <a:lnTo>
                  <a:pt x="521873" y="1855535"/>
                </a:lnTo>
                <a:lnTo>
                  <a:pt x="523017" y="1854830"/>
                </a:lnTo>
                <a:close/>
                <a:moveTo>
                  <a:pt x="1931425" y="1849995"/>
                </a:moveTo>
                <a:lnTo>
                  <a:pt x="1930489" y="1850723"/>
                </a:lnTo>
                <a:lnTo>
                  <a:pt x="1926957" y="1851408"/>
                </a:lnTo>
                <a:close/>
                <a:moveTo>
                  <a:pt x="540354" y="1844135"/>
                </a:moveTo>
                <a:lnTo>
                  <a:pt x="523017" y="1854830"/>
                </a:lnTo>
                <a:lnTo>
                  <a:pt x="522103" y="1855031"/>
                </a:lnTo>
                <a:lnTo>
                  <a:pt x="521873" y="1855535"/>
                </a:lnTo>
                <a:lnTo>
                  <a:pt x="508264" y="1863930"/>
                </a:lnTo>
                <a:cubicBezTo>
                  <a:pt x="513815" y="1883880"/>
                  <a:pt x="503353" y="1893573"/>
                  <a:pt x="480099" y="1886884"/>
                </a:cubicBezTo>
                <a:cubicBezTo>
                  <a:pt x="497218" y="1867105"/>
                  <a:pt x="512554" y="1855151"/>
                  <a:pt x="527061" y="1847790"/>
                </a:cubicBezTo>
                <a:close/>
                <a:moveTo>
                  <a:pt x="639697" y="1832169"/>
                </a:moveTo>
                <a:lnTo>
                  <a:pt x="665286" y="1834230"/>
                </a:lnTo>
                <a:lnTo>
                  <a:pt x="691254" y="1838111"/>
                </a:lnTo>
                <a:lnTo>
                  <a:pt x="673847" y="1843700"/>
                </a:lnTo>
                <a:cubicBezTo>
                  <a:pt x="652005" y="1848202"/>
                  <a:pt x="632974" y="1849168"/>
                  <a:pt x="619879" y="1845223"/>
                </a:cubicBezTo>
                <a:close/>
                <a:moveTo>
                  <a:pt x="605637" y="1829426"/>
                </a:moveTo>
                <a:lnTo>
                  <a:pt x="619500" y="1830542"/>
                </a:lnTo>
                <a:lnTo>
                  <a:pt x="611754" y="1832851"/>
                </a:lnTo>
                <a:cubicBezTo>
                  <a:pt x="596764" y="1834780"/>
                  <a:pt x="582844" y="1834833"/>
                  <a:pt x="569045" y="1836246"/>
                </a:cubicBezTo>
                <a:lnTo>
                  <a:pt x="540354" y="1844135"/>
                </a:lnTo>
                <a:lnTo>
                  <a:pt x="552254" y="1836795"/>
                </a:lnTo>
                <a:cubicBezTo>
                  <a:pt x="568655" y="1831467"/>
                  <a:pt x="586626" y="1829431"/>
                  <a:pt x="605637" y="1829426"/>
                </a:cubicBezTo>
                <a:close/>
                <a:moveTo>
                  <a:pt x="660895" y="1818204"/>
                </a:moveTo>
                <a:lnTo>
                  <a:pt x="639697" y="1832169"/>
                </a:lnTo>
                <a:lnTo>
                  <a:pt x="619500" y="1830542"/>
                </a:lnTo>
                <a:close/>
                <a:moveTo>
                  <a:pt x="10937560" y="1813270"/>
                </a:moveTo>
                <a:cubicBezTo>
                  <a:pt x="10934654" y="1812434"/>
                  <a:pt x="10931376" y="1812726"/>
                  <a:pt x="10927758" y="1814508"/>
                </a:cubicBezTo>
                <a:cubicBezTo>
                  <a:pt x="10932538" y="1825764"/>
                  <a:pt x="10939773" y="1822199"/>
                  <a:pt x="10945134" y="1818802"/>
                </a:cubicBezTo>
                <a:cubicBezTo>
                  <a:pt x="10943002" y="1816070"/>
                  <a:pt x="10940468" y="1814106"/>
                  <a:pt x="10937560" y="1813270"/>
                </a:cubicBezTo>
                <a:close/>
                <a:moveTo>
                  <a:pt x="699352" y="1809439"/>
                </a:moveTo>
                <a:cubicBezTo>
                  <a:pt x="701585" y="1810016"/>
                  <a:pt x="703253" y="1811510"/>
                  <a:pt x="703979" y="1814365"/>
                </a:cubicBezTo>
                <a:cubicBezTo>
                  <a:pt x="694870" y="1818096"/>
                  <a:pt x="683889" y="1821996"/>
                  <a:pt x="674007" y="1817036"/>
                </a:cubicBezTo>
                <a:cubicBezTo>
                  <a:pt x="678562" y="1815170"/>
                  <a:pt x="685328" y="1811646"/>
                  <a:pt x="691319" y="1810018"/>
                </a:cubicBezTo>
                <a:cubicBezTo>
                  <a:pt x="694314" y="1809203"/>
                  <a:pt x="697116" y="1808862"/>
                  <a:pt x="699352" y="1809439"/>
                </a:cubicBezTo>
                <a:close/>
                <a:moveTo>
                  <a:pt x="732633" y="1804875"/>
                </a:moveTo>
                <a:cubicBezTo>
                  <a:pt x="737711" y="1806248"/>
                  <a:pt x="742249" y="1809495"/>
                  <a:pt x="741700" y="1813923"/>
                </a:cubicBezTo>
                <a:cubicBezTo>
                  <a:pt x="733950" y="1811694"/>
                  <a:pt x="719223" y="1815926"/>
                  <a:pt x="720320" y="1807067"/>
                </a:cubicBezTo>
                <a:cubicBezTo>
                  <a:pt x="721936" y="1804004"/>
                  <a:pt x="727555" y="1803503"/>
                  <a:pt x="732633" y="1804875"/>
                </a:cubicBezTo>
                <a:close/>
                <a:moveTo>
                  <a:pt x="1409608" y="1799811"/>
                </a:moveTo>
                <a:cubicBezTo>
                  <a:pt x="1406294" y="1800699"/>
                  <a:pt x="1402976" y="1803185"/>
                  <a:pt x="1400084" y="1807823"/>
                </a:cubicBezTo>
                <a:lnTo>
                  <a:pt x="1411357" y="1810060"/>
                </a:lnTo>
                <a:lnTo>
                  <a:pt x="1423436" y="1806103"/>
                </a:lnTo>
                <a:lnTo>
                  <a:pt x="1423022" y="1804724"/>
                </a:lnTo>
                <a:cubicBezTo>
                  <a:pt x="1419537" y="1800740"/>
                  <a:pt x="1414578" y="1798478"/>
                  <a:pt x="1409608" y="1799811"/>
                </a:cubicBezTo>
                <a:close/>
                <a:moveTo>
                  <a:pt x="996012" y="1789768"/>
                </a:moveTo>
                <a:lnTo>
                  <a:pt x="1003943" y="1790554"/>
                </a:lnTo>
                <a:cubicBezTo>
                  <a:pt x="979269" y="1810277"/>
                  <a:pt x="983903" y="1804023"/>
                  <a:pt x="995653" y="1790200"/>
                </a:cubicBezTo>
                <a:close/>
                <a:moveTo>
                  <a:pt x="1391019" y="1777602"/>
                </a:moveTo>
                <a:lnTo>
                  <a:pt x="1390651" y="1778091"/>
                </a:lnTo>
                <a:lnTo>
                  <a:pt x="1392448" y="1783782"/>
                </a:lnTo>
                <a:lnTo>
                  <a:pt x="1394903" y="1778487"/>
                </a:lnTo>
                <a:cubicBezTo>
                  <a:pt x="1394953" y="1776064"/>
                  <a:pt x="1393130" y="1776136"/>
                  <a:pt x="1391019" y="1777602"/>
                </a:cubicBezTo>
                <a:close/>
                <a:moveTo>
                  <a:pt x="10975618" y="1776823"/>
                </a:moveTo>
                <a:cubicBezTo>
                  <a:pt x="10972110" y="1777804"/>
                  <a:pt x="10970173" y="1787114"/>
                  <a:pt x="10969221" y="1794797"/>
                </a:cubicBezTo>
                <a:lnTo>
                  <a:pt x="10968868" y="1799481"/>
                </a:lnTo>
                <a:lnTo>
                  <a:pt x="10966529" y="1799371"/>
                </a:lnTo>
                <a:cubicBezTo>
                  <a:pt x="10948670" y="1800233"/>
                  <a:pt x="10935284" y="1803616"/>
                  <a:pt x="10968452" y="1805042"/>
                </a:cubicBezTo>
                <a:lnTo>
                  <a:pt x="10968868" y="1799481"/>
                </a:lnTo>
                <a:lnTo>
                  <a:pt x="10988676" y="1800403"/>
                </a:lnTo>
                <a:lnTo>
                  <a:pt x="10991446" y="1808833"/>
                </a:lnTo>
                <a:cubicBezTo>
                  <a:pt x="10999084" y="1804502"/>
                  <a:pt x="10997320" y="1801921"/>
                  <a:pt x="10991415" y="1800531"/>
                </a:cubicBezTo>
                <a:lnTo>
                  <a:pt x="10988676" y="1800403"/>
                </a:lnTo>
                <a:lnTo>
                  <a:pt x="10984903" y="1788921"/>
                </a:lnTo>
                <a:cubicBezTo>
                  <a:pt x="10982949" y="1784070"/>
                  <a:pt x="10981211" y="1780882"/>
                  <a:pt x="10979671" y="1778989"/>
                </a:cubicBezTo>
                <a:cubicBezTo>
                  <a:pt x="10978131" y="1777095"/>
                  <a:pt x="10976787" y="1776496"/>
                  <a:pt x="10975618" y="1776823"/>
                </a:cubicBezTo>
                <a:close/>
                <a:moveTo>
                  <a:pt x="899192" y="1771415"/>
                </a:moveTo>
                <a:cubicBezTo>
                  <a:pt x="892928" y="1773616"/>
                  <a:pt x="888326" y="1785526"/>
                  <a:pt x="883287" y="1792546"/>
                </a:cubicBezTo>
                <a:cubicBezTo>
                  <a:pt x="892654" y="1791711"/>
                  <a:pt x="899370" y="1782351"/>
                  <a:pt x="906090" y="1772990"/>
                </a:cubicBezTo>
                <a:cubicBezTo>
                  <a:pt x="903554" y="1771026"/>
                  <a:pt x="901282" y="1770681"/>
                  <a:pt x="899192" y="1771415"/>
                </a:cubicBezTo>
                <a:close/>
                <a:moveTo>
                  <a:pt x="11164822" y="1770750"/>
                </a:moveTo>
                <a:lnTo>
                  <a:pt x="11182499" y="1771633"/>
                </a:lnTo>
                <a:lnTo>
                  <a:pt x="11174171" y="1772380"/>
                </a:lnTo>
                <a:lnTo>
                  <a:pt x="11164268" y="1773923"/>
                </a:lnTo>
                <a:close/>
                <a:moveTo>
                  <a:pt x="11192800" y="1770709"/>
                </a:moveTo>
                <a:cubicBezTo>
                  <a:pt x="11197588" y="1770658"/>
                  <a:pt x="11200734" y="1771199"/>
                  <a:pt x="11201566" y="1772586"/>
                </a:cubicBezTo>
                <a:lnTo>
                  <a:pt x="11182499" y="1771633"/>
                </a:lnTo>
                <a:close/>
                <a:moveTo>
                  <a:pt x="956148" y="1762690"/>
                </a:moveTo>
                <a:lnTo>
                  <a:pt x="957686" y="1766817"/>
                </a:lnTo>
                <a:lnTo>
                  <a:pt x="954074" y="1769105"/>
                </a:lnTo>
                <a:close/>
                <a:moveTo>
                  <a:pt x="1337905" y="1762011"/>
                </a:moveTo>
                <a:lnTo>
                  <a:pt x="1338310" y="1762166"/>
                </a:lnTo>
                <a:lnTo>
                  <a:pt x="1337258" y="1762362"/>
                </a:lnTo>
                <a:close/>
                <a:moveTo>
                  <a:pt x="1392677" y="1751169"/>
                </a:moveTo>
                <a:lnTo>
                  <a:pt x="1394883" y="1753599"/>
                </a:lnTo>
                <a:lnTo>
                  <a:pt x="1387801" y="1753839"/>
                </a:lnTo>
                <a:close/>
                <a:moveTo>
                  <a:pt x="1064599" y="1729661"/>
                </a:moveTo>
                <a:cubicBezTo>
                  <a:pt x="1014023" y="1734168"/>
                  <a:pt x="1052778" y="1745317"/>
                  <a:pt x="1064599" y="1729661"/>
                </a:cubicBezTo>
                <a:close/>
                <a:moveTo>
                  <a:pt x="919310" y="1728005"/>
                </a:moveTo>
                <a:cubicBezTo>
                  <a:pt x="915393" y="1729084"/>
                  <a:pt x="911549" y="1738918"/>
                  <a:pt x="919526" y="1754271"/>
                </a:cubicBezTo>
                <a:cubicBezTo>
                  <a:pt x="927213" y="1734603"/>
                  <a:pt x="923225" y="1726927"/>
                  <a:pt x="919310" y="1728005"/>
                </a:cubicBezTo>
                <a:close/>
                <a:moveTo>
                  <a:pt x="961798" y="1726455"/>
                </a:moveTo>
                <a:cubicBezTo>
                  <a:pt x="959622" y="1727516"/>
                  <a:pt x="957926" y="1729675"/>
                  <a:pt x="957312" y="1733381"/>
                </a:cubicBezTo>
                <a:cubicBezTo>
                  <a:pt x="965321" y="1738508"/>
                  <a:pt x="972815" y="1737840"/>
                  <a:pt x="978175" y="1734442"/>
                </a:cubicBezTo>
                <a:cubicBezTo>
                  <a:pt x="979193" y="1729970"/>
                  <a:pt x="968330" y="1723272"/>
                  <a:pt x="961798" y="1726455"/>
                </a:cubicBezTo>
                <a:close/>
                <a:moveTo>
                  <a:pt x="1141476" y="1725891"/>
                </a:moveTo>
                <a:lnTo>
                  <a:pt x="1132970" y="1734155"/>
                </a:lnTo>
                <a:lnTo>
                  <a:pt x="1122937" y="1727389"/>
                </a:lnTo>
                <a:lnTo>
                  <a:pt x="1123161" y="1727363"/>
                </a:lnTo>
                <a:close/>
                <a:moveTo>
                  <a:pt x="939163" y="1720395"/>
                </a:moveTo>
                <a:cubicBezTo>
                  <a:pt x="918425" y="1763130"/>
                  <a:pt x="985410" y="1730877"/>
                  <a:pt x="939163" y="1720395"/>
                </a:cubicBezTo>
                <a:close/>
                <a:moveTo>
                  <a:pt x="1097969" y="1710168"/>
                </a:moveTo>
                <a:cubicBezTo>
                  <a:pt x="1091205" y="1707759"/>
                  <a:pt x="1079264" y="1724704"/>
                  <a:pt x="1101546" y="1720528"/>
                </a:cubicBezTo>
                <a:cubicBezTo>
                  <a:pt x="1101902" y="1713925"/>
                  <a:pt x="1100223" y="1710971"/>
                  <a:pt x="1097969" y="1710168"/>
                </a:cubicBezTo>
                <a:close/>
                <a:moveTo>
                  <a:pt x="1201923" y="1702822"/>
                </a:moveTo>
                <a:cubicBezTo>
                  <a:pt x="1194173" y="1700592"/>
                  <a:pt x="1191718" y="1715413"/>
                  <a:pt x="1191975" y="1718311"/>
                </a:cubicBezTo>
                <a:cubicBezTo>
                  <a:pt x="1203730" y="1723103"/>
                  <a:pt x="1202439" y="1708616"/>
                  <a:pt x="1201923" y="1702822"/>
                </a:cubicBezTo>
                <a:close/>
                <a:moveTo>
                  <a:pt x="1636852" y="1702487"/>
                </a:moveTo>
                <a:cubicBezTo>
                  <a:pt x="1631305" y="1703803"/>
                  <a:pt x="1620090" y="1713016"/>
                  <a:pt x="1613889" y="1706998"/>
                </a:cubicBezTo>
                <a:cubicBezTo>
                  <a:pt x="1611692" y="1724716"/>
                  <a:pt x="1632878" y="1708226"/>
                  <a:pt x="1640114" y="1704661"/>
                </a:cubicBezTo>
                <a:cubicBezTo>
                  <a:pt x="1639920" y="1702488"/>
                  <a:pt x="1638701" y="1702050"/>
                  <a:pt x="1636852" y="1702487"/>
                </a:cubicBezTo>
                <a:close/>
                <a:moveTo>
                  <a:pt x="1709494" y="1685381"/>
                </a:moveTo>
                <a:cubicBezTo>
                  <a:pt x="1707154" y="1686275"/>
                  <a:pt x="1704964" y="1690850"/>
                  <a:pt x="1704060" y="1701883"/>
                </a:cubicBezTo>
                <a:cubicBezTo>
                  <a:pt x="1724891" y="1713168"/>
                  <a:pt x="1716511" y="1682704"/>
                  <a:pt x="1709494" y="1685381"/>
                </a:cubicBezTo>
                <a:close/>
                <a:moveTo>
                  <a:pt x="1686266" y="1680652"/>
                </a:moveTo>
                <a:cubicBezTo>
                  <a:pt x="1684498" y="1680993"/>
                  <a:pt x="1682518" y="1682629"/>
                  <a:pt x="1680032" y="1686502"/>
                </a:cubicBezTo>
                <a:cubicBezTo>
                  <a:pt x="1682681" y="1695026"/>
                  <a:pt x="1697923" y="1696590"/>
                  <a:pt x="1704643" y="1687229"/>
                </a:cubicBezTo>
                <a:cubicBezTo>
                  <a:pt x="1695001" y="1690278"/>
                  <a:pt x="1691577" y="1679631"/>
                  <a:pt x="1686266" y="1680652"/>
                </a:cubicBezTo>
                <a:close/>
                <a:moveTo>
                  <a:pt x="1635400" y="1672956"/>
                </a:moveTo>
                <a:cubicBezTo>
                  <a:pt x="1626550" y="1679585"/>
                  <a:pt x="1630813" y="1685046"/>
                  <a:pt x="1631329" y="1690842"/>
                </a:cubicBezTo>
                <a:cubicBezTo>
                  <a:pt x="1641212" y="1695801"/>
                  <a:pt x="1648771" y="1674685"/>
                  <a:pt x="1635400" y="1672956"/>
                </a:cubicBezTo>
                <a:close/>
                <a:moveTo>
                  <a:pt x="1189976" y="1664095"/>
                </a:moveTo>
                <a:cubicBezTo>
                  <a:pt x="1181257" y="1661586"/>
                  <a:pt x="1162720" y="1665429"/>
                  <a:pt x="1160521" y="1683148"/>
                </a:cubicBezTo>
                <a:cubicBezTo>
                  <a:pt x="1197597" y="1675463"/>
                  <a:pt x="1198696" y="1666603"/>
                  <a:pt x="1189976" y="1664095"/>
                </a:cubicBezTo>
                <a:close/>
                <a:moveTo>
                  <a:pt x="1239518" y="1658584"/>
                </a:moveTo>
                <a:cubicBezTo>
                  <a:pt x="1232283" y="1662150"/>
                  <a:pt x="1230087" y="1679868"/>
                  <a:pt x="1241843" y="1684662"/>
                </a:cubicBezTo>
                <a:cubicBezTo>
                  <a:pt x="1248560" y="1675303"/>
                  <a:pt x="1247785" y="1666609"/>
                  <a:pt x="1239518" y="1658584"/>
                </a:cubicBezTo>
                <a:close/>
                <a:moveTo>
                  <a:pt x="1622209" y="1657656"/>
                </a:moveTo>
                <a:lnTo>
                  <a:pt x="1620497" y="1657992"/>
                </a:lnTo>
                <a:cubicBezTo>
                  <a:pt x="1616266" y="1660834"/>
                  <a:pt x="1618300" y="1665125"/>
                  <a:pt x="1623113" y="1663509"/>
                </a:cubicBezTo>
                <a:lnTo>
                  <a:pt x="1624508" y="1662286"/>
                </a:lnTo>
                <a:close/>
                <a:moveTo>
                  <a:pt x="1122349" y="1657344"/>
                </a:moveTo>
                <a:cubicBezTo>
                  <a:pt x="1116472" y="1654947"/>
                  <a:pt x="1110384" y="1655490"/>
                  <a:pt x="1104423" y="1657481"/>
                </a:cubicBezTo>
                <a:cubicBezTo>
                  <a:pt x="1098465" y="1659472"/>
                  <a:pt x="1092637" y="1662912"/>
                  <a:pt x="1087276" y="1666309"/>
                </a:cubicBezTo>
                <a:cubicBezTo>
                  <a:pt x="1100129" y="1662245"/>
                  <a:pt x="1111627" y="1664140"/>
                  <a:pt x="1122349" y="1657344"/>
                </a:cubicBezTo>
                <a:close/>
                <a:moveTo>
                  <a:pt x="1675318" y="1654796"/>
                </a:moveTo>
                <a:cubicBezTo>
                  <a:pt x="1736162" y="1701943"/>
                  <a:pt x="1677192" y="1654629"/>
                  <a:pt x="1675318" y="1654796"/>
                </a:cubicBezTo>
                <a:close/>
                <a:moveTo>
                  <a:pt x="1730224" y="1635301"/>
                </a:moveTo>
                <a:cubicBezTo>
                  <a:pt x="1722472" y="1633072"/>
                  <a:pt x="1715496" y="1639534"/>
                  <a:pt x="1709876" y="1640034"/>
                </a:cubicBezTo>
                <a:cubicBezTo>
                  <a:pt x="1709037" y="1651791"/>
                  <a:pt x="1725378" y="1644494"/>
                  <a:pt x="1730224" y="1635301"/>
                </a:cubicBezTo>
                <a:close/>
                <a:moveTo>
                  <a:pt x="1935267" y="1630491"/>
                </a:moveTo>
                <a:cubicBezTo>
                  <a:pt x="1929579" y="1629219"/>
                  <a:pt x="1945297" y="1638770"/>
                  <a:pt x="1949318" y="1636221"/>
                </a:cubicBezTo>
                <a:cubicBezTo>
                  <a:pt x="1941438" y="1632542"/>
                  <a:pt x="1937164" y="1630916"/>
                  <a:pt x="1935267" y="1630491"/>
                </a:cubicBezTo>
                <a:close/>
                <a:moveTo>
                  <a:pt x="1791005" y="1618202"/>
                </a:moveTo>
                <a:cubicBezTo>
                  <a:pt x="1787000" y="1615639"/>
                  <a:pt x="1783787" y="1616656"/>
                  <a:pt x="1780638" y="1618397"/>
                </a:cubicBezTo>
                <a:cubicBezTo>
                  <a:pt x="1777489" y="1620137"/>
                  <a:pt x="1774405" y="1622602"/>
                  <a:pt x="1770659" y="1622936"/>
                </a:cubicBezTo>
                <a:cubicBezTo>
                  <a:pt x="1769819" y="1634693"/>
                  <a:pt x="1785644" y="1621601"/>
                  <a:pt x="1791005" y="1618202"/>
                </a:cubicBezTo>
                <a:close/>
                <a:moveTo>
                  <a:pt x="1900301" y="1617819"/>
                </a:moveTo>
                <a:cubicBezTo>
                  <a:pt x="1898127" y="1619244"/>
                  <a:pt x="1894789" y="1622828"/>
                  <a:pt x="1890217" y="1629805"/>
                </a:cubicBezTo>
                <a:cubicBezTo>
                  <a:pt x="1902862" y="1628678"/>
                  <a:pt x="1906821" y="1613541"/>
                  <a:pt x="1900301" y="1617819"/>
                </a:cubicBezTo>
                <a:close/>
                <a:moveTo>
                  <a:pt x="1844813" y="1615035"/>
                </a:moveTo>
                <a:lnTo>
                  <a:pt x="1844576" y="1615528"/>
                </a:lnTo>
                <a:lnTo>
                  <a:pt x="1844625" y="1616270"/>
                </a:lnTo>
                <a:lnTo>
                  <a:pt x="1843712" y="1616426"/>
                </a:lnTo>
                <a:close/>
                <a:moveTo>
                  <a:pt x="1876477" y="1603804"/>
                </a:moveTo>
                <a:cubicBezTo>
                  <a:pt x="1871570" y="1601931"/>
                  <a:pt x="1861274" y="1601537"/>
                  <a:pt x="1853496" y="1604056"/>
                </a:cubicBezTo>
                <a:lnTo>
                  <a:pt x="1844813" y="1615035"/>
                </a:lnTo>
                <a:lnTo>
                  <a:pt x="1848556" y="1607234"/>
                </a:lnTo>
                <a:cubicBezTo>
                  <a:pt x="1845650" y="1595811"/>
                  <a:pt x="1746499" y="1648453"/>
                  <a:pt x="1721243" y="1682829"/>
                </a:cubicBezTo>
                <a:cubicBezTo>
                  <a:pt x="1721243" y="1682829"/>
                  <a:pt x="1864833" y="1620386"/>
                  <a:pt x="1838544" y="1643171"/>
                </a:cubicBezTo>
                <a:cubicBezTo>
                  <a:pt x="1847586" y="1659889"/>
                  <a:pt x="1847150" y="1649705"/>
                  <a:pt x="1845923" y="1635943"/>
                </a:cubicBezTo>
                <a:lnTo>
                  <a:pt x="1844625" y="1616270"/>
                </a:lnTo>
                <a:lnTo>
                  <a:pt x="1867129" y="1612423"/>
                </a:lnTo>
                <a:cubicBezTo>
                  <a:pt x="1880904" y="1609028"/>
                  <a:pt x="1881385" y="1605677"/>
                  <a:pt x="1876477" y="1603804"/>
                </a:cubicBezTo>
                <a:close/>
                <a:moveTo>
                  <a:pt x="1905875" y="1588983"/>
                </a:moveTo>
                <a:cubicBezTo>
                  <a:pt x="1901218" y="1589034"/>
                  <a:pt x="1893546" y="1593003"/>
                  <a:pt x="1882275" y="1604229"/>
                </a:cubicBezTo>
                <a:cubicBezTo>
                  <a:pt x="1906689" y="1623957"/>
                  <a:pt x="1919844" y="1588834"/>
                  <a:pt x="1905875" y="1588983"/>
                </a:cubicBezTo>
                <a:close/>
                <a:moveTo>
                  <a:pt x="2009461" y="1581486"/>
                </a:moveTo>
                <a:cubicBezTo>
                  <a:pt x="1984187" y="1587846"/>
                  <a:pt x="1946593" y="1610910"/>
                  <a:pt x="1927746" y="1606017"/>
                </a:cubicBezTo>
                <a:cubicBezTo>
                  <a:pt x="1921353" y="1597826"/>
                  <a:pt x="2037616" y="1631273"/>
                  <a:pt x="2029482" y="1582349"/>
                </a:cubicBezTo>
                <a:cubicBezTo>
                  <a:pt x="2024944" y="1579103"/>
                  <a:pt x="2017888" y="1579366"/>
                  <a:pt x="2009461" y="1581486"/>
                </a:cubicBezTo>
                <a:close/>
                <a:moveTo>
                  <a:pt x="2013461" y="1572094"/>
                </a:moveTo>
                <a:cubicBezTo>
                  <a:pt x="1953263" y="1574538"/>
                  <a:pt x="1998154" y="1590983"/>
                  <a:pt x="2013461" y="1572094"/>
                </a:cubicBezTo>
                <a:close/>
                <a:moveTo>
                  <a:pt x="9635229" y="1526660"/>
                </a:moveTo>
                <a:cubicBezTo>
                  <a:pt x="9631740" y="1529891"/>
                  <a:pt x="9627994" y="1530225"/>
                  <a:pt x="9626380" y="1533288"/>
                </a:cubicBezTo>
                <a:cubicBezTo>
                  <a:pt x="9598282" y="1535792"/>
                  <a:pt x="9638651" y="1543877"/>
                  <a:pt x="9635229" y="1526660"/>
                </a:cubicBezTo>
                <a:close/>
                <a:moveTo>
                  <a:pt x="9818510" y="1507041"/>
                </a:moveTo>
                <a:cubicBezTo>
                  <a:pt x="9802345" y="1511038"/>
                  <a:pt x="9770194" y="1526315"/>
                  <a:pt x="9770547" y="1540886"/>
                </a:cubicBezTo>
                <a:cubicBezTo>
                  <a:pt x="9834851" y="1510332"/>
                  <a:pt x="9834674" y="1503047"/>
                  <a:pt x="9818510" y="1507041"/>
                </a:cubicBezTo>
                <a:close/>
                <a:moveTo>
                  <a:pt x="1975991" y="1506803"/>
                </a:moveTo>
                <a:cubicBezTo>
                  <a:pt x="1967777" y="1506987"/>
                  <a:pt x="1953847" y="1517537"/>
                  <a:pt x="1954234" y="1521883"/>
                </a:cubicBezTo>
                <a:cubicBezTo>
                  <a:pt x="1963342" y="1518152"/>
                  <a:pt x="1972708" y="1517317"/>
                  <a:pt x="1981559" y="1510686"/>
                </a:cubicBezTo>
                <a:cubicBezTo>
                  <a:pt x="1980832" y="1507831"/>
                  <a:pt x="1978730" y="1506741"/>
                  <a:pt x="1975991" y="1506803"/>
                </a:cubicBezTo>
                <a:close/>
                <a:moveTo>
                  <a:pt x="10239358" y="1504950"/>
                </a:moveTo>
                <a:lnTo>
                  <a:pt x="10240704" y="1508314"/>
                </a:lnTo>
                <a:lnTo>
                  <a:pt x="10238459" y="1508453"/>
                </a:lnTo>
                <a:lnTo>
                  <a:pt x="10237189" y="1507549"/>
                </a:lnTo>
                <a:close/>
                <a:moveTo>
                  <a:pt x="10281114" y="1503101"/>
                </a:moveTo>
                <a:cubicBezTo>
                  <a:pt x="10287652" y="1502654"/>
                  <a:pt x="10293534" y="1503774"/>
                  <a:pt x="10298201" y="1508468"/>
                </a:cubicBezTo>
                <a:cubicBezTo>
                  <a:pt x="10269860" y="1524136"/>
                  <a:pt x="10255980" y="1535229"/>
                  <a:pt x="10247025" y="1524116"/>
                </a:cubicBezTo>
                <a:lnTo>
                  <a:pt x="10240704" y="1508314"/>
                </a:lnTo>
                <a:lnTo>
                  <a:pt x="10260082" y="1507119"/>
                </a:lnTo>
                <a:cubicBezTo>
                  <a:pt x="10267378" y="1505557"/>
                  <a:pt x="10274574" y="1503547"/>
                  <a:pt x="10281114" y="1503101"/>
                </a:cubicBezTo>
                <a:close/>
                <a:moveTo>
                  <a:pt x="9664491" y="1494847"/>
                </a:moveTo>
                <a:cubicBezTo>
                  <a:pt x="9655125" y="1495681"/>
                  <a:pt x="9640141" y="1497017"/>
                  <a:pt x="9639816" y="1514569"/>
                </a:cubicBezTo>
                <a:cubicBezTo>
                  <a:pt x="9650797" y="1510670"/>
                  <a:pt x="9665782" y="1509334"/>
                  <a:pt x="9664491" y="1494847"/>
                </a:cubicBezTo>
                <a:close/>
                <a:moveTo>
                  <a:pt x="10292300" y="1487919"/>
                </a:moveTo>
                <a:lnTo>
                  <a:pt x="10292381" y="1488180"/>
                </a:lnTo>
                <a:cubicBezTo>
                  <a:pt x="10292892" y="1495252"/>
                  <a:pt x="10290238" y="1499231"/>
                  <a:pt x="10281071" y="1494708"/>
                </a:cubicBezTo>
                <a:lnTo>
                  <a:pt x="10274684" y="1490069"/>
                </a:lnTo>
                <a:lnTo>
                  <a:pt x="10278363" y="1489792"/>
                </a:lnTo>
                <a:close/>
                <a:moveTo>
                  <a:pt x="10271008" y="1484345"/>
                </a:moveTo>
                <a:lnTo>
                  <a:pt x="10268072" y="1485264"/>
                </a:lnTo>
                <a:lnTo>
                  <a:pt x="10267740" y="1485025"/>
                </a:lnTo>
                <a:lnTo>
                  <a:pt x="10269557" y="1484645"/>
                </a:lnTo>
                <a:cubicBezTo>
                  <a:pt x="10271964" y="1484020"/>
                  <a:pt x="10272791" y="1483787"/>
                  <a:pt x="10271008" y="1484345"/>
                </a:cubicBezTo>
                <a:close/>
                <a:moveTo>
                  <a:pt x="10266759" y="1484310"/>
                </a:moveTo>
                <a:lnTo>
                  <a:pt x="10267740" y="1485025"/>
                </a:lnTo>
                <a:lnTo>
                  <a:pt x="10262950" y="1486025"/>
                </a:lnTo>
                <a:close/>
                <a:moveTo>
                  <a:pt x="1723782" y="1481851"/>
                </a:moveTo>
                <a:lnTo>
                  <a:pt x="1722246" y="1482550"/>
                </a:lnTo>
                <a:cubicBezTo>
                  <a:pt x="1715371" y="1485854"/>
                  <a:pt x="1711436" y="1488031"/>
                  <a:pt x="1713308" y="1487863"/>
                </a:cubicBezTo>
                <a:cubicBezTo>
                  <a:pt x="1712179" y="1485774"/>
                  <a:pt x="1714625" y="1484095"/>
                  <a:pt x="1718901" y="1482757"/>
                </a:cubicBezTo>
                <a:close/>
                <a:moveTo>
                  <a:pt x="10292195" y="1472863"/>
                </a:moveTo>
                <a:cubicBezTo>
                  <a:pt x="10304274" y="1470691"/>
                  <a:pt x="10316644" y="1471780"/>
                  <a:pt x="10329336" y="1476489"/>
                </a:cubicBezTo>
                <a:cubicBezTo>
                  <a:pt x="10330127" y="1480069"/>
                  <a:pt x="10324116" y="1482796"/>
                  <a:pt x="10314541" y="1484926"/>
                </a:cubicBezTo>
                <a:lnTo>
                  <a:pt x="10292300" y="1487919"/>
                </a:lnTo>
                <a:lnTo>
                  <a:pt x="10288232" y="1474647"/>
                </a:lnTo>
                <a:close/>
                <a:moveTo>
                  <a:pt x="10045778" y="1472552"/>
                </a:moveTo>
                <a:cubicBezTo>
                  <a:pt x="10042160" y="1474334"/>
                  <a:pt x="10038285" y="1473220"/>
                  <a:pt x="10035209" y="1473129"/>
                </a:cubicBezTo>
                <a:cubicBezTo>
                  <a:pt x="10032133" y="1473039"/>
                  <a:pt x="10029856" y="1473972"/>
                  <a:pt x="10029432" y="1479850"/>
                </a:cubicBezTo>
                <a:cubicBezTo>
                  <a:pt x="10035056" y="1479349"/>
                  <a:pt x="10046811" y="1484142"/>
                  <a:pt x="10045778" y="1472552"/>
                </a:cubicBezTo>
                <a:close/>
                <a:moveTo>
                  <a:pt x="1802786" y="1462048"/>
                </a:moveTo>
                <a:lnTo>
                  <a:pt x="1807943" y="1464859"/>
                </a:lnTo>
                <a:lnTo>
                  <a:pt x="1800615" y="1470272"/>
                </a:lnTo>
                <a:lnTo>
                  <a:pt x="1799507" y="1471394"/>
                </a:lnTo>
                <a:lnTo>
                  <a:pt x="1790948" y="1469264"/>
                </a:lnTo>
                <a:cubicBezTo>
                  <a:pt x="1793710" y="1463175"/>
                  <a:pt x="1798281" y="1461491"/>
                  <a:pt x="1802786" y="1462048"/>
                </a:cubicBezTo>
                <a:close/>
                <a:moveTo>
                  <a:pt x="10278052" y="1451854"/>
                </a:moveTo>
                <a:cubicBezTo>
                  <a:pt x="10277858" y="1449681"/>
                  <a:pt x="10281181" y="1455225"/>
                  <a:pt x="10284687" y="1463081"/>
                </a:cubicBezTo>
                <a:lnTo>
                  <a:pt x="10288232" y="1474647"/>
                </a:lnTo>
                <a:lnTo>
                  <a:pt x="10266759" y="1484310"/>
                </a:lnTo>
                <a:lnTo>
                  <a:pt x="10262025" y="1480873"/>
                </a:lnTo>
                <a:lnTo>
                  <a:pt x="10250223" y="1469327"/>
                </a:lnTo>
                <a:close/>
                <a:moveTo>
                  <a:pt x="1894556" y="1445428"/>
                </a:moveTo>
                <a:lnTo>
                  <a:pt x="1901912" y="1448226"/>
                </a:lnTo>
                <a:lnTo>
                  <a:pt x="1903508" y="1447434"/>
                </a:lnTo>
                <a:close/>
                <a:moveTo>
                  <a:pt x="1865201" y="1442750"/>
                </a:moveTo>
                <a:cubicBezTo>
                  <a:pt x="1854993" y="1446398"/>
                  <a:pt x="1867249" y="1472686"/>
                  <a:pt x="1883575" y="1449326"/>
                </a:cubicBezTo>
                <a:cubicBezTo>
                  <a:pt x="1874501" y="1442834"/>
                  <a:pt x="1868603" y="1441534"/>
                  <a:pt x="1865201" y="1442750"/>
                </a:cubicBezTo>
                <a:close/>
                <a:moveTo>
                  <a:pt x="1851109" y="1440786"/>
                </a:moveTo>
                <a:lnTo>
                  <a:pt x="1833689" y="1447780"/>
                </a:lnTo>
                <a:lnTo>
                  <a:pt x="1834820" y="1442811"/>
                </a:lnTo>
                <a:close/>
                <a:moveTo>
                  <a:pt x="1964253" y="1401252"/>
                </a:moveTo>
                <a:cubicBezTo>
                  <a:pt x="1964366" y="1407812"/>
                  <a:pt x="1969005" y="1410867"/>
                  <a:pt x="1974753" y="1411815"/>
                </a:cubicBezTo>
                <a:lnTo>
                  <a:pt x="1975418" y="1411736"/>
                </a:lnTo>
                <a:lnTo>
                  <a:pt x="1992551" y="1403230"/>
                </a:lnTo>
                <a:close/>
                <a:moveTo>
                  <a:pt x="10149869" y="1387937"/>
                </a:moveTo>
                <a:cubicBezTo>
                  <a:pt x="10148456" y="1389295"/>
                  <a:pt x="10147692" y="1392649"/>
                  <a:pt x="10148741" y="1399126"/>
                </a:cubicBezTo>
                <a:cubicBezTo>
                  <a:pt x="10164195" y="1397749"/>
                  <a:pt x="10154108" y="1383864"/>
                  <a:pt x="10149869" y="1387937"/>
                </a:cubicBezTo>
                <a:close/>
                <a:moveTo>
                  <a:pt x="10137893" y="1362127"/>
                </a:moveTo>
                <a:lnTo>
                  <a:pt x="10138487" y="1362564"/>
                </a:lnTo>
                <a:lnTo>
                  <a:pt x="10138340" y="1362621"/>
                </a:lnTo>
                <a:close/>
                <a:moveTo>
                  <a:pt x="10152384" y="1357172"/>
                </a:moveTo>
                <a:lnTo>
                  <a:pt x="10148500" y="1369944"/>
                </a:lnTo>
                <a:lnTo>
                  <a:pt x="10138487" y="1362564"/>
                </a:lnTo>
                <a:lnTo>
                  <a:pt x="10152229" y="1357221"/>
                </a:lnTo>
                <a:close/>
                <a:moveTo>
                  <a:pt x="10055856" y="1356934"/>
                </a:moveTo>
                <a:lnTo>
                  <a:pt x="10060674" y="1357808"/>
                </a:lnTo>
                <a:lnTo>
                  <a:pt x="10061089" y="1359172"/>
                </a:lnTo>
                <a:lnTo>
                  <a:pt x="10058910" y="1364539"/>
                </a:lnTo>
                <a:lnTo>
                  <a:pt x="10051524" y="1368032"/>
                </a:lnTo>
                <a:cubicBezTo>
                  <a:pt x="10039048" y="1372533"/>
                  <a:pt x="10042192" y="1366092"/>
                  <a:pt x="10048077" y="1360639"/>
                </a:cubicBezTo>
                <a:lnTo>
                  <a:pt x="10054606" y="1357235"/>
                </a:lnTo>
                <a:close/>
                <a:moveTo>
                  <a:pt x="10153976" y="1351932"/>
                </a:moveTo>
                <a:lnTo>
                  <a:pt x="10157915" y="1355410"/>
                </a:lnTo>
                <a:lnTo>
                  <a:pt x="10152384" y="1357172"/>
                </a:lnTo>
                <a:close/>
                <a:moveTo>
                  <a:pt x="10174582" y="1350096"/>
                </a:moveTo>
                <a:cubicBezTo>
                  <a:pt x="10171482" y="1357674"/>
                  <a:pt x="10168526" y="1361587"/>
                  <a:pt x="10165248" y="1361880"/>
                </a:cubicBezTo>
                <a:lnTo>
                  <a:pt x="10157915" y="1355410"/>
                </a:lnTo>
                <a:close/>
                <a:moveTo>
                  <a:pt x="10102517" y="1341232"/>
                </a:moveTo>
                <a:cubicBezTo>
                  <a:pt x="10098218" y="1340655"/>
                  <a:pt x="10116771" y="1358167"/>
                  <a:pt x="10115996" y="1349476"/>
                </a:cubicBezTo>
                <a:cubicBezTo>
                  <a:pt x="10107922" y="1343624"/>
                  <a:pt x="10103951" y="1341422"/>
                  <a:pt x="10102517" y="1341232"/>
                </a:cubicBezTo>
                <a:close/>
                <a:moveTo>
                  <a:pt x="10117935" y="1328859"/>
                </a:moveTo>
                <a:cubicBezTo>
                  <a:pt x="10114705" y="1334988"/>
                  <a:pt x="10116253" y="1352374"/>
                  <a:pt x="10123747" y="1351706"/>
                </a:cubicBezTo>
                <a:cubicBezTo>
                  <a:pt x="10120841" y="1340282"/>
                  <a:pt x="10127560" y="1330921"/>
                  <a:pt x="10117935" y="1328859"/>
                </a:cubicBezTo>
                <a:close/>
                <a:moveTo>
                  <a:pt x="10488565" y="1292912"/>
                </a:moveTo>
                <a:cubicBezTo>
                  <a:pt x="10460984" y="1301209"/>
                  <a:pt x="10437150" y="1309176"/>
                  <a:pt x="10413314" y="1317141"/>
                </a:cubicBezTo>
                <a:cubicBezTo>
                  <a:pt x="10410504" y="1317391"/>
                  <a:pt x="10345007" y="1345131"/>
                  <a:pt x="10278533" y="1364562"/>
                </a:cubicBezTo>
                <a:lnTo>
                  <a:pt x="10247902" y="1370653"/>
                </a:lnTo>
                <a:lnTo>
                  <a:pt x="10273425" y="1357276"/>
                </a:lnTo>
                <a:lnTo>
                  <a:pt x="10391870" y="1314628"/>
                </a:lnTo>
                <a:lnTo>
                  <a:pt x="10409458" y="1311278"/>
                </a:lnTo>
                <a:cubicBezTo>
                  <a:pt x="10434065" y="1306347"/>
                  <a:pt x="10460451" y="1300528"/>
                  <a:pt x="10488565" y="1292912"/>
                </a:cubicBezTo>
                <a:close/>
                <a:moveTo>
                  <a:pt x="10560844" y="1277710"/>
                </a:moveTo>
                <a:cubicBezTo>
                  <a:pt x="10548183" y="1305122"/>
                  <a:pt x="10511043" y="1290909"/>
                  <a:pt x="10487467" y="1301770"/>
                </a:cubicBezTo>
                <a:cubicBezTo>
                  <a:pt x="10500646" y="1280154"/>
                  <a:pt x="10542371" y="1282276"/>
                  <a:pt x="10560844" y="1277710"/>
                </a:cubicBezTo>
                <a:close/>
                <a:moveTo>
                  <a:pt x="10654842" y="1267873"/>
                </a:moveTo>
                <a:cubicBezTo>
                  <a:pt x="10658056" y="1266857"/>
                  <a:pt x="10661866" y="1267247"/>
                  <a:pt x="10663869" y="1268530"/>
                </a:cubicBezTo>
                <a:cubicBezTo>
                  <a:pt x="10667032" y="1282848"/>
                  <a:pt x="10652888" y="1272428"/>
                  <a:pt x="10649401" y="1275659"/>
                </a:cubicBezTo>
                <a:cubicBezTo>
                  <a:pt x="10649013" y="1271313"/>
                  <a:pt x="10651630" y="1268889"/>
                  <a:pt x="10654842" y="1267873"/>
                </a:cubicBezTo>
                <a:close/>
                <a:moveTo>
                  <a:pt x="10651137" y="1246174"/>
                </a:moveTo>
                <a:lnTo>
                  <a:pt x="10651028" y="1246232"/>
                </a:lnTo>
                <a:cubicBezTo>
                  <a:pt x="10644239" y="1251341"/>
                  <a:pt x="10640032" y="1256598"/>
                  <a:pt x="10638744" y="1262006"/>
                </a:cubicBezTo>
                <a:cubicBezTo>
                  <a:pt x="10639727" y="1267759"/>
                  <a:pt x="10635218" y="1266153"/>
                  <a:pt x="10629252" y="1261437"/>
                </a:cubicBezTo>
                <a:lnTo>
                  <a:pt x="10620520" y="1252229"/>
                </a:lnTo>
                <a:lnTo>
                  <a:pt x="10633625" y="1249053"/>
                </a:lnTo>
                <a:lnTo>
                  <a:pt x="10636917" y="1248512"/>
                </a:lnTo>
                <a:lnTo>
                  <a:pt x="10645202" y="1249748"/>
                </a:lnTo>
                <a:lnTo>
                  <a:pt x="10641911" y="1247690"/>
                </a:lnTo>
                <a:close/>
                <a:moveTo>
                  <a:pt x="10619469" y="1233863"/>
                </a:moveTo>
                <a:lnTo>
                  <a:pt x="10620256" y="1234147"/>
                </a:lnTo>
                <a:lnTo>
                  <a:pt x="10641911" y="1247690"/>
                </a:lnTo>
                <a:lnTo>
                  <a:pt x="10636917" y="1248512"/>
                </a:lnTo>
                <a:lnTo>
                  <a:pt x="10613708" y="1245044"/>
                </a:lnTo>
                <a:lnTo>
                  <a:pt x="10611018" y="1242208"/>
                </a:lnTo>
                <a:lnTo>
                  <a:pt x="10607615" y="1236114"/>
                </a:lnTo>
                <a:close/>
                <a:moveTo>
                  <a:pt x="2756341" y="1231005"/>
                </a:moveTo>
                <a:cubicBezTo>
                  <a:pt x="2747101" y="1234566"/>
                  <a:pt x="2756934" y="1249571"/>
                  <a:pt x="2772435" y="1232858"/>
                </a:cubicBezTo>
                <a:cubicBezTo>
                  <a:pt x="2764622" y="1229903"/>
                  <a:pt x="2759424" y="1229819"/>
                  <a:pt x="2756341" y="1231005"/>
                </a:cubicBezTo>
                <a:close/>
                <a:moveTo>
                  <a:pt x="2675521" y="1227695"/>
                </a:moveTo>
                <a:lnTo>
                  <a:pt x="2677746" y="1229613"/>
                </a:lnTo>
                <a:lnTo>
                  <a:pt x="2675832" y="1230783"/>
                </a:lnTo>
                <a:lnTo>
                  <a:pt x="2675329" y="1227827"/>
                </a:lnTo>
                <a:close/>
                <a:moveTo>
                  <a:pt x="10944339" y="1203806"/>
                </a:moveTo>
                <a:lnTo>
                  <a:pt x="10819191" y="1218548"/>
                </a:lnTo>
                <a:lnTo>
                  <a:pt x="10651137" y="1246174"/>
                </a:lnTo>
                <a:lnTo>
                  <a:pt x="10678803" y="1231353"/>
                </a:lnTo>
                <a:lnTo>
                  <a:pt x="10721781" y="1218953"/>
                </a:lnTo>
                <a:lnTo>
                  <a:pt x="10767523" y="1214436"/>
                </a:lnTo>
                <a:close/>
                <a:moveTo>
                  <a:pt x="2822833" y="1186932"/>
                </a:moveTo>
                <a:lnTo>
                  <a:pt x="2817109" y="1192998"/>
                </a:lnTo>
                <a:lnTo>
                  <a:pt x="2805865" y="1194832"/>
                </a:lnTo>
                <a:cubicBezTo>
                  <a:pt x="2802909" y="1198747"/>
                  <a:pt x="2809706" y="1206172"/>
                  <a:pt x="2811839" y="1208903"/>
                </a:cubicBezTo>
                <a:cubicBezTo>
                  <a:pt x="2813333" y="1201834"/>
                  <a:pt x="2815034" y="1196753"/>
                  <a:pt x="2816885" y="1193235"/>
                </a:cubicBezTo>
                <a:lnTo>
                  <a:pt x="2817109" y="1192998"/>
                </a:lnTo>
                <a:lnTo>
                  <a:pt x="2819415" y="1192621"/>
                </a:lnTo>
                <a:lnTo>
                  <a:pt x="2842467" y="1198067"/>
                </a:lnTo>
                <a:lnTo>
                  <a:pt x="2848837" y="1203962"/>
                </a:lnTo>
                <a:cubicBezTo>
                  <a:pt x="2852711" y="1206721"/>
                  <a:pt x="2856052" y="1207153"/>
                  <a:pt x="2858408" y="1201832"/>
                </a:cubicBezTo>
                <a:lnTo>
                  <a:pt x="2842467" y="1198067"/>
                </a:lnTo>
                <a:lnTo>
                  <a:pt x="2836072" y="1192141"/>
                </a:lnTo>
                <a:cubicBezTo>
                  <a:pt x="2831587" y="1188160"/>
                  <a:pt x="2827022" y="1185282"/>
                  <a:pt x="2822833" y="1186932"/>
                </a:cubicBezTo>
                <a:close/>
                <a:moveTo>
                  <a:pt x="11102196" y="1185213"/>
                </a:moveTo>
                <a:lnTo>
                  <a:pt x="11065995" y="1192202"/>
                </a:lnTo>
                <a:cubicBezTo>
                  <a:pt x="11033765" y="1196711"/>
                  <a:pt x="11000730" y="1199906"/>
                  <a:pt x="10967381" y="1202421"/>
                </a:cubicBezTo>
                <a:lnTo>
                  <a:pt x="10944339" y="1203806"/>
                </a:lnTo>
                <a:close/>
                <a:moveTo>
                  <a:pt x="2822629" y="1181657"/>
                </a:moveTo>
                <a:cubicBezTo>
                  <a:pt x="2810871" y="1176863"/>
                  <a:pt x="2800666" y="1189455"/>
                  <a:pt x="2788070" y="1196418"/>
                </a:cubicBezTo>
                <a:cubicBezTo>
                  <a:pt x="2801181" y="1195250"/>
                  <a:pt x="2812163" y="1191351"/>
                  <a:pt x="2822629" y="1181657"/>
                </a:cubicBezTo>
                <a:close/>
                <a:moveTo>
                  <a:pt x="2911183" y="1179606"/>
                </a:moveTo>
                <a:cubicBezTo>
                  <a:pt x="2904464" y="1188966"/>
                  <a:pt x="2921320" y="1187464"/>
                  <a:pt x="2928556" y="1183899"/>
                </a:cubicBezTo>
                <a:cubicBezTo>
                  <a:pt x="2921904" y="1172811"/>
                  <a:pt x="2917578" y="1187797"/>
                  <a:pt x="2911183" y="1179606"/>
                </a:cubicBezTo>
                <a:close/>
                <a:moveTo>
                  <a:pt x="2862547" y="1163498"/>
                </a:moveTo>
                <a:cubicBezTo>
                  <a:pt x="2823919" y="1196143"/>
                  <a:pt x="2889221" y="1187404"/>
                  <a:pt x="2862547" y="1163498"/>
                </a:cubicBezTo>
                <a:close/>
                <a:moveTo>
                  <a:pt x="2979483" y="1154173"/>
                </a:moveTo>
                <a:lnTo>
                  <a:pt x="2982137" y="1158429"/>
                </a:lnTo>
                <a:lnTo>
                  <a:pt x="2976973" y="1162929"/>
                </a:lnTo>
                <a:lnTo>
                  <a:pt x="2967931" y="1165526"/>
                </a:lnTo>
                <a:lnTo>
                  <a:pt x="2967019" y="1165526"/>
                </a:lnTo>
                <a:close/>
                <a:moveTo>
                  <a:pt x="3058385" y="1142806"/>
                </a:moveTo>
                <a:lnTo>
                  <a:pt x="3069539" y="1146082"/>
                </a:lnTo>
                <a:lnTo>
                  <a:pt x="3057612" y="1149035"/>
                </a:lnTo>
                <a:lnTo>
                  <a:pt x="3057976" y="1143815"/>
                </a:lnTo>
                <a:close/>
                <a:moveTo>
                  <a:pt x="2886187" y="1132186"/>
                </a:moveTo>
                <a:cubicBezTo>
                  <a:pt x="2860932" y="1166561"/>
                  <a:pt x="2901948" y="1139542"/>
                  <a:pt x="2886187" y="1132186"/>
                </a:cubicBezTo>
                <a:close/>
                <a:moveTo>
                  <a:pt x="3172340" y="1123365"/>
                </a:moveTo>
                <a:lnTo>
                  <a:pt x="3170712" y="1127093"/>
                </a:lnTo>
                <a:lnTo>
                  <a:pt x="3172339" y="1129177"/>
                </a:lnTo>
                <a:close/>
                <a:moveTo>
                  <a:pt x="11560025" y="1112739"/>
                </a:moveTo>
                <a:cubicBezTo>
                  <a:pt x="11440351" y="1141656"/>
                  <a:pt x="11317336" y="1159554"/>
                  <a:pt x="11193141" y="1174500"/>
                </a:cubicBezTo>
                <a:lnTo>
                  <a:pt x="11102196" y="1185213"/>
                </a:lnTo>
                <a:lnTo>
                  <a:pt x="11159769" y="1174097"/>
                </a:lnTo>
                <a:cubicBezTo>
                  <a:pt x="11189890" y="1166325"/>
                  <a:pt x="11218708" y="1156604"/>
                  <a:pt x="11245730" y="1144300"/>
                </a:cubicBezTo>
                <a:lnTo>
                  <a:pt x="11252441" y="1140256"/>
                </a:lnTo>
                <a:lnTo>
                  <a:pt x="11362975" y="1130115"/>
                </a:lnTo>
                <a:cubicBezTo>
                  <a:pt x="11453956" y="1122191"/>
                  <a:pt x="11526840" y="1116426"/>
                  <a:pt x="11560025" y="1112739"/>
                </a:cubicBezTo>
                <a:close/>
                <a:moveTo>
                  <a:pt x="3133011" y="1110237"/>
                </a:moveTo>
                <a:cubicBezTo>
                  <a:pt x="3128075" y="1117385"/>
                  <a:pt x="3167323" y="1140720"/>
                  <a:pt x="3156181" y="1111047"/>
                </a:cubicBezTo>
                <a:cubicBezTo>
                  <a:pt x="3141214" y="1107270"/>
                  <a:pt x="3134657" y="1107854"/>
                  <a:pt x="3133011" y="1110237"/>
                </a:cubicBezTo>
                <a:close/>
                <a:moveTo>
                  <a:pt x="3172340" y="1094828"/>
                </a:moveTo>
                <a:lnTo>
                  <a:pt x="3165038" y="1097195"/>
                </a:lnTo>
                <a:cubicBezTo>
                  <a:pt x="3164042" y="1097952"/>
                  <a:pt x="3164740" y="1098325"/>
                  <a:pt x="3168285" y="1097868"/>
                </a:cubicBezTo>
                <a:lnTo>
                  <a:pt x="3172339" y="1097007"/>
                </a:lnTo>
                <a:close/>
                <a:moveTo>
                  <a:pt x="3322688" y="1063719"/>
                </a:moveTo>
                <a:lnTo>
                  <a:pt x="3322978" y="1069545"/>
                </a:lnTo>
                <a:lnTo>
                  <a:pt x="3336425" y="1069545"/>
                </a:lnTo>
                <a:lnTo>
                  <a:pt x="3339044" y="1065547"/>
                </a:lnTo>
                <a:cubicBezTo>
                  <a:pt x="3330633" y="1061185"/>
                  <a:pt x="3325464" y="1061464"/>
                  <a:pt x="3322688" y="1063719"/>
                </a:cubicBezTo>
                <a:close/>
                <a:moveTo>
                  <a:pt x="3484588" y="1061504"/>
                </a:moveTo>
                <a:cubicBezTo>
                  <a:pt x="3483276" y="1061991"/>
                  <a:pt x="3483106" y="1065397"/>
                  <a:pt x="3483520" y="1069482"/>
                </a:cubicBezTo>
                <a:lnTo>
                  <a:pt x="3483533" y="1069546"/>
                </a:lnTo>
                <a:lnTo>
                  <a:pt x="3488411" y="1069545"/>
                </a:lnTo>
                <a:lnTo>
                  <a:pt x="3488060" y="1063950"/>
                </a:lnTo>
                <a:cubicBezTo>
                  <a:pt x="3486460" y="1061902"/>
                  <a:pt x="3485339" y="1061226"/>
                  <a:pt x="3484588" y="1061504"/>
                </a:cubicBezTo>
                <a:close/>
                <a:moveTo>
                  <a:pt x="3427927" y="1045944"/>
                </a:moveTo>
                <a:cubicBezTo>
                  <a:pt x="3416169" y="1041151"/>
                  <a:pt x="3407578" y="1050679"/>
                  <a:pt x="3399246" y="1063103"/>
                </a:cubicBezTo>
                <a:cubicBezTo>
                  <a:pt x="3410740" y="1064998"/>
                  <a:pt x="3425727" y="1063663"/>
                  <a:pt x="3427927" y="1045944"/>
                </a:cubicBezTo>
                <a:close/>
                <a:moveTo>
                  <a:pt x="3621164" y="1000022"/>
                </a:moveTo>
                <a:cubicBezTo>
                  <a:pt x="3618881" y="999907"/>
                  <a:pt x="3616535" y="1001393"/>
                  <a:pt x="3615050" y="1005906"/>
                </a:cubicBezTo>
                <a:cubicBezTo>
                  <a:pt x="3634281" y="1015144"/>
                  <a:pt x="3628008" y="1000370"/>
                  <a:pt x="3621164" y="1000022"/>
                </a:cubicBezTo>
                <a:close/>
                <a:moveTo>
                  <a:pt x="11606798" y="959627"/>
                </a:moveTo>
                <a:cubicBezTo>
                  <a:pt x="11595817" y="963526"/>
                  <a:pt x="11596076" y="966423"/>
                  <a:pt x="11584579" y="964528"/>
                </a:cubicBezTo>
                <a:cubicBezTo>
                  <a:pt x="11583995" y="979181"/>
                  <a:pt x="11605700" y="968486"/>
                  <a:pt x="11606798" y="959627"/>
                </a:cubicBezTo>
                <a:close/>
                <a:moveTo>
                  <a:pt x="3933014" y="941861"/>
                </a:moveTo>
                <a:lnTo>
                  <a:pt x="3934004" y="942359"/>
                </a:lnTo>
                <a:lnTo>
                  <a:pt x="3931284" y="942743"/>
                </a:lnTo>
                <a:close/>
                <a:moveTo>
                  <a:pt x="11722935" y="837853"/>
                </a:moveTo>
                <a:cubicBezTo>
                  <a:pt x="11720544" y="837104"/>
                  <a:pt x="11717651" y="837104"/>
                  <a:pt x="11715086" y="838360"/>
                </a:cubicBezTo>
                <a:cubicBezTo>
                  <a:pt x="11711666" y="840033"/>
                  <a:pt x="11708828" y="843936"/>
                  <a:pt x="11708536" y="851263"/>
                </a:cubicBezTo>
                <a:cubicBezTo>
                  <a:pt x="11732770" y="849104"/>
                  <a:pt x="11730109" y="840101"/>
                  <a:pt x="11722935" y="837853"/>
                </a:cubicBezTo>
                <a:close/>
                <a:moveTo>
                  <a:pt x="4450295" y="823418"/>
                </a:moveTo>
                <a:cubicBezTo>
                  <a:pt x="4447583" y="835342"/>
                  <a:pt x="4464182" y="830943"/>
                  <a:pt x="4468447" y="836404"/>
                </a:cubicBezTo>
                <a:cubicBezTo>
                  <a:pt x="4474646" y="821249"/>
                  <a:pt x="4458562" y="831443"/>
                  <a:pt x="4450295" y="823418"/>
                </a:cubicBezTo>
                <a:close/>
                <a:moveTo>
                  <a:pt x="6489071" y="819891"/>
                </a:moveTo>
                <a:cubicBezTo>
                  <a:pt x="6466010" y="836548"/>
                  <a:pt x="6484225" y="829085"/>
                  <a:pt x="6489071" y="819891"/>
                </a:cubicBezTo>
                <a:close/>
                <a:moveTo>
                  <a:pt x="6454319" y="811307"/>
                </a:moveTo>
                <a:cubicBezTo>
                  <a:pt x="6340700" y="871079"/>
                  <a:pt x="6470597" y="824459"/>
                  <a:pt x="6454319" y="811307"/>
                </a:cubicBezTo>
                <a:close/>
                <a:moveTo>
                  <a:pt x="6512389" y="806132"/>
                </a:moveTo>
                <a:cubicBezTo>
                  <a:pt x="6450184" y="849641"/>
                  <a:pt x="6547204" y="794268"/>
                  <a:pt x="6512389" y="806132"/>
                </a:cubicBezTo>
                <a:close/>
                <a:moveTo>
                  <a:pt x="6541843" y="797666"/>
                </a:moveTo>
                <a:cubicBezTo>
                  <a:pt x="6517684" y="823183"/>
                  <a:pt x="6561350" y="804689"/>
                  <a:pt x="6541843" y="797666"/>
                </a:cubicBezTo>
                <a:close/>
                <a:moveTo>
                  <a:pt x="4577994" y="794516"/>
                </a:moveTo>
                <a:cubicBezTo>
                  <a:pt x="4562297" y="851405"/>
                  <a:pt x="4607383" y="806500"/>
                  <a:pt x="4577994" y="794516"/>
                </a:cubicBezTo>
                <a:close/>
                <a:moveTo>
                  <a:pt x="4633931" y="786611"/>
                </a:moveTo>
                <a:cubicBezTo>
                  <a:pt x="4633865" y="807060"/>
                  <a:pt x="4645171" y="785609"/>
                  <a:pt x="4655312" y="793468"/>
                </a:cubicBezTo>
                <a:cubicBezTo>
                  <a:pt x="4656153" y="781711"/>
                  <a:pt x="4640068" y="791905"/>
                  <a:pt x="4633931" y="786611"/>
                </a:cubicBezTo>
                <a:close/>
                <a:moveTo>
                  <a:pt x="6586607" y="770313"/>
                </a:moveTo>
                <a:cubicBezTo>
                  <a:pt x="6555861" y="764291"/>
                  <a:pt x="6530022" y="813321"/>
                  <a:pt x="6586607" y="770313"/>
                </a:cubicBezTo>
                <a:close/>
                <a:moveTo>
                  <a:pt x="6761069" y="757687"/>
                </a:moveTo>
                <a:lnTo>
                  <a:pt x="6755232" y="768762"/>
                </a:lnTo>
                <a:lnTo>
                  <a:pt x="6751379" y="776074"/>
                </a:lnTo>
                <a:cubicBezTo>
                  <a:pt x="6749765" y="779138"/>
                  <a:pt x="6748958" y="780671"/>
                  <a:pt x="6750168" y="778372"/>
                </a:cubicBezTo>
                <a:lnTo>
                  <a:pt x="6755232" y="768762"/>
                </a:lnTo>
                <a:lnTo>
                  <a:pt x="6757436" y="764583"/>
                </a:lnTo>
                <a:cubicBezTo>
                  <a:pt x="6759454" y="760751"/>
                  <a:pt x="6761069" y="757687"/>
                  <a:pt x="6761069" y="757687"/>
                </a:cubicBezTo>
                <a:close/>
                <a:moveTo>
                  <a:pt x="4884832" y="734994"/>
                </a:moveTo>
                <a:lnTo>
                  <a:pt x="4882730" y="737459"/>
                </a:lnTo>
                <a:lnTo>
                  <a:pt x="4881950" y="735671"/>
                </a:lnTo>
                <a:close/>
                <a:moveTo>
                  <a:pt x="11798890" y="731654"/>
                </a:moveTo>
                <a:lnTo>
                  <a:pt x="11801819" y="736094"/>
                </a:lnTo>
                <a:lnTo>
                  <a:pt x="11800193" y="735723"/>
                </a:lnTo>
                <a:lnTo>
                  <a:pt x="11798167" y="731722"/>
                </a:lnTo>
                <a:close/>
                <a:moveTo>
                  <a:pt x="4931192" y="729458"/>
                </a:moveTo>
                <a:cubicBezTo>
                  <a:pt x="4925817" y="727746"/>
                  <a:pt x="4913442" y="739800"/>
                  <a:pt x="4915231" y="744022"/>
                </a:cubicBezTo>
                <a:cubicBezTo>
                  <a:pt x="4925115" y="748981"/>
                  <a:pt x="4921950" y="734660"/>
                  <a:pt x="4933447" y="736557"/>
                </a:cubicBezTo>
                <a:cubicBezTo>
                  <a:pt x="4933996" y="732128"/>
                  <a:pt x="4932983" y="730028"/>
                  <a:pt x="4931192" y="729458"/>
                </a:cubicBezTo>
                <a:close/>
                <a:moveTo>
                  <a:pt x="11810486" y="716781"/>
                </a:moveTo>
                <a:cubicBezTo>
                  <a:pt x="11803042" y="714706"/>
                  <a:pt x="11799070" y="733678"/>
                  <a:pt x="11818350" y="727579"/>
                </a:cubicBezTo>
                <a:cubicBezTo>
                  <a:pt x="11815832" y="720503"/>
                  <a:pt x="11812966" y="717473"/>
                  <a:pt x="11810486" y="716781"/>
                </a:cubicBezTo>
                <a:close/>
                <a:moveTo>
                  <a:pt x="7130410" y="707252"/>
                </a:moveTo>
                <a:cubicBezTo>
                  <a:pt x="7075828" y="709196"/>
                  <a:pt x="7133249" y="739124"/>
                  <a:pt x="7130410" y="707252"/>
                </a:cubicBezTo>
                <a:close/>
                <a:moveTo>
                  <a:pt x="7157026" y="706342"/>
                </a:moveTo>
                <a:cubicBezTo>
                  <a:pt x="7151652" y="704630"/>
                  <a:pt x="7139273" y="716684"/>
                  <a:pt x="7141066" y="720905"/>
                </a:cubicBezTo>
                <a:cubicBezTo>
                  <a:pt x="7150948" y="725865"/>
                  <a:pt x="7147783" y="711545"/>
                  <a:pt x="7159281" y="713441"/>
                </a:cubicBezTo>
                <a:cubicBezTo>
                  <a:pt x="7159830" y="709011"/>
                  <a:pt x="7158818" y="706911"/>
                  <a:pt x="7157026" y="706342"/>
                </a:cubicBezTo>
                <a:close/>
                <a:moveTo>
                  <a:pt x="11205311" y="691673"/>
                </a:moveTo>
                <a:cubicBezTo>
                  <a:pt x="11202065" y="702914"/>
                  <a:pt x="11189699" y="695255"/>
                  <a:pt x="11194210" y="692251"/>
                </a:cubicBezTo>
                <a:cubicBezTo>
                  <a:pt x="11195714" y="691250"/>
                  <a:pt x="11199093" y="690766"/>
                  <a:pt x="11205311" y="691673"/>
                </a:cubicBezTo>
                <a:close/>
                <a:moveTo>
                  <a:pt x="11276492" y="685330"/>
                </a:moveTo>
                <a:cubicBezTo>
                  <a:pt x="11286375" y="690289"/>
                  <a:pt x="11257436" y="704551"/>
                  <a:pt x="11258018" y="689897"/>
                </a:cubicBezTo>
                <a:cubicBezTo>
                  <a:pt x="11261764" y="689563"/>
                  <a:pt x="11273262" y="691458"/>
                  <a:pt x="11276492" y="685330"/>
                </a:cubicBezTo>
                <a:close/>
                <a:moveTo>
                  <a:pt x="5184674" y="666348"/>
                </a:moveTo>
                <a:cubicBezTo>
                  <a:pt x="5189091" y="665589"/>
                  <a:pt x="5193434" y="666662"/>
                  <a:pt x="5197437" y="669226"/>
                </a:cubicBezTo>
                <a:cubicBezTo>
                  <a:pt x="5188845" y="678753"/>
                  <a:pt x="5180580" y="670728"/>
                  <a:pt x="5171471" y="674460"/>
                </a:cubicBezTo>
                <a:cubicBezTo>
                  <a:pt x="5175768" y="669697"/>
                  <a:pt x="5180256" y="667106"/>
                  <a:pt x="5184674" y="666348"/>
                </a:cubicBezTo>
                <a:close/>
                <a:moveTo>
                  <a:pt x="11674346" y="658272"/>
                </a:moveTo>
                <a:cubicBezTo>
                  <a:pt x="11682615" y="655711"/>
                  <a:pt x="11692174" y="657050"/>
                  <a:pt x="11702992" y="661926"/>
                </a:cubicBezTo>
                <a:lnTo>
                  <a:pt x="11662035" y="669910"/>
                </a:lnTo>
                <a:close/>
                <a:moveTo>
                  <a:pt x="7410507" y="643232"/>
                </a:moveTo>
                <a:cubicBezTo>
                  <a:pt x="7414923" y="642473"/>
                  <a:pt x="7419267" y="643547"/>
                  <a:pt x="7423272" y="646109"/>
                </a:cubicBezTo>
                <a:cubicBezTo>
                  <a:pt x="7414680" y="655635"/>
                  <a:pt x="7406412" y="647612"/>
                  <a:pt x="7397305" y="651344"/>
                </a:cubicBezTo>
                <a:cubicBezTo>
                  <a:pt x="7401601" y="646581"/>
                  <a:pt x="7406091" y="643990"/>
                  <a:pt x="7410507" y="643232"/>
                </a:cubicBezTo>
                <a:close/>
                <a:moveTo>
                  <a:pt x="6682601" y="586895"/>
                </a:moveTo>
                <a:cubicBezTo>
                  <a:pt x="6680889" y="588873"/>
                  <a:pt x="6679338" y="592662"/>
                  <a:pt x="6674913" y="595976"/>
                </a:cubicBezTo>
                <a:cubicBezTo>
                  <a:pt x="6683181" y="604001"/>
                  <a:pt x="6691771" y="594474"/>
                  <a:pt x="6691256" y="588679"/>
                </a:cubicBezTo>
                <a:cubicBezTo>
                  <a:pt x="6686186" y="584750"/>
                  <a:pt x="6684314" y="584917"/>
                  <a:pt x="6682601" y="586895"/>
                </a:cubicBezTo>
                <a:close/>
                <a:moveTo>
                  <a:pt x="10744005" y="583345"/>
                </a:moveTo>
                <a:cubicBezTo>
                  <a:pt x="10744156" y="581016"/>
                  <a:pt x="10741656" y="581352"/>
                  <a:pt x="10737606" y="583402"/>
                </a:cubicBezTo>
                <a:cubicBezTo>
                  <a:pt x="10713301" y="595698"/>
                  <a:pt x="10633158" y="669646"/>
                  <a:pt x="10734506" y="599284"/>
                </a:cubicBezTo>
                <a:cubicBezTo>
                  <a:pt x="10741055" y="590668"/>
                  <a:pt x="10743855" y="585673"/>
                  <a:pt x="10744005" y="583345"/>
                </a:cubicBezTo>
                <a:close/>
                <a:moveTo>
                  <a:pt x="10790847" y="578018"/>
                </a:moveTo>
                <a:cubicBezTo>
                  <a:pt x="10762560" y="584372"/>
                  <a:pt x="10713692" y="604059"/>
                  <a:pt x="10806270" y="578286"/>
                </a:cubicBezTo>
                <a:cubicBezTo>
                  <a:pt x="10807417" y="575263"/>
                  <a:pt x="10800274" y="575900"/>
                  <a:pt x="10790847" y="578018"/>
                </a:cubicBezTo>
                <a:close/>
                <a:moveTo>
                  <a:pt x="6664324" y="561874"/>
                </a:moveTo>
                <a:cubicBezTo>
                  <a:pt x="6629892" y="620432"/>
                  <a:pt x="6697200" y="570627"/>
                  <a:pt x="6664324" y="561874"/>
                </a:cubicBezTo>
                <a:close/>
                <a:moveTo>
                  <a:pt x="5603680" y="561473"/>
                </a:moveTo>
                <a:cubicBezTo>
                  <a:pt x="5598127" y="562698"/>
                  <a:pt x="5591422" y="566947"/>
                  <a:pt x="5587254" y="573158"/>
                </a:cubicBezTo>
                <a:cubicBezTo>
                  <a:pt x="5597137" y="578119"/>
                  <a:pt x="5603339" y="562963"/>
                  <a:pt x="5613220" y="567924"/>
                </a:cubicBezTo>
                <a:cubicBezTo>
                  <a:pt x="5613642" y="562045"/>
                  <a:pt x="5609232" y="560248"/>
                  <a:pt x="5603680" y="561473"/>
                </a:cubicBezTo>
                <a:close/>
                <a:moveTo>
                  <a:pt x="5632768" y="551580"/>
                </a:moveTo>
                <a:cubicBezTo>
                  <a:pt x="5626917" y="552102"/>
                  <a:pt x="5621555" y="555500"/>
                  <a:pt x="5616453" y="561795"/>
                </a:cubicBezTo>
                <a:cubicBezTo>
                  <a:pt x="5628206" y="566589"/>
                  <a:pt x="5640803" y="559625"/>
                  <a:pt x="5652043" y="558623"/>
                </a:cubicBezTo>
                <a:cubicBezTo>
                  <a:pt x="5644968" y="553414"/>
                  <a:pt x="5638623" y="551059"/>
                  <a:pt x="5632768" y="551580"/>
                </a:cubicBezTo>
                <a:close/>
                <a:moveTo>
                  <a:pt x="5596662" y="548956"/>
                </a:moveTo>
                <a:cubicBezTo>
                  <a:pt x="5604771" y="546592"/>
                  <a:pt x="5607053" y="548851"/>
                  <a:pt x="5585531" y="560728"/>
                </a:cubicBezTo>
                <a:lnTo>
                  <a:pt x="5576823" y="565143"/>
                </a:lnTo>
                <a:lnTo>
                  <a:pt x="5578002" y="558377"/>
                </a:lnTo>
                <a:cubicBezTo>
                  <a:pt x="5583262" y="554167"/>
                  <a:pt x="5591258" y="550533"/>
                  <a:pt x="5596662" y="548956"/>
                </a:cubicBezTo>
                <a:close/>
                <a:moveTo>
                  <a:pt x="8923594" y="545863"/>
                </a:moveTo>
                <a:cubicBezTo>
                  <a:pt x="8926521" y="546926"/>
                  <a:pt x="8929864" y="550004"/>
                  <a:pt x="8932011" y="552916"/>
                </a:cubicBezTo>
                <a:lnTo>
                  <a:pt x="8932666" y="556093"/>
                </a:lnTo>
                <a:lnTo>
                  <a:pt x="8930363" y="555984"/>
                </a:lnTo>
                <a:lnTo>
                  <a:pt x="8922044" y="547184"/>
                </a:lnTo>
                <a:close/>
                <a:moveTo>
                  <a:pt x="5665994" y="545699"/>
                </a:moveTo>
                <a:cubicBezTo>
                  <a:pt x="5660246" y="544751"/>
                  <a:pt x="5656531" y="545447"/>
                  <a:pt x="5654403" y="546732"/>
                </a:cubicBezTo>
                <a:cubicBezTo>
                  <a:pt x="5648020" y="550585"/>
                  <a:pt x="5655917" y="559739"/>
                  <a:pt x="5665994" y="545699"/>
                </a:cubicBezTo>
                <a:close/>
                <a:moveTo>
                  <a:pt x="8884977" y="545517"/>
                </a:moveTo>
                <a:cubicBezTo>
                  <a:pt x="8880980" y="548338"/>
                  <a:pt x="8891625" y="560531"/>
                  <a:pt x="8894678" y="547117"/>
                </a:cubicBezTo>
                <a:cubicBezTo>
                  <a:pt x="8889267" y="544678"/>
                  <a:pt x="8886310" y="544577"/>
                  <a:pt x="8884977" y="545517"/>
                </a:cubicBezTo>
                <a:close/>
                <a:moveTo>
                  <a:pt x="7829512" y="538357"/>
                </a:moveTo>
                <a:cubicBezTo>
                  <a:pt x="7823957" y="539582"/>
                  <a:pt x="7817255" y="543831"/>
                  <a:pt x="7813088" y="550042"/>
                </a:cubicBezTo>
                <a:cubicBezTo>
                  <a:pt x="7822972" y="555002"/>
                  <a:pt x="7829172" y="539847"/>
                  <a:pt x="7839054" y="544808"/>
                </a:cubicBezTo>
                <a:cubicBezTo>
                  <a:pt x="7839475" y="538929"/>
                  <a:pt x="7835067" y="537132"/>
                  <a:pt x="7829512" y="538357"/>
                </a:cubicBezTo>
                <a:close/>
                <a:moveTo>
                  <a:pt x="7858604" y="528463"/>
                </a:moveTo>
                <a:cubicBezTo>
                  <a:pt x="7852750" y="528985"/>
                  <a:pt x="7847387" y="532383"/>
                  <a:pt x="7842285" y="538678"/>
                </a:cubicBezTo>
                <a:cubicBezTo>
                  <a:pt x="7854040" y="543473"/>
                  <a:pt x="7866635" y="536508"/>
                  <a:pt x="7877875" y="535507"/>
                </a:cubicBezTo>
                <a:cubicBezTo>
                  <a:pt x="7870803" y="530297"/>
                  <a:pt x="7864456" y="527942"/>
                  <a:pt x="7858604" y="528463"/>
                </a:cubicBezTo>
                <a:close/>
                <a:moveTo>
                  <a:pt x="7818750" y="526174"/>
                </a:moveTo>
                <a:cubicBezTo>
                  <a:pt x="7826858" y="523808"/>
                  <a:pt x="7829139" y="526069"/>
                  <a:pt x="7807619" y="537946"/>
                </a:cubicBezTo>
                <a:lnTo>
                  <a:pt x="7798912" y="542360"/>
                </a:lnTo>
                <a:lnTo>
                  <a:pt x="7800090" y="535594"/>
                </a:lnTo>
                <a:cubicBezTo>
                  <a:pt x="7805349" y="531383"/>
                  <a:pt x="7813345" y="527750"/>
                  <a:pt x="7818750" y="526174"/>
                </a:cubicBezTo>
                <a:close/>
                <a:moveTo>
                  <a:pt x="7891828" y="522581"/>
                </a:moveTo>
                <a:cubicBezTo>
                  <a:pt x="7868833" y="518790"/>
                  <a:pt x="7878391" y="541303"/>
                  <a:pt x="7891828" y="522581"/>
                </a:cubicBezTo>
                <a:close/>
                <a:moveTo>
                  <a:pt x="11044812" y="521984"/>
                </a:moveTo>
                <a:cubicBezTo>
                  <a:pt x="11018971" y="571014"/>
                  <a:pt x="11048815" y="524548"/>
                  <a:pt x="11044812" y="521984"/>
                </a:cubicBezTo>
                <a:close/>
                <a:moveTo>
                  <a:pt x="10853381" y="517247"/>
                </a:moveTo>
                <a:cubicBezTo>
                  <a:pt x="10849720" y="520306"/>
                  <a:pt x="10841081" y="536579"/>
                  <a:pt x="10825001" y="576617"/>
                </a:cubicBezTo>
                <a:cubicBezTo>
                  <a:pt x="10837677" y="586440"/>
                  <a:pt x="10856841" y="528375"/>
                  <a:pt x="10855473" y="518202"/>
                </a:cubicBezTo>
                <a:cubicBezTo>
                  <a:pt x="10855268" y="516676"/>
                  <a:pt x="10854601" y="516227"/>
                  <a:pt x="10853381" y="517247"/>
                </a:cubicBezTo>
                <a:close/>
                <a:moveTo>
                  <a:pt x="9188315" y="494666"/>
                </a:moveTo>
                <a:cubicBezTo>
                  <a:pt x="9133735" y="496609"/>
                  <a:pt x="9191155" y="526538"/>
                  <a:pt x="9188315" y="494666"/>
                </a:cubicBezTo>
                <a:close/>
                <a:moveTo>
                  <a:pt x="9214932" y="493755"/>
                </a:moveTo>
                <a:cubicBezTo>
                  <a:pt x="9209558" y="492043"/>
                  <a:pt x="9197180" y="504097"/>
                  <a:pt x="9198973" y="508319"/>
                </a:cubicBezTo>
                <a:cubicBezTo>
                  <a:pt x="9208854" y="513278"/>
                  <a:pt x="9205689" y="498958"/>
                  <a:pt x="9217187" y="500855"/>
                </a:cubicBezTo>
                <a:cubicBezTo>
                  <a:pt x="9217737" y="496425"/>
                  <a:pt x="9216724" y="494325"/>
                  <a:pt x="9214932" y="493755"/>
                </a:cubicBezTo>
                <a:close/>
                <a:moveTo>
                  <a:pt x="6091142" y="443563"/>
                </a:moveTo>
                <a:lnTo>
                  <a:pt x="6090786" y="444045"/>
                </a:lnTo>
                <a:lnTo>
                  <a:pt x="6089725" y="443990"/>
                </a:lnTo>
                <a:close/>
                <a:moveTo>
                  <a:pt x="9468412" y="430645"/>
                </a:moveTo>
                <a:cubicBezTo>
                  <a:pt x="9472830" y="429886"/>
                  <a:pt x="9477173" y="430960"/>
                  <a:pt x="9481178" y="433522"/>
                </a:cubicBezTo>
                <a:cubicBezTo>
                  <a:pt x="9472586" y="443050"/>
                  <a:pt x="9464318" y="435025"/>
                  <a:pt x="9455212" y="438757"/>
                </a:cubicBezTo>
                <a:cubicBezTo>
                  <a:pt x="9459506" y="433994"/>
                  <a:pt x="9463996" y="431403"/>
                  <a:pt x="9468412" y="430645"/>
                </a:cubicBezTo>
                <a:close/>
                <a:moveTo>
                  <a:pt x="8316976" y="420445"/>
                </a:moveTo>
                <a:lnTo>
                  <a:pt x="8316864" y="420598"/>
                </a:lnTo>
                <a:lnTo>
                  <a:pt x="8316481" y="420595"/>
                </a:lnTo>
                <a:close/>
                <a:moveTo>
                  <a:pt x="6533407" y="363995"/>
                </a:moveTo>
                <a:cubicBezTo>
                  <a:pt x="6529127" y="363647"/>
                  <a:pt x="6524106" y="365555"/>
                  <a:pt x="6522621" y="370067"/>
                </a:cubicBezTo>
                <a:cubicBezTo>
                  <a:pt x="6529272" y="381156"/>
                  <a:pt x="6533600" y="366169"/>
                  <a:pt x="6539737" y="371463"/>
                </a:cubicBezTo>
                <a:cubicBezTo>
                  <a:pt x="6541222" y="366950"/>
                  <a:pt x="6537686" y="364345"/>
                  <a:pt x="6533407" y="363995"/>
                </a:cubicBezTo>
                <a:close/>
                <a:moveTo>
                  <a:pt x="6596333" y="363682"/>
                </a:moveTo>
                <a:cubicBezTo>
                  <a:pt x="6587426" y="365023"/>
                  <a:pt x="6578717" y="374560"/>
                  <a:pt x="6570481" y="377484"/>
                </a:cubicBezTo>
                <a:cubicBezTo>
                  <a:pt x="6582238" y="382277"/>
                  <a:pt x="6594832" y="375314"/>
                  <a:pt x="6605296" y="365621"/>
                </a:cubicBezTo>
                <a:cubicBezTo>
                  <a:pt x="6602294" y="363698"/>
                  <a:pt x="6599302" y="363234"/>
                  <a:pt x="6596333" y="363682"/>
                </a:cubicBezTo>
                <a:close/>
                <a:moveTo>
                  <a:pt x="6642632" y="360833"/>
                </a:moveTo>
                <a:cubicBezTo>
                  <a:pt x="6639354" y="361125"/>
                  <a:pt x="6636204" y="362867"/>
                  <a:pt x="6633653" y="366014"/>
                </a:cubicBezTo>
                <a:cubicBezTo>
                  <a:pt x="6640046" y="374205"/>
                  <a:pt x="6647282" y="370640"/>
                  <a:pt x="6652384" y="364345"/>
                </a:cubicBezTo>
                <a:cubicBezTo>
                  <a:pt x="6649317" y="361697"/>
                  <a:pt x="6645910" y="360541"/>
                  <a:pt x="6642632" y="360833"/>
                </a:cubicBezTo>
                <a:close/>
                <a:moveTo>
                  <a:pt x="7066244" y="355666"/>
                </a:moveTo>
                <a:cubicBezTo>
                  <a:pt x="7059652" y="358170"/>
                  <a:pt x="7053451" y="368033"/>
                  <a:pt x="7055243" y="372254"/>
                </a:cubicBezTo>
                <a:cubicBezTo>
                  <a:pt x="7060864" y="371753"/>
                  <a:pt x="7073459" y="364789"/>
                  <a:pt x="7072685" y="356097"/>
                </a:cubicBezTo>
                <a:cubicBezTo>
                  <a:pt x="7070682" y="354815"/>
                  <a:pt x="7068442" y="354832"/>
                  <a:pt x="7066244" y="355666"/>
                </a:cubicBezTo>
                <a:close/>
                <a:moveTo>
                  <a:pt x="10966342" y="351193"/>
                </a:moveTo>
                <a:cubicBezTo>
                  <a:pt x="10964629" y="353170"/>
                  <a:pt x="10963079" y="356958"/>
                  <a:pt x="10958655" y="360273"/>
                </a:cubicBezTo>
                <a:cubicBezTo>
                  <a:pt x="10966921" y="368298"/>
                  <a:pt x="10975514" y="358771"/>
                  <a:pt x="10974997" y="352976"/>
                </a:cubicBezTo>
                <a:cubicBezTo>
                  <a:pt x="10969927" y="349047"/>
                  <a:pt x="10968053" y="349214"/>
                  <a:pt x="10966342" y="351193"/>
                </a:cubicBezTo>
                <a:close/>
                <a:moveTo>
                  <a:pt x="6257433" y="349480"/>
                </a:moveTo>
                <a:cubicBezTo>
                  <a:pt x="6254702" y="348309"/>
                  <a:pt x="6252094" y="348177"/>
                  <a:pt x="6250883" y="350475"/>
                </a:cubicBezTo>
                <a:cubicBezTo>
                  <a:pt x="6274911" y="365857"/>
                  <a:pt x="6265622" y="352994"/>
                  <a:pt x="6257433" y="349480"/>
                </a:cubicBezTo>
                <a:close/>
                <a:moveTo>
                  <a:pt x="8759241" y="340879"/>
                </a:moveTo>
                <a:cubicBezTo>
                  <a:pt x="8754962" y="340531"/>
                  <a:pt x="8749939" y="342439"/>
                  <a:pt x="8748454" y="346951"/>
                </a:cubicBezTo>
                <a:cubicBezTo>
                  <a:pt x="8755105" y="358040"/>
                  <a:pt x="8759435" y="343052"/>
                  <a:pt x="8765570" y="348347"/>
                </a:cubicBezTo>
                <a:cubicBezTo>
                  <a:pt x="8767055" y="343833"/>
                  <a:pt x="8763519" y="341227"/>
                  <a:pt x="8759241" y="340879"/>
                </a:cubicBezTo>
                <a:close/>
                <a:moveTo>
                  <a:pt x="8822167" y="340565"/>
                </a:moveTo>
                <a:cubicBezTo>
                  <a:pt x="8819198" y="341012"/>
                  <a:pt x="8816250" y="342370"/>
                  <a:pt x="8813336" y="344090"/>
                </a:cubicBezTo>
                <a:cubicBezTo>
                  <a:pt x="8807507" y="347529"/>
                  <a:pt x="8801804" y="352418"/>
                  <a:pt x="8796316" y="354368"/>
                </a:cubicBezTo>
                <a:cubicBezTo>
                  <a:pt x="8808072" y="359161"/>
                  <a:pt x="8820666" y="352198"/>
                  <a:pt x="8831131" y="342505"/>
                </a:cubicBezTo>
                <a:cubicBezTo>
                  <a:pt x="8828128" y="340582"/>
                  <a:pt x="8825136" y="340117"/>
                  <a:pt x="8822167" y="340565"/>
                </a:cubicBezTo>
                <a:close/>
                <a:moveTo>
                  <a:pt x="8868466" y="337717"/>
                </a:moveTo>
                <a:cubicBezTo>
                  <a:pt x="8865188" y="338009"/>
                  <a:pt x="8862038" y="339750"/>
                  <a:pt x="8859487" y="342898"/>
                </a:cubicBezTo>
                <a:cubicBezTo>
                  <a:pt x="8865881" y="351089"/>
                  <a:pt x="8873117" y="347524"/>
                  <a:pt x="8878219" y="341229"/>
                </a:cubicBezTo>
                <a:cubicBezTo>
                  <a:pt x="8875151" y="338582"/>
                  <a:pt x="8871744" y="337425"/>
                  <a:pt x="8868466" y="337717"/>
                </a:cubicBezTo>
                <a:close/>
                <a:moveTo>
                  <a:pt x="9292078" y="332550"/>
                </a:moveTo>
                <a:cubicBezTo>
                  <a:pt x="9285487" y="335054"/>
                  <a:pt x="9279285" y="344916"/>
                  <a:pt x="9281077" y="349136"/>
                </a:cubicBezTo>
                <a:cubicBezTo>
                  <a:pt x="9286697" y="348635"/>
                  <a:pt x="9299292" y="341673"/>
                  <a:pt x="9298518" y="332980"/>
                </a:cubicBezTo>
                <a:cubicBezTo>
                  <a:pt x="9296516" y="331698"/>
                  <a:pt x="9294275" y="331715"/>
                  <a:pt x="9292078" y="332550"/>
                </a:cubicBezTo>
                <a:close/>
                <a:moveTo>
                  <a:pt x="8483267" y="326364"/>
                </a:moveTo>
                <a:cubicBezTo>
                  <a:pt x="8480537" y="325192"/>
                  <a:pt x="8477929" y="325060"/>
                  <a:pt x="8476717" y="327357"/>
                </a:cubicBezTo>
                <a:cubicBezTo>
                  <a:pt x="8500744" y="342740"/>
                  <a:pt x="8491456" y="329878"/>
                  <a:pt x="8483267" y="326364"/>
                </a:cubicBezTo>
                <a:close/>
                <a:moveTo>
                  <a:pt x="10948064" y="326171"/>
                </a:moveTo>
                <a:cubicBezTo>
                  <a:pt x="10913632" y="384729"/>
                  <a:pt x="10980940" y="334924"/>
                  <a:pt x="10948064" y="326171"/>
                </a:cubicBezTo>
                <a:close/>
                <a:moveTo>
                  <a:pt x="9887418" y="325771"/>
                </a:moveTo>
                <a:cubicBezTo>
                  <a:pt x="9881862" y="326996"/>
                  <a:pt x="9875160" y="331244"/>
                  <a:pt x="9870994" y="337456"/>
                </a:cubicBezTo>
                <a:cubicBezTo>
                  <a:pt x="9880877" y="342416"/>
                  <a:pt x="9887079" y="327261"/>
                  <a:pt x="9896961" y="332221"/>
                </a:cubicBezTo>
                <a:cubicBezTo>
                  <a:pt x="9897380" y="326343"/>
                  <a:pt x="9892972" y="324546"/>
                  <a:pt x="9887418" y="325771"/>
                </a:cubicBezTo>
                <a:close/>
                <a:moveTo>
                  <a:pt x="6665887" y="325175"/>
                </a:moveTo>
                <a:cubicBezTo>
                  <a:pt x="6615630" y="396826"/>
                  <a:pt x="6675512" y="327239"/>
                  <a:pt x="6706190" y="353709"/>
                </a:cubicBezTo>
                <a:cubicBezTo>
                  <a:pt x="6729832" y="322399"/>
                  <a:pt x="6672540" y="336264"/>
                  <a:pt x="6665887" y="325175"/>
                </a:cubicBezTo>
                <a:close/>
                <a:moveTo>
                  <a:pt x="9916509" y="315878"/>
                </a:moveTo>
                <a:cubicBezTo>
                  <a:pt x="9910655" y="316399"/>
                  <a:pt x="9905294" y="319797"/>
                  <a:pt x="9900192" y="326092"/>
                </a:cubicBezTo>
                <a:cubicBezTo>
                  <a:pt x="9911946" y="330886"/>
                  <a:pt x="9924543" y="323923"/>
                  <a:pt x="9935781" y="322921"/>
                </a:cubicBezTo>
                <a:cubicBezTo>
                  <a:pt x="9928708" y="317711"/>
                  <a:pt x="9922363" y="315356"/>
                  <a:pt x="9916509" y="315878"/>
                </a:cubicBezTo>
                <a:close/>
                <a:moveTo>
                  <a:pt x="9872909" y="313922"/>
                </a:moveTo>
                <a:cubicBezTo>
                  <a:pt x="9881017" y="311557"/>
                  <a:pt x="9883300" y="313816"/>
                  <a:pt x="9861779" y="325693"/>
                </a:cubicBezTo>
                <a:lnTo>
                  <a:pt x="9853069" y="330108"/>
                </a:lnTo>
                <a:lnTo>
                  <a:pt x="9854249" y="323342"/>
                </a:lnTo>
                <a:cubicBezTo>
                  <a:pt x="9859509" y="319132"/>
                  <a:pt x="9867504" y="315499"/>
                  <a:pt x="9872909" y="313922"/>
                </a:cubicBezTo>
                <a:close/>
                <a:moveTo>
                  <a:pt x="9949735" y="309996"/>
                </a:moveTo>
                <a:cubicBezTo>
                  <a:pt x="9943985" y="309048"/>
                  <a:pt x="9940271" y="309744"/>
                  <a:pt x="9938144" y="311029"/>
                </a:cubicBezTo>
                <a:cubicBezTo>
                  <a:pt x="9931761" y="314882"/>
                  <a:pt x="9939656" y="324036"/>
                  <a:pt x="9949735" y="309996"/>
                </a:cubicBezTo>
                <a:close/>
                <a:moveTo>
                  <a:pt x="8891721" y="302058"/>
                </a:moveTo>
                <a:cubicBezTo>
                  <a:pt x="8841464" y="373708"/>
                  <a:pt x="8901345" y="304121"/>
                  <a:pt x="8932024" y="330593"/>
                </a:cubicBezTo>
                <a:cubicBezTo>
                  <a:pt x="8955666" y="299281"/>
                  <a:pt x="8898373" y="313148"/>
                  <a:pt x="8891721" y="302058"/>
                </a:cubicBezTo>
                <a:close/>
                <a:moveTo>
                  <a:pt x="10374883" y="207860"/>
                </a:moveTo>
                <a:lnTo>
                  <a:pt x="10374507" y="208370"/>
                </a:lnTo>
                <a:lnTo>
                  <a:pt x="10373221" y="208360"/>
                </a:lnTo>
                <a:close/>
                <a:moveTo>
                  <a:pt x="10817148" y="128293"/>
                </a:moveTo>
                <a:cubicBezTo>
                  <a:pt x="10812868" y="127944"/>
                  <a:pt x="10807846" y="129852"/>
                  <a:pt x="10806360" y="134364"/>
                </a:cubicBezTo>
                <a:cubicBezTo>
                  <a:pt x="10813012" y="145453"/>
                  <a:pt x="10817341" y="130465"/>
                  <a:pt x="10823477" y="135760"/>
                </a:cubicBezTo>
                <a:cubicBezTo>
                  <a:pt x="10824963" y="131247"/>
                  <a:pt x="10821427" y="128642"/>
                  <a:pt x="10817148" y="128293"/>
                </a:cubicBezTo>
                <a:close/>
                <a:moveTo>
                  <a:pt x="10880075" y="127979"/>
                </a:moveTo>
                <a:cubicBezTo>
                  <a:pt x="10871168" y="129320"/>
                  <a:pt x="10862458" y="138857"/>
                  <a:pt x="10854222" y="141781"/>
                </a:cubicBezTo>
                <a:cubicBezTo>
                  <a:pt x="10865978" y="146575"/>
                  <a:pt x="10878575" y="139611"/>
                  <a:pt x="10889039" y="129918"/>
                </a:cubicBezTo>
                <a:cubicBezTo>
                  <a:pt x="10886036" y="127995"/>
                  <a:pt x="10883044" y="127531"/>
                  <a:pt x="10880075" y="127979"/>
                </a:cubicBezTo>
                <a:close/>
                <a:moveTo>
                  <a:pt x="10926373" y="125130"/>
                </a:moveTo>
                <a:cubicBezTo>
                  <a:pt x="10923094" y="125422"/>
                  <a:pt x="10919945" y="127164"/>
                  <a:pt x="10917394" y="130312"/>
                </a:cubicBezTo>
                <a:cubicBezTo>
                  <a:pt x="10923788" y="138502"/>
                  <a:pt x="10931023" y="134937"/>
                  <a:pt x="10936126" y="128642"/>
                </a:cubicBezTo>
                <a:cubicBezTo>
                  <a:pt x="10933058" y="125995"/>
                  <a:pt x="10929651" y="124838"/>
                  <a:pt x="10926373" y="125130"/>
                </a:cubicBezTo>
                <a:close/>
                <a:moveTo>
                  <a:pt x="11349985" y="119964"/>
                </a:moveTo>
                <a:cubicBezTo>
                  <a:pt x="11343393" y="122467"/>
                  <a:pt x="11337192" y="132330"/>
                  <a:pt x="11338984" y="136550"/>
                </a:cubicBezTo>
                <a:cubicBezTo>
                  <a:pt x="11344603" y="136049"/>
                  <a:pt x="11357200" y="129086"/>
                  <a:pt x="11356425" y="120395"/>
                </a:cubicBezTo>
                <a:cubicBezTo>
                  <a:pt x="11354423" y="119112"/>
                  <a:pt x="11352182" y="119129"/>
                  <a:pt x="11349985" y="119964"/>
                </a:cubicBezTo>
                <a:close/>
                <a:moveTo>
                  <a:pt x="10949628" y="89473"/>
                </a:moveTo>
                <a:cubicBezTo>
                  <a:pt x="10899372" y="161123"/>
                  <a:pt x="10959252" y="91535"/>
                  <a:pt x="10989933" y="118007"/>
                </a:cubicBezTo>
                <a:cubicBezTo>
                  <a:pt x="11013573" y="86695"/>
                  <a:pt x="10956279" y="100562"/>
                  <a:pt x="10949628" y="89473"/>
                </a:cubicBezTo>
                <a:close/>
                <a:moveTo>
                  <a:pt x="11264419" y="40"/>
                </a:moveTo>
                <a:cubicBezTo>
                  <a:pt x="11278038" y="-1488"/>
                  <a:pt x="11228304" y="41276"/>
                  <a:pt x="11218008" y="71398"/>
                </a:cubicBezTo>
                <a:cubicBezTo>
                  <a:pt x="11299648" y="140056"/>
                  <a:pt x="11419668" y="3780"/>
                  <a:pt x="11509640" y="60013"/>
                </a:cubicBezTo>
                <a:cubicBezTo>
                  <a:pt x="11510409" y="153400"/>
                  <a:pt x="11287245" y="170365"/>
                  <a:pt x="11234148" y="210144"/>
                </a:cubicBezTo>
                <a:cubicBezTo>
                  <a:pt x="11195652" y="201891"/>
                  <a:pt x="11072017" y="297603"/>
                  <a:pt x="10968927" y="327232"/>
                </a:cubicBezTo>
                <a:cubicBezTo>
                  <a:pt x="10966537" y="321605"/>
                  <a:pt x="11063229" y="368479"/>
                  <a:pt x="11049923" y="346299"/>
                </a:cubicBezTo>
                <a:cubicBezTo>
                  <a:pt x="11099467" y="330202"/>
                  <a:pt x="11185632" y="322524"/>
                  <a:pt x="11248090" y="366606"/>
                </a:cubicBezTo>
                <a:cubicBezTo>
                  <a:pt x="11174646" y="411118"/>
                  <a:pt x="10955744" y="433545"/>
                  <a:pt x="11022271" y="459742"/>
                </a:cubicBezTo>
                <a:cubicBezTo>
                  <a:pt x="10908069" y="534169"/>
                  <a:pt x="10959550" y="497456"/>
                  <a:pt x="10954513" y="483303"/>
                </a:cubicBezTo>
                <a:cubicBezTo>
                  <a:pt x="10954513" y="483303"/>
                  <a:pt x="10867700" y="526085"/>
                  <a:pt x="10869249" y="543470"/>
                </a:cubicBezTo>
                <a:cubicBezTo>
                  <a:pt x="10885008" y="550827"/>
                  <a:pt x="10886755" y="506863"/>
                  <a:pt x="10903290" y="522913"/>
                </a:cubicBezTo>
                <a:cubicBezTo>
                  <a:pt x="10900060" y="529042"/>
                  <a:pt x="10880679" y="565815"/>
                  <a:pt x="10892952" y="576404"/>
                </a:cubicBezTo>
                <a:cubicBezTo>
                  <a:pt x="10951282" y="489431"/>
                  <a:pt x="11088026" y="477247"/>
                  <a:pt x="11169154" y="455415"/>
                </a:cubicBezTo>
                <a:cubicBezTo>
                  <a:pt x="11106559" y="536924"/>
                  <a:pt x="11207909" y="466564"/>
                  <a:pt x="11254155" y="477045"/>
                </a:cubicBezTo>
                <a:cubicBezTo>
                  <a:pt x="11230063" y="482113"/>
                  <a:pt x="11228963" y="490972"/>
                  <a:pt x="11250602" y="500725"/>
                </a:cubicBezTo>
                <a:cubicBezTo>
                  <a:pt x="11230189" y="525908"/>
                  <a:pt x="10930214" y="719108"/>
                  <a:pt x="10927307" y="707685"/>
                </a:cubicBezTo>
                <a:cubicBezTo>
                  <a:pt x="11052883" y="819155"/>
                  <a:pt x="11442750" y="717013"/>
                  <a:pt x="11634359" y="675305"/>
                </a:cubicBezTo>
                <a:lnTo>
                  <a:pt x="11662035" y="669910"/>
                </a:lnTo>
                <a:lnTo>
                  <a:pt x="11653450" y="678023"/>
                </a:lnTo>
                <a:cubicBezTo>
                  <a:pt x="11663266" y="703433"/>
                  <a:pt x="11923055" y="694885"/>
                  <a:pt x="11840311" y="719781"/>
                </a:cubicBezTo>
                <a:cubicBezTo>
                  <a:pt x="11855005" y="725773"/>
                  <a:pt x="11841490" y="727708"/>
                  <a:pt x="11822758" y="729377"/>
                </a:cubicBezTo>
                <a:lnTo>
                  <a:pt x="11798890" y="731654"/>
                </a:lnTo>
                <a:lnTo>
                  <a:pt x="11795613" y="726685"/>
                </a:lnTo>
                <a:lnTo>
                  <a:pt x="11798167" y="731722"/>
                </a:lnTo>
                <a:lnTo>
                  <a:pt x="11793624" y="732155"/>
                </a:lnTo>
                <a:cubicBezTo>
                  <a:pt x="11784524" y="733332"/>
                  <a:pt x="11776995" y="734916"/>
                  <a:pt x="11773911" y="737381"/>
                </a:cubicBezTo>
                <a:cubicBezTo>
                  <a:pt x="11790220" y="740308"/>
                  <a:pt x="11800183" y="740880"/>
                  <a:pt x="11803799" y="739097"/>
                </a:cubicBezTo>
                <a:lnTo>
                  <a:pt x="11801819" y="736094"/>
                </a:lnTo>
                <a:lnTo>
                  <a:pt x="11808385" y="737595"/>
                </a:lnTo>
                <a:cubicBezTo>
                  <a:pt x="11815038" y="738096"/>
                  <a:pt x="11824065" y="738752"/>
                  <a:pt x="11835400" y="749424"/>
                </a:cubicBezTo>
                <a:cubicBezTo>
                  <a:pt x="11807562" y="754825"/>
                  <a:pt x="11811566" y="757389"/>
                  <a:pt x="11844184" y="763244"/>
                </a:cubicBezTo>
                <a:cubicBezTo>
                  <a:pt x="11829518" y="831722"/>
                  <a:pt x="11659251" y="870258"/>
                  <a:pt x="11605054" y="918895"/>
                </a:cubicBezTo>
                <a:cubicBezTo>
                  <a:pt x="11640065" y="930378"/>
                  <a:pt x="11621139" y="908699"/>
                  <a:pt x="11660346" y="946093"/>
                </a:cubicBezTo>
                <a:cubicBezTo>
                  <a:pt x="11589032" y="993334"/>
                  <a:pt x="11419674" y="999665"/>
                  <a:pt x="11418701" y="1052320"/>
                </a:cubicBezTo>
                <a:cubicBezTo>
                  <a:pt x="11364446" y="1036711"/>
                  <a:pt x="11319550" y="1104964"/>
                  <a:pt x="11267167" y="1089188"/>
                </a:cubicBezTo>
                <a:cubicBezTo>
                  <a:pt x="11285575" y="1105071"/>
                  <a:pt x="11302949" y="1109362"/>
                  <a:pt x="11320906" y="1099001"/>
                </a:cubicBezTo>
                <a:lnTo>
                  <a:pt x="11252441" y="1140256"/>
                </a:lnTo>
                <a:lnTo>
                  <a:pt x="11215628" y="1143634"/>
                </a:lnTo>
                <a:cubicBezTo>
                  <a:pt x="11060109" y="1158793"/>
                  <a:pt x="10888171" y="1178906"/>
                  <a:pt x="10772722" y="1204252"/>
                </a:cubicBezTo>
                <a:lnTo>
                  <a:pt x="10721781" y="1218953"/>
                </a:lnTo>
                <a:lnTo>
                  <a:pt x="10672222" y="1223846"/>
                </a:lnTo>
                <a:lnTo>
                  <a:pt x="10619469" y="1233863"/>
                </a:lnTo>
                <a:lnTo>
                  <a:pt x="10608262" y="1229814"/>
                </a:lnTo>
                <a:cubicBezTo>
                  <a:pt x="10606085" y="1229893"/>
                  <a:pt x="10605563" y="1231320"/>
                  <a:pt x="10606192" y="1233563"/>
                </a:cubicBezTo>
                <a:lnTo>
                  <a:pt x="10607615" y="1236114"/>
                </a:lnTo>
                <a:lnTo>
                  <a:pt x="10583970" y="1240602"/>
                </a:lnTo>
                <a:lnTo>
                  <a:pt x="10613708" y="1245044"/>
                </a:lnTo>
                <a:lnTo>
                  <a:pt x="10620520" y="1252229"/>
                </a:lnTo>
                <a:lnTo>
                  <a:pt x="10451161" y="1293279"/>
                </a:lnTo>
                <a:lnTo>
                  <a:pt x="10391870" y="1314628"/>
                </a:lnTo>
                <a:lnTo>
                  <a:pt x="10341028" y="1324312"/>
                </a:lnTo>
                <a:cubicBezTo>
                  <a:pt x="10299034" y="1332434"/>
                  <a:pt x="10264364" y="1340635"/>
                  <a:pt x="10237428" y="1356178"/>
                </a:cubicBezTo>
                <a:cubicBezTo>
                  <a:pt x="10189764" y="1287412"/>
                  <a:pt x="10107856" y="1385247"/>
                  <a:pt x="10104758" y="1350477"/>
                </a:cubicBezTo>
                <a:cubicBezTo>
                  <a:pt x="10084993" y="1340556"/>
                  <a:pt x="10071300" y="1356379"/>
                  <a:pt x="10055730" y="1372369"/>
                </a:cubicBezTo>
                <a:lnTo>
                  <a:pt x="10058910" y="1364539"/>
                </a:lnTo>
                <a:lnTo>
                  <a:pt x="10069683" y="1359444"/>
                </a:lnTo>
                <a:lnTo>
                  <a:pt x="10060674" y="1357808"/>
                </a:lnTo>
                <a:lnTo>
                  <a:pt x="10059692" y="1354583"/>
                </a:lnTo>
                <a:lnTo>
                  <a:pt x="10054606" y="1357235"/>
                </a:lnTo>
                <a:lnTo>
                  <a:pt x="10026402" y="1364031"/>
                </a:lnTo>
                <a:cubicBezTo>
                  <a:pt x="9955318" y="1385696"/>
                  <a:pt x="9821549" y="1445806"/>
                  <a:pt x="9811571" y="1429172"/>
                </a:cubicBezTo>
                <a:cubicBezTo>
                  <a:pt x="9774623" y="1438305"/>
                  <a:pt x="9693945" y="1486382"/>
                  <a:pt x="9667979" y="1491615"/>
                </a:cubicBezTo>
                <a:cubicBezTo>
                  <a:pt x="9679735" y="1496409"/>
                  <a:pt x="9680510" y="1505101"/>
                  <a:pt x="9668172" y="1514962"/>
                </a:cubicBezTo>
                <a:cubicBezTo>
                  <a:pt x="9686321" y="1527947"/>
                  <a:pt x="9702921" y="1523548"/>
                  <a:pt x="9718231" y="1504661"/>
                </a:cubicBezTo>
                <a:cubicBezTo>
                  <a:pt x="9690421" y="1542184"/>
                  <a:pt x="9958625" y="1433408"/>
                  <a:pt x="10096264" y="1378979"/>
                </a:cubicBezTo>
                <a:lnTo>
                  <a:pt x="10138340" y="1362621"/>
                </a:lnTo>
                <a:lnTo>
                  <a:pt x="10153352" y="1379156"/>
                </a:lnTo>
                <a:cubicBezTo>
                  <a:pt x="10161659" y="1382449"/>
                  <a:pt x="10172797" y="1383544"/>
                  <a:pt x="10185804" y="1383002"/>
                </a:cubicBezTo>
                <a:lnTo>
                  <a:pt x="10247902" y="1370653"/>
                </a:lnTo>
                <a:lnTo>
                  <a:pt x="10102039" y="1447096"/>
                </a:lnTo>
                <a:cubicBezTo>
                  <a:pt x="10120511" y="1442528"/>
                  <a:pt x="10274179" y="1408391"/>
                  <a:pt x="10301693" y="1420542"/>
                </a:cubicBezTo>
                <a:cubicBezTo>
                  <a:pt x="10278892" y="1440097"/>
                  <a:pt x="10255058" y="1448063"/>
                  <a:pt x="10230706" y="1450233"/>
                </a:cubicBezTo>
                <a:lnTo>
                  <a:pt x="10250223" y="1469327"/>
                </a:lnTo>
                <a:lnTo>
                  <a:pt x="10243686" y="1473433"/>
                </a:lnTo>
                <a:cubicBezTo>
                  <a:pt x="10221059" y="1489788"/>
                  <a:pt x="10230563" y="1491679"/>
                  <a:pt x="10244388" y="1489900"/>
                </a:cubicBezTo>
                <a:lnTo>
                  <a:pt x="10262950" y="1486025"/>
                </a:lnTo>
                <a:lnTo>
                  <a:pt x="10256798" y="1488793"/>
                </a:lnTo>
                <a:lnTo>
                  <a:pt x="10268072" y="1485264"/>
                </a:lnTo>
                <a:lnTo>
                  <a:pt x="10274684" y="1490069"/>
                </a:lnTo>
                <a:lnTo>
                  <a:pt x="10240237" y="1492642"/>
                </a:lnTo>
                <a:cubicBezTo>
                  <a:pt x="10229363" y="1493429"/>
                  <a:pt x="10221401" y="1494138"/>
                  <a:pt x="10219593" y="1495029"/>
                </a:cubicBezTo>
                <a:lnTo>
                  <a:pt x="10237189" y="1507549"/>
                </a:lnTo>
                <a:lnTo>
                  <a:pt x="10233227" y="1512296"/>
                </a:lnTo>
                <a:cubicBezTo>
                  <a:pt x="10220080" y="1525652"/>
                  <a:pt x="10191653" y="1552278"/>
                  <a:pt x="10199888" y="1549353"/>
                </a:cubicBezTo>
                <a:cubicBezTo>
                  <a:pt x="10345547" y="1510090"/>
                  <a:pt x="10733678" y="1522232"/>
                  <a:pt x="10848853" y="1395149"/>
                </a:cubicBezTo>
                <a:cubicBezTo>
                  <a:pt x="10851758" y="1406572"/>
                  <a:pt x="10837806" y="1419497"/>
                  <a:pt x="10839097" y="1433985"/>
                </a:cubicBezTo>
                <a:cubicBezTo>
                  <a:pt x="10940892" y="1474562"/>
                  <a:pt x="10891094" y="1403066"/>
                  <a:pt x="10967312" y="1410877"/>
                </a:cubicBezTo>
                <a:cubicBezTo>
                  <a:pt x="10921516" y="1426640"/>
                  <a:pt x="10942895" y="1433496"/>
                  <a:pt x="10928875" y="1466871"/>
                </a:cubicBezTo>
                <a:cubicBezTo>
                  <a:pt x="10953487" y="1467598"/>
                  <a:pt x="11236533" y="1381046"/>
                  <a:pt x="11244410" y="1427072"/>
                </a:cubicBezTo>
                <a:cubicBezTo>
                  <a:pt x="11203717" y="1436538"/>
                  <a:pt x="11197515" y="1451694"/>
                  <a:pt x="11223933" y="1472704"/>
                </a:cubicBezTo>
                <a:cubicBezTo>
                  <a:pt x="11234204" y="1439663"/>
                  <a:pt x="11268822" y="1489147"/>
                  <a:pt x="11296662" y="1483746"/>
                </a:cubicBezTo>
                <a:cubicBezTo>
                  <a:pt x="11286052" y="1497103"/>
                  <a:pt x="11274615" y="1502503"/>
                  <a:pt x="11264386" y="1503917"/>
                </a:cubicBezTo>
                <a:lnTo>
                  <a:pt x="11239698" y="1500219"/>
                </a:lnTo>
                <a:lnTo>
                  <a:pt x="11233796" y="1496330"/>
                </a:lnTo>
                <a:cubicBezTo>
                  <a:pt x="11231050" y="1494977"/>
                  <a:pt x="11233583" y="1497581"/>
                  <a:pt x="11239360" y="1500169"/>
                </a:cubicBezTo>
                <a:lnTo>
                  <a:pt x="11239698" y="1500219"/>
                </a:lnTo>
                <a:lnTo>
                  <a:pt x="11242128" y="1501822"/>
                </a:lnTo>
                <a:cubicBezTo>
                  <a:pt x="11246395" y="1504971"/>
                  <a:pt x="11252237" y="1509609"/>
                  <a:pt x="11259907" y="1516227"/>
                </a:cubicBezTo>
                <a:cubicBezTo>
                  <a:pt x="11257578" y="1574843"/>
                  <a:pt x="10769325" y="1667999"/>
                  <a:pt x="10769325" y="1667999"/>
                </a:cubicBezTo>
                <a:cubicBezTo>
                  <a:pt x="10795675" y="1709459"/>
                  <a:pt x="10953735" y="1639884"/>
                  <a:pt x="10990100" y="1645406"/>
                </a:cubicBezTo>
                <a:cubicBezTo>
                  <a:pt x="10986029" y="1663291"/>
                  <a:pt x="10897666" y="1688688"/>
                  <a:pt x="10890431" y="1692254"/>
                </a:cubicBezTo>
                <a:cubicBezTo>
                  <a:pt x="10897600" y="1709137"/>
                  <a:pt x="10993325" y="1723971"/>
                  <a:pt x="11001851" y="1734894"/>
                </a:cubicBezTo>
                <a:lnTo>
                  <a:pt x="10995811" y="1742812"/>
                </a:lnTo>
                <a:lnTo>
                  <a:pt x="10993681" y="1742878"/>
                </a:lnTo>
                <a:cubicBezTo>
                  <a:pt x="10988063" y="1743058"/>
                  <a:pt x="10983699" y="1743082"/>
                  <a:pt x="10981761" y="1742525"/>
                </a:cubicBezTo>
                <a:cubicBezTo>
                  <a:pt x="10985347" y="1750968"/>
                  <a:pt x="10989496" y="1749867"/>
                  <a:pt x="10993186" y="1746253"/>
                </a:cubicBezTo>
                <a:lnTo>
                  <a:pt x="10995811" y="1742812"/>
                </a:lnTo>
                <a:lnTo>
                  <a:pt x="11013127" y="1742285"/>
                </a:lnTo>
                <a:cubicBezTo>
                  <a:pt x="11027041" y="1742141"/>
                  <a:pt x="11041284" y="1743062"/>
                  <a:pt x="11046482" y="1748439"/>
                </a:cubicBezTo>
                <a:cubicBezTo>
                  <a:pt x="11046741" y="1751337"/>
                  <a:pt x="11014765" y="1795073"/>
                  <a:pt x="11020901" y="1800368"/>
                </a:cubicBezTo>
                <a:cubicBezTo>
                  <a:pt x="11041507" y="1798532"/>
                  <a:pt x="11061336" y="1788002"/>
                  <a:pt x="11080650" y="1771679"/>
                </a:cubicBezTo>
                <a:cubicBezTo>
                  <a:pt x="11060399" y="1788086"/>
                  <a:pt x="11088965" y="1785540"/>
                  <a:pt x="11123425" y="1780279"/>
                </a:cubicBezTo>
                <a:lnTo>
                  <a:pt x="11164268" y="1773923"/>
                </a:lnTo>
                <a:lnTo>
                  <a:pt x="11160290" y="1796708"/>
                </a:lnTo>
                <a:cubicBezTo>
                  <a:pt x="11367503" y="1749037"/>
                  <a:pt x="11244583" y="1789196"/>
                  <a:pt x="11223589" y="1829034"/>
                </a:cubicBezTo>
                <a:cubicBezTo>
                  <a:pt x="11286173" y="1916913"/>
                  <a:pt x="11417815" y="1826329"/>
                  <a:pt x="11493512" y="1913038"/>
                </a:cubicBezTo>
                <a:cubicBezTo>
                  <a:pt x="11478198" y="2016620"/>
                  <a:pt x="11049697" y="1996394"/>
                  <a:pt x="10961142" y="1998445"/>
                </a:cubicBezTo>
                <a:cubicBezTo>
                  <a:pt x="10959011" y="1995714"/>
                  <a:pt x="11037745" y="2052948"/>
                  <a:pt x="11032707" y="2038795"/>
                </a:cubicBezTo>
                <a:cubicBezTo>
                  <a:pt x="11076049" y="2037853"/>
                  <a:pt x="11163182" y="2062214"/>
                  <a:pt x="11210070" y="2122287"/>
                </a:cubicBezTo>
                <a:cubicBezTo>
                  <a:pt x="11138050" y="2140387"/>
                  <a:pt x="10938077" y="2099796"/>
                  <a:pt x="10994656" y="2141483"/>
                </a:cubicBezTo>
                <a:cubicBezTo>
                  <a:pt x="10883233" y="2183537"/>
                  <a:pt x="10934133" y="2161479"/>
                  <a:pt x="10930968" y="2147158"/>
                </a:cubicBezTo>
                <a:cubicBezTo>
                  <a:pt x="10930031" y="2147242"/>
                  <a:pt x="10909217" y="2152017"/>
                  <a:pt x="10888595" y="2158965"/>
                </a:cubicBezTo>
                <a:lnTo>
                  <a:pt x="10871360" y="2166119"/>
                </a:lnTo>
                <a:lnTo>
                  <a:pt x="10871293" y="2166074"/>
                </a:lnTo>
                <a:lnTo>
                  <a:pt x="10871160" y="2166203"/>
                </a:lnTo>
                <a:lnTo>
                  <a:pt x="10860318" y="2170703"/>
                </a:lnTo>
                <a:cubicBezTo>
                  <a:pt x="10852613" y="2174948"/>
                  <a:pt x="10847466" y="2179423"/>
                  <a:pt x="10847385" y="2183810"/>
                </a:cubicBezTo>
                <a:cubicBezTo>
                  <a:pt x="10853520" y="2189105"/>
                  <a:pt x="10858431" y="2180637"/>
                  <a:pt x="10863468" y="2173616"/>
                </a:cubicBezTo>
                <a:lnTo>
                  <a:pt x="10871160" y="2166203"/>
                </a:lnTo>
                <a:lnTo>
                  <a:pt x="10871360" y="2166119"/>
                </a:lnTo>
                <a:lnTo>
                  <a:pt x="10880327" y="2172113"/>
                </a:lnTo>
                <a:cubicBezTo>
                  <a:pt x="10878970" y="2178076"/>
                  <a:pt x="10855070" y="2206490"/>
                  <a:pt x="10865727" y="2220142"/>
                </a:cubicBezTo>
                <a:cubicBezTo>
                  <a:pt x="10877806" y="2207383"/>
                  <a:pt x="10892210" y="2199530"/>
                  <a:pt x="10904870" y="2193290"/>
                </a:cubicBezTo>
                <a:lnTo>
                  <a:pt x="10911262" y="2189466"/>
                </a:lnTo>
                <a:lnTo>
                  <a:pt x="10912880" y="2198418"/>
                </a:lnTo>
                <a:cubicBezTo>
                  <a:pt x="10970173" y="2184551"/>
                  <a:pt x="11056081" y="2173975"/>
                  <a:pt x="11130168" y="2179055"/>
                </a:cubicBezTo>
                <a:cubicBezTo>
                  <a:pt x="11063634" y="2237552"/>
                  <a:pt x="11160331" y="2199731"/>
                  <a:pt x="11202508" y="2228099"/>
                </a:cubicBezTo>
                <a:cubicBezTo>
                  <a:pt x="11181386" y="2224139"/>
                  <a:pt x="11178416" y="2233165"/>
                  <a:pt x="11196822" y="2249047"/>
                </a:cubicBezTo>
                <a:cubicBezTo>
                  <a:pt x="11020866" y="2393228"/>
                  <a:pt x="10691319" y="2381708"/>
                  <a:pt x="10543274" y="2415345"/>
                </a:cubicBezTo>
                <a:cubicBezTo>
                  <a:pt x="10369519" y="2457112"/>
                  <a:pt x="9971880" y="2656092"/>
                  <a:pt x="9816668" y="2588151"/>
                </a:cubicBezTo>
                <a:cubicBezTo>
                  <a:pt x="9847481" y="2573722"/>
                  <a:pt x="9855490" y="2578850"/>
                  <a:pt x="9889789" y="2561191"/>
                </a:cubicBezTo>
                <a:cubicBezTo>
                  <a:pt x="9870025" y="2551270"/>
                  <a:pt x="9875128" y="2544975"/>
                  <a:pt x="9902968" y="2539573"/>
                </a:cubicBezTo>
                <a:cubicBezTo>
                  <a:pt x="9723527" y="2602292"/>
                  <a:pt x="9613269" y="2615037"/>
                  <a:pt x="9490413" y="2634746"/>
                </a:cubicBezTo>
                <a:cubicBezTo>
                  <a:pt x="8958559" y="2725947"/>
                  <a:pt x="8419598" y="2864509"/>
                  <a:pt x="7884833" y="3028982"/>
                </a:cubicBezTo>
                <a:cubicBezTo>
                  <a:pt x="7365264" y="3189180"/>
                  <a:pt x="6786507" y="3364510"/>
                  <a:pt x="6245571" y="3535237"/>
                </a:cubicBezTo>
                <a:lnTo>
                  <a:pt x="5741751" y="3696984"/>
                </a:lnTo>
                <a:lnTo>
                  <a:pt x="5744417" y="3692835"/>
                </a:lnTo>
                <a:cubicBezTo>
                  <a:pt x="5740540" y="3691720"/>
                  <a:pt x="5736197" y="3690647"/>
                  <a:pt x="5732281" y="3691726"/>
                </a:cubicBezTo>
                <a:lnTo>
                  <a:pt x="5723190" y="3702943"/>
                </a:lnTo>
                <a:lnTo>
                  <a:pt x="5720838" y="3703697"/>
                </a:lnTo>
                <a:cubicBezTo>
                  <a:pt x="5710055" y="3646249"/>
                  <a:pt x="5241170" y="3872023"/>
                  <a:pt x="5155202" y="3818352"/>
                </a:cubicBezTo>
                <a:cubicBezTo>
                  <a:pt x="5186079" y="3783476"/>
                  <a:pt x="5326116" y="3744713"/>
                  <a:pt x="5322113" y="3742149"/>
                </a:cubicBezTo>
                <a:cubicBezTo>
                  <a:pt x="5347919" y="3703344"/>
                  <a:pt x="5502621" y="3638450"/>
                  <a:pt x="5657716" y="3585932"/>
                </a:cubicBezTo>
                <a:lnTo>
                  <a:pt x="5733092" y="3561903"/>
                </a:lnTo>
                <a:lnTo>
                  <a:pt x="5753090" y="3561735"/>
                </a:lnTo>
                <a:cubicBezTo>
                  <a:pt x="5785432" y="3557212"/>
                  <a:pt x="5822575" y="3544957"/>
                  <a:pt x="5860174" y="3529925"/>
                </a:cubicBezTo>
                <a:lnTo>
                  <a:pt x="5884517" y="3519180"/>
                </a:lnTo>
                <a:lnTo>
                  <a:pt x="5953138" y="3504882"/>
                </a:lnTo>
                <a:cubicBezTo>
                  <a:pt x="5973989" y="3501803"/>
                  <a:pt x="5988843" y="3501301"/>
                  <a:pt x="5995690" y="3503977"/>
                </a:cubicBezTo>
                <a:cubicBezTo>
                  <a:pt x="5989487" y="3519132"/>
                  <a:pt x="5980896" y="3528658"/>
                  <a:pt x="5969916" y="3532558"/>
                </a:cubicBezTo>
                <a:cubicBezTo>
                  <a:pt x="5975535" y="3532057"/>
                  <a:pt x="6081404" y="3470054"/>
                  <a:pt x="6081663" y="3472950"/>
                </a:cubicBezTo>
                <a:cubicBezTo>
                  <a:pt x="6189658" y="3498374"/>
                  <a:pt x="6567988" y="3231021"/>
                  <a:pt x="6630829" y="3321797"/>
                </a:cubicBezTo>
                <a:cubicBezTo>
                  <a:pt x="6840560" y="3323553"/>
                  <a:pt x="7180388" y="3132642"/>
                  <a:pt x="7395160" y="3063856"/>
                </a:cubicBezTo>
                <a:cubicBezTo>
                  <a:pt x="7433255" y="3051701"/>
                  <a:pt x="7491844" y="3024575"/>
                  <a:pt x="7560398" y="2992045"/>
                </a:cubicBezTo>
                <a:lnTo>
                  <a:pt x="7607812" y="2969572"/>
                </a:lnTo>
                <a:lnTo>
                  <a:pt x="7635377" y="2961134"/>
                </a:lnTo>
                <a:cubicBezTo>
                  <a:pt x="7810766" y="2908907"/>
                  <a:pt x="7986235" y="2858591"/>
                  <a:pt x="8161879" y="2811543"/>
                </a:cubicBezTo>
                <a:cubicBezTo>
                  <a:pt x="8078116" y="2758773"/>
                  <a:pt x="7859079" y="2851531"/>
                  <a:pt x="7669379" y="2940391"/>
                </a:cubicBezTo>
                <a:lnTo>
                  <a:pt x="7607812" y="2969572"/>
                </a:lnTo>
                <a:lnTo>
                  <a:pt x="7109363" y="3122180"/>
                </a:lnTo>
                <a:cubicBezTo>
                  <a:pt x="6758729" y="3231548"/>
                  <a:pt x="6408053" y="3343111"/>
                  <a:pt x="6056602" y="3445980"/>
                </a:cubicBezTo>
                <a:cubicBezTo>
                  <a:pt x="6034512" y="3452330"/>
                  <a:pt x="6004206" y="3465799"/>
                  <a:pt x="5970021" y="3481440"/>
                </a:cubicBezTo>
                <a:lnTo>
                  <a:pt x="5932753" y="3497889"/>
                </a:lnTo>
                <a:lnTo>
                  <a:pt x="5912180" y="3496450"/>
                </a:lnTo>
                <a:cubicBezTo>
                  <a:pt x="5905423" y="3497418"/>
                  <a:pt x="5900063" y="3500816"/>
                  <a:pt x="5899899" y="3509592"/>
                </a:cubicBezTo>
                <a:cubicBezTo>
                  <a:pt x="5905260" y="3506194"/>
                  <a:pt x="5910880" y="3505693"/>
                  <a:pt x="5916469" y="3504830"/>
                </a:cubicBezTo>
                <a:lnTo>
                  <a:pt x="5930300" y="3498973"/>
                </a:lnTo>
                <a:lnTo>
                  <a:pt x="5884517" y="3519180"/>
                </a:lnTo>
                <a:lnTo>
                  <a:pt x="5874595" y="3521247"/>
                </a:lnTo>
                <a:cubicBezTo>
                  <a:pt x="5843756" y="3528878"/>
                  <a:pt x="5808920" y="3538486"/>
                  <a:pt x="5772106" y="3549466"/>
                </a:cubicBezTo>
                <a:lnTo>
                  <a:pt x="5733092" y="3561903"/>
                </a:lnTo>
                <a:lnTo>
                  <a:pt x="5708716" y="3562109"/>
                </a:lnTo>
                <a:lnTo>
                  <a:pt x="5697646" y="3557235"/>
                </a:lnTo>
                <a:lnTo>
                  <a:pt x="5701536" y="3550632"/>
                </a:lnTo>
                <a:cubicBezTo>
                  <a:pt x="5697659" y="3549517"/>
                  <a:pt x="5693042" y="3550659"/>
                  <a:pt x="5689490" y="3553166"/>
                </a:cubicBezTo>
                <a:lnTo>
                  <a:pt x="5689286" y="3553553"/>
                </a:lnTo>
                <a:lnTo>
                  <a:pt x="5674796" y="3547174"/>
                </a:lnTo>
                <a:cubicBezTo>
                  <a:pt x="5646307" y="3587679"/>
                  <a:pt x="5377148" y="3681755"/>
                  <a:pt x="5349956" y="3652054"/>
                </a:cubicBezTo>
                <a:cubicBezTo>
                  <a:pt x="5371983" y="3623806"/>
                  <a:pt x="5432508" y="3603810"/>
                  <a:pt x="5381158" y="3599624"/>
                </a:cubicBezTo>
                <a:cubicBezTo>
                  <a:pt x="5387745" y="3631163"/>
                  <a:pt x="5282972" y="3684307"/>
                  <a:pt x="5262176" y="3662795"/>
                </a:cubicBezTo>
                <a:cubicBezTo>
                  <a:pt x="5320550" y="3666355"/>
                  <a:pt x="5223675" y="3655823"/>
                  <a:pt x="5188237" y="3667331"/>
                </a:cubicBezTo>
                <a:lnTo>
                  <a:pt x="5177337" y="3674625"/>
                </a:lnTo>
                <a:lnTo>
                  <a:pt x="5174637" y="3660376"/>
                </a:lnTo>
                <a:lnTo>
                  <a:pt x="5174520" y="3659056"/>
                </a:lnTo>
                <a:lnTo>
                  <a:pt x="5180395" y="3658767"/>
                </a:lnTo>
                <a:cubicBezTo>
                  <a:pt x="5182810" y="3656727"/>
                  <a:pt x="5184894" y="3653621"/>
                  <a:pt x="5187573" y="3651921"/>
                </a:cubicBezTo>
                <a:cubicBezTo>
                  <a:pt x="5186635" y="3652005"/>
                  <a:pt x="5184101" y="3650040"/>
                  <a:pt x="5181025" y="3649949"/>
                </a:cubicBezTo>
                <a:lnTo>
                  <a:pt x="5174278" y="3656334"/>
                </a:lnTo>
                <a:lnTo>
                  <a:pt x="5172733" y="3639005"/>
                </a:lnTo>
                <a:cubicBezTo>
                  <a:pt x="5172837" y="3633521"/>
                  <a:pt x="5173865" y="3630508"/>
                  <a:pt x="5176401" y="3632472"/>
                </a:cubicBezTo>
                <a:cubicBezTo>
                  <a:pt x="5165094" y="3653924"/>
                  <a:pt x="5159476" y="3654425"/>
                  <a:pt x="5153663" y="3631580"/>
                </a:cubicBezTo>
                <a:cubicBezTo>
                  <a:pt x="5108709" y="3635586"/>
                  <a:pt x="5170972" y="3656321"/>
                  <a:pt x="5161091" y="3651359"/>
                </a:cubicBezTo>
                <a:cubicBezTo>
                  <a:pt x="5151143" y="3666850"/>
                  <a:pt x="5141326" y="3641440"/>
                  <a:pt x="5133767" y="3662556"/>
                </a:cubicBezTo>
                <a:cubicBezTo>
                  <a:pt x="5157535" y="3675041"/>
                  <a:pt x="5146556" y="3678939"/>
                  <a:pt x="5099210" y="3677317"/>
                </a:cubicBezTo>
                <a:cubicBezTo>
                  <a:pt x="5219613" y="3587736"/>
                  <a:pt x="5012464" y="3699650"/>
                  <a:pt x="5012464" y="3699650"/>
                </a:cubicBezTo>
                <a:cubicBezTo>
                  <a:pt x="5064462" y="3668732"/>
                  <a:pt x="4958463" y="3686940"/>
                  <a:pt x="4915831" y="3717023"/>
                </a:cubicBezTo>
                <a:cubicBezTo>
                  <a:pt x="4912637" y="3670580"/>
                  <a:pt x="4902463" y="3672947"/>
                  <a:pt x="4888537" y="3688790"/>
                </a:cubicBezTo>
                <a:lnTo>
                  <a:pt x="4878961" y="3700890"/>
                </a:lnTo>
                <a:lnTo>
                  <a:pt x="4877405" y="3698954"/>
                </a:lnTo>
                <a:cubicBezTo>
                  <a:pt x="4876141" y="3698017"/>
                  <a:pt x="4876512" y="3699536"/>
                  <a:pt x="4877659" y="3701806"/>
                </a:cubicBezTo>
                <a:lnTo>
                  <a:pt x="4877923" y="3702203"/>
                </a:lnTo>
                <a:lnTo>
                  <a:pt x="4865230" y="3718247"/>
                </a:lnTo>
                <a:lnTo>
                  <a:pt x="4849395" y="3732081"/>
                </a:lnTo>
                <a:lnTo>
                  <a:pt x="4842771" y="3715501"/>
                </a:lnTo>
                <a:lnTo>
                  <a:pt x="4835147" y="3704416"/>
                </a:lnTo>
                <a:lnTo>
                  <a:pt x="4850793" y="3690647"/>
                </a:lnTo>
                <a:cubicBezTo>
                  <a:pt x="4860502" y="3681431"/>
                  <a:pt x="4829328" y="3705017"/>
                  <a:pt x="4826567" y="3689931"/>
                </a:cubicBezTo>
                <a:cubicBezTo>
                  <a:pt x="4891744" y="3637395"/>
                  <a:pt x="4891288" y="3695845"/>
                  <a:pt x="4930691" y="3671892"/>
                </a:cubicBezTo>
                <a:cubicBezTo>
                  <a:pt x="4915901" y="3611879"/>
                  <a:pt x="5176080" y="3565331"/>
                  <a:pt x="5166007" y="3537024"/>
                </a:cubicBezTo>
                <a:cubicBezTo>
                  <a:pt x="5155541" y="3546717"/>
                  <a:pt x="5151536" y="3544153"/>
                  <a:pt x="5153992" y="3529332"/>
                </a:cubicBezTo>
                <a:cubicBezTo>
                  <a:pt x="5182090" y="3526828"/>
                  <a:pt x="5184996" y="3538252"/>
                  <a:pt x="5162195" y="3557806"/>
                </a:cubicBezTo>
                <a:cubicBezTo>
                  <a:pt x="5280398" y="3570636"/>
                  <a:pt x="5436457" y="3457434"/>
                  <a:pt x="5465460" y="3422724"/>
                </a:cubicBezTo>
                <a:cubicBezTo>
                  <a:pt x="5265618" y="3341236"/>
                  <a:pt x="5078940" y="3492213"/>
                  <a:pt x="4878377" y="3550973"/>
                </a:cubicBezTo>
                <a:cubicBezTo>
                  <a:pt x="4671261" y="3610315"/>
                  <a:pt x="4462869" y="3671232"/>
                  <a:pt x="4258318" y="3732902"/>
                </a:cubicBezTo>
                <a:lnTo>
                  <a:pt x="3890607" y="3847740"/>
                </a:lnTo>
                <a:lnTo>
                  <a:pt x="3888819" y="3846734"/>
                </a:lnTo>
                <a:lnTo>
                  <a:pt x="3886773" y="3848938"/>
                </a:lnTo>
                <a:lnTo>
                  <a:pt x="3681645" y="3913001"/>
                </a:lnTo>
                <a:lnTo>
                  <a:pt x="3686509" y="3905422"/>
                </a:lnTo>
                <a:cubicBezTo>
                  <a:pt x="3678758" y="3903192"/>
                  <a:pt x="3669136" y="3901129"/>
                  <a:pt x="3664805" y="3916117"/>
                </a:cubicBezTo>
                <a:lnTo>
                  <a:pt x="3670491" y="3916485"/>
                </a:lnTo>
                <a:lnTo>
                  <a:pt x="3661318" y="3919348"/>
                </a:lnTo>
                <a:cubicBezTo>
                  <a:pt x="3650536" y="3861899"/>
                  <a:pt x="3181651" y="4087673"/>
                  <a:pt x="3095683" y="4034003"/>
                </a:cubicBezTo>
                <a:cubicBezTo>
                  <a:pt x="3126561" y="3999126"/>
                  <a:pt x="3266596" y="3960363"/>
                  <a:pt x="3262591" y="3957800"/>
                </a:cubicBezTo>
                <a:cubicBezTo>
                  <a:pt x="3288398" y="3918995"/>
                  <a:pt x="3443102" y="3854101"/>
                  <a:pt x="3598196" y="3801582"/>
                </a:cubicBezTo>
                <a:lnTo>
                  <a:pt x="3673571" y="3777554"/>
                </a:lnTo>
                <a:lnTo>
                  <a:pt x="3693569" y="3777387"/>
                </a:lnTo>
                <a:cubicBezTo>
                  <a:pt x="3725913" y="3772861"/>
                  <a:pt x="3763053" y="3760609"/>
                  <a:pt x="3800655" y="3745576"/>
                </a:cubicBezTo>
                <a:lnTo>
                  <a:pt x="3825001" y="3734830"/>
                </a:lnTo>
                <a:lnTo>
                  <a:pt x="3893618" y="3720532"/>
                </a:lnTo>
                <a:cubicBezTo>
                  <a:pt x="3914470" y="3717453"/>
                  <a:pt x="3929321" y="3716951"/>
                  <a:pt x="3936169" y="3719627"/>
                </a:cubicBezTo>
                <a:cubicBezTo>
                  <a:pt x="3929968" y="3734782"/>
                  <a:pt x="3921376" y="3744309"/>
                  <a:pt x="3910396" y="3748208"/>
                </a:cubicBezTo>
                <a:cubicBezTo>
                  <a:pt x="3916017" y="3747707"/>
                  <a:pt x="4021883" y="3685704"/>
                  <a:pt x="4022143" y="3688602"/>
                </a:cubicBezTo>
                <a:cubicBezTo>
                  <a:pt x="4130139" y="3714024"/>
                  <a:pt x="4508465" y="3446672"/>
                  <a:pt x="4571309" y="3537448"/>
                </a:cubicBezTo>
                <a:cubicBezTo>
                  <a:pt x="5011634" y="3542018"/>
                  <a:pt x="5650787" y="3193014"/>
                  <a:pt x="6035116" y="3056548"/>
                </a:cubicBezTo>
                <a:cubicBezTo>
                  <a:pt x="6028980" y="3051255"/>
                  <a:pt x="5998169" y="3065683"/>
                  <a:pt x="6015868" y="3052423"/>
                </a:cubicBezTo>
                <a:cubicBezTo>
                  <a:pt x="5345137" y="3237773"/>
                  <a:pt x="4670526" y="3464356"/>
                  <a:pt x="3997084" y="3661630"/>
                </a:cubicBezTo>
                <a:cubicBezTo>
                  <a:pt x="3974992" y="3667980"/>
                  <a:pt x="3944685" y="3681450"/>
                  <a:pt x="3910502" y="3697090"/>
                </a:cubicBezTo>
                <a:lnTo>
                  <a:pt x="3825001" y="3734830"/>
                </a:lnTo>
                <a:lnTo>
                  <a:pt x="3815074" y="3736897"/>
                </a:lnTo>
                <a:cubicBezTo>
                  <a:pt x="3784232" y="3744529"/>
                  <a:pt x="3749402" y="3754136"/>
                  <a:pt x="3712586" y="3765116"/>
                </a:cubicBezTo>
                <a:lnTo>
                  <a:pt x="3673571" y="3777554"/>
                </a:lnTo>
                <a:lnTo>
                  <a:pt x="3649196" y="3777759"/>
                </a:lnTo>
                <a:lnTo>
                  <a:pt x="3637977" y="3772819"/>
                </a:lnTo>
                <a:lnTo>
                  <a:pt x="3643629" y="3763218"/>
                </a:lnTo>
                <a:cubicBezTo>
                  <a:pt x="3639755" y="3762104"/>
                  <a:pt x="3635137" y="3763245"/>
                  <a:pt x="3631584" y="3765752"/>
                </a:cubicBezTo>
                <a:lnTo>
                  <a:pt x="3629765" y="3769203"/>
                </a:lnTo>
                <a:lnTo>
                  <a:pt x="3615275" y="3762824"/>
                </a:lnTo>
                <a:cubicBezTo>
                  <a:pt x="3586788" y="3803329"/>
                  <a:pt x="3317627" y="3897407"/>
                  <a:pt x="3290436" y="3867704"/>
                </a:cubicBezTo>
                <a:cubicBezTo>
                  <a:pt x="3312462" y="3839456"/>
                  <a:pt x="3372986" y="3819460"/>
                  <a:pt x="3321639" y="3815275"/>
                </a:cubicBezTo>
                <a:cubicBezTo>
                  <a:pt x="3328223" y="3846814"/>
                  <a:pt x="3223453" y="3899956"/>
                  <a:pt x="3202657" y="3878446"/>
                </a:cubicBezTo>
                <a:cubicBezTo>
                  <a:pt x="3261031" y="3882007"/>
                  <a:pt x="3164157" y="3871473"/>
                  <a:pt x="3128718" y="3882982"/>
                </a:cubicBezTo>
                <a:lnTo>
                  <a:pt x="3117819" y="3890275"/>
                </a:lnTo>
                <a:lnTo>
                  <a:pt x="3115118" y="3876026"/>
                </a:lnTo>
                <a:lnTo>
                  <a:pt x="3114736" y="3871735"/>
                </a:lnTo>
                <a:lnTo>
                  <a:pt x="3122490" y="3871353"/>
                </a:lnTo>
                <a:cubicBezTo>
                  <a:pt x="3124905" y="3869311"/>
                  <a:pt x="3126986" y="3866206"/>
                  <a:pt x="3129667" y="3864508"/>
                </a:cubicBezTo>
                <a:cubicBezTo>
                  <a:pt x="3128730" y="3864591"/>
                  <a:pt x="3126198" y="3862626"/>
                  <a:pt x="3123119" y="3862535"/>
                </a:cubicBezTo>
                <a:lnTo>
                  <a:pt x="3114632" y="3870569"/>
                </a:lnTo>
                <a:lnTo>
                  <a:pt x="3113214" y="3854657"/>
                </a:lnTo>
                <a:cubicBezTo>
                  <a:pt x="3113313" y="3849172"/>
                  <a:pt x="3114345" y="3846160"/>
                  <a:pt x="3116880" y="3848124"/>
                </a:cubicBezTo>
                <a:cubicBezTo>
                  <a:pt x="3105575" y="3869574"/>
                  <a:pt x="3099955" y="3870075"/>
                  <a:pt x="3094144" y="3847229"/>
                </a:cubicBezTo>
                <a:cubicBezTo>
                  <a:pt x="3049188" y="3851235"/>
                  <a:pt x="3111453" y="3871971"/>
                  <a:pt x="3101571" y="3867012"/>
                </a:cubicBezTo>
                <a:cubicBezTo>
                  <a:pt x="3091622" y="3882501"/>
                  <a:pt x="3081805" y="3857090"/>
                  <a:pt x="3074244" y="3878207"/>
                </a:cubicBezTo>
                <a:cubicBezTo>
                  <a:pt x="3098016" y="3890691"/>
                  <a:pt x="3087036" y="3894590"/>
                  <a:pt x="3039689" y="3892968"/>
                </a:cubicBezTo>
                <a:cubicBezTo>
                  <a:pt x="3160093" y="3803386"/>
                  <a:pt x="2952942" y="3915301"/>
                  <a:pt x="2952942" y="3915301"/>
                </a:cubicBezTo>
                <a:cubicBezTo>
                  <a:pt x="3004941" y="3884383"/>
                  <a:pt x="2898943" y="3902590"/>
                  <a:pt x="2856312" y="3932673"/>
                </a:cubicBezTo>
                <a:cubicBezTo>
                  <a:pt x="2853119" y="3886231"/>
                  <a:pt x="2842942" y="3888597"/>
                  <a:pt x="2829017" y="3904441"/>
                </a:cubicBezTo>
                <a:lnTo>
                  <a:pt x="2821465" y="3913984"/>
                </a:lnTo>
                <a:lnTo>
                  <a:pt x="2819500" y="3911541"/>
                </a:lnTo>
                <a:cubicBezTo>
                  <a:pt x="2818238" y="3910604"/>
                  <a:pt x="2818607" y="3912122"/>
                  <a:pt x="2819755" y="3914392"/>
                </a:cubicBezTo>
                <a:lnTo>
                  <a:pt x="2820389" y="3915345"/>
                </a:lnTo>
                <a:lnTo>
                  <a:pt x="2805708" y="3933898"/>
                </a:lnTo>
                <a:lnTo>
                  <a:pt x="2789873" y="3947733"/>
                </a:lnTo>
                <a:lnTo>
                  <a:pt x="2783251" y="3931152"/>
                </a:lnTo>
                <a:lnTo>
                  <a:pt x="2775626" y="3920066"/>
                </a:lnTo>
                <a:lnTo>
                  <a:pt x="2791273" y="3906297"/>
                </a:lnTo>
                <a:cubicBezTo>
                  <a:pt x="2800981" y="3897082"/>
                  <a:pt x="2769807" y="3920669"/>
                  <a:pt x="2767047" y="3905582"/>
                </a:cubicBezTo>
                <a:cubicBezTo>
                  <a:pt x="2832222" y="3853046"/>
                  <a:pt x="2831766" y="3911497"/>
                  <a:pt x="2871171" y="3887543"/>
                </a:cubicBezTo>
                <a:cubicBezTo>
                  <a:pt x="2856381" y="3827529"/>
                  <a:pt x="3116559" y="3780981"/>
                  <a:pt x="3106486" y="3752674"/>
                </a:cubicBezTo>
                <a:cubicBezTo>
                  <a:pt x="3096021" y="3762368"/>
                  <a:pt x="3092017" y="3759804"/>
                  <a:pt x="3094471" y="3744983"/>
                </a:cubicBezTo>
                <a:cubicBezTo>
                  <a:pt x="3122571" y="3742479"/>
                  <a:pt x="3125474" y="3753902"/>
                  <a:pt x="3102673" y="3773457"/>
                </a:cubicBezTo>
                <a:cubicBezTo>
                  <a:pt x="3220875" y="3786288"/>
                  <a:pt x="3376938" y="3673084"/>
                  <a:pt x="3405941" y="3638374"/>
                </a:cubicBezTo>
                <a:cubicBezTo>
                  <a:pt x="3304146" y="3597798"/>
                  <a:pt x="3105390" y="3676839"/>
                  <a:pt x="3060370" y="3701293"/>
                </a:cubicBezTo>
                <a:cubicBezTo>
                  <a:pt x="3061984" y="3698230"/>
                  <a:pt x="3120153" y="3662381"/>
                  <a:pt x="3181654" y="3629521"/>
                </a:cubicBezTo>
                <a:lnTo>
                  <a:pt x="3248152" y="3597384"/>
                </a:lnTo>
                <a:lnTo>
                  <a:pt x="3259641" y="3596287"/>
                </a:lnTo>
                <a:cubicBezTo>
                  <a:pt x="3287173" y="3592738"/>
                  <a:pt x="3317290" y="3586405"/>
                  <a:pt x="3322941" y="3575679"/>
                </a:cubicBezTo>
                <a:cubicBezTo>
                  <a:pt x="3315466" y="3571235"/>
                  <a:pt x="3295522" y="3576480"/>
                  <a:pt x="3269755" y="3586944"/>
                </a:cubicBezTo>
                <a:lnTo>
                  <a:pt x="3248152" y="3597384"/>
                </a:lnTo>
                <a:lnTo>
                  <a:pt x="3223663" y="3599721"/>
                </a:lnTo>
                <a:cubicBezTo>
                  <a:pt x="3214570" y="3600303"/>
                  <a:pt x="3209505" y="3600390"/>
                  <a:pt x="3211842" y="3600181"/>
                </a:cubicBezTo>
                <a:cubicBezTo>
                  <a:pt x="3230576" y="3598512"/>
                  <a:pt x="3233548" y="3589486"/>
                  <a:pt x="3224507" y="3572768"/>
                </a:cubicBezTo>
                <a:cubicBezTo>
                  <a:pt x="3229027" y="3581128"/>
                  <a:pt x="3233565" y="3584373"/>
                  <a:pt x="3238088" y="3582146"/>
                </a:cubicBezTo>
                <a:lnTo>
                  <a:pt x="3240514" y="3577921"/>
                </a:lnTo>
                <a:lnTo>
                  <a:pt x="3237810" y="3594946"/>
                </a:lnTo>
                <a:cubicBezTo>
                  <a:pt x="3229673" y="3546023"/>
                  <a:pt x="3362155" y="3528378"/>
                  <a:pt x="3373393" y="3527376"/>
                </a:cubicBezTo>
                <a:cubicBezTo>
                  <a:pt x="3367774" y="3527877"/>
                  <a:pt x="3344455" y="3541637"/>
                  <a:pt x="3345486" y="3553227"/>
                </a:cubicBezTo>
                <a:cubicBezTo>
                  <a:pt x="3429012" y="3452328"/>
                  <a:pt x="3779816" y="3342215"/>
                  <a:pt x="3886584" y="3332700"/>
                </a:cubicBezTo>
                <a:cubicBezTo>
                  <a:pt x="3872440" y="3322279"/>
                  <a:pt x="3870051" y="3316651"/>
                  <a:pt x="3853969" y="3326845"/>
                </a:cubicBezTo>
                <a:cubicBezTo>
                  <a:pt x="3853709" y="3323948"/>
                  <a:pt x="3851836" y="3324115"/>
                  <a:pt x="3848089" y="3324449"/>
                </a:cubicBezTo>
                <a:cubicBezTo>
                  <a:pt x="3876833" y="3286842"/>
                  <a:pt x="3902995" y="3304954"/>
                  <a:pt x="3908224" y="3342453"/>
                </a:cubicBezTo>
                <a:cubicBezTo>
                  <a:pt x="3929087" y="3343516"/>
                  <a:pt x="4000108" y="3303602"/>
                  <a:pt x="4067907" y="3267259"/>
                </a:cubicBezTo>
                <a:lnTo>
                  <a:pt x="4133394" y="3234545"/>
                </a:lnTo>
                <a:lnTo>
                  <a:pt x="4175380" y="3219306"/>
                </a:lnTo>
                <a:lnTo>
                  <a:pt x="4204588" y="3214149"/>
                </a:lnTo>
                <a:lnTo>
                  <a:pt x="4210582" y="3239577"/>
                </a:lnTo>
                <a:cubicBezTo>
                  <a:pt x="4250568" y="3200969"/>
                  <a:pt x="4364764" y="3211237"/>
                  <a:pt x="4373355" y="3201709"/>
                </a:cubicBezTo>
                <a:cubicBezTo>
                  <a:pt x="4366412" y="3197947"/>
                  <a:pt x="4396513" y="3175553"/>
                  <a:pt x="4428680" y="3155162"/>
                </a:cubicBezTo>
                <a:lnTo>
                  <a:pt x="4465558" y="3133652"/>
                </a:lnTo>
                <a:lnTo>
                  <a:pt x="4474689" y="3133750"/>
                </a:lnTo>
                <a:lnTo>
                  <a:pt x="4474757" y="3137231"/>
                </a:lnTo>
                <a:cubicBezTo>
                  <a:pt x="4476507" y="3137690"/>
                  <a:pt x="4479151" y="3136895"/>
                  <a:pt x="4482741" y="3134310"/>
                </a:cubicBezTo>
                <a:lnTo>
                  <a:pt x="4483211" y="3133841"/>
                </a:lnTo>
                <a:lnTo>
                  <a:pt x="4496828" y="3133987"/>
                </a:lnTo>
                <a:lnTo>
                  <a:pt x="4502378" y="3133603"/>
                </a:lnTo>
                <a:lnTo>
                  <a:pt x="4500088" y="3140768"/>
                </a:lnTo>
                <a:cubicBezTo>
                  <a:pt x="4504092" y="3143332"/>
                  <a:pt x="4508048" y="3140059"/>
                  <a:pt x="4509804" y="3135887"/>
                </a:cubicBezTo>
                <a:lnTo>
                  <a:pt x="4508866" y="3133155"/>
                </a:lnTo>
                <a:lnTo>
                  <a:pt x="4517657" y="3132547"/>
                </a:lnTo>
                <a:lnTo>
                  <a:pt x="4513259" y="3143246"/>
                </a:lnTo>
                <a:cubicBezTo>
                  <a:pt x="4510147" y="3147721"/>
                  <a:pt x="4505741" y="3151216"/>
                  <a:pt x="4499248" y="3152525"/>
                </a:cubicBezTo>
                <a:cubicBezTo>
                  <a:pt x="4533415" y="3175764"/>
                  <a:pt x="4540265" y="3125505"/>
                  <a:pt x="4551246" y="3121607"/>
                </a:cubicBezTo>
                <a:cubicBezTo>
                  <a:pt x="4549091" y="3126546"/>
                  <a:pt x="4542872" y="3129609"/>
                  <a:pt x="4533500" y="3131454"/>
                </a:cubicBezTo>
                <a:lnTo>
                  <a:pt x="4517657" y="3132547"/>
                </a:lnTo>
                <a:lnTo>
                  <a:pt x="4519494" y="3128088"/>
                </a:lnTo>
                <a:cubicBezTo>
                  <a:pt x="4522100" y="3117633"/>
                  <a:pt x="4522665" y="3108091"/>
                  <a:pt x="4527476" y="3109122"/>
                </a:cubicBezTo>
                <a:cubicBezTo>
                  <a:pt x="4499705" y="3094074"/>
                  <a:pt x="4480857" y="3110356"/>
                  <a:pt x="4474494" y="3123700"/>
                </a:cubicBezTo>
                <a:lnTo>
                  <a:pt x="4474587" y="3128491"/>
                </a:lnTo>
                <a:lnTo>
                  <a:pt x="4474112" y="3128663"/>
                </a:lnTo>
                <a:lnTo>
                  <a:pt x="4465558" y="3133652"/>
                </a:lnTo>
                <a:lnTo>
                  <a:pt x="4388459" y="3132827"/>
                </a:lnTo>
                <a:cubicBezTo>
                  <a:pt x="4328037" y="3134104"/>
                  <a:pt x="4263700" y="3142097"/>
                  <a:pt x="4219922" y="3174489"/>
                </a:cubicBezTo>
                <a:lnTo>
                  <a:pt x="4186981" y="3212157"/>
                </a:lnTo>
                <a:lnTo>
                  <a:pt x="4160515" y="3220996"/>
                </a:lnTo>
                <a:lnTo>
                  <a:pt x="4133394" y="3234545"/>
                </a:lnTo>
                <a:lnTo>
                  <a:pt x="4125885" y="3237269"/>
                </a:lnTo>
                <a:cubicBezTo>
                  <a:pt x="4091166" y="3250220"/>
                  <a:pt x="4056819" y="3262042"/>
                  <a:pt x="4045745" y="3254267"/>
                </a:cubicBezTo>
                <a:cubicBezTo>
                  <a:pt x="4045745" y="3254267"/>
                  <a:pt x="4064800" y="3235046"/>
                  <a:pt x="4064800" y="3235046"/>
                </a:cubicBezTo>
                <a:cubicBezTo>
                  <a:pt x="4063733" y="3233680"/>
                  <a:pt x="4050022" y="3233442"/>
                  <a:pt x="4039820" y="3235446"/>
                </a:cubicBezTo>
                <a:lnTo>
                  <a:pt x="4036801" y="3236814"/>
                </a:lnTo>
                <a:lnTo>
                  <a:pt x="4037157" y="3232085"/>
                </a:lnTo>
                <a:cubicBezTo>
                  <a:pt x="4046179" y="3203850"/>
                  <a:pt x="4096384" y="3250485"/>
                  <a:pt x="4170085" y="3187697"/>
                </a:cubicBezTo>
                <a:cubicBezTo>
                  <a:pt x="4176448" y="3184939"/>
                  <a:pt x="4169174" y="3185406"/>
                  <a:pt x="4154728" y="3187835"/>
                </a:cubicBezTo>
                <a:lnTo>
                  <a:pt x="4105838" y="3197809"/>
                </a:lnTo>
                <a:lnTo>
                  <a:pt x="4110152" y="3190484"/>
                </a:lnTo>
                <a:cubicBezTo>
                  <a:pt x="4111299" y="3187461"/>
                  <a:pt x="4108821" y="3188777"/>
                  <a:pt x="4105334" y="3192008"/>
                </a:cubicBezTo>
                <a:lnTo>
                  <a:pt x="4099385" y="3199124"/>
                </a:lnTo>
                <a:lnTo>
                  <a:pt x="4096345" y="3199745"/>
                </a:lnTo>
                <a:cubicBezTo>
                  <a:pt x="4051703" y="3209928"/>
                  <a:pt x="4004246" y="3222920"/>
                  <a:pt x="4005698" y="3228630"/>
                </a:cubicBezTo>
                <a:cubicBezTo>
                  <a:pt x="4051817" y="3195317"/>
                  <a:pt x="3881935" y="3280545"/>
                  <a:pt x="3888074" y="3285840"/>
                </a:cubicBezTo>
                <a:cubicBezTo>
                  <a:pt x="3897055" y="3238312"/>
                  <a:pt x="3654119" y="3330052"/>
                  <a:pt x="3609098" y="3354507"/>
                </a:cubicBezTo>
                <a:cubicBezTo>
                  <a:pt x="3600184" y="3381585"/>
                  <a:pt x="3134149" y="3469842"/>
                  <a:pt x="3041522" y="3489778"/>
                </a:cubicBezTo>
                <a:cubicBezTo>
                  <a:pt x="3054892" y="3491508"/>
                  <a:pt x="3061611" y="3482146"/>
                  <a:pt x="3060062" y="3464762"/>
                </a:cubicBezTo>
                <a:cubicBezTo>
                  <a:pt x="3045528" y="3492342"/>
                  <a:pt x="3046691" y="3463033"/>
                  <a:pt x="3026862" y="3473562"/>
                </a:cubicBezTo>
                <a:cubicBezTo>
                  <a:pt x="3024406" y="3488383"/>
                  <a:pt x="3029185" y="3499638"/>
                  <a:pt x="3044687" y="3504099"/>
                </a:cubicBezTo>
                <a:cubicBezTo>
                  <a:pt x="3017171" y="3491948"/>
                  <a:pt x="2945599" y="3536292"/>
                  <a:pt x="2978933" y="3486593"/>
                </a:cubicBezTo>
                <a:cubicBezTo>
                  <a:pt x="2835352" y="3379649"/>
                  <a:pt x="2215508" y="3712329"/>
                  <a:pt x="2086710" y="3750092"/>
                </a:cubicBezTo>
                <a:cubicBezTo>
                  <a:pt x="1979195" y="3783036"/>
                  <a:pt x="1865593" y="3816523"/>
                  <a:pt x="1753628" y="3849864"/>
                </a:cubicBezTo>
                <a:lnTo>
                  <a:pt x="1666423" y="3876074"/>
                </a:lnTo>
                <a:lnTo>
                  <a:pt x="1667115" y="3872176"/>
                </a:lnTo>
                <a:cubicBezTo>
                  <a:pt x="1663918" y="3868080"/>
                  <a:pt x="1661705" y="3869738"/>
                  <a:pt x="1659889" y="3873185"/>
                </a:cubicBezTo>
                <a:lnTo>
                  <a:pt x="1657601" y="3878726"/>
                </a:lnTo>
                <a:lnTo>
                  <a:pt x="1587879" y="3899680"/>
                </a:lnTo>
                <a:cubicBezTo>
                  <a:pt x="1533681" y="3916192"/>
                  <a:pt x="1480862" y="3932581"/>
                  <a:pt x="1430380" y="3948761"/>
                </a:cubicBezTo>
                <a:cubicBezTo>
                  <a:pt x="1419598" y="3891312"/>
                  <a:pt x="950712" y="4117085"/>
                  <a:pt x="864745" y="4063416"/>
                </a:cubicBezTo>
                <a:cubicBezTo>
                  <a:pt x="895621" y="4028539"/>
                  <a:pt x="1035659" y="3989775"/>
                  <a:pt x="1031654" y="3987211"/>
                </a:cubicBezTo>
                <a:cubicBezTo>
                  <a:pt x="1057461" y="3948406"/>
                  <a:pt x="1212163" y="3883512"/>
                  <a:pt x="1367259" y="3830995"/>
                </a:cubicBezTo>
                <a:lnTo>
                  <a:pt x="1436366" y="3808964"/>
                </a:lnTo>
                <a:lnTo>
                  <a:pt x="1454907" y="3811361"/>
                </a:lnTo>
                <a:cubicBezTo>
                  <a:pt x="1485370" y="3812108"/>
                  <a:pt x="1522636" y="3807635"/>
                  <a:pt x="1564421" y="3799325"/>
                </a:cubicBezTo>
                <a:lnTo>
                  <a:pt x="1688621" y="3767460"/>
                </a:lnTo>
                <a:lnTo>
                  <a:pt x="1679456" y="3777620"/>
                </a:lnTo>
                <a:cubicBezTo>
                  <a:pt x="1680863" y="3777495"/>
                  <a:pt x="1688532" y="3773525"/>
                  <a:pt x="1699252" y="3767689"/>
                </a:cubicBezTo>
                <a:lnTo>
                  <a:pt x="1711881" y="3760678"/>
                </a:lnTo>
                <a:lnTo>
                  <a:pt x="1851072" y="3714505"/>
                </a:lnTo>
                <a:lnTo>
                  <a:pt x="1887885" y="3700694"/>
                </a:lnTo>
                <a:lnTo>
                  <a:pt x="1913737" y="3692356"/>
                </a:lnTo>
                <a:lnTo>
                  <a:pt x="1940866" y="3680816"/>
                </a:lnTo>
                <a:lnTo>
                  <a:pt x="2000796" y="3658332"/>
                </a:lnTo>
                <a:cubicBezTo>
                  <a:pt x="2097462" y="3620591"/>
                  <a:pt x="2184787" y="3584119"/>
                  <a:pt x="2244492" y="3559985"/>
                </a:cubicBezTo>
                <a:lnTo>
                  <a:pt x="2260535" y="3553615"/>
                </a:lnTo>
                <a:lnTo>
                  <a:pt x="2303165" y="3548335"/>
                </a:lnTo>
                <a:cubicBezTo>
                  <a:pt x="2319735" y="3549762"/>
                  <a:pt x="2332518" y="3555513"/>
                  <a:pt x="2340372" y="3566861"/>
                </a:cubicBezTo>
                <a:cubicBezTo>
                  <a:pt x="2362342" y="3567093"/>
                  <a:pt x="2436007" y="3530685"/>
                  <a:pt x="2521965" y="3488099"/>
                </a:cubicBezTo>
                <a:lnTo>
                  <a:pt x="2587995" y="3455665"/>
                </a:lnTo>
                <a:lnTo>
                  <a:pt x="2612587" y="3448783"/>
                </a:lnTo>
                <a:cubicBezTo>
                  <a:pt x="2719390" y="3418457"/>
                  <a:pt x="2819137" y="3388396"/>
                  <a:pt x="2871782" y="3364721"/>
                </a:cubicBezTo>
                <a:cubicBezTo>
                  <a:pt x="2848466" y="3336133"/>
                  <a:pt x="2730262" y="3386823"/>
                  <a:pt x="2610559" y="3444582"/>
                </a:cubicBezTo>
                <a:lnTo>
                  <a:pt x="2587995" y="3455665"/>
                </a:lnTo>
                <a:lnTo>
                  <a:pt x="2452096" y="3493704"/>
                </a:lnTo>
                <a:cubicBezTo>
                  <a:pt x="2400169" y="3508233"/>
                  <a:pt x="2351488" y="3522063"/>
                  <a:pt x="2311051" y="3534428"/>
                </a:cubicBezTo>
                <a:cubicBezTo>
                  <a:pt x="2304173" y="3536684"/>
                  <a:pt x="2294996" y="3540056"/>
                  <a:pt x="2283807" y="3544374"/>
                </a:cubicBezTo>
                <a:lnTo>
                  <a:pt x="2260535" y="3553615"/>
                </a:lnTo>
                <a:lnTo>
                  <a:pt x="2243242" y="3555757"/>
                </a:lnTo>
                <a:cubicBezTo>
                  <a:pt x="2174252" y="3573609"/>
                  <a:pt x="2081493" y="3618939"/>
                  <a:pt x="1995854" y="3657425"/>
                </a:cubicBezTo>
                <a:lnTo>
                  <a:pt x="1940866" y="3680816"/>
                </a:lnTo>
                <a:lnTo>
                  <a:pt x="1887885" y="3700694"/>
                </a:lnTo>
                <a:lnTo>
                  <a:pt x="1843230" y="3715095"/>
                </a:lnTo>
                <a:cubicBezTo>
                  <a:pt x="1822428" y="3719795"/>
                  <a:pt x="1804703" y="3721193"/>
                  <a:pt x="1791204" y="3718014"/>
                </a:cubicBezTo>
                <a:cubicBezTo>
                  <a:pt x="1791075" y="3716566"/>
                  <a:pt x="1764543" y="3731342"/>
                  <a:pt x="1737342" y="3746543"/>
                </a:cubicBezTo>
                <a:lnTo>
                  <a:pt x="1711881" y="3760678"/>
                </a:lnTo>
                <a:lnTo>
                  <a:pt x="1701047" y="3764272"/>
                </a:lnTo>
                <a:lnTo>
                  <a:pt x="1688621" y="3767460"/>
                </a:lnTo>
                <a:lnTo>
                  <a:pt x="1705231" y="3749040"/>
                </a:lnTo>
                <a:cubicBezTo>
                  <a:pt x="1684693" y="3741013"/>
                  <a:pt x="1592093" y="3761585"/>
                  <a:pt x="1481646" y="3794529"/>
                </a:cubicBezTo>
                <a:lnTo>
                  <a:pt x="1436366" y="3808964"/>
                </a:lnTo>
                <a:lnTo>
                  <a:pt x="1414599" y="3806150"/>
                </a:lnTo>
                <a:lnTo>
                  <a:pt x="1400988" y="3799400"/>
                </a:lnTo>
                <a:lnTo>
                  <a:pt x="1411439" y="3797122"/>
                </a:lnTo>
                <a:cubicBezTo>
                  <a:pt x="1415293" y="3795319"/>
                  <a:pt x="1418313" y="3792130"/>
                  <a:pt x="1417795" y="3786334"/>
                </a:cubicBezTo>
                <a:cubicBezTo>
                  <a:pt x="1413920" y="3785220"/>
                  <a:pt x="1409303" y="3786361"/>
                  <a:pt x="1405748" y="3788869"/>
                </a:cubicBezTo>
                <a:lnTo>
                  <a:pt x="1400362" y="3799089"/>
                </a:lnTo>
                <a:lnTo>
                  <a:pt x="1386209" y="3792070"/>
                </a:lnTo>
                <a:cubicBezTo>
                  <a:pt x="1382648" y="3797134"/>
                  <a:pt x="1375328" y="3803032"/>
                  <a:pt x="1365189" y="3809425"/>
                </a:cubicBezTo>
                <a:lnTo>
                  <a:pt x="1347352" y="3818970"/>
                </a:lnTo>
                <a:lnTo>
                  <a:pt x="1347066" y="3818923"/>
                </a:lnTo>
                <a:lnTo>
                  <a:pt x="1345038" y="3820209"/>
                </a:lnTo>
                <a:lnTo>
                  <a:pt x="1327260" y="3829721"/>
                </a:lnTo>
                <a:cubicBezTo>
                  <a:pt x="1238265" y="3871878"/>
                  <a:pt x="1081766" y="3919226"/>
                  <a:pt x="1061371" y="3896949"/>
                </a:cubicBezTo>
                <a:cubicBezTo>
                  <a:pt x="1083398" y="3868702"/>
                  <a:pt x="1143922" y="3848705"/>
                  <a:pt x="1092572" y="3844520"/>
                </a:cubicBezTo>
                <a:cubicBezTo>
                  <a:pt x="1099158" y="3876058"/>
                  <a:pt x="994388" y="3929202"/>
                  <a:pt x="973590" y="3907691"/>
                </a:cubicBezTo>
                <a:cubicBezTo>
                  <a:pt x="1031965" y="3911251"/>
                  <a:pt x="935090" y="3900718"/>
                  <a:pt x="899654" y="3912227"/>
                </a:cubicBezTo>
                <a:lnTo>
                  <a:pt x="888753" y="3919522"/>
                </a:lnTo>
                <a:lnTo>
                  <a:pt x="886053" y="3905271"/>
                </a:lnTo>
                <a:cubicBezTo>
                  <a:pt x="883697" y="3889418"/>
                  <a:pt x="882745" y="3873440"/>
                  <a:pt x="887814" y="3877369"/>
                </a:cubicBezTo>
                <a:cubicBezTo>
                  <a:pt x="876509" y="3898819"/>
                  <a:pt x="870891" y="3899320"/>
                  <a:pt x="865078" y="3876475"/>
                </a:cubicBezTo>
                <a:cubicBezTo>
                  <a:pt x="820122" y="3880481"/>
                  <a:pt x="882387" y="3901217"/>
                  <a:pt x="872505" y="3896256"/>
                </a:cubicBezTo>
                <a:cubicBezTo>
                  <a:pt x="862556" y="3911745"/>
                  <a:pt x="852741" y="3886335"/>
                  <a:pt x="845181" y="3907453"/>
                </a:cubicBezTo>
                <a:cubicBezTo>
                  <a:pt x="868950" y="3919938"/>
                  <a:pt x="857970" y="3923837"/>
                  <a:pt x="810624" y="3922213"/>
                </a:cubicBezTo>
                <a:cubicBezTo>
                  <a:pt x="931029" y="3832632"/>
                  <a:pt x="723876" y="3944546"/>
                  <a:pt x="723876" y="3944546"/>
                </a:cubicBezTo>
                <a:cubicBezTo>
                  <a:pt x="775874" y="3913629"/>
                  <a:pt x="669879" y="3931835"/>
                  <a:pt x="627246" y="3961919"/>
                </a:cubicBezTo>
                <a:cubicBezTo>
                  <a:pt x="624053" y="3915476"/>
                  <a:pt x="613879" y="3917842"/>
                  <a:pt x="599950" y="3933687"/>
                </a:cubicBezTo>
                <a:lnTo>
                  <a:pt x="596445" y="3938116"/>
                </a:lnTo>
                <a:lnTo>
                  <a:pt x="593665" y="3934658"/>
                </a:lnTo>
                <a:cubicBezTo>
                  <a:pt x="592400" y="3933720"/>
                  <a:pt x="592772" y="3935238"/>
                  <a:pt x="593920" y="3937509"/>
                </a:cubicBezTo>
                <a:lnTo>
                  <a:pt x="595293" y="3939573"/>
                </a:lnTo>
                <a:lnTo>
                  <a:pt x="576642" y="3963143"/>
                </a:lnTo>
                <a:lnTo>
                  <a:pt x="560809" y="3976978"/>
                </a:lnTo>
                <a:lnTo>
                  <a:pt x="554186" y="3960398"/>
                </a:lnTo>
                <a:lnTo>
                  <a:pt x="546561" y="3949311"/>
                </a:lnTo>
                <a:lnTo>
                  <a:pt x="562208" y="3935543"/>
                </a:lnTo>
                <a:cubicBezTo>
                  <a:pt x="571918" y="3926328"/>
                  <a:pt x="540742" y="3949914"/>
                  <a:pt x="537983" y="3934828"/>
                </a:cubicBezTo>
                <a:cubicBezTo>
                  <a:pt x="603158" y="3882292"/>
                  <a:pt x="602703" y="3940741"/>
                  <a:pt x="642104" y="3916787"/>
                </a:cubicBezTo>
                <a:cubicBezTo>
                  <a:pt x="627316" y="3856774"/>
                  <a:pt x="887495" y="3810227"/>
                  <a:pt x="877420" y="3781919"/>
                </a:cubicBezTo>
                <a:cubicBezTo>
                  <a:pt x="866956" y="3791614"/>
                  <a:pt x="862951" y="3789049"/>
                  <a:pt x="865406" y="3774229"/>
                </a:cubicBezTo>
                <a:cubicBezTo>
                  <a:pt x="893505" y="3771724"/>
                  <a:pt x="896410" y="3783147"/>
                  <a:pt x="873608" y="3802702"/>
                </a:cubicBezTo>
                <a:cubicBezTo>
                  <a:pt x="991810" y="3815534"/>
                  <a:pt x="1147870" y="3702330"/>
                  <a:pt x="1176876" y="3667620"/>
                </a:cubicBezTo>
                <a:cubicBezTo>
                  <a:pt x="1075082" y="3627043"/>
                  <a:pt x="876328" y="3706084"/>
                  <a:pt x="831305" y="3730539"/>
                </a:cubicBezTo>
                <a:cubicBezTo>
                  <a:pt x="832919" y="3727475"/>
                  <a:pt x="891087" y="3691627"/>
                  <a:pt x="952588" y="3658766"/>
                </a:cubicBezTo>
                <a:lnTo>
                  <a:pt x="1019087" y="3626629"/>
                </a:lnTo>
                <a:lnTo>
                  <a:pt x="1030578" y="3625533"/>
                </a:lnTo>
                <a:cubicBezTo>
                  <a:pt x="1058109" y="3621984"/>
                  <a:pt x="1088227" y="3615650"/>
                  <a:pt x="1093879" y="3604924"/>
                </a:cubicBezTo>
                <a:cubicBezTo>
                  <a:pt x="1086402" y="3600480"/>
                  <a:pt x="1066455" y="3605725"/>
                  <a:pt x="1040691" y="3616189"/>
                </a:cubicBezTo>
                <a:lnTo>
                  <a:pt x="1019087" y="3626629"/>
                </a:lnTo>
                <a:lnTo>
                  <a:pt x="994597" y="3628967"/>
                </a:lnTo>
                <a:cubicBezTo>
                  <a:pt x="985504" y="3629549"/>
                  <a:pt x="980439" y="3629635"/>
                  <a:pt x="982780" y="3629426"/>
                </a:cubicBezTo>
                <a:cubicBezTo>
                  <a:pt x="1001512" y="3627757"/>
                  <a:pt x="1004484" y="3618732"/>
                  <a:pt x="995440" y="3602014"/>
                </a:cubicBezTo>
                <a:cubicBezTo>
                  <a:pt x="999963" y="3610373"/>
                  <a:pt x="1004500" y="3613618"/>
                  <a:pt x="1009021" y="3611391"/>
                </a:cubicBezTo>
                <a:lnTo>
                  <a:pt x="1011448" y="3607165"/>
                </a:lnTo>
                <a:lnTo>
                  <a:pt x="1008746" y="3624192"/>
                </a:lnTo>
                <a:cubicBezTo>
                  <a:pt x="1000611" y="3575269"/>
                  <a:pt x="1133089" y="3557623"/>
                  <a:pt x="1144327" y="3556622"/>
                </a:cubicBezTo>
                <a:cubicBezTo>
                  <a:pt x="1138708" y="3557122"/>
                  <a:pt x="1115390" y="3570882"/>
                  <a:pt x="1116422" y="3582472"/>
                </a:cubicBezTo>
                <a:cubicBezTo>
                  <a:pt x="1199945" y="3481574"/>
                  <a:pt x="1550749" y="3371460"/>
                  <a:pt x="1657520" y="3361946"/>
                </a:cubicBezTo>
                <a:cubicBezTo>
                  <a:pt x="1643375" y="3351524"/>
                  <a:pt x="1640985" y="3345896"/>
                  <a:pt x="1624901" y="3356091"/>
                </a:cubicBezTo>
                <a:cubicBezTo>
                  <a:pt x="1624644" y="3353193"/>
                  <a:pt x="1622770" y="3353360"/>
                  <a:pt x="1619024" y="3353694"/>
                </a:cubicBezTo>
                <a:cubicBezTo>
                  <a:pt x="1647769" y="3316087"/>
                  <a:pt x="1673928" y="3334200"/>
                  <a:pt x="1679159" y="3371699"/>
                </a:cubicBezTo>
                <a:cubicBezTo>
                  <a:pt x="1700021" y="3372761"/>
                  <a:pt x="1771042" y="3332848"/>
                  <a:pt x="1838842" y="3296505"/>
                </a:cubicBezTo>
                <a:lnTo>
                  <a:pt x="1904328" y="3263791"/>
                </a:lnTo>
                <a:lnTo>
                  <a:pt x="1946319" y="3248551"/>
                </a:lnTo>
                <a:cubicBezTo>
                  <a:pt x="1961003" y="3243820"/>
                  <a:pt x="1972915" y="3241116"/>
                  <a:pt x="1979196" y="3242746"/>
                </a:cubicBezTo>
                <a:cubicBezTo>
                  <a:pt x="1975208" y="3235070"/>
                  <a:pt x="1957068" y="3239424"/>
                  <a:pt x="1931452" y="3250240"/>
                </a:cubicBezTo>
                <a:lnTo>
                  <a:pt x="1904328" y="3263791"/>
                </a:lnTo>
                <a:lnTo>
                  <a:pt x="1896821" y="3266514"/>
                </a:lnTo>
                <a:cubicBezTo>
                  <a:pt x="1862104" y="3279464"/>
                  <a:pt x="1827757" y="3291288"/>
                  <a:pt x="1816679" y="3283512"/>
                </a:cubicBezTo>
                <a:cubicBezTo>
                  <a:pt x="1816679" y="3283512"/>
                  <a:pt x="1835735" y="3264291"/>
                  <a:pt x="1835735" y="3264291"/>
                </a:cubicBezTo>
                <a:cubicBezTo>
                  <a:pt x="1834669" y="3262926"/>
                  <a:pt x="1820960" y="3262688"/>
                  <a:pt x="1810756" y="3264693"/>
                </a:cubicBezTo>
                <a:lnTo>
                  <a:pt x="1807736" y="3266059"/>
                </a:lnTo>
                <a:lnTo>
                  <a:pt x="1808091" y="3261330"/>
                </a:lnTo>
                <a:cubicBezTo>
                  <a:pt x="1817113" y="3233096"/>
                  <a:pt x="1867321" y="3279729"/>
                  <a:pt x="1941023" y="3216943"/>
                </a:cubicBezTo>
                <a:cubicBezTo>
                  <a:pt x="1947385" y="3214186"/>
                  <a:pt x="1940110" y="3214651"/>
                  <a:pt x="1925666" y="3217079"/>
                </a:cubicBezTo>
                <a:lnTo>
                  <a:pt x="1875366" y="3227340"/>
                </a:lnTo>
                <a:lnTo>
                  <a:pt x="1879553" y="3221690"/>
                </a:lnTo>
                <a:cubicBezTo>
                  <a:pt x="1893119" y="3201773"/>
                  <a:pt x="1875851" y="3216545"/>
                  <a:pt x="1868623" y="3228140"/>
                </a:cubicBezTo>
                <a:lnTo>
                  <a:pt x="1868550" y="3228732"/>
                </a:lnTo>
                <a:lnTo>
                  <a:pt x="1867283" y="3228989"/>
                </a:lnTo>
                <a:cubicBezTo>
                  <a:pt x="1822640" y="3239173"/>
                  <a:pt x="1775181" y="3252165"/>
                  <a:pt x="1776634" y="3257875"/>
                </a:cubicBezTo>
                <a:cubicBezTo>
                  <a:pt x="1822756" y="3224560"/>
                  <a:pt x="1652873" y="3309791"/>
                  <a:pt x="1659010" y="3315085"/>
                </a:cubicBezTo>
                <a:cubicBezTo>
                  <a:pt x="1667989" y="3267557"/>
                  <a:pt x="1425054" y="3359298"/>
                  <a:pt x="1380032" y="3383752"/>
                </a:cubicBezTo>
                <a:cubicBezTo>
                  <a:pt x="1371118" y="3410831"/>
                  <a:pt x="905083" y="3499087"/>
                  <a:pt x="812457" y="3519023"/>
                </a:cubicBezTo>
                <a:cubicBezTo>
                  <a:pt x="825827" y="3520752"/>
                  <a:pt x="832545" y="3511392"/>
                  <a:pt x="830996" y="3494007"/>
                </a:cubicBezTo>
                <a:cubicBezTo>
                  <a:pt x="816462" y="3521586"/>
                  <a:pt x="817627" y="3492279"/>
                  <a:pt x="797794" y="3502807"/>
                </a:cubicBezTo>
                <a:cubicBezTo>
                  <a:pt x="795340" y="3517628"/>
                  <a:pt x="800118" y="3528885"/>
                  <a:pt x="815620" y="3533344"/>
                </a:cubicBezTo>
                <a:cubicBezTo>
                  <a:pt x="788105" y="3521193"/>
                  <a:pt x="716535" y="3565538"/>
                  <a:pt x="749868" y="3515839"/>
                </a:cubicBezTo>
                <a:cubicBezTo>
                  <a:pt x="691415" y="3474321"/>
                  <a:pt x="686115" y="3541964"/>
                  <a:pt x="644453" y="3519392"/>
                </a:cubicBezTo>
                <a:cubicBezTo>
                  <a:pt x="662817" y="3487090"/>
                  <a:pt x="741236" y="3449438"/>
                  <a:pt x="791943" y="3431503"/>
                </a:cubicBezTo>
                <a:lnTo>
                  <a:pt x="829851" y="3421154"/>
                </a:lnTo>
                <a:lnTo>
                  <a:pt x="830492" y="3423459"/>
                </a:lnTo>
                <a:cubicBezTo>
                  <a:pt x="835274" y="3437407"/>
                  <a:pt x="853862" y="3475177"/>
                  <a:pt x="890295" y="3439074"/>
                </a:cubicBezTo>
                <a:cubicBezTo>
                  <a:pt x="868724" y="3408872"/>
                  <a:pt x="862264" y="3421129"/>
                  <a:pt x="874858" y="3414166"/>
                </a:cubicBezTo>
                <a:cubicBezTo>
                  <a:pt x="872761" y="3401211"/>
                  <a:pt x="840431" y="3409203"/>
                  <a:pt x="804978" y="3421854"/>
                </a:cubicBezTo>
                <a:lnTo>
                  <a:pt x="757749" y="3440366"/>
                </a:lnTo>
                <a:lnTo>
                  <a:pt x="760887" y="3434910"/>
                </a:lnTo>
                <a:cubicBezTo>
                  <a:pt x="761084" y="3433797"/>
                  <a:pt x="759860" y="3434636"/>
                  <a:pt x="758350" y="3436231"/>
                </a:cubicBezTo>
                <a:lnTo>
                  <a:pt x="756613" y="3440810"/>
                </a:lnTo>
                <a:lnTo>
                  <a:pt x="752842" y="3442289"/>
                </a:lnTo>
                <a:lnTo>
                  <a:pt x="751861" y="3442698"/>
                </a:lnTo>
                <a:lnTo>
                  <a:pt x="746667" y="3440193"/>
                </a:lnTo>
                <a:cubicBezTo>
                  <a:pt x="744644" y="3440008"/>
                  <a:pt x="742863" y="3440532"/>
                  <a:pt x="742838" y="3441902"/>
                </a:cubicBezTo>
                <a:lnTo>
                  <a:pt x="746026" y="3445130"/>
                </a:lnTo>
                <a:lnTo>
                  <a:pt x="716348" y="3457496"/>
                </a:lnTo>
                <a:cubicBezTo>
                  <a:pt x="754524" y="3398604"/>
                  <a:pt x="650337" y="3437094"/>
                  <a:pt x="596273" y="3444832"/>
                </a:cubicBezTo>
                <a:cubicBezTo>
                  <a:pt x="633544" y="3418147"/>
                  <a:pt x="614230" y="3434471"/>
                  <a:pt x="599502" y="3438703"/>
                </a:cubicBezTo>
                <a:cubicBezTo>
                  <a:pt x="604604" y="3432408"/>
                  <a:pt x="638454" y="3388505"/>
                  <a:pt x="644848" y="3396696"/>
                </a:cubicBezTo>
                <a:cubicBezTo>
                  <a:pt x="635742" y="3400428"/>
                  <a:pt x="623177" y="3397168"/>
                  <a:pt x="611714" y="3395634"/>
                </a:cubicBezTo>
                <a:lnTo>
                  <a:pt x="598992" y="3395703"/>
                </a:lnTo>
                <a:lnTo>
                  <a:pt x="583939" y="3380585"/>
                </a:lnTo>
                <a:cubicBezTo>
                  <a:pt x="576690" y="3378676"/>
                  <a:pt x="568921" y="3381559"/>
                  <a:pt x="561138" y="3389553"/>
                </a:cubicBezTo>
                <a:cubicBezTo>
                  <a:pt x="585752" y="3305586"/>
                  <a:pt x="721527" y="3261361"/>
                  <a:pt x="771784" y="3189712"/>
                </a:cubicBezTo>
                <a:cubicBezTo>
                  <a:pt x="746917" y="3186088"/>
                  <a:pt x="753568" y="3197177"/>
                  <a:pt x="725021" y="3173436"/>
                </a:cubicBezTo>
                <a:cubicBezTo>
                  <a:pt x="776826" y="3119171"/>
                  <a:pt x="908013" y="3087038"/>
                  <a:pt x="903624" y="3037780"/>
                </a:cubicBezTo>
                <a:cubicBezTo>
                  <a:pt x="949355" y="3042467"/>
                  <a:pt x="979266" y="2975551"/>
                  <a:pt x="1021249" y="2980571"/>
                </a:cubicBezTo>
                <a:cubicBezTo>
                  <a:pt x="1004973" y="2967419"/>
                  <a:pt x="991861" y="2968587"/>
                  <a:pt x="977651" y="2978615"/>
                </a:cubicBezTo>
                <a:cubicBezTo>
                  <a:pt x="1009675" y="2940716"/>
                  <a:pt x="1050963" y="2912760"/>
                  <a:pt x="1097519" y="2890951"/>
                </a:cubicBezTo>
                <a:lnTo>
                  <a:pt x="1125101" y="2880195"/>
                </a:lnTo>
                <a:lnTo>
                  <a:pt x="1282137" y="2832532"/>
                </a:lnTo>
                <a:lnTo>
                  <a:pt x="1408097" y="2803497"/>
                </a:lnTo>
                <a:cubicBezTo>
                  <a:pt x="1459739" y="2791093"/>
                  <a:pt x="1508656" y="2777242"/>
                  <a:pt x="1550849" y="2758149"/>
                </a:cubicBezTo>
                <a:cubicBezTo>
                  <a:pt x="1552578" y="2761646"/>
                  <a:pt x="1546756" y="2762530"/>
                  <a:pt x="1538386" y="2761953"/>
                </a:cubicBezTo>
                <a:lnTo>
                  <a:pt x="1513102" y="2757431"/>
                </a:lnTo>
                <a:lnTo>
                  <a:pt x="1513111" y="2757427"/>
                </a:lnTo>
                <a:cubicBezTo>
                  <a:pt x="1657430" y="2704114"/>
                  <a:pt x="1797196" y="2635806"/>
                  <a:pt x="1925043" y="2529132"/>
                </a:cubicBezTo>
                <a:cubicBezTo>
                  <a:pt x="1949751" y="2520359"/>
                  <a:pt x="1831703" y="2542378"/>
                  <a:pt x="1783427" y="2557768"/>
                </a:cubicBezTo>
                <a:lnTo>
                  <a:pt x="1777335" y="2560218"/>
                </a:lnTo>
                <a:lnTo>
                  <a:pt x="1792833" y="2547120"/>
                </a:lnTo>
                <a:cubicBezTo>
                  <a:pt x="1802010" y="2541556"/>
                  <a:pt x="1811589" y="2537782"/>
                  <a:pt x="1821761" y="2535414"/>
                </a:cubicBezTo>
                <a:lnTo>
                  <a:pt x="1805230" y="2519976"/>
                </a:lnTo>
                <a:lnTo>
                  <a:pt x="1809140" y="2516468"/>
                </a:lnTo>
                <a:cubicBezTo>
                  <a:pt x="1825292" y="2499712"/>
                  <a:pt x="1817685" y="2498268"/>
                  <a:pt x="1807094" y="2500581"/>
                </a:cubicBezTo>
                <a:lnTo>
                  <a:pt x="1794183" y="2504800"/>
                </a:lnTo>
                <a:lnTo>
                  <a:pt x="1798059" y="2502481"/>
                </a:lnTo>
                <a:lnTo>
                  <a:pt x="1788383" y="2506696"/>
                </a:lnTo>
                <a:lnTo>
                  <a:pt x="1788234" y="2506744"/>
                </a:lnTo>
                <a:lnTo>
                  <a:pt x="1782797" y="2503214"/>
                </a:lnTo>
                <a:lnTo>
                  <a:pt x="1811035" y="2497811"/>
                </a:lnTo>
                <a:cubicBezTo>
                  <a:pt x="1819799" y="2496163"/>
                  <a:pt x="1826172" y="2494865"/>
                  <a:pt x="1827513" y="2494016"/>
                </a:cubicBezTo>
                <a:cubicBezTo>
                  <a:pt x="1809946" y="2466376"/>
                  <a:pt x="1777195" y="2501420"/>
                  <a:pt x="1762792" y="2488101"/>
                </a:cubicBezTo>
                <a:cubicBezTo>
                  <a:pt x="1810786" y="2454619"/>
                  <a:pt x="1793346" y="2470775"/>
                  <a:pt x="1848249" y="2451280"/>
                </a:cubicBezTo>
                <a:cubicBezTo>
                  <a:pt x="1838949" y="2431666"/>
                  <a:pt x="1339902" y="2636764"/>
                  <a:pt x="1329952" y="2652252"/>
                </a:cubicBezTo>
                <a:cubicBezTo>
                  <a:pt x="1316232" y="2593605"/>
                  <a:pt x="1301584" y="2593450"/>
                  <a:pt x="1285686" y="2608374"/>
                </a:cubicBezTo>
                <a:lnTo>
                  <a:pt x="1269718" y="2626553"/>
                </a:lnTo>
                <a:lnTo>
                  <a:pt x="1268447" y="2624147"/>
                </a:lnTo>
                <a:cubicBezTo>
                  <a:pt x="1258887" y="2622808"/>
                  <a:pt x="1241627" y="2625077"/>
                  <a:pt x="1256772" y="2614967"/>
                </a:cubicBezTo>
                <a:cubicBezTo>
                  <a:pt x="1152585" y="2653456"/>
                  <a:pt x="1054596" y="2676789"/>
                  <a:pt x="957385" y="2708817"/>
                </a:cubicBezTo>
                <a:cubicBezTo>
                  <a:pt x="944469" y="2648636"/>
                  <a:pt x="436697" y="2904160"/>
                  <a:pt x="343754" y="2856953"/>
                </a:cubicBezTo>
                <a:cubicBezTo>
                  <a:pt x="376244" y="2819011"/>
                  <a:pt x="526747" y="2770555"/>
                  <a:pt x="524616" y="2767824"/>
                </a:cubicBezTo>
                <a:cubicBezTo>
                  <a:pt x="634561" y="2603241"/>
                  <a:pt x="894471" y="2723184"/>
                  <a:pt x="1010420" y="2604793"/>
                </a:cubicBezTo>
                <a:cubicBezTo>
                  <a:pt x="1007646" y="2552472"/>
                  <a:pt x="1079601" y="2554822"/>
                  <a:pt x="1210920" y="2481789"/>
                </a:cubicBezTo>
                <a:cubicBezTo>
                  <a:pt x="1176688" y="2478999"/>
                  <a:pt x="977285" y="2593143"/>
                  <a:pt x="922579" y="2551291"/>
                </a:cubicBezTo>
                <a:cubicBezTo>
                  <a:pt x="890862" y="2597925"/>
                  <a:pt x="600257" y="2705594"/>
                  <a:pt x="569061" y="2673328"/>
                </a:cubicBezTo>
                <a:cubicBezTo>
                  <a:pt x="594576" y="2641849"/>
                  <a:pt x="658588" y="2618623"/>
                  <a:pt x="603751" y="2617669"/>
                </a:cubicBezTo>
                <a:cubicBezTo>
                  <a:pt x="612468" y="2651937"/>
                  <a:pt x="496716" y="2708980"/>
                  <a:pt x="476176" y="2690367"/>
                </a:cubicBezTo>
                <a:cubicBezTo>
                  <a:pt x="508280" y="2690427"/>
                  <a:pt x="425150" y="2668629"/>
                  <a:pt x="412680" y="2719389"/>
                </a:cubicBezTo>
                <a:cubicBezTo>
                  <a:pt x="403478" y="2711447"/>
                  <a:pt x="384865" y="2681345"/>
                  <a:pt x="380411" y="2670106"/>
                </a:cubicBezTo>
                <a:lnTo>
                  <a:pt x="381436" y="2667019"/>
                </a:lnTo>
                <a:lnTo>
                  <a:pt x="382286" y="2666973"/>
                </a:lnTo>
                <a:cubicBezTo>
                  <a:pt x="385169" y="2664891"/>
                  <a:pt x="387721" y="2661743"/>
                  <a:pt x="390401" y="2660043"/>
                </a:cubicBezTo>
                <a:cubicBezTo>
                  <a:pt x="388528" y="2660210"/>
                  <a:pt x="380260" y="2652187"/>
                  <a:pt x="372184" y="2667509"/>
                </a:cubicBezTo>
                <a:lnTo>
                  <a:pt x="381237" y="2667028"/>
                </a:lnTo>
                <a:lnTo>
                  <a:pt x="367188" y="2682921"/>
                </a:lnTo>
                <a:cubicBezTo>
                  <a:pt x="363174" y="2682913"/>
                  <a:pt x="359848" y="2677369"/>
                  <a:pt x="356941" y="2665946"/>
                </a:cubicBezTo>
                <a:cubicBezTo>
                  <a:pt x="312244" y="2672850"/>
                  <a:pt x="376124" y="2690521"/>
                  <a:pt x="366241" y="2685561"/>
                </a:cubicBezTo>
                <a:cubicBezTo>
                  <a:pt x="354420" y="2701217"/>
                  <a:pt x="342473" y="2673076"/>
                  <a:pt x="335173" y="2697091"/>
                </a:cubicBezTo>
                <a:cubicBezTo>
                  <a:pt x="362688" y="2709241"/>
                  <a:pt x="349834" y="2713306"/>
                  <a:pt x="298999" y="2714917"/>
                </a:cubicBezTo>
                <a:cubicBezTo>
                  <a:pt x="429868" y="2615640"/>
                  <a:pt x="205276" y="2743711"/>
                  <a:pt x="205276" y="2743711"/>
                </a:cubicBezTo>
                <a:cubicBezTo>
                  <a:pt x="264249" y="2706331"/>
                  <a:pt x="144300" y="2737464"/>
                  <a:pt x="101927" y="2770445"/>
                </a:cubicBezTo>
                <a:cubicBezTo>
                  <a:pt x="95538" y="2698731"/>
                  <a:pt x="74026" y="2743361"/>
                  <a:pt x="46829" y="2777818"/>
                </a:cubicBezTo>
                <a:lnTo>
                  <a:pt x="29569" y="2793661"/>
                </a:lnTo>
                <a:lnTo>
                  <a:pt x="20920" y="2775107"/>
                </a:lnTo>
                <a:lnTo>
                  <a:pt x="13714" y="2766189"/>
                </a:lnTo>
                <a:lnTo>
                  <a:pt x="21177" y="2759461"/>
                </a:lnTo>
                <a:cubicBezTo>
                  <a:pt x="53096" y="2730623"/>
                  <a:pt x="7293" y="2770480"/>
                  <a:pt x="4072" y="2752880"/>
                </a:cubicBezTo>
                <a:cubicBezTo>
                  <a:pt x="72219" y="2691317"/>
                  <a:pt x="75767" y="2752331"/>
                  <a:pt x="116527" y="2722414"/>
                </a:cubicBezTo>
                <a:cubicBezTo>
                  <a:pt x="97735" y="2659838"/>
                  <a:pt x="378327" y="2588108"/>
                  <a:pt x="370641" y="2565429"/>
                </a:cubicBezTo>
                <a:cubicBezTo>
                  <a:pt x="358304" y="2575290"/>
                  <a:pt x="354556" y="2575624"/>
                  <a:pt x="356755" y="2557905"/>
                </a:cubicBezTo>
                <a:cubicBezTo>
                  <a:pt x="386723" y="2555233"/>
                  <a:pt x="389372" y="2563760"/>
                  <a:pt x="364955" y="2586378"/>
                </a:cubicBezTo>
                <a:cubicBezTo>
                  <a:pt x="431291" y="2589230"/>
                  <a:pt x="505622" y="2559972"/>
                  <a:pt x="567665" y="2525239"/>
                </a:cubicBezTo>
                <a:lnTo>
                  <a:pt x="629367" y="2485112"/>
                </a:lnTo>
                <a:lnTo>
                  <a:pt x="629692" y="2485030"/>
                </a:lnTo>
                <a:cubicBezTo>
                  <a:pt x="633276" y="2482885"/>
                  <a:pt x="636829" y="2480378"/>
                  <a:pt x="640574" y="2480044"/>
                </a:cubicBezTo>
                <a:lnTo>
                  <a:pt x="638477" y="2479188"/>
                </a:lnTo>
                <a:lnTo>
                  <a:pt x="648976" y="2472360"/>
                </a:lnTo>
                <a:cubicBezTo>
                  <a:pt x="671319" y="2455584"/>
                  <a:pt x="688053" y="2440768"/>
                  <a:pt x="696643" y="2431242"/>
                </a:cubicBezTo>
                <a:cubicBezTo>
                  <a:pt x="579864" y="2391998"/>
                  <a:pt x="374650" y="2483298"/>
                  <a:pt x="318906" y="2514550"/>
                </a:cubicBezTo>
                <a:cubicBezTo>
                  <a:pt x="322265" y="2509869"/>
                  <a:pt x="385131" y="2468491"/>
                  <a:pt x="451630" y="2430805"/>
                </a:cubicBezTo>
                <a:lnTo>
                  <a:pt x="518679" y="2396603"/>
                </a:lnTo>
                <a:lnTo>
                  <a:pt x="534310" y="2394598"/>
                </a:lnTo>
                <a:cubicBezTo>
                  <a:pt x="549902" y="2392114"/>
                  <a:pt x="566481" y="2388811"/>
                  <a:pt x="579855" y="2384608"/>
                </a:cubicBezTo>
                <a:lnTo>
                  <a:pt x="601260" y="2372077"/>
                </a:lnTo>
                <a:lnTo>
                  <a:pt x="599010" y="2378885"/>
                </a:lnTo>
                <a:cubicBezTo>
                  <a:pt x="599636" y="2382799"/>
                  <a:pt x="601946" y="2388206"/>
                  <a:pt x="606606" y="2395457"/>
                </a:cubicBezTo>
                <a:cubicBezTo>
                  <a:pt x="625530" y="2395961"/>
                  <a:pt x="632664" y="2392588"/>
                  <a:pt x="633300" y="2388150"/>
                </a:cubicBezTo>
                <a:lnTo>
                  <a:pt x="622717" y="2376354"/>
                </a:lnTo>
                <a:lnTo>
                  <a:pt x="634460" y="2374677"/>
                </a:lnTo>
                <a:cubicBezTo>
                  <a:pt x="649985" y="2367132"/>
                  <a:pt x="668551" y="2349050"/>
                  <a:pt x="687733" y="2373625"/>
                </a:cubicBezTo>
                <a:cubicBezTo>
                  <a:pt x="768276" y="2294895"/>
                  <a:pt x="660790" y="2344721"/>
                  <a:pt x="628506" y="2368561"/>
                </a:cubicBezTo>
                <a:lnTo>
                  <a:pt x="621659" y="2375174"/>
                </a:lnTo>
                <a:lnTo>
                  <a:pt x="621019" y="2374460"/>
                </a:lnTo>
                <a:lnTo>
                  <a:pt x="602400" y="2371410"/>
                </a:lnTo>
                <a:lnTo>
                  <a:pt x="606153" y="2369213"/>
                </a:lnTo>
                <a:cubicBezTo>
                  <a:pt x="597208" y="2364170"/>
                  <a:pt x="575203" y="2370145"/>
                  <a:pt x="547120" y="2382094"/>
                </a:cubicBezTo>
                <a:lnTo>
                  <a:pt x="518679" y="2396603"/>
                </a:lnTo>
                <a:lnTo>
                  <a:pt x="494701" y="2399678"/>
                </a:lnTo>
                <a:cubicBezTo>
                  <a:pt x="485285" y="2400610"/>
                  <a:pt x="481054" y="2400803"/>
                  <a:pt x="486206" y="2400344"/>
                </a:cubicBezTo>
                <a:cubicBezTo>
                  <a:pt x="506810" y="2398508"/>
                  <a:pt x="511396" y="2386418"/>
                  <a:pt x="500482" y="2369868"/>
                </a:cubicBezTo>
                <a:cubicBezTo>
                  <a:pt x="505939" y="2378143"/>
                  <a:pt x="510879" y="2380623"/>
                  <a:pt x="515806" y="2377629"/>
                </a:cubicBezTo>
                <a:lnTo>
                  <a:pt x="520200" y="2370391"/>
                </a:lnTo>
                <a:lnTo>
                  <a:pt x="517274" y="2388815"/>
                </a:lnTo>
                <a:cubicBezTo>
                  <a:pt x="508882" y="2336994"/>
                  <a:pt x="652082" y="2312551"/>
                  <a:pt x="665193" y="2311383"/>
                </a:cubicBezTo>
                <a:cubicBezTo>
                  <a:pt x="659833" y="2314781"/>
                  <a:pt x="632769" y="2328875"/>
                  <a:pt x="633801" y="2340465"/>
                </a:cubicBezTo>
                <a:cubicBezTo>
                  <a:pt x="731534" y="2229539"/>
                  <a:pt x="1107789" y="2108395"/>
                  <a:pt x="1229546" y="2097546"/>
                </a:cubicBezTo>
                <a:cubicBezTo>
                  <a:pt x="1216756" y="2081163"/>
                  <a:pt x="1203387" y="2079433"/>
                  <a:pt x="1187302" y="2089628"/>
                </a:cubicBezTo>
                <a:cubicBezTo>
                  <a:pt x="1226514" y="2042327"/>
                  <a:pt x="1248085" y="2072529"/>
                  <a:pt x="1251183" y="2107300"/>
                </a:cubicBezTo>
                <a:cubicBezTo>
                  <a:pt x="1391854" y="2110097"/>
                  <a:pt x="1678222" y="2028360"/>
                  <a:pt x="1862289" y="1903751"/>
                </a:cubicBezTo>
                <a:lnTo>
                  <a:pt x="1930489" y="1850723"/>
                </a:lnTo>
                <a:lnTo>
                  <a:pt x="1954362" y="1846091"/>
                </a:lnTo>
                <a:cubicBezTo>
                  <a:pt x="1960422" y="1844548"/>
                  <a:pt x="1946136" y="1846461"/>
                  <a:pt x="1935995" y="1848550"/>
                </a:cubicBezTo>
                <a:lnTo>
                  <a:pt x="1931425" y="1849995"/>
                </a:lnTo>
                <a:lnTo>
                  <a:pt x="1934191" y="1847844"/>
                </a:lnTo>
                <a:cubicBezTo>
                  <a:pt x="1932577" y="1850907"/>
                  <a:pt x="1932060" y="1845113"/>
                  <a:pt x="1937164" y="1838817"/>
                </a:cubicBezTo>
                <a:cubicBezTo>
                  <a:pt x="1811271" y="1888001"/>
                  <a:pt x="1365452" y="2012423"/>
                  <a:pt x="1359898" y="1992475"/>
                </a:cubicBezTo>
                <a:cubicBezTo>
                  <a:pt x="1410023" y="1961725"/>
                  <a:pt x="1225415" y="2051186"/>
                  <a:pt x="1229419" y="2053750"/>
                </a:cubicBezTo>
                <a:cubicBezTo>
                  <a:pt x="1237560" y="2017979"/>
                  <a:pt x="980479" y="2099296"/>
                  <a:pt x="922861" y="2130716"/>
                </a:cubicBezTo>
                <a:cubicBezTo>
                  <a:pt x="909360" y="2169885"/>
                  <a:pt x="399402" y="2273738"/>
                  <a:pt x="299799" y="2300136"/>
                </a:cubicBezTo>
                <a:cubicBezTo>
                  <a:pt x="315043" y="2301698"/>
                  <a:pt x="322020" y="2295235"/>
                  <a:pt x="322085" y="2274787"/>
                </a:cubicBezTo>
                <a:cubicBezTo>
                  <a:pt x="307291" y="2299468"/>
                  <a:pt x="304709" y="2270495"/>
                  <a:pt x="285138" y="2283920"/>
                </a:cubicBezTo>
                <a:cubicBezTo>
                  <a:pt x="282942" y="2301638"/>
                  <a:pt x="289592" y="2312727"/>
                  <a:pt x="304837" y="2314290"/>
                </a:cubicBezTo>
                <a:cubicBezTo>
                  <a:pt x="282989" y="2307476"/>
                  <a:pt x="231238" y="2334538"/>
                  <a:pt x="223051" y="2326095"/>
                </a:cubicBezTo>
                <a:lnTo>
                  <a:pt x="230864" y="2306383"/>
                </a:lnTo>
                <a:lnTo>
                  <a:pt x="245978" y="2305297"/>
                </a:lnTo>
                <a:cubicBezTo>
                  <a:pt x="254649" y="2301968"/>
                  <a:pt x="263564" y="2296064"/>
                  <a:pt x="268537" y="2288319"/>
                </a:cubicBezTo>
                <a:cubicBezTo>
                  <a:pt x="261044" y="2288986"/>
                  <a:pt x="253811" y="2292552"/>
                  <a:pt x="246609" y="2296480"/>
                </a:cubicBezTo>
                <a:lnTo>
                  <a:pt x="232045" y="2303402"/>
                </a:lnTo>
                <a:lnTo>
                  <a:pt x="232107" y="2303247"/>
                </a:lnTo>
                <a:cubicBezTo>
                  <a:pt x="166162" y="2262396"/>
                  <a:pt x="165125" y="2335502"/>
                  <a:pt x="115971" y="2313596"/>
                </a:cubicBezTo>
                <a:cubicBezTo>
                  <a:pt x="163280" y="2232718"/>
                  <a:pt x="236844" y="2268008"/>
                  <a:pt x="280633" y="2230765"/>
                </a:cubicBezTo>
                <a:lnTo>
                  <a:pt x="294665" y="2213247"/>
                </a:lnTo>
                <a:lnTo>
                  <a:pt x="298123" y="2238955"/>
                </a:lnTo>
                <a:cubicBezTo>
                  <a:pt x="363237" y="2153935"/>
                  <a:pt x="399067" y="2194505"/>
                  <a:pt x="454997" y="2162569"/>
                </a:cubicBezTo>
                <a:lnTo>
                  <a:pt x="469990" y="2151504"/>
                </a:lnTo>
                <a:lnTo>
                  <a:pt x="463979" y="2159195"/>
                </a:lnTo>
                <a:cubicBezTo>
                  <a:pt x="464263" y="2163367"/>
                  <a:pt x="470038" y="2165956"/>
                  <a:pt x="485896" y="2163812"/>
                </a:cubicBezTo>
                <a:cubicBezTo>
                  <a:pt x="494504" y="2149173"/>
                  <a:pt x="494843" y="2142390"/>
                  <a:pt x="491501" y="2140315"/>
                </a:cubicBezTo>
                <a:lnTo>
                  <a:pt x="479569" y="2143757"/>
                </a:lnTo>
                <a:lnTo>
                  <a:pt x="428814" y="2136683"/>
                </a:lnTo>
                <a:cubicBezTo>
                  <a:pt x="387748" y="2134684"/>
                  <a:pt x="336407" y="2140537"/>
                  <a:pt x="293709" y="2167888"/>
                </a:cubicBezTo>
                <a:lnTo>
                  <a:pt x="279713" y="2179396"/>
                </a:lnTo>
                <a:lnTo>
                  <a:pt x="270118" y="2178935"/>
                </a:lnTo>
                <a:cubicBezTo>
                  <a:pt x="193445" y="2180565"/>
                  <a:pt x="48898" y="2207135"/>
                  <a:pt x="51321" y="2202538"/>
                </a:cubicBezTo>
                <a:cubicBezTo>
                  <a:pt x="96276" y="2198531"/>
                  <a:pt x="40472" y="2165538"/>
                  <a:pt x="23806" y="2190388"/>
                </a:cubicBezTo>
                <a:cubicBezTo>
                  <a:pt x="29750" y="2172336"/>
                  <a:pt x="132647" y="2119358"/>
                  <a:pt x="141946" y="2138973"/>
                </a:cubicBezTo>
                <a:cubicBezTo>
                  <a:pt x="126443" y="2134514"/>
                  <a:pt x="119986" y="2146771"/>
                  <a:pt x="122051" y="2169951"/>
                </a:cubicBezTo>
                <a:lnTo>
                  <a:pt x="132244" y="2167180"/>
                </a:lnTo>
                <a:lnTo>
                  <a:pt x="135958" y="2167435"/>
                </a:lnTo>
                <a:lnTo>
                  <a:pt x="136228" y="2166096"/>
                </a:lnTo>
                <a:lnTo>
                  <a:pt x="180722" y="2153999"/>
                </a:lnTo>
                <a:lnTo>
                  <a:pt x="245241" y="2141481"/>
                </a:lnTo>
                <a:lnTo>
                  <a:pt x="246262" y="2144281"/>
                </a:lnTo>
                <a:lnTo>
                  <a:pt x="246859" y="2141167"/>
                </a:lnTo>
                <a:lnTo>
                  <a:pt x="249016" y="2140749"/>
                </a:lnTo>
                <a:cubicBezTo>
                  <a:pt x="294658" y="2131206"/>
                  <a:pt x="337434" y="2118633"/>
                  <a:pt x="358784" y="2093367"/>
                </a:cubicBezTo>
                <a:cubicBezTo>
                  <a:pt x="315444" y="2094308"/>
                  <a:pt x="322419" y="2087845"/>
                  <a:pt x="379713" y="2073979"/>
                </a:cubicBezTo>
                <a:cubicBezTo>
                  <a:pt x="358639" y="2075856"/>
                  <a:pt x="342704" y="2077460"/>
                  <a:pt x="330830" y="2078819"/>
                </a:cubicBezTo>
                <a:lnTo>
                  <a:pt x="309292" y="2081795"/>
                </a:lnTo>
                <a:lnTo>
                  <a:pt x="317164" y="2059463"/>
                </a:lnTo>
                <a:cubicBezTo>
                  <a:pt x="358454" y="2013859"/>
                  <a:pt x="537821" y="2031415"/>
                  <a:pt x="557602" y="1993877"/>
                </a:cubicBezTo>
                <a:cubicBezTo>
                  <a:pt x="541842" y="1986519"/>
                  <a:pt x="526083" y="1979162"/>
                  <a:pt x="510840" y="1977599"/>
                </a:cubicBezTo>
                <a:cubicBezTo>
                  <a:pt x="526697" y="1975456"/>
                  <a:pt x="535322" y="1971585"/>
                  <a:pt x="540587" y="1966462"/>
                </a:cubicBezTo>
                <a:lnTo>
                  <a:pt x="547320" y="1953389"/>
                </a:lnTo>
                <a:lnTo>
                  <a:pt x="549521" y="1956813"/>
                </a:lnTo>
                <a:cubicBezTo>
                  <a:pt x="551199" y="1957758"/>
                  <a:pt x="553440" y="1957741"/>
                  <a:pt x="556119" y="1956042"/>
                </a:cubicBezTo>
                <a:cubicBezTo>
                  <a:pt x="558672" y="1952894"/>
                  <a:pt x="557073" y="1950846"/>
                  <a:pt x="555240" y="1948819"/>
                </a:cubicBezTo>
                <a:lnTo>
                  <a:pt x="553165" y="1942370"/>
                </a:lnTo>
                <a:lnTo>
                  <a:pt x="562926" y="1924497"/>
                </a:lnTo>
                <a:cubicBezTo>
                  <a:pt x="570275" y="1916267"/>
                  <a:pt x="582023" y="1907737"/>
                  <a:pt x="602047" y="1899381"/>
                </a:cubicBezTo>
                <a:cubicBezTo>
                  <a:pt x="604600" y="1896233"/>
                  <a:pt x="709675" y="1872997"/>
                  <a:pt x="819160" y="1851558"/>
                </a:cubicBezTo>
                <a:lnTo>
                  <a:pt x="849443" y="1845830"/>
                </a:lnTo>
                <a:lnTo>
                  <a:pt x="850474" y="1845757"/>
                </a:lnTo>
                <a:lnTo>
                  <a:pt x="851000" y="1845534"/>
                </a:lnTo>
                <a:lnTo>
                  <a:pt x="900566" y="1836159"/>
                </a:lnTo>
                <a:cubicBezTo>
                  <a:pt x="979734" y="1821780"/>
                  <a:pt x="1047584" y="1811490"/>
                  <a:pt x="1062723" y="1814522"/>
                </a:cubicBezTo>
                <a:cubicBezTo>
                  <a:pt x="1057327" y="1828145"/>
                  <a:pt x="1143348" y="1802958"/>
                  <a:pt x="1239761" y="1780494"/>
                </a:cubicBezTo>
                <a:lnTo>
                  <a:pt x="1337258" y="1762362"/>
                </a:lnTo>
                <a:lnTo>
                  <a:pt x="1321286" y="1771038"/>
                </a:lnTo>
                <a:cubicBezTo>
                  <a:pt x="1319680" y="1778848"/>
                  <a:pt x="1318906" y="1784812"/>
                  <a:pt x="1318772" y="1789244"/>
                </a:cubicBezTo>
                <a:lnTo>
                  <a:pt x="1319364" y="1793273"/>
                </a:lnTo>
                <a:lnTo>
                  <a:pt x="1335083" y="1788309"/>
                </a:lnTo>
                <a:lnTo>
                  <a:pt x="1340809" y="1779945"/>
                </a:lnTo>
                <a:cubicBezTo>
                  <a:pt x="1343764" y="1773819"/>
                  <a:pt x="1345449" y="1767825"/>
                  <a:pt x="1344331" y="1764468"/>
                </a:cubicBezTo>
                <a:lnTo>
                  <a:pt x="1338310" y="1762166"/>
                </a:lnTo>
                <a:lnTo>
                  <a:pt x="1382045" y="1754033"/>
                </a:lnTo>
                <a:lnTo>
                  <a:pt x="1387801" y="1753839"/>
                </a:lnTo>
                <a:lnTo>
                  <a:pt x="1382326" y="1756836"/>
                </a:lnTo>
                <a:cubicBezTo>
                  <a:pt x="1392206" y="1761798"/>
                  <a:pt x="1391625" y="1776452"/>
                  <a:pt x="1401573" y="1760963"/>
                </a:cubicBezTo>
                <a:lnTo>
                  <a:pt x="1394883" y="1753599"/>
                </a:lnTo>
                <a:lnTo>
                  <a:pt x="1440042" y="1752071"/>
                </a:lnTo>
                <a:cubicBezTo>
                  <a:pt x="1456649" y="1753318"/>
                  <a:pt x="1470105" y="1756682"/>
                  <a:pt x="1479147" y="1762811"/>
                </a:cubicBezTo>
                <a:cubicBezTo>
                  <a:pt x="1269479" y="1825303"/>
                  <a:pt x="1554592" y="1761930"/>
                  <a:pt x="1544774" y="1736521"/>
                </a:cubicBezTo>
                <a:cubicBezTo>
                  <a:pt x="1544774" y="1736521"/>
                  <a:pt x="1486057" y="1776798"/>
                  <a:pt x="1509765" y="1725038"/>
                </a:cubicBezTo>
                <a:cubicBezTo>
                  <a:pt x="1545518" y="1713091"/>
                  <a:pt x="1569030" y="1701503"/>
                  <a:pt x="1584978" y="1692416"/>
                </a:cubicBezTo>
                <a:lnTo>
                  <a:pt x="1614473" y="1674982"/>
                </a:lnTo>
                <a:lnTo>
                  <a:pt x="1614866" y="1675164"/>
                </a:lnTo>
                <a:lnTo>
                  <a:pt x="1617096" y="1687363"/>
                </a:lnTo>
                <a:cubicBezTo>
                  <a:pt x="1618832" y="1688304"/>
                  <a:pt x="1621448" y="1685882"/>
                  <a:pt x="1624678" y="1679752"/>
                </a:cubicBezTo>
                <a:cubicBezTo>
                  <a:pt x="1622546" y="1677022"/>
                  <a:pt x="1617053" y="1721319"/>
                  <a:pt x="1624678" y="1679752"/>
                </a:cubicBezTo>
                <a:lnTo>
                  <a:pt x="1614866" y="1675164"/>
                </a:lnTo>
                <a:lnTo>
                  <a:pt x="1614796" y="1674792"/>
                </a:lnTo>
                <a:lnTo>
                  <a:pt x="1614473" y="1674982"/>
                </a:lnTo>
                <a:lnTo>
                  <a:pt x="1610730" y="1673232"/>
                </a:lnTo>
                <a:cubicBezTo>
                  <a:pt x="1571096" y="1666671"/>
                  <a:pt x="1459494" y="1683975"/>
                  <a:pt x="1401210" y="1699949"/>
                </a:cubicBezTo>
                <a:lnTo>
                  <a:pt x="1383896" y="1706993"/>
                </a:lnTo>
                <a:lnTo>
                  <a:pt x="1383289" y="1706738"/>
                </a:lnTo>
                <a:cubicBezTo>
                  <a:pt x="1377403" y="1706897"/>
                  <a:pt x="1371509" y="1709613"/>
                  <a:pt x="1365341" y="1714544"/>
                </a:cubicBezTo>
                <a:lnTo>
                  <a:pt x="1383896" y="1706993"/>
                </a:lnTo>
                <a:lnTo>
                  <a:pt x="1401188" y="1714270"/>
                </a:lnTo>
                <a:cubicBezTo>
                  <a:pt x="1374573" y="1754608"/>
                  <a:pt x="1224269" y="1741718"/>
                  <a:pt x="1220266" y="1739154"/>
                </a:cubicBezTo>
                <a:cubicBezTo>
                  <a:pt x="1223754" y="1735922"/>
                  <a:pt x="1225111" y="1729961"/>
                  <a:pt x="1224594" y="1724165"/>
                </a:cubicBezTo>
                <a:cubicBezTo>
                  <a:pt x="1234735" y="1732023"/>
                  <a:pt x="1240354" y="1731522"/>
                  <a:pt x="1240936" y="1716867"/>
                </a:cubicBezTo>
                <a:cubicBezTo>
                  <a:pt x="1225547" y="1718968"/>
                  <a:pt x="1206465" y="1720669"/>
                  <a:pt x="1186047" y="1722307"/>
                </a:cubicBezTo>
                <a:lnTo>
                  <a:pt x="1141476" y="1725891"/>
                </a:lnTo>
                <a:lnTo>
                  <a:pt x="1141658" y="1725714"/>
                </a:lnTo>
                <a:cubicBezTo>
                  <a:pt x="1136038" y="1726215"/>
                  <a:pt x="1127771" y="1718191"/>
                  <a:pt x="1122926" y="1727383"/>
                </a:cubicBezTo>
                <a:lnTo>
                  <a:pt x="1122937" y="1727389"/>
                </a:lnTo>
                <a:lnTo>
                  <a:pt x="1066439" y="1734060"/>
                </a:lnTo>
                <a:cubicBezTo>
                  <a:pt x="1050131" y="1736792"/>
                  <a:pt x="1037213" y="1740132"/>
                  <a:pt x="1030043" y="1744423"/>
                </a:cubicBezTo>
                <a:cubicBezTo>
                  <a:pt x="1028153" y="1749702"/>
                  <a:pt x="1022491" y="1757690"/>
                  <a:pt x="1015836" y="1766086"/>
                </a:cubicBezTo>
                <a:lnTo>
                  <a:pt x="996012" y="1789768"/>
                </a:lnTo>
                <a:lnTo>
                  <a:pt x="975103" y="1787696"/>
                </a:lnTo>
                <a:cubicBezTo>
                  <a:pt x="959035" y="1788123"/>
                  <a:pt x="949679" y="1791057"/>
                  <a:pt x="949418" y="1783505"/>
                </a:cubicBezTo>
                <a:lnTo>
                  <a:pt x="950567" y="1779949"/>
                </a:lnTo>
                <a:lnTo>
                  <a:pt x="956635" y="1781720"/>
                </a:lnTo>
                <a:cubicBezTo>
                  <a:pt x="959446" y="1781332"/>
                  <a:pt x="961271" y="1779870"/>
                  <a:pt x="961418" y="1776857"/>
                </a:cubicBezTo>
                <a:lnTo>
                  <a:pt x="957686" y="1766817"/>
                </a:lnTo>
                <a:lnTo>
                  <a:pt x="960740" y="1764881"/>
                </a:lnTo>
                <a:cubicBezTo>
                  <a:pt x="967997" y="1753968"/>
                  <a:pt x="963384" y="1737951"/>
                  <a:pt x="949430" y="1772049"/>
                </a:cubicBezTo>
                <a:lnTo>
                  <a:pt x="954074" y="1769105"/>
                </a:lnTo>
                <a:lnTo>
                  <a:pt x="950567" y="1779949"/>
                </a:lnTo>
                <a:lnTo>
                  <a:pt x="944911" y="1778297"/>
                </a:lnTo>
                <a:lnTo>
                  <a:pt x="947815" y="1775113"/>
                </a:lnTo>
                <a:cubicBezTo>
                  <a:pt x="907479" y="1756804"/>
                  <a:pt x="917345" y="1766877"/>
                  <a:pt x="933404" y="1774938"/>
                </a:cubicBezTo>
                <a:lnTo>
                  <a:pt x="944911" y="1778297"/>
                </a:lnTo>
                <a:lnTo>
                  <a:pt x="903844" y="1823329"/>
                </a:lnTo>
                <a:lnTo>
                  <a:pt x="851000" y="1845534"/>
                </a:lnTo>
                <a:lnTo>
                  <a:pt x="849443" y="1845830"/>
                </a:lnTo>
                <a:lnTo>
                  <a:pt x="790835" y="1849987"/>
                </a:lnTo>
                <a:cubicBezTo>
                  <a:pt x="770259" y="1849208"/>
                  <a:pt x="749162" y="1846663"/>
                  <a:pt x="728061" y="1843615"/>
                </a:cubicBezTo>
                <a:lnTo>
                  <a:pt x="691254" y="1838111"/>
                </a:lnTo>
                <a:lnTo>
                  <a:pt x="744688" y="1820959"/>
                </a:lnTo>
                <a:cubicBezTo>
                  <a:pt x="793374" y="1800558"/>
                  <a:pt x="840819" y="1771506"/>
                  <a:pt x="862038" y="1744791"/>
                </a:cubicBezTo>
                <a:cubicBezTo>
                  <a:pt x="873211" y="1764238"/>
                  <a:pt x="868624" y="1776329"/>
                  <a:pt x="850409" y="1783793"/>
                </a:cubicBezTo>
                <a:cubicBezTo>
                  <a:pt x="854157" y="1783459"/>
                  <a:pt x="902151" y="1749977"/>
                  <a:pt x="908868" y="1740618"/>
                </a:cubicBezTo>
                <a:cubicBezTo>
                  <a:pt x="904363" y="1737734"/>
                  <a:pt x="902591" y="1735063"/>
                  <a:pt x="902599" y="1732672"/>
                </a:cubicBezTo>
                <a:lnTo>
                  <a:pt x="904417" y="1730093"/>
                </a:lnTo>
                <a:lnTo>
                  <a:pt x="917153" y="1726327"/>
                </a:lnTo>
                <a:cubicBezTo>
                  <a:pt x="941181" y="1717888"/>
                  <a:pt x="917476" y="1719362"/>
                  <a:pt x="907013" y="1726409"/>
                </a:cubicBezTo>
                <a:lnTo>
                  <a:pt x="904417" y="1730093"/>
                </a:lnTo>
                <a:lnTo>
                  <a:pt x="889228" y="1734581"/>
                </a:lnTo>
                <a:cubicBezTo>
                  <a:pt x="876302" y="1737998"/>
                  <a:pt x="859439" y="1742102"/>
                  <a:pt x="837689" y="1746961"/>
                </a:cubicBezTo>
                <a:cubicBezTo>
                  <a:pt x="910489" y="1652859"/>
                  <a:pt x="1195535" y="1609935"/>
                  <a:pt x="1235514" y="1656020"/>
                </a:cubicBezTo>
                <a:cubicBezTo>
                  <a:pt x="1358890" y="1557412"/>
                  <a:pt x="1593872" y="1609484"/>
                  <a:pt x="1759621" y="1477895"/>
                </a:cubicBezTo>
                <a:cubicBezTo>
                  <a:pt x="1760559" y="1477812"/>
                  <a:pt x="1747849" y="1478214"/>
                  <a:pt x="1735472" y="1479682"/>
                </a:cubicBezTo>
                <a:lnTo>
                  <a:pt x="1723782" y="1481851"/>
                </a:lnTo>
                <a:lnTo>
                  <a:pt x="1748811" y="1470462"/>
                </a:lnTo>
                <a:cubicBezTo>
                  <a:pt x="1768568" y="1461766"/>
                  <a:pt x="1788594" y="1453410"/>
                  <a:pt x="1785913" y="1455110"/>
                </a:cubicBezTo>
                <a:cubicBezTo>
                  <a:pt x="1790175" y="1460570"/>
                  <a:pt x="1747284" y="1487755"/>
                  <a:pt x="1771054" y="1500240"/>
                </a:cubicBezTo>
                <a:lnTo>
                  <a:pt x="1799507" y="1471394"/>
                </a:lnTo>
                <a:lnTo>
                  <a:pt x="1814030" y="1475009"/>
                </a:lnTo>
                <a:cubicBezTo>
                  <a:pt x="1817285" y="1474126"/>
                  <a:pt x="1816726" y="1471164"/>
                  <a:pt x="1814228" y="1468284"/>
                </a:cubicBezTo>
                <a:lnTo>
                  <a:pt x="1807943" y="1464859"/>
                </a:lnTo>
                <a:lnTo>
                  <a:pt x="1827946" y="1450086"/>
                </a:lnTo>
                <a:lnTo>
                  <a:pt x="1833689" y="1447780"/>
                </a:lnTo>
                <a:lnTo>
                  <a:pt x="1831957" y="1455388"/>
                </a:lnTo>
                <a:cubicBezTo>
                  <a:pt x="1835244" y="1463126"/>
                  <a:pt x="1847273" y="1465704"/>
                  <a:pt x="1858192" y="1439906"/>
                </a:cubicBezTo>
                <a:lnTo>
                  <a:pt x="1851109" y="1440786"/>
                </a:lnTo>
                <a:lnTo>
                  <a:pt x="1877618" y="1430144"/>
                </a:lnTo>
                <a:cubicBezTo>
                  <a:pt x="1893346" y="1426552"/>
                  <a:pt x="1908431" y="1425025"/>
                  <a:pt x="1923438" y="1422594"/>
                </a:cubicBezTo>
                <a:lnTo>
                  <a:pt x="1960623" y="1411944"/>
                </a:lnTo>
                <a:lnTo>
                  <a:pt x="1963172" y="1413138"/>
                </a:lnTo>
                <a:cubicBezTo>
                  <a:pt x="1964983" y="1413050"/>
                  <a:pt x="1966862" y="1411970"/>
                  <a:pt x="1968776" y="1409609"/>
                </a:cubicBezTo>
                <a:lnTo>
                  <a:pt x="1960623" y="1411944"/>
                </a:lnTo>
                <a:lnTo>
                  <a:pt x="1957988" y="1410708"/>
                </a:lnTo>
                <a:cubicBezTo>
                  <a:pt x="1948186" y="1401040"/>
                  <a:pt x="1942229" y="1365977"/>
                  <a:pt x="1948043" y="1367649"/>
                </a:cubicBezTo>
                <a:cubicBezTo>
                  <a:pt x="2019481" y="1353618"/>
                  <a:pt x="2342394" y="1290344"/>
                  <a:pt x="2436802" y="1298861"/>
                </a:cubicBezTo>
                <a:lnTo>
                  <a:pt x="2456936" y="1305605"/>
                </a:lnTo>
                <a:lnTo>
                  <a:pt x="2463981" y="1304782"/>
                </a:lnTo>
                <a:lnTo>
                  <a:pt x="2478716" y="1287453"/>
                </a:lnTo>
                <a:cubicBezTo>
                  <a:pt x="2513670" y="1256190"/>
                  <a:pt x="2520491" y="1318828"/>
                  <a:pt x="2547398" y="1249989"/>
                </a:cubicBezTo>
                <a:cubicBezTo>
                  <a:pt x="2556697" y="1269605"/>
                  <a:pt x="2552368" y="1284594"/>
                  <a:pt x="2535769" y="1288992"/>
                </a:cubicBezTo>
                <a:cubicBezTo>
                  <a:pt x="2561543" y="1260411"/>
                  <a:pt x="2614166" y="1259008"/>
                  <a:pt x="2649632" y="1246812"/>
                </a:cubicBezTo>
                <a:lnTo>
                  <a:pt x="2675832" y="1230783"/>
                </a:lnTo>
                <a:lnTo>
                  <a:pt x="2680069" y="1255690"/>
                </a:lnTo>
                <a:cubicBezTo>
                  <a:pt x="2686205" y="1260984"/>
                  <a:pt x="2677229" y="1223817"/>
                  <a:pt x="2721927" y="1216915"/>
                </a:cubicBezTo>
                <a:cubicBezTo>
                  <a:pt x="2709960" y="1215061"/>
                  <a:pt x="2700599" y="1214618"/>
                  <a:pt x="2693478" y="1215480"/>
                </a:cubicBezTo>
                <a:lnTo>
                  <a:pt x="2675521" y="1227695"/>
                </a:lnTo>
                <a:lnTo>
                  <a:pt x="2671610" y="1224319"/>
                </a:lnTo>
                <a:cubicBezTo>
                  <a:pt x="2667006" y="1220348"/>
                  <a:pt x="2660402" y="1215095"/>
                  <a:pt x="2653462" y="1211333"/>
                </a:cubicBezTo>
                <a:cubicBezTo>
                  <a:pt x="2644351" y="1215066"/>
                  <a:pt x="2690148" y="1199303"/>
                  <a:pt x="2669287" y="1198241"/>
                </a:cubicBezTo>
                <a:cubicBezTo>
                  <a:pt x="2684270" y="1196906"/>
                  <a:pt x="2712594" y="1186352"/>
                  <a:pt x="2738971" y="1177794"/>
                </a:cubicBezTo>
                <a:lnTo>
                  <a:pt x="2741582" y="1177078"/>
                </a:lnTo>
                <a:lnTo>
                  <a:pt x="2741165" y="1177776"/>
                </a:lnTo>
                <a:cubicBezTo>
                  <a:pt x="2738946" y="1182132"/>
                  <a:pt x="2736334" y="1187886"/>
                  <a:pt x="2733231" y="1195464"/>
                </a:cubicBezTo>
                <a:cubicBezTo>
                  <a:pt x="2756485" y="1202152"/>
                  <a:pt x="2778445" y="1194355"/>
                  <a:pt x="2796986" y="1169340"/>
                </a:cubicBezTo>
                <a:cubicBezTo>
                  <a:pt x="2793383" y="1166009"/>
                  <a:pt x="2785478" y="1165984"/>
                  <a:pt x="2775170" y="1167860"/>
                </a:cubicBezTo>
                <a:lnTo>
                  <a:pt x="2741582" y="1177078"/>
                </a:lnTo>
                <a:lnTo>
                  <a:pt x="2746727" y="1168478"/>
                </a:lnTo>
                <a:cubicBezTo>
                  <a:pt x="2755845" y="1156578"/>
                  <a:pt x="2754012" y="1179739"/>
                  <a:pt x="2760945" y="1146267"/>
                </a:cubicBezTo>
                <a:cubicBezTo>
                  <a:pt x="2791946" y="1155186"/>
                  <a:pt x="2842200" y="1168230"/>
                  <a:pt x="2861064" y="1125663"/>
                </a:cubicBezTo>
                <a:lnTo>
                  <a:pt x="2861987" y="1136042"/>
                </a:lnTo>
                <a:lnTo>
                  <a:pt x="2849097" y="1144024"/>
                </a:lnTo>
                <a:lnTo>
                  <a:pt x="2839788" y="1156965"/>
                </a:lnTo>
                <a:lnTo>
                  <a:pt x="2828291" y="1163081"/>
                </a:lnTo>
                <a:cubicBezTo>
                  <a:pt x="2824852" y="1165578"/>
                  <a:pt x="2824680" y="1167601"/>
                  <a:pt x="2830961" y="1169232"/>
                </a:cubicBezTo>
                <a:lnTo>
                  <a:pt x="2839788" y="1156965"/>
                </a:lnTo>
                <a:lnTo>
                  <a:pt x="2845187" y="1154092"/>
                </a:lnTo>
                <a:cubicBezTo>
                  <a:pt x="2851955" y="1150569"/>
                  <a:pt x="2858790" y="1146492"/>
                  <a:pt x="2862497" y="1141780"/>
                </a:cubicBezTo>
                <a:lnTo>
                  <a:pt x="2861987" y="1136042"/>
                </a:lnTo>
                <a:lnTo>
                  <a:pt x="2879659" y="1125101"/>
                </a:lnTo>
                <a:cubicBezTo>
                  <a:pt x="2902159" y="1115430"/>
                  <a:pt x="2926914" y="1112493"/>
                  <a:pt x="2941867" y="1121382"/>
                </a:cubicBezTo>
                <a:cubicBezTo>
                  <a:pt x="2943481" y="1118319"/>
                  <a:pt x="2924427" y="1137539"/>
                  <a:pt x="2928431" y="1140104"/>
                </a:cubicBezTo>
                <a:cubicBezTo>
                  <a:pt x="2948713" y="1155819"/>
                  <a:pt x="2947616" y="1079983"/>
                  <a:pt x="2986308" y="1111582"/>
                </a:cubicBezTo>
                <a:cubicBezTo>
                  <a:pt x="2990555" y="1122156"/>
                  <a:pt x="2980656" y="1132894"/>
                  <a:pt x="2964965" y="1142551"/>
                </a:cubicBezTo>
                <a:lnTo>
                  <a:pt x="2910988" y="1166114"/>
                </a:lnTo>
                <a:lnTo>
                  <a:pt x="2909070" y="1166150"/>
                </a:lnTo>
                <a:cubicBezTo>
                  <a:pt x="2899854" y="1166379"/>
                  <a:pt x="2893502" y="1166579"/>
                  <a:pt x="2893034" y="1166621"/>
                </a:cubicBezTo>
                <a:cubicBezTo>
                  <a:pt x="2843492" y="1182719"/>
                  <a:pt x="2871055" y="1179531"/>
                  <a:pt x="2908884" y="1167034"/>
                </a:cubicBezTo>
                <a:lnTo>
                  <a:pt x="2910988" y="1166114"/>
                </a:lnTo>
                <a:lnTo>
                  <a:pt x="2942259" y="1165520"/>
                </a:lnTo>
                <a:lnTo>
                  <a:pt x="2967019" y="1165526"/>
                </a:lnTo>
                <a:lnTo>
                  <a:pt x="2966604" y="1165906"/>
                </a:lnTo>
                <a:lnTo>
                  <a:pt x="2967931" y="1165526"/>
                </a:lnTo>
                <a:lnTo>
                  <a:pt x="2974448" y="1165527"/>
                </a:lnTo>
                <a:cubicBezTo>
                  <a:pt x="2982991" y="1165725"/>
                  <a:pt x="2988340" y="1166160"/>
                  <a:pt x="2987467" y="1166968"/>
                </a:cubicBezTo>
                <a:lnTo>
                  <a:pt x="2982137" y="1158429"/>
                </a:lnTo>
                <a:lnTo>
                  <a:pt x="2991849" y="1149968"/>
                </a:lnTo>
                <a:cubicBezTo>
                  <a:pt x="3019235" y="1122886"/>
                  <a:pt x="3056610" y="1075519"/>
                  <a:pt x="3060006" y="1114460"/>
                </a:cubicBezTo>
                <a:lnTo>
                  <a:pt x="3057976" y="1143815"/>
                </a:lnTo>
                <a:lnTo>
                  <a:pt x="3054393" y="1152608"/>
                </a:lnTo>
                <a:cubicBezTo>
                  <a:pt x="3055302" y="1160193"/>
                  <a:pt x="3062911" y="1166086"/>
                  <a:pt x="3074472" y="1147532"/>
                </a:cubicBezTo>
                <a:lnTo>
                  <a:pt x="3069539" y="1146082"/>
                </a:lnTo>
                <a:lnTo>
                  <a:pt x="3071730" y="1145541"/>
                </a:lnTo>
                <a:cubicBezTo>
                  <a:pt x="3092540" y="1139717"/>
                  <a:pt x="3128037" y="1128887"/>
                  <a:pt x="3129635" y="1130935"/>
                </a:cubicBezTo>
                <a:cubicBezTo>
                  <a:pt x="3125891" y="1131268"/>
                  <a:pt x="3112583" y="1109090"/>
                  <a:pt x="3111227" y="1115053"/>
                </a:cubicBezTo>
                <a:cubicBezTo>
                  <a:pt x="3163164" y="1019889"/>
                  <a:pt x="3388846" y="1052348"/>
                  <a:pt x="3463581" y="1022323"/>
                </a:cubicBezTo>
                <a:cubicBezTo>
                  <a:pt x="3448594" y="1023659"/>
                  <a:pt x="3442136" y="1035916"/>
                  <a:pt x="3446074" y="1058930"/>
                </a:cubicBezTo>
                <a:cubicBezTo>
                  <a:pt x="3481599" y="1076208"/>
                  <a:pt x="3563377" y="1019272"/>
                  <a:pt x="3601613" y="1024626"/>
                </a:cubicBezTo>
                <a:cubicBezTo>
                  <a:pt x="3573582" y="1006681"/>
                  <a:pt x="3551618" y="1014478"/>
                  <a:pt x="3518937" y="1029072"/>
                </a:cubicBezTo>
                <a:cubicBezTo>
                  <a:pt x="3588183" y="958651"/>
                  <a:pt x="3874391" y="886420"/>
                  <a:pt x="3967920" y="918973"/>
                </a:cubicBezTo>
                <a:cubicBezTo>
                  <a:pt x="3967887" y="929197"/>
                  <a:pt x="3942714" y="938011"/>
                  <a:pt x="3934044" y="941340"/>
                </a:cubicBezTo>
                <a:lnTo>
                  <a:pt x="3933014" y="941861"/>
                </a:lnTo>
                <a:lnTo>
                  <a:pt x="3924255" y="937464"/>
                </a:lnTo>
                <a:cubicBezTo>
                  <a:pt x="3921043" y="938482"/>
                  <a:pt x="3917956" y="940946"/>
                  <a:pt x="3915147" y="941197"/>
                </a:cubicBezTo>
                <a:cubicBezTo>
                  <a:pt x="3912176" y="950224"/>
                  <a:pt x="3929034" y="948722"/>
                  <a:pt x="3934139" y="942426"/>
                </a:cubicBezTo>
                <a:lnTo>
                  <a:pt x="3934004" y="942359"/>
                </a:lnTo>
                <a:lnTo>
                  <a:pt x="3938616" y="941707"/>
                </a:lnTo>
                <a:cubicBezTo>
                  <a:pt x="3947740" y="940119"/>
                  <a:pt x="3966190" y="936650"/>
                  <a:pt x="3999182" y="930789"/>
                </a:cubicBezTo>
                <a:cubicBezTo>
                  <a:pt x="3985551" y="926162"/>
                  <a:pt x="4286104" y="803004"/>
                  <a:pt x="4338097" y="856781"/>
                </a:cubicBezTo>
                <a:cubicBezTo>
                  <a:pt x="4340295" y="839061"/>
                  <a:pt x="4376208" y="818338"/>
                  <a:pt x="4315493" y="814987"/>
                </a:cubicBezTo>
                <a:cubicBezTo>
                  <a:pt x="4350824" y="808919"/>
                  <a:pt x="4358575" y="811148"/>
                  <a:pt x="4342233" y="818445"/>
                </a:cubicBezTo>
                <a:cubicBezTo>
                  <a:pt x="4394226" y="872222"/>
                  <a:pt x="4449072" y="788482"/>
                  <a:pt x="4518827" y="808551"/>
                </a:cubicBezTo>
                <a:cubicBezTo>
                  <a:pt x="4555457" y="732274"/>
                  <a:pt x="4854319" y="802018"/>
                  <a:pt x="4848445" y="714927"/>
                </a:cubicBezTo>
                <a:cubicBezTo>
                  <a:pt x="4855734" y="756989"/>
                  <a:pt x="4867232" y="753911"/>
                  <a:pt x="4882323" y="737936"/>
                </a:cubicBezTo>
                <a:lnTo>
                  <a:pt x="4882730" y="737459"/>
                </a:lnTo>
                <a:lnTo>
                  <a:pt x="4885173" y="743049"/>
                </a:lnTo>
                <a:cubicBezTo>
                  <a:pt x="4892350" y="746791"/>
                  <a:pt x="4905995" y="746305"/>
                  <a:pt x="4904574" y="730369"/>
                </a:cubicBezTo>
                <a:lnTo>
                  <a:pt x="4884832" y="734994"/>
                </a:lnTo>
                <a:lnTo>
                  <a:pt x="4898593" y="718855"/>
                </a:lnTo>
                <a:cubicBezTo>
                  <a:pt x="4921823" y="690866"/>
                  <a:pt x="4951086" y="659053"/>
                  <a:pt x="4984928" y="699844"/>
                </a:cubicBezTo>
                <a:cubicBezTo>
                  <a:pt x="4989773" y="690651"/>
                  <a:pt x="4952759" y="720233"/>
                  <a:pt x="4957280" y="728593"/>
                </a:cubicBezTo>
                <a:cubicBezTo>
                  <a:pt x="4982407" y="735115"/>
                  <a:pt x="5000366" y="724753"/>
                  <a:pt x="5016257" y="691211"/>
                </a:cubicBezTo>
                <a:cubicBezTo>
                  <a:pt x="5019938" y="711327"/>
                  <a:pt x="5013479" y="723585"/>
                  <a:pt x="5000623" y="727650"/>
                </a:cubicBezTo>
                <a:cubicBezTo>
                  <a:pt x="5169406" y="651280"/>
                  <a:pt x="5389852" y="730933"/>
                  <a:pt x="5580536" y="582519"/>
                </a:cubicBezTo>
                <a:cubicBezTo>
                  <a:pt x="5575499" y="568366"/>
                  <a:pt x="5567749" y="566135"/>
                  <a:pt x="5555410" y="575996"/>
                </a:cubicBezTo>
                <a:lnTo>
                  <a:pt x="5576823" y="565143"/>
                </a:lnTo>
                <a:lnTo>
                  <a:pt x="5575756" y="571262"/>
                </a:lnTo>
                <a:cubicBezTo>
                  <a:pt x="5619939" y="558564"/>
                  <a:pt x="5662314" y="525582"/>
                  <a:pt x="5706753" y="515782"/>
                </a:cubicBezTo>
                <a:cubicBezTo>
                  <a:pt x="5708819" y="538961"/>
                  <a:pt x="5564319" y="633613"/>
                  <a:pt x="5754357" y="520301"/>
                </a:cubicBezTo>
                <a:cubicBezTo>
                  <a:pt x="5745767" y="529828"/>
                  <a:pt x="5739050" y="539189"/>
                  <a:pt x="5732587" y="551446"/>
                </a:cubicBezTo>
                <a:cubicBezTo>
                  <a:pt x="5763915" y="542813"/>
                  <a:pt x="5881606" y="465155"/>
                  <a:pt x="5863907" y="478415"/>
                </a:cubicBezTo>
                <a:cubicBezTo>
                  <a:pt x="5843559" y="483148"/>
                  <a:pt x="5903760" y="480704"/>
                  <a:pt x="5903760" y="480704"/>
                </a:cubicBezTo>
                <a:cubicBezTo>
                  <a:pt x="5920168" y="452957"/>
                  <a:pt x="5857254" y="467325"/>
                  <a:pt x="5863974" y="457964"/>
                </a:cubicBezTo>
                <a:cubicBezTo>
                  <a:pt x="5884658" y="451741"/>
                  <a:pt x="6013543" y="444089"/>
                  <a:pt x="6075330" y="443237"/>
                </a:cubicBezTo>
                <a:lnTo>
                  <a:pt x="6089725" y="443990"/>
                </a:lnTo>
                <a:lnTo>
                  <a:pt x="6077351" y="447712"/>
                </a:lnTo>
                <a:cubicBezTo>
                  <a:pt x="6072798" y="449578"/>
                  <a:pt x="6068372" y="452893"/>
                  <a:pt x="6064334" y="460554"/>
                </a:cubicBezTo>
                <a:cubicBezTo>
                  <a:pt x="6069276" y="463034"/>
                  <a:pt x="6075703" y="461001"/>
                  <a:pt x="6081033" y="457240"/>
                </a:cubicBezTo>
                <a:lnTo>
                  <a:pt x="6090786" y="444045"/>
                </a:lnTo>
                <a:lnTo>
                  <a:pt x="6108258" y="444958"/>
                </a:lnTo>
                <a:cubicBezTo>
                  <a:pt x="6156511" y="414373"/>
                  <a:pt x="6205021" y="386687"/>
                  <a:pt x="6255920" y="364629"/>
                </a:cubicBezTo>
                <a:cubicBezTo>
                  <a:pt x="6201472" y="325673"/>
                  <a:pt x="6158059" y="431758"/>
                  <a:pt x="6120081" y="429302"/>
                </a:cubicBezTo>
                <a:cubicBezTo>
                  <a:pt x="6138225" y="391909"/>
                  <a:pt x="6340339" y="277751"/>
                  <a:pt x="6399325" y="262711"/>
                </a:cubicBezTo>
                <a:cubicBezTo>
                  <a:pt x="6407751" y="260563"/>
                  <a:pt x="6413255" y="260437"/>
                  <a:pt x="6414887" y="262848"/>
                </a:cubicBezTo>
                <a:cubicBezTo>
                  <a:pt x="6408680" y="362698"/>
                  <a:pt x="6404169" y="184950"/>
                  <a:pt x="6390596" y="329263"/>
                </a:cubicBezTo>
                <a:cubicBezTo>
                  <a:pt x="6523202" y="355412"/>
                  <a:pt x="6597749" y="217349"/>
                  <a:pt x="6700768" y="292863"/>
                </a:cubicBezTo>
                <a:lnTo>
                  <a:pt x="6697490" y="300086"/>
                </a:lnTo>
                <a:lnTo>
                  <a:pt x="6693793" y="301332"/>
                </a:lnTo>
                <a:cubicBezTo>
                  <a:pt x="6688028" y="303488"/>
                  <a:pt x="6683474" y="305355"/>
                  <a:pt x="6681197" y="306288"/>
                </a:cubicBezTo>
                <a:cubicBezTo>
                  <a:pt x="6686654" y="314564"/>
                  <a:pt x="6690740" y="312739"/>
                  <a:pt x="6693865" y="308079"/>
                </a:cubicBezTo>
                <a:lnTo>
                  <a:pt x="6697490" y="300086"/>
                </a:lnTo>
                <a:lnTo>
                  <a:pt x="6713670" y="294633"/>
                </a:lnTo>
                <a:cubicBezTo>
                  <a:pt x="6727928" y="290441"/>
                  <a:pt x="6742785" y="287658"/>
                  <a:pt x="6749728" y="291420"/>
                </a:cubicBezTo>
                <a:cubicBezTo>
                  <a:pt x="6749728" y="291420"/>
                  <a:pt x="6724406" y="346245"/>
                  <a:pt x="6730284" y="348642"/>
                </a:cubicBezTo>
                <a:cubicBezTo>
                  <a:pt x="6731898" y="345578"/>
                  <a:pt x="6892480" y="240733"/>
                  <a:pt x="6911145" y="259513"/>
                </a:cubicBezTo>
                <a:cubicBezTo>
                  <a:pt x="6873425" y="259953"/>
                  <a:pt x="6861344" y="272712"/>
                  <a:pt x="6873034" y="297955"/>
                </a:cubicBezTo>
                <a:cubicBezTo>
                  <a:pt x="7075665" y="177681"/>
                  <a:pt x="6958234" y="258238"/>
                  <a:pt x="6941759" y="306433"/>
                </a:cubicBezTo>
                <a:cubicBezTo>
                  <a:pt x="7023400" y="375092"/>
                  <a:pt x="7143419" y="238815"/>
                  <a:pt x="7233392" y="295048"/>
                </a:cubicBezTo>
                <a:cubicBezTo>
                  <a:pt x="7234161" y="388434"/>
                  <a:pt x="7010996" y="405400"/>
                  <a:pt x="6957899" y="445179"/>
                </a:cubicBezTo>
                <a:cubicBezTo>
                  <a:pt x="6919403" y="436927"/>
                  <a:pt x="6795767" y="532638"/>
                  <a:pt x="6692678" y="562268"/>
                </a:cubicBezTo>
                <a:cubicBezTo>
                  <a:pt x="6690289" y="556640"/>
                  <a:pt x="6786980" y="603513"/>
                  <a:pt x="6773675" y="581335"/>
                </a:cubicBezTo>
                <a:cubicBezTo>
                  <a:pt x="6823218" y="565237"/>
                  <a:pt x="6909384" y="557559"/>
                  <a:pt x="6971841" y="601642"/>
                </a:cubicBezTo>
                <a:cubicBezTo>
                  <a:pt x="6898398" y="646154"/>
                  <a:pt x="6679494" y="668580"/>
                  <a:pt x="6746023" y="694777"/>
                </a:cubicBezTo>
                <a:cubicBezTo>
                  <a:pt x="6631821" y="769204"/>
                  <a:pt x="6683302" y="732492"/>
                  <a:pt x="6678266" y="718338"/>
                </a:cubicBezTo>
                <a:cubicBezTo>
                  <a:pt x="6678266" y="718338"/>
                  <a:pt x="6591451" y="761120"/>
                  <a:pt x="6593000" y="778505"/>
                </a:cubicBezTo>
                <a:cubicBezTo>
                  <a:pt x="6608761" y="785862"/>
                  <a:pt x="6610507" y="741898"/>
                  <a:pt x="6627041" y="757948"/>
                </a:cubicBezTo>
                <a:cubicBezTo>
                  <a:pt x="6623812" y="764078"/>
                  <a:pt x="6604431" y="800850"/>
                  <a:pt x="6616705" y="811438"/>
                </a:cubicBezTo>
                <a:cubicBezTo>
                  <a:pt x="6675035" y="724466"/>
                  <a:pt x="6811775" y="712281"/>
                  <a:pt x="6892906" y="690449"/>
                </a:cubicBezTo>
                <a:cubicBezTo>
                  <a:pt x="6830311" y="771961"/>
                  <a:pt x="6931659" y="701598"/>
                  <a:pt x="6977906" y="712080"/>
                </a:cubicBezTo>
                <a:cubicBezTo>
                  <a:pt x="6950776" y="746623"/>
                  <a:pt x="7074405" y="735606"/>
                  <a:pt x="7070532" y="692145"/>
                </a:cubicBezTo>
                <a:cubicBezTo>
                  <a:pt x="7089969" y="804311"/>
                  <a:pt x="7139329" y="595479"/>
                  <a:pt x="7207016" y="677061"/>
                </a:cubicBezTo>
                <a:cubicBezTo>
                  <a:pt x="7211862" y="667869"/>
                  <a:pt x="7174848" y="697451"/>
                  <a:pt x="7179369" y="705809"/>
                </a:cubicBezTo>
                <a:cubicBezTo>
                  <a:pt x="7204496" y="712333"/>
                  <a:pt x="7222452" y="701970"/>
                  <a:pt x="7238344" y="668429"/>
                </a:cubicBezTo>
                <a:cubicBezTo>
                  <a:pt x="7242025" y="688544"/>
                  <a:pt x="7235564" y="700802"/>
                  <a:pt x="7222710" y="704868"/>
                </a:cubicBezTo>
                <a:cubicBezTo>
                  <a:pt x="7391493" y="628497"/>
                  <a:pt x="7611941" y="708150"/>
                  <a:pt x="7802623" y="559735"/>
                </a:cubicBezTo>
                <a:cubicBezTo>
                  <a:pt x="7797586" y="545582"/>
                  <a:pt x="7789835" y="543352"/>
                  <a:pt x="7777498" y="553214"/>
                </a:cubicBezTo>
                <a:lnTo>
                  <a:pt x="7798912" y="542360"/>
                </a:lnTo>
                <a:lnTo>
                  <a:pt x="7797845" y="548480"/>
                </a:lnTo>
                <a:cubicBezTo>
                  <a:pt x="7842027" y="535781"/>
                  <a:pt x="7884401" y="502800"/>
                  <a:pt x="7928840" y="492999"/>
                </a:cubicBezTo>
                <a:cubicBezTo>
                  <a:pt x="7930906" y="516179"/>
                  <a:pt x="7786408" y="610828"/>
                  <a:pt x="7976445" y="497519"/>
                </a:cubicBezTo>
                <a:cubicBezTo>
                  <a:pt x="7967853" y="507046"/>
                  <a:pt x="7961135" y="516405"/>
                  <a:pt x="7954675" y="528663"/>
                </a:cubicBezTo>
                <a:cubicBezTo>
                  <a:pt x="7986002" y="520031"/>
                  <a:pt x="8103693" y="442373"/>
                  <a:pt x="8085995" y="455631"/>
                </a:cubicBezTo>
                <a:cubicBezTo>
                  <a:pt x="8065648" y="460365"/>
                  <a:pt x="8125848" y="457921"/>
                  <a:pt x="8125848" y="457921"/>
                </a:cubicBezTo>
                <a:cubicBezTo>
                  <a:pt x="8142256" y="430175"/>
                  <a:pt x="8079342" y="444543"/>
                  <a:pt x="8086061" y="435182"/>
                </a:cubicBezTo>
                <a:cubicBezTo>
                  <a:pt x="8106746" y="428958"/>
                  <a:pt x="8235632" y="421307"/>
                  <a:pt x="8297418" y="420455"/>
                </a:cubicBezTo>
                <a:lnTo>
                  <a:pt x="8316481" y="420595"/>
                </a:lnTo>
                <a:lnTo>
                  <a:pt x="8303185" y="424596"/>
                </a:lnTo>
                <a:cubicBezTo>
                  <a:pt x="8298633" y="426461"/>
                  <a:pt x="8294207" y="429777"/>
                  <a:pt x="8290169" y="437437"/>
                </a:cubicBezTo>
                <a:cubicBezTo>
                  <a:pt x="8295111" y="439918"/>
                  <a:pt x="8301538" y="437884"/>
                  <a:pt x="8306866" y="434125"/>
                </a:cubicBezTo>
                <a:lnTo>
                  <a:pt x="8316864" y="420598"/>
                </a:lnTo>
                <a:lnTo>
                  <a:pt x="8321909" y="420634"/>
                </a:lnTo>
                <a:cubicBezTo>
                  <a:pt x="8327667" y="420908"/>
                  <a:pt x="8330751" y="421408"/>
                  <a:pt x="8330347" y="422175"/>
                </a:cubicBezTo>
                <a:cubicBezTo>
                  <a:pt x="8378598" y="391591"/>
                  <a:pt x="8427109" y="363905"/>
                  <a:pt x="8478008" y="341845"/>
                </a:cubicBezTo>
                <a:cubicBezTo>
                  <a:pt x="8423560" y="302891"/>
                  <a:pt x="8380147" y="408976"/>
                  <a:pt x="8342167" y="406519"/>
                </a:cubicBezTo>
                <a:cubicBezTo>
                  <a:pt x="8362904" y="363784"/>
                  <a:pt x="8623929" y="220784"/>
                  <a:pt x="8636976" y="240065"/>
                </a:cubicBezTo>
                <a:cubicBezTo>
                  <a:pt x="8630768" y="339915"/>
                  <a:pt x="8626257" y="162167"/>
                  <a:pt x="8612685" y="306481"/>
                </a:cubicBezTo>
                <a:cubicBezTo>
                  <a:pt x="8745289" y="332630"/>
                  <a:pt x="8819836" y="194565"/>
                  <a:pt x="8922856" y="270080"/>
                </a:cubicBezTo>
                <a:lnTo>
                  <a:pt x="8919578" y="277304"/>
                </a:lnTo>
                <a:lnTo>
                  <a:pt x="8915882" y="278550"/>
                </a:lnTo>
                <a:cubicBezTo>
                  <a:pt x="8910115" y="280706"/>
                  <a:pt x="8905561" y="282573"/>
                  <a:pt x="8903284" y="283506"/>
                </a:cubicBezTo>
                <a:cubicBezTo>
                  <a:pt x="8908741" y="291781"/>
                  <a:pt x="8912827" y="289956"/>
                  <a:pt x="8915951" y="285297"/>
                </a:cubicBezTo>
                <a:lnTo>
                  <a:pt x="8919578" y="277304"/>
                </a:lnTo>
                <a:lnTo>
                  <a:pt x="8935758" y="271850"/>
                </a:lnTo>
                <a:cubicBezTo>
                  <a:pt x="8950017" y="267659"/>
                  <a:pt x="8964873" y="264876"/>
                  <a:pt x="8971816" y="268637"/>
                </a:cubicBezTo>
                <a:cubicBezTo>
                  <a:pt x="8971816" y="268637"/>
                  <a:pt x="8946492" y="323462"/>
                  <a:pt x="8952370" y="325859"/>
                </a:cubicBezTo>
                <a:cubicBezTo>
                  <a:pt x="8953986" y="322794"/>
                  <a:pt x="9114567" y="217950"/>
                  <a:pt x="9133233" y="236731"/>
                </a:cubicBezTo>
                <a:cubicBezTo>
                  <a:pt x="9095512" y="237171"/>
                  <a:pt x="9083432" y="249929"/>
                  <a:pt x="9095122" y="275172"/>
                </a:cubicBezTo>
                <a:cubicBezTo>
                  <a:pt x="9297753" y="154898"/>
                  <a:pt x="9180321" y="235455"/>
                  <a:pt x="9163848" y="283651"/>
                </a:cubicBezTo>
                <a:cubicBezTo>
                  <a:pt x="9245488" y="352308"/>
                  <a:pt x="9365507" y="216033"/>
                  <a:pt x="9455480" y="272266"/>
                </a:cubicBezTo>
                <a:cubicBezTo>
                  <a:pt x="9456249" y="365652"/>
                  <a:pt x="9233083" y="382618"/>
                  <a:pt x="9179987" y="422395"/>
                </a:cubicBezTo>
                <a:cubicBezTo>
                  <a:pt x="9141491" y="414144"/>
                  <a:pt x="9017856" y="509856"/>
                  <a:pt x="8914766" y="539485"/>
                </a:cubicBezTo>
                <a:lnTo>
                  <a:pt x="8922044" y="547184"/>
                </a:lnTo>
                <a:lnTo>
                  <a:pt x="8917672" y="550908"/>
                </a:lnTo>
                <a:cubicBezTo>
                  <a:pt x="8926747" y="557401"/>
                  <a:pt x="8931405" y="559358"/>
                  <a:pt x="8933258" y="558965"/>
                </a:cubicBezTo>
                <a:lnTo>
                  <a:pt x="8932666" y="556093"/>
                </a:lnTo>
                <a:lnTo>
                  <a:pt x="8957148" y="557248"/>
                </a:lnTo>
                <a:cubicBezTo>
                  <a:pt x="9019189" y="547338"/>
                  <a:pt x="9123918" y="471199"/>
                  <a:pt x="9124692" y="479892"/>
                </a:cubicBezTo>
                <a:cubicBezTo>
                  <a:pt x="9144129" y="592059"/>
                  <a:pt x="9193489" y="383226"/>
                  <a:pt x="9261176" y="464808"/>
                </a:cubicBezTo>
                <a:cubicBezTo>
                  <a:pt x="9266021" y="455616"/>
                  <a:pt x="9229009" y="485199"/>
                  <a:pt x="9233529" y="493556"/>
                </a:cubicBezTo>
                <a:cubicBezTo>
                  <a:pt x="9258656" y="500080"/>
                  <a:pt x="9276613" y="489717"/>
                  <a:pt x="9292505" y="456176"/>
                </a:cubicBezTo>
                <a:cubicBezTo>
                  <a:pt x="9296184" y="476291"/>
                  <a:pt x="9289724" y="488549"/>
                  <a:pt x="9276871" y="492615"/>
                </a:cubicBezTo>
                <a:cubicBezTo>
                  <a:pt x="9445654" y="416245"/>
                  <a:pt x="9666101" y="495897"/>
                  <a:pt x="9856784" y="347482"/>
                </a:cubicBezTo>
                <a:cubicBezTo>
                  <a:pt x="9851746" y="333331"/>
                  <a:pt x="9843996" y="331100"/>
                  <a:pt x="9831658" y="340961"/>
                </a:cubicBezTo>
                <a:lnTo>
                  <a:pt x="9853069" y="330108"/>
                </a:lnTo>
                <a:lnTo>
                  <a:pt x="9852004" y="336227"/>
                </a:lnTo>
                <a:cubicBezTo>
                  <a:pt x="9896187" y="323529"/>
                  <a:pt x="9938561" y="290547"/>
                  <a:pt x="9983000" y="280747"/>
                </a:cubicBezTo>
                <a:cubicBezTo>
                  <a:pt x="9985066" y="303927"/>
                  <a:pt x="9840569" y="398577"/>
                  <a:pt x="10030604" y="285267"/>
                </a:cubicBezTo>
                <a:cubicBezTo>
                  <a:pt x="10022013" y="294793"/>
                  <a:pt x="10015296" y="304154"/>
                  <a:pt x="10008836" y="316412"/>
                </a:cubicBezTo>
                <a:cubicBezTo>
                  <a:pt x="10040163" y="307778"/>
                  <a:pt x="10157854" y="230120"/>
                  <a:pt x="10140155" y="243378"/>
                </a:cubicBezTo>
                <a:cubicBezTo>
                  <a:pt x="10119808" y="248112"/>
                  <a:pt x="10180008" y="245669"/>
                  <a:pt x="10180008" y="245669"/>
                </a:cubicBezTo>
                <a:cubicBezTo>
                  <a:pt x="10196416" y="217922"/>
                  <a:pt x="10133502" y="232290"/>
                  <a:pt x="10140220" y="222929"/>
                </a:cubicBezTo>
                <a:cubicBezTo>
                  <a:pt x="10160907" y="216706"/>
                  <a:pt x="10289792" y="209054"/>
                  <a:pt x="10351579" y="208202"/>
                </a:cubicBezTo>
                <a:lnTo>
                  <a:pt x="10373221" y="208360"/>
                </a:lnTo>
                <a:lnTo>
                  <a:pt x="10361093" y="212010"/>
                </a:lnTo>
                <a:cubicBezTo>
                  <a:pt x="10356539" y="213874"/>
                  <a:pt x="10352115" y="217190"/>
                  <a:pt x="10348078" y="224851"/>
                </a:cubicBezTo>
                <a:cubicBezTo>
                  <a:pt x="10353018" y="227331"/>
                  <a:pt x="10359445" y="225298"/>
                  <a:pt x="10364774" y="221538"/>
                </a:cubicBezTo>
                <a:lnTo>
                  <a:pt x="10374507" y="208370"/>
                </a:lnTo>
                <a:lnTo>
                  <a:pt x="10376069" y="208382"/>
                </a:lnTo>
                <a:cubicBezTo>
                  <a:pt x="10381828" y="208655"/>
                  <a:pt x="10384911" y="209155"/>
                  <a:pt x="10384507" y="209922"/>
                </a:cubicBezTo>
                <a:cubicBezTo>
                  <a:pt x="10432758" y="179338"/>
                  <a:pt x="10481268" y="151652"/>
                  <a:pt x="10532168" y="129593"/>
                </a:cubicBezTo>
                <a:cubicBezTo>
                  <a:pt x="10477721" y="90638"/>
                  <a:pt x="10434307" y="196723"/>
                  <a:pt x="10396329" y="194266"/>
                </a:cubicBezTo>
                <a:cubicBezTo>
                  <a:pt x="10417065" y="151532"/>
                  <a:pt x="10678089" y="8532"/>
                  <a:pt x="10691135" y="27813"/>
                </a:cubicBezTo>
                <a:cubicBezTo>
                  <a:pt x="10684928" y="127664"/>
                  <a:pt x="10680417" y="-50086"/>
                  <a:pt x="10666845" y="94228"/>
                </a:cubicBezTo>
                <a:cubicBezTo>
                  <a:pt x="10799450" y="120378"/>
                  <a:pt x="10873997" y="-17688"/>
                  <a:pt x="10977017" y="57827"/>
                </a:cubicBezTo>
                <a:lnTo>
                  <a:pt x="10973739" y="65051"/>
                </a:lnTo>
                <a:lnTo>
                  <a:pt x="10970044" y="66298"/>
                </a:lnTo>
                <a:cubicBezTo>
                  <a:pt x="10964276" y="68453"/>
                  <a:pt x="10959722" y="70320"/>
                  <a:pt x="10957445" y="71253"/>
                </a:cubicBezTo>
                <a:cubicBezTo>
                  <a:pt x="10962902" y="79529"/>
                  <a:pt x="10966988" y="77704"/>
                  <a:pt x="10970113" y="73045"/>
                </a:cubicBezTo>
                <a:lnTo>
                  <a:pt x="10973739" y="65051"/>
                </a:lnTo>
                <a:lnTo>
                  <a:pt x="10989918" y="59598"/>
                </a:lnTo>
                <a:cubicBezTo>
                  <a:pt x="11004178" y="55407"/>
                  <a:pt x="11019033" y="52623"/>
                  <a:pt x="11025976" y="56385"/>
                </a:cubicBezTo>
                <a:cubicBezTo>
                  <a:pt x="11025976" y="56385"/>
                  <a:pt x="11000655" y="111210"/>
                  <a:pt x="11006532" y="113606"/>
                </a:cubicBezTo>
                <a:cubicBezTo>
                  <a:pt x="11008148" y="110542"/>
                  <a:pt x="11168729" y="5699"/>
                  <a:pt x="11187393" y="24478"/>
                </a:cubicBezTo>
                <a:cubicBezTo>
                  <a:pt x="11149673" y="24919"/>
                  <a:pt x="11137592" y="37676"/>
                  <a:pt x="11149282" y="62919"/>
                </a:cubicBezTo>
                <a:cubicBezTo>
                  <a:pt x="11225269" y="17817"/>
                  <a:pt x="11256247" y="956"/>
                  <a:pt x="11264419" y="40"/>
                </a:cubicBezTo>
                <a:close/>
              </a:path>
            </a:pathLst>
          </a:custGeom>
          <a:solidFill>
            <a:schemeClr val="bg1">
              <a:lumMod val="95000"/>
            </a:schemeClr>
          </a:solidFill>
          <a:ln w="19050">
            <a:noFill/>
          </a:ln>
        </p:spPr>
        <p:txBody>
          <a:bodyPr wrap="square" anchor="ctr">
            <a:noAutofit/>
          </a:bodyPr>
          <a:lstStyle>
            <a:lvl1pPr marL="0" indent="0" algn="ctr">
              <a:lnSpc>
                <a:spcPct val="100000"/>
              </a:lnSpc>
              <a:buNone/>
              <a:defRPr sz="1600">
                <a:solidFill>
                  <a:schemeClr val="tx1">
                    <a:lumMod val="75000"/>
                    <a:lumOff val="25000"/>
                  </a:schemeClr>
                </a:solidFill>
              </a:defRPr>
            </a:lvl1pPr>
          </a:lstStyle>
          <a:p>
            <a:r>
              <a:rPr lang="en-US" altLang="ko-KR" dirty="0"/>
              <a:t>Place Your Picture Here And Send To Back</a:t>
            </a:r>
            <a:endParaRPr lang="ko-KR" altLang="en-US" dirty="0"/>
          </a:p>
        </p:txBody>
      </p:sp>
    </p:spTree>
    <p:extLst>
      <p:ext uri="{BB962C8B-B14F-4D97-AF65-F5344CB8AC3E}">
        <p14:creationId xmlns:p14="http://schemas.microsoft.com/office/powerpoint/2010/main" val="1902433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slide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5A52D8B-6566-4D2D-81F4-9604E51E22E6}"/>
              </a:ext>
            </a:extLst>
          </p:cNvPr>
          <p:cNvSpPr>
            <a:spLocks noGrp="1"/>
          </p:cNvSpPr>
          <p:nvPr>
            <p:ph type="pic" sz="quarter" idx="14" hasCustomPrompt="1"/>
          </p:nvPr>
        </p:nvSpPr>
        <p:spPr>
          <a:xfrm>
            <a:off x="-528" y="2945497"/>
            <a:ext cx="12192528" cy="3912503"/>
          </a:xfrm>
          <a:custGeom>
            <a:avLst/>
            <a:gdLst>
              <a:gd name="connsiteX0" fmla="*/ 2510807 w 12192528"/>
              <a:gd name="connsiteY0" fmla="*/ 3014103 h 3912503"/>
              <a:gd name="connsiteX1" fmla="*/ 2506134 w 12192528"/>
              <a:gd name="connsiteY1" fmla="*/ 3036693 h 3912503"/>
              <a:gd name="connsiteX2" fmla="*/ 2513999 w 12192528"/>
              <a:gd name="connsiteY2" fmla="*/ 3045911 h 3912503"/>
              <a:gd name="connsiteX3" fmla="*/ 2535353 w 12192528"/>
              <a:gd name="connsiteY3" fmla="*/ 3078914 h 3912503"/>
              <a:gd name="connsiteX4" fmla="*/ 2542807 w 12192528"/>
              <a:gd name="connsiteY4" fmla="*/ 3052570 h 3912503"/>
              <a:gd name="connsiteX5" fmla="*/ 2535357 w 12192528"/>
              <a:gd name="connsiteY5" fmla="*/ 3048255 h 3912503"/>
              <a:gd name="connsiteX6" fmla="*/ 2528294 w 12192528"/>
              <a:gd name="connsiteY6" fmla="*/ 3034130 h 3912503"/>
              <a:gd name="connsiteX7" fmla="*/ 2519082 w 12192528"/>
              <a:gd name="connsiteY7" fmla="*/ 2974106 h 3912503"/>
              <a:gd name="connsiteX8" fmla="*/ 2518351 w 12192528"/>
              <a:gd name="connsiteY8" fmla="*/ 2977637 h 3912503"/>
              <a:gd name="connsiteX9" fmla="*/ 2521233 w 12192528"/>
              <a:gd name="connsiteY9" fmla="*/ 2977637 h 3912503"/>
              <a:gd name="connsiteX10" fmla="*/ 2524763 w 12192528"/>
              <a:gd name="connsiteY10" fmla="*/ 2977637 h 3912503"/>
              <a:gd name="connsiteX11" fmla="*/ 2521233 w 12192528"/>
              <a:gd name="connsiteY11" fmla="*/ 2974106 h 3912503"/>
              <a:gd name="connsiteX12" fmla="*/ 2531825 w 12192528"/>
              <a:gd name="connsiteY12" fmla="*/ 2963514 h 3912503"/>
              <a:gd name="connsiteX13" fmla="*/ 2524763 w 12192528"/>
              <a:gd name="connsiteY13" fmla="*/ 2963515 h 3912503"/>
              <a:gd name="connsiteX14" fmla="*/ 2528294 w 12192528"/>
              <a:gd name="connsiteY14" fmla="*/ 2970576 h 3912503"/>
              <a:gd name="connsiteX15" fmla="*/ 2531825 w 12192528"/>
              <a:gd name="connsiteY15" fmla="*/ 2970576 h 3912503"/>
              <a:gd name="connsiteX16" fmla="*/ 2535357 w 12192528"/>
              <a:gd name="connsiteY16" fmla="*/ 2974106 h 3912503"/>
              <a:gd name="connsiteX17" fmla="*/ 2538887 w 12192528"/>
              <a:gd name="connsiteY17" fmla="*/ 2988230 h 3912503"/>
              <a:gd name="connsiteX18" fmla="*/ 2535357 w 12192528"/>
              <a:gd name="connsiteY18" fmla="*/ 2984700 h 3912503"/>
              <a:gd name="connsiteX19" fmla="*/ 2535357 w 12192528"/>
              <a:gd name="connsiteY19" fmla="*/ 2988230 h 3912503"/>
              <a:gd name="connsiteX20" fmla="*/ 2535357 w 12192528"/>
              <a:gd name="connsiteY20" fmla="*/ 2991761 h 3912503"/>
              <a:gd name="connsiteX21" fmla="*/ 2538887 w 12192528"/>
              <a:gd name="connsiteY21" fmla="*/ 2991761 h 3912503"/>
              <a:gd name="connsiteX22" fmla="*/ 2542418 w 12192528"/>
              <a:gd name="connsiteY22" fmla="*/ 2995293 h 3912503"/>
              <a:gd name="connsiteX23" fmla="*/ 2538887 w 12192528"/>
              <a:gd name="connsiteY23" fmla="*/ 2995292 h 3912503"/>
              <a:gd name="connsiteX24" fmla="*/ 2542418 w 12192528"/>
              <a:gd name="connsiteY24" fmla="*/ 2998823 h 3912503"/>
              <a:gd name="connsiteX25" fmla="*/ 2542418 w 12192528"/>
              <a:gd name="connsiteY25" fmla="*/ 3002354 h 3912503"/>
              <a:gd name="connsiteX26" fmla="*/ 2530060 w 12192528"/>
              <a:gd name="connsiteY26" fmla="*/ 2993968 h 3912503"/>
              <a:gd name="connsiteX27" fmla="*/ 2518211 w 12192528"/>
              <a:gd name="connsiteY27" fmla="*/ 2978311 h 3912503"/>
              <a:gd name="connsiteX28" fmla="*/ 2515439 w 12192528"/>
              <a:gd name="connsiteY28" fmla="*/ 2991716 h 3912503"/>
              <a:gd name="connsiteX29" fmla="*/ 2542418 w 12192528"/>
              <a:gd name="connsiteY29" fmla="*/ 3016478 h 3912503"/>
              <a:gd name="connsiteX30" fmla="*/ 2545948 w 12192528"/>
              <a:gd name="connsiteY30" fmla="*/ 3027070 h 3912503"/>
              <a:gd name="connsiteX31" fmla="*/ 2546831 w 12192528"/>
              <a:gd name="connsiteY31" fmla="*/ 3023539 h 3912503"/>
              <a:gd name="connsiteX32" fmla="*/ 2549810 w 12192528"/>
              <a:gd name="connsiteY32" fmla="*/ 3026943 h 3912503"/>
              <a:gd name="connsiteX33" fmla="*/ 2551500 w 12192528"/>
              <a:gd name="connsiteY33" fmla="*/ 3015281 h 3912503"/>
              <a:gd name="connsiteX34" fmla="*/ 2545948 w 12192528"/>
              <a:gd name="connsiteY34" fmla="*/ 3005885 h 3912503"/>
              <a:gd name="connsiteX35" fmla="*/ 2549480 w 12192528"/>
              <a:gd name="connsiteY35" fmla="*/ 3009415 h 3912503"/>
              <a:gd name="connsiteX36" fmla="*/ 2552834 w 12192528"/>
              <a:gd name="connsiteY36" fmla="*/ 3009415 h 3912503"/>
              <a:gd name="connsiteX37" fmla="*/ 2553523 w 12192528"/>
              <a:gd name="connsiteY37" fmla="*/ 3006398 h 3912503"/>
              <a:gd name="connsiteX38" fmla="*/ 2549479 w 12192528"/>
              <a:gd name="connsiteY38" fmla="*/ 3002354 h 3912503"/>
              <a:gd name="connsiteX39" fmla="*/ 2554265 w 12192528"/>
              <a:gd name="connsiteY39" fmla="*/ 3003152 h 3912503"/>
              <a:gd name="connsiteX40" fmla="*/ 2554330 w 12192528"/>
              <a:gd name="connsiteY40" fmla="*/ 3002866 h 3912503"/>
              <a:gd name="connsiteX41" fmla="*/ 2549479 w 12192528"/>
              <a:gd name="connsiteY41" fmla="*/ 2998823 h 3912503"/>
              <a:gd name="connsiteX42" fmla="*/ 2549480 w 12192528"/>
              <a:gd name="connsiteY42" fmla="*/ 2995292 h 3912503"/>
              <a:gd name="connsiteX43" fmla="*/ 2553010 w 12192528"/>
              <a:gd name="connsiteY43" fmla="*/ 2995292 h 3912503"/>
              <a:gd name="connsiteX44" fmla="*/ 2545948 w 12192528"/>
              <a:gd name="connsiteY44" fmla="*/ 2991761 h 3912503"/>
              <a:gd name="connsiteX45" fmla="*/ 2542418 w 12192528"/>
              <a:gd name="connsiteY45" fmla="*/ 2988230 h 3912503"/>
              <a:gd name="connsiteX46" fmla="*/ 2535357 w 12192528"/>
              <a:gd name="connsiteY46" fmla="*/ 2974106 h 3912503"/>
              <a:gd name="connsiteX47" fmla="*/ 2538887 w 12192528"/>
              <a:gd name="connsiteY47" fmla="*/ 2977637 h 3912503"/>
              <a:gd name="connsiteX48" fmla="*/ 2545948 w 12192528"/>
              <a:gd name="connsiteY48" fmla="*/ 2981168 h 3912503"/>
              <a:gd name="connsiteX49" fmla="*/ 2538887 w 12192528"/>
              <a:gd name="connsiteY49" fmla="*/ 2970576 h 3912503"/>
              <a:gd name="connsiteX50" fmla="*/ 2535357 w 12192528"/>
              <a:gd name="connsiteY50" fmla="*/ 2967045 h 3912503"/>
              <a:gd name="connsiteX51" fmla="*/ 2531825 w 12192528"/>
              <a:gd name="connsiteY51" fmla="*/ 2963514 h 3912503"/>
              <a:gd name="connsiteX52" fmla="*/ 2449742 w 12192528"/>
              <a:gd name="connsiteY52" fmla="*/ 2948294 h 3912503"/>
              <a:gd name="connsiteX53" fmla="*/ 2445878 w 12192528"/>
              <a:gd name="connsiteY53" fmla="*/ 2966063 h 3912503"/>
              <a:gd name="connsiteX54" fmla="*/ 2469317 w 12192528"/>
              <a:gd name="connsiteY54" fmla="*/ 2993537 h 3912503"/>
              <a:gd name="connsiteX55" fmla="*/ 2473421 w 12192528"/>
              <a:gd name="connsiteY55" fmla="*/ 2971781 h 3912503"/>
              <a:gd name="connsiteX56" fmla="*/ 2456830 w 12192528"/>
              <a:gd name="connsiteY56" fmla="*/ 2915684 h 3912503"/>
              <a:gd name="connsiteX57" fmla="*/ 2453087 w 12192528"/>
              <a:gd name="connsiteY57" fmla="*/ 2932903 h 3912503"/>
              <a:gd name="connsiteX58" fmla="*/ 2455030 w 12192528"/>
              <a:gd name="connsiteY58" fmla="*/ 2933943 h 3912503"/>
              <a:gd name="connsiteX59" fmla="*/ 2468270 w 12192528"/>
              <a:gd name="connsiteY59" fmla="*/ 2945860 h 3912503"/>
              <a:gd name="connsiteX60" fmla="*/ 2471801 w 12192528"/>
              <a:gd name="connsiteY60" fmla="*/ 2949390 h 3912503"/>
              <a:gd name="connsiteX61" fmla="*/ 2475332 w 12192528"/>
              <a:gd name="connsiteY61" fmla="*/ 2949390 h 3912503"/>
              <a:gd name="connsiteX62" fmla="*/ 2478823 w 12192528"/>
              <a:gd name="connsiteY62" fmla="*/ 2953145 h 3912503"/>
              <a:gd name="connsiteX63" fmla="*/ 2484965 w 12192528"/>
              <a:gd name="connsiteY63" fmla="*/ 2934308 h 3912503"/>
              <a:gd name="connsiteX64" fmla="*/ 2482394 w 12192528"/>
              <a:gd name="connsiteY64" fmla="*/ 2931736 h 3912503"/>
              <a:gd name="connsiteX65" fmla="*/ 2478862 w 12192528"/>
              <a:gd name="connsiteY65" fmla="*/ 2931736 h 3912503"/>
              <a:gd name="connsiteX66" fmla="*/ 2478862 w 12192528"/>
              <a:gd name="connsiteY66" fmla="*/ 2935269 h 3912503"/>
              <a:gd name="connsiteX67" fmla="*/ 2464739 w 12192528"/>
              <a:gd name="connsiteY67" fmla="*/ 2928205 h 3912503"/>
              <a:gd name="connsiteX68" fmla="*/ 2572729 w 12192528"/>
              <a:gd name="connsiteY68" fmla="*/ 2890351 h 3912503"/>
              <a:gd name="connsiteX69" fmla="*/ 2568625 w 12192528"/>
              <a:gd name="connsiteY69" fmla="*/ 2896904 h 3912503"/>
              <a:gd name="connsiteX70" fmla="*/ 2561658 w 12192528"/>
              <a:gd name="connsiteY70" fmla="*/ 2901764 h 3912503"/>
              <a:gd name="connsiteX71" fmla="*/ 2574279 w 12192528"/>
              <a:gd name="connsiteY71" fmla="*/ 2915546 h 3912503"/>
              <a:gd name="connsiteX72" fmla="*/ 2578625 w 12192528"/>
              <a:gd name="connsiteY72" fmla="*/ 2896529 h 3912503"/>
              <a:gd name="connsiteX73" fmla="*/ 2432229 w 12192528"/>
              <a:gd name="connsiteY73" fmla="*/ 2885596 h 3912503"/>
              <a:gd name="connsiteX74" fmla="*/ 2432229 w 12192528"/>
              <a:gd name="connsiteY74" fmla="*/ 2901744 h 3912503"/>
              <a:gd name="connsiteX75" fmla="*/ 2435981 w 12192528"/>
              <a:gd name="connsiteY75" fmla="*/ 2889536 h 3912503"/>
              <a:gd name="connsiteX76" fmla="*/ 2486379 w 12192528"/>
              <a:gd name="connsiteY76" fmla="*/ 2802027 h 3912503"/>
              <a:gd name="connsiteX77" fmla="*/ 2480897 w 12192528"/>
              <a:gd name="connsiteY77" fmla="*/ 2818990 h 3912503"/>
              <a:gd name="connsiteX78" fmla="*/ 2508874 w 12192528"/>
              <a:gd name="connsiteY78" fmla="*/ 2844128 h 3912503"/>
              <a:gd name="connsiteX79" fmla="*/ 2512927 w 12192528"/>
              <a:gd name="connsiteY79" fmla="*/ 2848554 h 3912503"/>
              <a:gd name="connsiteX80" fmla="*/ 2517957 w 12192528"/>
              <a:gd name="connsiteY80" fmla="*/ 2833126 h 3912503"/>
              <a:gd name="connsiteX81" fmla="*/ 2492986 w 12192528"/>
              <a:gd name="connsiteY81" fmla="*/ 2808159 h 3912503"/>
              <a:gd name="connsiteX82" fmla="*/ 2449419 w 12192528"/>
              <a:gd name="connsiteY82" fmla="*/ 2767715 h 3912503"/>
              <a:gd name="connsiteX83" fmla="*/ 2443467 w 12192528"/>
              <a:gd name="connsiteY83" fmla="*/ 2785357 h 3912503"/>
              <a:gd name="connsiteX84" fmla="*/ 2462694 w 12192528"/>
              <a:gd name="connsiteY84" fmla="*/ 2802635 h 3912503"/>
              <a:gd name="connsiteX85" fmla="*/ 2468097 w 12192528"/>
              <a:gd name="connsiteY85" fmla="*/ 2785054 h 3912503"/>
              <a:gd name="connsiteX86" fmla="*/ 6486903 w 12192528"/>
              <a:gd name="connsiteY86" fmla="*/ 2406960 h 3912503"/>
              <a:gd name="connsiteX87" fmla="*/ 6485566 w 12192528"/>
              <a:gd name="connsiteY87" fmla="*/ 2407394 h 3912503"/>
              <a:gd name="connsiteX88" fmla="*/ 6482501 w 12192528"/>
              <a:gd name="connsiteY88" fmla="*/ 2428943 h 3912503"/>
              <a:gd name="connsiteX89" fmla="*/ 6481551 w 12192528"/>
              <a:gd name="connsiteY89" fmla="*/ 2432315 h 3912503"/>
              <a:gd name="connsiteX90" fmla="*/ 6508570 w 12192528"/>
              <a:gd name="connsiteY90" fmla="*/ 2462044 h 3912503"/>
              <a:gd name="connsiteX91" fmla="*/ 6597990 w 12192528"/>
              <a:gd name="connsiteY91" fmla="*/ 2584858 h 3912503"/>
              <a:gd name="connsiteX92" fmla="*/ 6600360 w 12192528"/>
              <a:gd name="connsiteY92" fmla="*/ 2577216 h 3912503"/>
              <a:gd name="connsiteX93" fmla="*/ 6550342 w 12192528"/>
              <a:gd name="connsiteY93" fmla="*/ 2497195 h 3912503"/>
              <a:gd name="connsiteX94" fmla="*/ 2517903 w 12192528"/>
              <a:gd name="connsiteY94" fmla="*/ 2334609 h 3912503"/>
              <a:gd name="connsiteX95" fmla="*/ 2457879 w 12192528"/>
              <a:gd name="connsiteY95" fmla="*/ 2448890 h 3912503"/>
              <a:gd name="connsiteX96" fmla="*/ 2480550 w 12192528"/>
              <a:gd name="connsiteY96" fmla="*/ 2467845 h 3912503"/>
              <a:gd name="connsiteX97" fmla="*/ 2515576 w 12192528"/>
              <a:gd name="connsiteY97" fmla="*/ 2396968 h 3912503"/>
              <a:gd name="connsiteX98" fmla="*/ 2518387 w 12192528"/>
              <a:gd name="connsiteY98" fmla="*/ 2391936 h 3912503"/>
              <a:gd name="connsiteX99" fmla="*/ 2522273 w 12192528"/>
              <a:gd name="connsiteY99" fmla="*/ 2348348 h 3912503"/>
              <a:gd name="connsiteX100" fmla="*/ 2384705 w 12192528"/>
              <a:gd name="connsiteY100" fmla="*/ 2265102 h 3912503"/>
              <a:gd name="connsiteX101" fmla="*/ 2392293 w 12192528"/>
              <a:gd name="connsiteY101" fmla="*/ 2272671 h 3912503"/>
              <a:gd name="connsiteX102" fmla="*/ 2393144 w 12192528"/>
              <a:gd name="connsiteY102" fmla="*/ 2269923 h 3912503"/>
              <a:gd name="connsiteX103" fmla="*/ 2364072 w 12192528"/>
              <a:gd name="connsiteY103" fmla="*/ 2244070 h 3912503"/>
              <a:gd name="connsiteX104" fmla="*/ 2364257 w 12192528"/>
              <a:gd name="connsiteY104" fmla="*/ 2244708 h 3912503"/>
              <a:gd name="connsiteX105" fmla="*/ 2382010 w 12192528"/>
              <a:gd name="connsiteY105" fmla="*/ 2262413 h 3912503"/>
              <a:gd name="connsiteX106" fmla="*/ 2380465 w 12192528"/>
              <a:gd name="connsiteY106" fmla="*/ 2256233 h 3912503"/>
              <a:gd name="connsiteX107" fmla="*/ 2364072 w 12192528"/>
              <a:gd name="connsiteY107" fmla="*/ 2244070 h 3912503"/>
              <a:gd name="connsiteX108" fmla="*/ 2432229 w 12192528"/>
              <a:gd name="connsiteY108" fmla="*/ 2216904 h 3912503"/>
              <a:gd name="connsiteX109" fmla="*/ 2432229 w 12192528"/>
              <a:gd name="connsiteY109" fmla="*/ 2239484 h 3912503"/>
              <a:gd name="connsiteX110" fmla="*/ 2441391 w 12192528"/>
              <a:gd name="connsiteY110" fmla="*/ 2233552 h 3912503"/>
              <a:gd name="connsiteX111" fmla="*/ 2450502 w 12192528"/>
              <a:gd name="connsiteY111" fmla="*/ 2219717 h 3912503"/>
              <a:gd name="connsiteX112" fmla="*/ 2321299 w 12192528"/>
              <a:gd name="connsiteY112" fmla="*/ 2208707 h 3912503"/>
              <a:gd name="connsiteX113" fmla="*/ 2334415 w 12192528"/>
              <a:gd name="connsiteY113" fmla="*/ 2218207 h 3912503"/>
              <a:gd name="connsiteX114" fmla="*/ 2335342 w 12192528"/>
              <a:gd name="connsiteY114" fmla="*/ 2218629 h 3912503"/>
              <a:gd name="connsiteX115" fmla="*/ 2336859 w 12192528"/>
              <a:gd name="connsiteY115" fmla="*/ 2219978 h 3912503"/>
              <a:gd name="connsiteX116" fmla="*/ 2339815 w 12192528"/>
              <a:gd name="connsiteY116" fmla="*/ 2222119 h 3912503"/>
              <a:gd name="connsiteX117" fmla="*/ 2340100 w 12192528"/>
              <a:gd name="connsiteY117" fmla="*/ 2221801 h 3912503"/>
              <a:gd name="connsiteX118" fmla="*/ 2335342 w 12192528"/>
              <a:gd name="connsiteY118" fmla="*/ 2214868 h 3912503"/>
              <a:gd name="connsiteX119" fmla="*/ 2341922 w 12192528"/>
              <a:gd name="connsiteY119" fmla="*/ 2219098 h 3912503"/>
              <a:gd name="connsiteX120" fmla="*/ 2342837 w 12192528"/>
              <a:gd name="connsiteY120" fmla="*/ 2214981 h 3912503"/>
              <a:gd name="connsiteX121" fmla="*/ 2342625 w 12192528"/>
              <a:gd name="connsiteY121" fmla="*/ 2214800 h 3912503"/>
              <a:gd name="connsiteX122" fmla="*/ 2277892 w 12192528"/>
              <a:gd name="connsiteY122" fmla="*/ 2177266 h 3912503"/>
              <a:gd name="connsiteX123" fmla="*/ 2295327 w 12192528"/>
              <a:gd name="connsiteY123" fmla="*/ 2189897 h 3912503"/>
              <a:gd name="connsiteX124" fmla="*/ 2293979 w 12192528"/>
              <a:gd name="connsiteY124" fmla="*/ 2188547 h 3912503"/>
              <a:gd name="connsiteX125" fmla="*/ 2278937 w 12192528"/>
              <a:gd name="connsiteY125" fmla="*/ 2177266 h 3912503"/>
              <a:gd name="connsiteX126" fmla="*/ 2260137 w 12192528"/>
              <a:gd name="connsiteY126" fmla="*/ 2158465 h 3912503"/>
              <a:gd name="connsiteX127" fmla="*/ 2256690 w 12192528"/>
              <a:gd name="connsiteY127" fmla="*/ 2161910 h 3912503"/>
              <a:gd name="connsiteX128" fmla="*/ 2268044 w 12192528"/>
              <a:gd name="connsiteY128" fmla="*/ 2170134 h 3912503"/>
              <a:gd name="connsiteX129" fmla="*/ 2263897 w 12192528"/>
              <a:gd name="connsiteY129" fmla="*/ 2165986 h 3912503"/>
              <a:gd name="connsiteX130" fmla="*/ 2263897 w 12192528"/>
              <a:gd name="connsiteY130" fmla="*/ 2162225 h 3912503"/>
              <a:gd name="connsiteX131" fmla="*/ 2260137 w 12192528"/>
              <a:gd name="connsiteY131" fmla="*/ 2158465 h 3912503"/>
              <a:gd name="connsiteX132" fmla="*/ 1806005 w 12192528"/>
              <a:gd name="connsiteY132" fmla="*/ 1911781 h 3912503"/>
              <a:gd name="connsiteX133" fmla="*/ 1923829 w 12192528"/>
              <a:gd name="connsiteY133" fmla="*/ 1963794 h 3912503"/>
              <a:gd name="connsiteX134" fmla="*/ 2005592 w 12192528"/>
              <a:gd name="connsiteY134" fmla="*/ 2003732 h 3912503"/>
              <a:gd name="connsiteX135" fmla="*/ 2015415 w 12192528"/>
              <a:gd name="connsiteY135" fmla="*/ 2009096 h 3912503"/>
              <a:gd name="connsiteX136" fmla="*/ 2030104 w 12192528"/>
              <a:gd name="connsiteY136" fmla="*/ 2007701 h 3912503"/>
              <a:gd name="connsiteX137" fmla="*/ 1964414 w 12192528"/>
              <a:gd name="connsiteY137" fmla="*/ 1968577 h 3912503"/>
              <a:gd name="connsiteX138" fmla="*/ 1957414 w 12192528"/>
              <a:gd name="connsiteY138" fmla="*/ 1962856 h 3912503"/>
              <a:gd name="connsiteX139" fmla="*/ 1910425 w 12192528"/>
              <a:gd name="connsiteY139" fmla="*/ 1944412 h 3912503"/>
              <a:gd name="connsiteX140" fmla="*/ 6387577 w 12192528"/>
              <a:gd name="connsiteY140" fmla="*/ 1904496 h 3912503"/>
              <a:gd name="connsiteX141" fmla="*/ 6391362 w 12192528"/>
              <a:gd name="connsiteY141" fmla="*/ 1908599 h 3912503"/>
              <a:gd name="connsiteX142" fmla="*/ 6391223 w 12192528"/>
              <a:gd name="connsiteY142" fmla="*/ 1908522 h 3912503"/>
              <a:gd name="connsiteX143" fmla="*/ 6387577 w 12192528"/>
              <a:gd name="connsiteY143" fmla="*/ 1904496 h 3912503"/>
              <a:gd name="connsiteX144" fmla="*/ 6683345 w 12192528"/>
              <a:gd name="connsiteY144" fmla="*/ 1896966 h 3912503"/>
              <a:gd name="connsiteX145" fmla="*/ 6683478 w 12192528"/>
              <a:gd name="connsiteY145" fmla="*/ 1896966 h 3912503"/>
              <a:gd name="connsiteX146" fmla="*/ 6687890 w 12192528"/>
              <a:gd name="connsiteY146" fmla="*/ 1901380 h 3912503"/>
              <a:gd name="connsiteX147" fmla="*/ 7558704 w 12192528"/>
              <a:gd name="connsiteY147" fmla="*/ 1872258 h 3912503"/>
              <a:gd name="connsiteX148" fmla="*/ 7549763 w 12192528"/>
              <a:gd name="connsiteY148" fmla="*/ 1874039 h 3912503"/>
              <a:gd name="connsiteX149" fmla="*/ 7549824 w 12192528"/>
              <a:gd name="connsiteY149" fmla="*/ 1873138 h 3912503"/>
              <a:gd name="connsiteX150" fmla="*/ 7530685 w 12192528"/>
              <a:gd name="connsiteY150" fmla="*/ 1895241 h 3912503"/>
              <a:gd name="connsiteX151" fmla="*/ 7515538 w 12192528"/>
              <a:gd name="connsiteY151" fmla="*/ 1911018 h 3912503"/>
              <a:gd name="connsiteX152" fmla="*/ 7510169 w 12192528"/>
              <a:gd name="connsiteY152" fmla="*/ 1917677 h 3912503"/>
              <a:gd name="connsiteX153" fmla="*/ 7496161 w 12192528"/>
              <a:gd name="connsiteY153" fmla="*/ 1941816 h 3912503"/>
              <a:gd name="connsiteX154" fmla="*/ 7483893 w 12192528"/>
              <a:gd name="connsiteY154" fmla="*/ 1959233 h 3912503"/>
              <a:gd name="connsiteX155" fmla="*/ 7482580 w 12192528"/>
              <a:gd name="connsiteY155" fmla="*/ 1955180 h 3912503"/>
              <a:gd name="connsiteX156" fmla="*/ 7486633 w 12192528"/>
              <a:gd name="connsiteY156" fmla="*/ 1953865 h 3912503"/>
              <a:gd name="connsiteX157" fmla="*/ 7485319 w 12192528"/>
              <a:gd name="connsiteY157" fmla="*/ 1949812 h 3912503"/>
              <a:gd name="connsiteX158" fmla="*/ 7481265 w 12192528"/>
              <a:gd name="connsiteY158" fmla="*/ 1951127 h 3912503"/>
              <a:gd name="connsiteX159" fmla="*/ 7478526 w 12192528"/>
              <a:gd name="connsiteY159" fmla="*/ 1956494 h 3912503"/>
              <a:gd name="connsiteX160" fmla="*/ 7482470 w 12192528"/>
              <a:gd name="connsiteY160" fmla="*/ 1968653 h 3912503"/>
              <a:gd name="connsiteX161" fmla="*/ 7472939 w 12192528"/>
              <a:gd name="connsiteY161" fmla="*/ 1980703 h 3912503"/>
              <a:gd name="connsiteX162" fmla="*/ 7464836 w 12192528"/>
              <a:gd name="connsiteY162" fmla="*/ 1983332 h 3912503"/>
              <a:gd name="connsiteX163" fmla="*/ 7463521 w 12192528"/>
              <a:gd name="connsiteY163" fmla="*/ 1979278 h 3912503"/>
              <a:gd name="connsiteX164" fmla="*/ 7460784 w 12192528"/>
              <a:gd name="connsiteY164" fmla="*/ 1984647 h 3912503"/>
              <a:gd name="connsiteX165" fmla="*/ 7462098 w 12192528"/>
              <a:gd name="connsiteY165" fmla="*/ 1988699 h 3912503"/>
              <a:gd name="connsiteX166" fmla="*/ 7460673 w 12192528"/>
              <a:gd name="connsiteY166" fmla="*/ 1998119 h 3912503"/>
              <a:gd name="connsiteX167" fmla="*/ 7453884 w 12192528"/>
              <a:gd name="connsiteY167" fmla="*/ 2004801 h 3912503"/>
              <a:gd name="connsiteX168" fmla="*/ 7449831 w 12192528"/>
              <a:gd name="connsiteY168" fmla="*/ 2006115 h 3912503"/>
              <a:gd name="connsiteX169" fmla="*/ 7451145 w 12192528"/>
              <a:gd name="connsiteY169" fmla="*/ 2010169 h 3912503"/>
              <a:gd name="connsiteX170" fmla="*/ 7448407 w 12192528"/>
              <a:gd name="connsiteY170" fmla="*/ 2015537 h 3912503"/>
              <a:gd name="connsiteX171" fmla="*/ 7429991 w 12192528"/>
              <a:gd name="connsiteY171" fmla="*/ 2043345 h 3912503"/>
              <a:gd name="connsiteX172" fmla="*/ 7418385 w 12192528"/>
              <a:gd name="connsiteY172" fmla="*/ 2056664 h 3912503"/>
              <a:gd name="connsiteX173" fmla="*/ 7420687 w 12192528"/>
              <a:gd name="connsiteY173" fmla="*/ 2060518 h 3912503"/>
              <a:gd name="connsiteX174" fmla="*/ 7452457 w 12192528"/>
              <a:gd name="connsiteY174" fmla="*/ 2014222 h 3912503"/>
              <a:gd name="connsiteX175" fmla="*/ 7456513 w 12192528"/>
              <a:gd name="connsiteY175" fmla="*/ 2012907 h 3912503"/>
              <a:gd name="connsiteX176" fmla="*/ 7459248 w 12192528"/>
              <a:gd name="connsiteY176" fmla="*/ 2007540 h 3912503"/>
              <a:gd name="connsiteX177" fmla="*/ 7468781 w 12192528"/>
              <a:gd name="connsiteY177" fmla="*/ 1995491 h 3912503"/>
              <a:gd name="connsiteX178" fmla="*/ 7471517 w 12192528"/>
              <a:gd name="connsiteY178" fmla="*/ 1990123 h 3912503"/>
              <a:gd name="connsiteX179" fmla="*/ 7481044 w 12192528"/>
              <a:gd name="connsiteY179" fmla="*/ 1978074 h 3912503"/>
              <a:gd name="connsiteX180" fmla="*/ 7490573 w 12192528"/>
              <a:gd name="connsiteY180" fmla="*/ 1966024 h 3912503"/>
              <a:gd name="connsiteX181" fmla="*/ 7520475 w 12192528"/>
              <a:gd name="connsiteY181" fmla="*/ 1933930 h 3912503"/>
              <a:gd name="connsiteX182" fmla="*/ 7549174 w 12192528"/>
              <a:gd name="connsiteY182" fmla="*/ 1884309 h 3912503"/>
              <a:gd name="connsiteX183" fmla="*/ 7558704 w 12192528"/>
              <a:gd name="connsiteY183" fmla="*/ 1872258 h 3912503"/>
              <a:gd name="connsiteX184" fmla="*/ 12165957 w 12192528"/>
              <a:gd name="connsiteY184" fmla="*/ 1871550 h 3912503"/>
              <a:gd name="connsiteX185" fmla="*/ 12168053 w 12192528"/>
              <a:gd name="connsiteY185" fmla="*/ 1873355 h 3912503"/>
              <a:gd name="connsiteX186" fmla="*/ 12165737 w 12192528"/>
              <a:gd name="connsiteY186" fmla="*/ 1871806 h 3912503"/>
              <a:gd name="connsiteX187" fmla="*/ 6762917 w 12192528"/>
              <a:gd name="connsiteY187" fmla="*/ 1866072 h 3912503"/>
              <a:gd name="connsiteX188" fmla="*/ 6802634 w 12192528"/>
              <a:gd name="connsiteY188" fmla="*/ 1914619 h 3912503"/>
              <a:gd name="connsiteX189" fmla="*/ 6807051 w 12192528"/>
              <a:gd name="connsiteY189" fmla="*/ 1927860 h 3912503"/>
              <a:gd name="connsiteX190" fmla="*/ 6851182 w 12192528"/>
              <a:gd name="connsiteY190" fmla="*/ 1979717 h 3912503"/>
              <a:gd name="connsiteX191" fmla="*/ 6865411 w 12192528"/>
              <a:gd name="connsiteY191" fmla="*/ 1998570 h 3912503"/>
              <a:gd name="connsiteX192" fmla="*/ 6870007 w 12192528"/>
              <a:gd name="connsiteY192" fmla="*/ 1990438 h 3912503"/>
              <a:gd name="connsiteX193" fmla="*/ 7317611 w 12192528"/>
              <a:gd name="connsiteY193" fmla="*/ 1860873 h 3912503"/>
              <a:gd name="connsiteX194" fmla="*/ 7309038 w 12192528"/>
              <a:gd name="connsiteY194" fmla="*/ 1873482 h 3912503"/>
              <a:gd name="connsiteX195" fmla="*/ 7311432 w 12192528"/>
              <a:gd name="connsiteY195" fmla="*/ 1877493 h 3912503"/>
              <a:gd name="connsiteX196" fmla="*/ 7316350 w 12192528"/>
              <a:gd name="connsiteY196" fmla="*/ 1870800 h 3912503"/>
              <a:gd name="connsiteX197" fmla="*/ 7317611 w 12192528"/>
              <a:gd name="connsiteY197" fmla="*/ 1860873 h 3912503"/>
              <a:gd name="connsiteX198" fmla="*/ 7125079 w 12192528"/>
              <a:gd name="connsiteY198" fmla="*/ 1842742 h 3912503"/>
              <a:gd name="connsiteX199" fmla="*/ 7086451 w 12192528"/>
              <a:gd name="connsiteY199" fmla="*/ 1894894 h 3912503"/>
              <a:gd name="connsiteX200" fmla="*/ 7106515 w 12192528"/>
              <a:gd name="connsiteY200" fmla="*/ 1918953 h 3912503"/>
              <a:gd name="connsiteX201" fmla="*/ 7138061 w 12192528"/>
              <a:gd name="connsiteY201" fmla="*/ 1926276 h 3912503"/>
              <a:gd name="connsiteX202" fmla="*/ 7138720 w 12192528"/>
              <a:gd name="connsiteY202" fmla="*/ 1926547 h 3912503"/>
              <a:gd name="connsiteX203" fmla="*/ 7162290 w 12192528"/>
              <a:gd name="connsiteY203" fmla="*/ 1889122 h 3912503"/>
              <a:gd name="connsiteX204" fmla="*/ 7144802 w 12192528"/>
              <a:gd name="connsiteY204" fmla="*/ 1864606 h 3912503"/>
              <a:gd name="connsiteX205" fmla="*/ 6687890 w 12192528"/>
              <a:gd name="connsiteY205" fmla="*/ 1839408 h 3912503"/>
              <a:gd name="connsiteX206" fmla="*/ 6692305 w 12192528"/>
              <a:gd name="connsiteY206" fmla="*/ 1844006 h 3912503"/>
              <a:gd name="connsiteX207" fmla="*/ 6687890 w 12192528"/>
              <a:gd name="connsiteY207" fmla="*/ 1839593 h 3912503"/>
              <a:gd name="connsiteX208" fmla="*/ 12090228 w 12192528"/>
              <a:gd name="connsiteY208" fmla="*/ 1834540 h 3912503"/>
              <a:gd name="connsiteX209" fmla="*/ 12098715 w 12192528"/>
              <a:gd name="connsiteY209" fmla="*/ 1837342 h 3912503"/>
              <a:gd name="connsiteX210" fmla="*/ 12095912 w 12192528"/>
              <a:gd name="connsiteY210" fmla="*/ 1835591 h 3912503"/>
              <a:gd name="connsiteX211" fmla="*/ 12096620 w 12192528"/>
              <a:gd name="connsiteY211" fmla="*/ 1835537 h 3912503"/>
              <a:gd name="connsiteX212" fmla="*/ 12100664 w 12192528"/>
              <a:gd name="connsiteY212" fmla="*/ 1837197 h 3912503"/>
              <a:gd name="connsiteX213" fmla="*/ 12100572 w 12192528"/>
              <a:gd name="connsiteY213" fmla="*/ 1835963 h 3912503"/>
              <a:gd name="connsiteX214" fmla="*/ 12095360 w 12192528"/>
              <a:gd name="connsiteY214" fmla="*/ 1835245 h 3912503"/>
              <a:gd name="connsiteX215" fmla="*/ 12095912 w 12192528"/>
              <a:gd name="connsiteY215" fmla="*/ 1835591 h 3912503"/>
              <a:gd name="connsiteX216" fmla="*/ 12094671 w 12192528"/>
              <a:gd name="connsiteY216" fmla="*/ 1835684 h 3912503"/>
              <a:gd name="connsiteX217" fmla="*/ 12093935 w 12192528"/>
              <a:gd name="connsiteY217" fmla="*/ 1835051 h 3912503"/>
              <a:gd name="connsiteX218" fmla="*/ 7388777 w 12192528"/>
              <a:gd name="connsiteY218" fmla="*/ 1817888 h 3912503"/>
              <a:gd name="connsiteX219" fmla="*/ 7389364 w 12192528"/>
              <a:gd name="connsiteY219" fmla="*/ 1819685 h 3912503"/>
              <a:gd name="connsiteX220" fmla="*/ 7385312 w 12192528"/>
              <a:gd name="connsiteY220" fmla="*/ 1821000 h 3912503"/>
              <a:gd name="connsiteX221" fmla="*/ 12054147 w 12192528"/>
              <a:gd name="connsiteY221" fmla="*/ 1807180 h 3912503"/>
              <a:gd name="connsiteX222" fmla="*/ 12087545 w 12192528"/>
              <a:gd name="connsiteY222" fmla="*/ 1821519 h 3912503"/>
              <a:gd name="connsiteX223" fmla="*/ 12075262 w 12192528"/>
              <a:gd name="connsiteY223" fmla="*/ 1815310 h 3912503"/>
              <a:gd name="connsiteX224" fmla="*/ 6084899 w 12192528"/>
              <a:gd name="connsiteY224" fmla="*/ 1795170 h 3912503"/>
              <a:gd name="connsiteX225" fmla="*/ 6088499 w 12192528"/>
              <a:gd name="connsiteY225" fmla="*/ 1798773 h 3912503"/>
              <a:gd name="connsiteX226" fmla="*/ 6084459 w 12192528"/>
              <a:gd name="connsiteY226" fmla="*/ 1795609 h 3912503"/>
              <a:gd name="connsiteX227" fmla="*/ 7688591 w 12192528"/>
              <a:gd name="connsiteY227" fmla="*/ 1792592 h 3912503"/>
              <a:gd name="connsiteX228" fmla="*/ 7692335 w 12192528"/>
              <a:gd name="connsiteY228" fmla="*/ 1793440 h 3912503"/>
              <a:gd name="connsiteX229" fmla="*/ 7683586 w 12192528"/>
              <a:gd name="connsiteY229" fmla="*/ 1800869 h 3912503"/>
              <a:gd name="connsiteX230" fmla="*/ 2048700 w 12192528"/>
              <a:gd name="connsiteY230" fmla="*/ 1788029 h 3912503"/>
              <a:gd name="connsiteX231" fmla="*/ 2048819 w 12192528"/>
              <a:gd name="connsiteY231" fmla="*/ 1788402 h 3912503"/>
              <a:gd name="connsiteX232" fmla="*/ 2051503 w 12192528"/>
              <a:gd name="connsiteY232" fmla="*/ 1795639 h 3912503"/>
              <a:gd name="connsiteX233" fmla="*/ 2051503 w 12192528"/>
              <a:gd name="connsiteY233" fmla="*/ 1798856 h 3912503"/>
              <a:gd name="connsiteX234" fmla="*/ 2048283 w 12192528"/>
              <a:gd name="connsiteY234" fmla="*/ 1805288 h 3912503"/>
              <a:gd name="connsiteX235" fmla="*/ 2047583 w 12192528"/>
              <a:gd name="connsiteY235" fmla="*/ 1806221 h 3912503"/>
              <a:gd name="connsiteX236" fmla="*/ 2059337 w 12192528"/>
              <a:gd name="connsiteY236" fmla="*/ 1810342 h 3912503"/>
              <a:gd name="connsiteX237" fmla="*/ 2138697 w 12192528"/>
              <a:gd name="connsiteY237" fmla="*/ 1846190 h 3912503"/>
              <a:gd name="connsiteX238" fmla="*/ 2139327 w 12192528"/>
              <a:gd name="connsiteY238" fmla="*/ 1831392 h 3912503"/>
              <a:gd name="connsiteX239" fmla="*/ 2092710 w 12192528"/>
              <a:gd name="connsiteY239" fmla="*/ 1805853 h 3912503"/>
              <a:gd name="connsiteX240" fmla="*/ 11996731 w 12192528"/>
              <a:gd name="connsiteY240" fmla="*/ 1784154 h 3912503"/>
              <a:gd name="connsiteX241" fmla="*/ 11996698 w 12192528"/>
              <a:gd name="connsiteY241" fmla="*/ 1784156 h 3912503"/>
              <a:gd name="connsiteX242" fmla="*/ 11996732 w 12192528"/>
              <a:gd name="connsiteY242" fmla="*/ 1784167 h 3912503"/>
              <a:gd name="connsiteX243" fmla="*/ 12013946 w 12192528"/>
              <a:gd name="connsiteY243" fmla="*/ 1778453 h 3912503"/>
              <a:gd name="connsiteX244" fmla="*/ 12015932 w 12192528"/>
              <a:gd name="connsiteY244" fmla="*/ 1778795 h 3912503"/>
              <a:gd name="connsiteX245" fmla="*/ 12013982 w 12192528"/>
              <a:gd name="connsiteY245" fmla="*/ 1778940 h 3912503"/>
              <a:gd name="connsiteX246" fmla="*/ 12017736 w 12192528"/>
              <a:gd name="connsiteY246" fmla="*/ 1776698 h 3912503"/>
              <a:gd name="connsiteX247" fmla="*/ 12015787 w 12192528"/>
              <a:gd name="connsiteY247" fmla="*/ 1776845 h 3912503"/>
              <a:gd name="connsiteX248" fmla="*/ 12013837 w 12192528"/>
              <a:gd name="connsiteY248" fmla="*/ 1776990 h 3912503"/>
              <a:gd name="connsiteX249" fmla="*/ 12013946 w 12192528"/>
              <a:gd name="connsiteY249" fmla="*/ 1778453 h 3912503"/>
              <a:gd name="connsiteX250" fmla="*/ 12011961 w 12192528"/>
              <a:gd name="connsiteY250" fmla="*/ 1778111 h 3912503"/>
              <a:gd name="connsiteX251" fmla="*/ 12007988 w 12192528"/>
              <a:gd name="connsiteY251" fmla="*/ 1777427 h 3912503"/>
              <a:gd name="connsiteX252" fmla="*/ 12014566 w 12192528"/>
              <a:gd name="connsiteY252" fmla="*/ 1786744 h 3912503"/>
              <a:gd name="connsiteX253" fmla="*/ 11998680 w 12192528"/>
              <a:gd name="connsiteY253" fmla="*/ 1784009 h 3912503"/>
              <a:gd name="connsiteX254" fmla="*/ 11998165 w 12192528"/>
              <a:gd name="connsiteY254" fmla="*/ 1784607 h 3912503"/>
              <a:gd name="connsiteX255" fmla="*/ 12010121 w 12192528"/>
              <a:gd name="connsiteY255" fmla="*/ 1788279 h 3912503"/>
              <a:gd name="connsiteX256" fmla="*/ 12033342 w 12192528"/>
              <a:gd name="connsiteY256" fmla="*/ 1798248 h 3912503"/>
              <a:gd name="connsiteX257" fmla="*/ 12034264 w 12192528"/>
              <a:gd name="connsiteY257" fmla="*/ 1794590 h 3912503"/>
              <a:gd name="connsiteX258" fmla="*/ 12038540 w 12192528"/>
              <a:gd name="connsiteY258" fmla="*/ 1792798 h 3912503"/>
              <a:gd name="connsiteX259" fmla="*/ 12028066 w 12192528"/>
              <a:gd name="connsiteY259" fmla="*/ 1783772 h 3912503"/>
              <a:gd name="connsiteX260" fmla="*/ 12032108 w 12192528"/>
              <a:gd name="connsiteY260" fmla="*/ 1785432 h 3912503"/>
              <a:gd name="connsiteX261" fmla="*/ 12036153 w 12192528"/>
              <a:gd name="connsiteY261" fmla="*/ 1787092 h 3912503"/>
              <a:gd name="connsiteX262" fmla="*/ 12034059 w 12192528"/>
              <a:gd name="connsiteY262" fmla="*/ 1785287 h 3912503"/>
              <a:gd name="connsiteX263" fmla="*/ 12030015 w 12192528"/>
              <a:gd name="connsiteY263" fmla="*/ 1783627 h 3912503"/>
              <a:gd name="connsiteX264" fmla="*/ 12027919 w 12192528"/>
              <a:gd name="connsiteY264" fmla="*/ 1781822 h 3912503"/>
              <a:gd name="connsiteX265" fmla="*/ 12017736 w 12192528"/>
              <a:gd name="connsiteY265" fmla="*/ 1776698 h 3912503"/>
              <a:gd name="connsiteX266" fmla="*/ 11964996 w 12192528"/>
              <a:gd name="connsiteY266" fmla="*/ 1773837 h 3912503"/>
              <a:gd name="connsiteX267" fmla="*/ 11964022 w 12192528"/>
              <a:gd name="connsiteY267" fmla="*/ 1774121 h 3912503"/>
              <a:gd name="connsiteX268" fmla="*/ 11976922 w 12192528"/>
              <a:gd name="connsiteY268" fmla="*/ 1778082 h 3912503"/>
              <a:gd name="connsiteX269" fmla="*/ 11971844 w 12192528"/>
              <a:gd name="connsiteY269" fmla="*/ 1775715 h 3912503"/>
              <a:gd name="connsiteX270" fmla="*/ 11964996 w 12192528"/>
              <a:gd name="connsiteY270" fmla="*/ 1773837 h 3912503"/>
              <a:gd name="connsiteX271" fmla="*/ 6227322 w 12192528"/>
              <a:gd name="connsiteY271" fmla="*/ 1770443 h 3912503"/>
              <a:gd name="connsiteX272" fmla="*/ 6236335 w 12192528"/>
              <a:gd name="connsiteY272" fmla="*/ 1773951 h 3912503"/>
              <a:gd name="connsiteX273" fmla="*/ 6236145 w 12192528"/>
              <a:gd name="connsiteY273" fmla="*/ 1777787 h 3912503"/>
              <a:gd name="connsiteX274" fmla="*/ 11878662 w 12192528"/>
              <a:gd name="connsiteY274" fmla="*/ 1751785 h 3912503"/>
              <a:gd name="connsiteX275" fmla="*/ 11880358 w 12192528"/>
              <a:gd name="connsiteY275" fmla="*/ 1752404 h 3912503"/>
              <a:gd name="connsiteX276" fmla="*/ 11918602 w 12192528"/>
              <a:gd name="connsiteY276" fmla="*/ 1760172 h 3912503"/>
              <a:gd name="connsiteX277" fmla="*/ 11943146 w 12192528"/>
              <a:gd name="connsiteY277" fmla="*/ 1767710 h 3912503"/>
              <a:gd name="connsiteX278" fmla="*/ 11940718 w 12192528"/>
              <a:gd name="connsiteY278" fmla="*/ 1765782 h 3912503"/>
              <a:gd name="connsiteX279" fmla="*/ 11920326 w 12192528"/>
              <a:gd name="connsiteY279" fmla="*/ 1758478 h 3912503"/>
              <a:gd name="connsiteX280" fmla="*/ 11878662 w 12192528"/>
              <a:gd name="connsiteY280" fmla="*/ 1751785 h 3912503"/>
              <a:gd name="connsiteX281" fmla="*/ 1609129 w 12192528"/>
              <a:gd name="connsiteY281" fmla="*/ 1746640 h 3912503"/>
              <a:gd name="connsiteX282" fmla="*/ 1609949 w 12192528"/>
              <a:gd name="connsiteY282" fmla="*/ 1751761 h 3912503"/>
              <a:gd name="connsiteX283" fmla="*/ 1613252 w 12192528"/>
              <a:gd name="connsiteY283" fmla="*/ 1765439 h 3912503"/>
              <a:gd name="connsiteX284" fmla="*/ 1613017 w 12192528"/>
              <a:gd name="connsiteY284" fmla="*/ 1771098 h 3912503"/>
              <a:gd name="connsiteX285" fmla="*/ 1608010 w 12192528"/>
              <a:gd name="connsiteY285" fmla="*/ 1783280 h 3912503"/>
              <a:gd name="connsiteX286" fmla="*/ 1689613 w 12192528"/>
              <a:gd name="connsiteY286" fmla="*/ 1801924 h 3912503"/>
              <a:gd name="connsiteX287" fmla="*/ 2173650 w 12192528"/>
              <a:gd name="connsiteY287" fmla="*/ 1996780 h 3912503"/>
              <a:gd name="connsiteX288" fmla="*/ 2162369 w 12192528"/>
              <a:gd name="connsiteY288" fmla="*/ 1996780 h 3912503"/>
              <a:gd name="connsiteX289" fmla="*/ 2222534 w 12192528"/>
              <a:gd name="connsiteY289" fmla="*/ 2026858 h 3912503"/>
              <a:gd name="connsiteX290" fmla="*/ 2293979 w 12192528"/>
              <a:gd name="connsiteY290" fmla="*/ 2068220 h 3912503"/>
              <a:gd name="connsiteX291" fmla="*/ 2308990 w 12192528"/>
              <a:gd name="connsiteY291" fmla="*/ 2080669 h 3912503"/>
              <a:gd name="connsiteX292" fmla="*/ 2306757 w 12192528"/>
              <a:gd name="connsiteY292" fmla="*/ 2028676 h 3912503"/>
              <a:gd name="connsiteX293" fmla="*/ 2295859 w 12192528"/>
              <a:gd name="connsiteY293" fmla="*/ 2019337 h 3912503"/>
              <a:gd name="connsiteX294" fmla="*/ 2283527 w 12192528"/>
              <a:gd name="connsiteY294" fmla="*/ 2008767 h 3912503"/>
              <a:gd name="connsiteX295" fmla="*/ 2272442 w 12192528"/>
              <a:gd name="connsiteY295" fmla="*/ 2018504 h 3912503"/>
              <a:gd name="connsiteX296" fmla="*/ 2263812 w 12192528"/>
              <a:gd name="connsiteY296" fmla="*/ 2021594 h 3912503"/>
              <a:gd name="connsiteX297" fmla="*/ 2258634 w 12192528"/>
              <a:gd name="connsiteY297" fmla="*/ 2013903 h 3912503"/>
              <a:gd name="connsiteX298" fmla="*/ 2256909 w 12192528"/>
              <a:gd name="connsiteY298" fmla="*/ 2007003 h 3912503"/>
              <a:gd name="connsiteX299" fmla="*/ 2251730 w 12192528"/>
              <a:gd name="connsiteY299" fmla="*/ 1998952 h 3912503"/>
              <a:gd name="connsiteX300" fmla="*/ 2244251 w 12192528"/>
              <a:gd name="connsiteY300" fmla="*/ 2004128 h 3912503"/>
              <a:gd name="connsiteX301" fmla="*/ 2226990 w 12192528"/>
              <a:gd name="connsiteY301" fmla="*/ 2001252 h 3912503"/>
              <a:gd name="connsiteX302" fmla="*/ 2223539 w 12192528"/>
              <a:gd name="connsiteY302" fmla="*/ 1993776 h 3912503"/>
              <a:gd name="connsiteX303" fmla="*/ 2213182 w 12192528"/>
              <a:gd name="connsiteY303" fmla="*/ 1989750 h 3912503"/>
              <a:gd name="connsiteX304" fmla="*/ 2209155 w 12192528"/>
              <a:gd name="connsiteY304" fmla="*/ 1999527 h 3912503"/>
              <a:gd name="connsiteX305" fmla="*/ 2210123 w 12192528"/>
              <a:gd name="connsiteY305" fmla="*/ 2008224 h 3912503"/>
              <a:gd name="connsiteX306" fmla="*/ 2165155 w 12192528"/>
              <a:gd name="connsiteY306" fmla="*/ 1963502 h 3912503"/>
              <a:gd name="connsiteX307" fmla="*/ 2165173 w 12192528"/>
              <a:gd name="connsiteY307" fmla="*/ 1963476 h 3912503"/>
              <a:gd name="connsiteX308" fmla="*/ 1990538 w 12192528"/>
              <a:gd name="connsiteY308" fmla="*/ 1873132 h 3912503"/>
              <a:gd name="connsiteX309" fmla="*/ 1752365 w 12192528"/>
              <a:gd name="connsiteY309" fmla="*/ 1782645 h 3912503"/>
              <a:gd name="connsiteX310" fmla="*/ 5950882 w 12192528"/>
              <a:gd name="connsiteY310" fmla="*/ 1716792 h 3912503"/>
              <a:gd name="connsiteX311" fmla="*/ 5966086 w 12192528"/>
              <a:gd name="connsiteY311" fmla="*/ 1723104 h 3912503"/>
              <a:gd name="connsiteX312" fmla="*/ 5961177 w 12192528"/>
              <a:gd name="connsiteY312" fmla="*/ 1719502 h 3912503"/>
              <a:gd name="connsiteX313" fmla="*/ 5962488 w 12192528"/>
              <a:gd name="connsiteY313" fmla="*/ 1719502 h 3912503"/>
              <a:gd name="connsiteX314" fmla="*/ 5969686 w 12192528"/>
              <a:gd name="connsiteY314" fmla="*/ 1723104 h 3912503"/>
              <a:gd name="connsiteX315" fmla="*/ 5969686 w 12192528"/>
              <a:gd name="connsiteY315" fmla="*/ 1720825 h 3912503"/>
              <a:gd name="connsiteX316" fmla="*/ 5960211 w 12192528"/>
              <a:gd name="connsiteY316" fmla="*/ 1718792 h 3912503"/>
              <a:gd name="connsiteX317" fmla="*/ 5961177 w 12192528"/>
              <a:gd name="connsiteY317" fmla="*/ 1719502 h 3912503"/>
              <a:gd name="connsiteX318" fmla="*/ 5958886 w 12192528"/>
              <a:gd name="connsiteY318" fmla="*/ 1719502 h 3912503"/>
              <a:gd name="connsiteX319" fmla="*/ 5957622 w 12192528"/>
              <a:gd name="connsiteY319" fmla="*/ 1718238 h 3912503"/>
              <a:gd name="connsiteX320" fmla="*/ 5981767 w 12192528"/>
              <a:gd name="connsiteY320" fmla="*/ 1713021 h 3912503"/>
              <a:gd name="connsiteX321" fmla="*/ 5986017 w 12192528"/>
              <a:gd name="connsiteY321" fmla="*/ 1722354 h 3912503"/>
              <a:gd name="connsiteX322" fmla="*/ 5998490 w 12192528"/>
              <a:gd name="connsiteY322" fmla="*/ 1726708 h 3912503"/>
              <a:gd name="connsiteX323" fmla="*/ 5994890 w 12192528"/>
              <a:gd name="connsiteY323" fmla="*/ 1726708 h 3912503"/>
              <a:gd name="connsiteX324" fmla="*/ 6002090 w 12192528"/>
              <a:gd name="connsiteY324" fmla="*/ 1730312 h 3912503"/>
              <a:gd name="connsiteX325" fmla="*/ 6005690 w 12192528"/>
              <a:gd name="connsiteY325" fmla="*/ 1733914 h 3912503"/>
              <a:gd name="connsiteX326" fmla="*/ 6084459 w 12192528"/>
              <a:gd name="connsiteY326" fmla="*/ 1795609 h 3912503"/>
              <a:gd name="connsiteX327" fmla="*/ 6081297 w 12192528"/>
              <a:gd name="connsiteY327" fmla="*/ 1798773 h 3912503"/>
              <a:gd name="connsiteX328" fmla="*/ 6084899 w 12192528"/>
              <a:gd name="connsiteY328" fmla="*/ 1798773 h 3912503"/>
              <a:gd name="connsiteX329" fmla="*/ 6088499 w 12192528"/>
              <a:gd name="connsiteY329" fmla="*/ 1798773 h 3912503"/>
              <a:gd name="connsiteX330" fmla="*/ 6092099 w 12192528"/>
              <a:gd name="connsiteY330" fmla="*/ 1802377 h 3912503"/>
              <a:gd name="connsiteX331" fmla="*/ 6110101 w 12192528"/>
              <a:gd name="connsiteY331" fmla="*/ 1820392 h 3912503"/>
              <a:gd name="connsiteX332" fmla="*/ 6106500 w 12192528"/>
              <a:gd name="connsiteY332" fmla="*/ 1813187 h 3912503"/>
              <a:gd name="connsiteX333" fmla="*/ 6110101 w 12192528"/>
              <a:gd name="connsiteY333" fmla="*/ 1813187 h 3912503"/>
              <a:gd name="connsiteX334" fmla="*/ 6113702 w 12192528"/>
              <a:gd name="connsiteY334" fmla="*/ 1813187 h 3912503"/>
              <a:gd name="connsiteX335" fmla="*/ 6110100 w 12192528"/>
              <a:gd name="connsiteY335" fmla="*/ 1809582 h 3912503"/>
              <a:gd name="connsiteX336" fmla="*/ 6135303 w 12192528"/>
              <a:gd name="connsiteY336" fmla="*/ 1823997 h 3912503"/>
              <a:gd name="connsiteX337" fmla="*/ 6131704 w 12192528"/>
              <a:gd name="connsiteY337" fmla="*/ 1823997 h 3912503"/>
              <a:gd name="connsiteX338" fmla="*/ 6128102 w 12192528"/>
              <a:gd name="connsiteY338" fmla="*/ 1820392 h 3912503"/>
              <a:gd name="connsiteX339" fmla="*/ 6124502 w 12192528"/>
              <a:gd name="connsiteY339" fmla="*/ 1820392 h 3912503"/>
              <a:gd name="connsiteX340" fmla="*/ 6131704 w 12192528"/>
              <a:gd name="connsiteY340" fmla="*/ 1827599 h 3912503"/>
              <a:gd name="connsiteX341" fmla="*/ 6135303 w 12192528"/>
              <a:gd name="connsiteY341" fmla="*/ 1831202 h 3912503"/>
              <a:gd name="connsiteX342" fmla="*/ 6160505 w 12192528"/>
              <a:gd name="connsiteY342" fmla="*/ 1863632 h 3912503"/>
              <a:gd name="connsiteX343" fmla="*/ 6183458 w 12192528"/>
              <a:gd name="connsiteY343" fmla="*/ 1878945 h 3912503"/>
              <a:gd name="connsiteX344" fmla="*/ 6191929 w 12192528"/>
              <a:gd name="connsiteY344" fmla="*/ 1883091 h 3912503"/>
              <a:gd name="connsiteX345" fmla="*/ 6210114 w 12192528"/>
              <a:gd name="connsiteY345" fmla="*/ 1883530 h 3912503"/>
              <a:gd name="connsiteX346" fmla="*/ 6234671 w 12192528"/>
              <a:gd name="connsiteY346" fmla="*/ 1898946 h 3912503"/>
              <a:gd name="connsiteX347" fmla="*/ 6254560 w 12192528"/>
              <a:gd name="connsiteY347" fmla="*/ 1918972 h 3912503"/>
              <a:gd name="connsiteX348" fmla="*/ 6255725 w 12192528"/>
              <a:gd name="connsiteY348" fmla="*/ 1919992 h 3912503"/>
              <a:gd name="connsiteX349" fmla="*/ 6269546 w 12192528"/>
              <a:gd name="connsiteY349" fmla="*/ 1912573 h 3912503"/>
              <a:gd name="connsiteX350" fmla="*/ 6207310 w 12192528"/>
              <a:gd name="connsiteY350" fmla="*/ 1863632 h 3912503"/>
              <a:gd name="connsiteX351" fmla="*/ 6138904 w 12192528"/>
              <a:gd name="connsiteY351" fmla="*/ 1809582 h 3912503"/>
              <a:gd name="connsiteX352" fmla="*/ 6066897 w 12192528"/>
              <a:gd name="connsiteY352" fmla="*/ 1766344 h 3912503"/>
              <a:gd name="connsiteX353" fmla="*/ 6009290 w 12192528"/>
              <a:gd name="connsiteY353" fmla="*/ 1730312 h 3912503"/>
              <a:gd name="connsiteX354" fmla="*/ 6005690 w 12192528"/>
              <a:gd name="connsiteY354" fmla="*/ 1726708 h 3912503"/>
              <a:gd name="connsiteX355" fmla="*/ 5998488 w 12192528"/>
              <a:gd name="connsiteY355" fmla="*/ 1723104 h 3912503"/>
              <a:gd name="connsiteX356" fmla="*/ 2245258 w 12192528"/>
              <a:gd name="connsiteY356" fmla="*/ 1710274 h 3912503"/>
              <a:gd name="connsiteX357" fmla="*/ 2244276 w 12192528"/>
              <a:gd name="connsiteY357" fmla="*/ 1710488 h 3912503"/>
              <a:gd name="connsiteX358" fmla="*/ 2252305 w 12192528"/>
              <a:gd name="connsiteY358" fmla="*/ 1715011 h 3912503"/>
              <a:gd name="connsiteX359" fmla="*/ 2252305 w 12192528"/>
              <a:gd name="connsiteY359" fmla="*/ 1713724 h 3912503"/>
              <a:gd name="connsiteX360" fmla="*/ 2245258 w 12192528"/>
              <a:gd name="connsiteY360" fmla="*/ 1710274 h 3912503"/>
              <a:gd name="connsiteX361" fmla="*/ 1421019 w 12192528"/>
              <a:gd name="connsiteY361" fmla="*/ 1706832 h 3912503"/>
              <a:gd name="connsiteX362" fmla="*/ 1427065 w 12192528"/>
              <a:gd name="connsiteY362" fmla="*/ 1710443 h 3912503"/>
              <a:gd name="connsiteX363" fmla="*/ 1434763 w 12192528"/>
              <a:gd name="connsiteY363" fmla="*/ 1732340 h 3912503"/>
              <a:gd name="connsiteX364" fmla="*/ 1432681 w 12192528"/>
              <a:gd name="connsiteY364" fmla="*/ 1740171 h 3912503"/>
              <a:gd name="connsiteX365" fmla="*/ 1501179 w 12192528"/>
              <a:gd name="connsiteY365" fmla="*/ 1759551 h 3912503"/>
              <a:gd name="connsiteX366" fmla="*/ 1504479 w 12192528"/>
              <a:gd name="connsiteY366" fmla="*/ 1753647 h 3912503"/>
              <a:gd name="connsiteX367" fmla="*/ 1504952 w 12192528"/>
              <a:gd name="connsiteY367" fmla="*/ 1742564 h 3912503"/>
              <a:gd name="connsiteX368" fmla="*/ 1508963 w 12192528"/>
              <a:gd name="connsiteY368" fmla="*/ 1726998 h 3912503"/>
              <a:gd name="connsiteX369" fmla="*/ 1512501 w 12192528"/>
              <a:gd name="connsiteY369" fmla="*/ 1722753 h 3912503"/>
              <a:gd name="connsiteX370" fmla="*/ 1512766 w 12192528"/>
              <a:gd name="connsiteY370" fmla="*/ 1722417 h 3912503"/>
              <a:gd name="connsiteX371" fmla="*/ 1501911 w 12192528"/>
              <a:gd name="connsiteY371" fmla="*/ 1719688 h 3912503"/>
              <a:gd name="connsiteX372" fmla="*/ 11144220 w 12192528"/>
              <a:gd name="connsiteY372" fmla="*/ 1705043 h 3912503"/>
              <a:gd name="connsiteX373" fmla="*/ 11141306 w 12192528"/>
              <a:gd name="connsiteY373" fmla="*/ 1706782 h 3912503"/>
              <a:gd name="connsiteX374" fmla="*/ 11144473 w 12192528"/>
              <a:gd name="connsiteY374" fmla="*/ 1705342 h 3912503"/>
              <a:gd name="connsiteX375" fmla="*/ 11137441 w 12192528"/>
              <a:gd name="connsiteY375" fmla="*/ 1697014 h 3912503"/>
              <a:gd name="connsiteX376" fmla="*/ 11137260 w 12192528"/>
              <a:gd name="connsiteY376" fmla="*/ 1697085 h 3912503"/>
              <a:gd name="connsiteX377" fmla="*/ 11136611 w 12192528"/>
              <a:gd name="connsiteY377" fmla="*/ 1707194 h 3912503"/>
              <a:gd name="connsiteX378" fmla="*/ 11136908 w 12192528"/>
              <a:gd name="connsiteY378" fmla="*/ 1707576 h 3912503"/>
              <a:gd name="connsiteX379" fmla="*/ 11143525 w 12192528"/>
              <a:gd name="connsiteY379" fmla="*/ 1704219 h 3912503"/>
              <a:gd name="connsiteX380" fmla="*/ 12178406 w 12192528"/>
              <a:gd name="connsiteY380" fmla="*/ 1692372 h 3912503"/>
              <a:gd name="connsiteX381" fmla="*/ 12183109 w 12192528"/>
              <a:gd name="connsiteY381" fmla="*/ 1695023 h 3912503"/>
              <a:gd name="connsiteX382" fmla="*/ 12178245 w 12192528"/>
              <a:gd name="connsiteY382" fmla="*/ 1692420 h 3912503"/>
              <a:gd name="connsiteX383" fmla="*/ 1622627 w 12192528"/>
              <a:gd name="connsiteY383" fmla="*/ 1686357 h 3912503"/>
              <a:gd name="connsiteX384" fmla="*/ 1613961 w 12192528"/>
              <a:gd name="connsiteY384" fmla="*/ 1696340 h 3912503"/>
              <a:gd name="connsiteX385" fmla="*/ 1600748 w 12192528"/>
              <a:gd name="connsiteY385" fmla="*/ 1704123 h 3912503"/>
              <a:gd name="connsiteX386" fmla="*/ 1596731 w 12192528"/>
              <a:gd name="connsiteY386" fmla="*/ 1707749 h 3912503"/>
              <a:gd name="connsiteX387" fmla="*/ 1686132 w 12192528"/>
              <a:gd name="connsiteY387" fmla="*/ 1733403 h 3912503"/>
              <a:gd name="connsiteX388" fmla="*/ 1810501 w 12192528"/>
              <a:gd name="connsiteY388" fmla="*/ 1778922 h 3912503"/>
              <a:gd name="connsiteX389" fmla="*/ 1957266 w 12192528"/>
              <a:gd name="connsiteY389" fmla="*/ 1839810 h 3912503"/>
              <a:gd name="connsiteX390" fmla="*/ 1993177 w 12192528"/>
              <a:gd name="connsiteY390" fmla="*/ 1827319 h 3912503"/>
              <a:gd name="connsiteX391" fmla="*/ 1966633 w 12192528"/>
              <a:gd name="connsiteY391" fmla="*/ 1802340 h 3912503"/>
              <a:gd name="connsiteX392" fmla="*/ 1921355 w 12192528"/>
              <a:gd name="connsiteY392" fmla="*/ 1772676 h 3912503"/>
              <a:gd name="connsiteX393" fmla="*/ 1991274 w 12192528"/>
              <a:gd name="connsiteY393" fmla="*/ 1786660 h 3912503"/>
              <a:gd name="connsiteX394" fmla="*/ 1992194 w 12192528"/>
              <a:gd name="connsiteY394" fmla="*/ 1781702 h 3912503"/>
              <a:gd name="connsiteX395" fmla="*/ 1992462 w 12192528"/>
              <a:gd name="connsiteY395" fmla="*/ 1779022 h 3912503"/>
              <a:gd name="connsiteX396" fmla="*/ 1993267 w 12192528"/>
              <a:gd name="connsiteY396" fmla="*/ 1772589 h 3912503"/>
              <a:gd name="connsiteX397" fmla="*/ 1998419 w 12192528"/>
              <a:gd name="connsiteY397" fmla="*/ 1767666 h 3912503"/>
              <a:gd name="connsiteX398" fmla="*/ 1983807 w 12192528"/>
              <a:gd name="connsiteY398" fmla="*/ 1761749 h 3912503"/>
              <a:gd name="connsiteX399" fmla="*/ 1832994 w 12192528"/>
              <a:gd name="connsiteY399" fmla="*/ 1707228 h 3912503"/>
              <a:gd name="connsiteX400" fmla="*/ 1808113 w 12192528"/>
              <a:gd name="connsiteY400" fmla="*/ 1699426 h 3912503"/>
              <a:gd name="connsiteX401" fmla="*/ 1809135 w 12192528"/>
              <a:gd name="connsiteY401" fmla="*/ 1700286 h 3912503"/>
              <a:gd name="connsiteX402" fmla="*/ 1812355 w 12192528"/>
              <a:gd name="connsiteY402" fmla="*/ 1704575 h 3912503"/>
              <a:gd name="connsiteX403" fmla="*/ 1816112 w 12192528"/>
              <a:gd name="connsiteY403" fmla="*/ 1716367 h 3912503"/>
              <a:gd name="connsiteX404" fmla="*/ 1818669 w 12192528"/>
              <a:gd name="connsiteY404" fmla="*/ 1723261 h 3912503"/>
              <a:gd name="connsiteX405" fmla="*/ 1835482 w 12192528"/>
              <a:gd name="connsiteY405" fmla="*/ 1728964 h 3912503"/>
              <a:gd name="connsiteX406" fmla="*/ 1858903 w 12192528"/>
              <a:gd name="connsiteY406" fmla="*/ 1746137 h 3912503"/>
              <a:gd name="connsiteX407" fmla="*/ 1826115 w 12192528"/>
              <a:gd name="connsiteY407" fmla="*/ 1752381 h 3912503"/>
              <a:gd name="connsiteX408" fmla="*/ 1807151 w 12192528"/>
              <a:gd name="connsiteY408" fmla="*/ 1745258 h 3912503"/>
              <a:gd name="connsiteX409" fmla="*/ 1806452 w 12192528"/>
              <a:gd name="connsiteY409" fmla="*/ 1746655 h 3912503"/>
              <a:gd name="connsiteX410" fmla="*/ 1803231 w 12192528"/>
              <a:gd name="connsiteY410" fmla="*/ 1747995 h 3912503"/>
              <a:gd name="connsiteX411" fmla="*/ 1797058 w 12192528"/>
              <a:gd name="connsiteY411" fmla="*/ 1749871 h 3912503"/>
              <a:gd name="connsiteX412" fmla="*/ 1794911 w 12192528"/>
              <a:gd name="connsiteY412" fmla="*/ 1750943 h 3912503"/>
              <a:gd name="connsiteX413" fmla="*/ 1786324 w 12192528"/>
              <a:gd name="connsiteY413" fmla="*/ 1752016 h 3912503"/>
              <a:gd name="connsiteX414" fmla="*/ 1784445 w 12192528"/>
              <a:gd name="connsiteY414" fmla="*/ 1752552 h 3912503"/>
              <a:gd name="connsiteX415" fmla="*/ 1765391 w 12192528"/>
              <a:gd name="connsiteY415" fmla="*/ 1740491 h 3912503"/>
              <a:gd name="connsiteX416" fmla="*/ 1759487 w 12192528"/>
              <a:gd name="connsiteY416" fmla="*/ 1729502 h 3912503"/>
              <a:gd name="connsiteX417" fmla="*/ 1758441 w 12192528"/>
              <a:gd name="connsiteY417" fmla="*/ 1726965 h 3912503"/>
              <a:gd name="connsiteX418" fmla="*/ 1744535 w 12192528"/>
              <a:gd name="connsiteY418" fmla="*/ 1721742 h 3912503"/>
              <a:gd name="connsiteX419" fmla="*/ 1660614 w 12192528"/>
              <a:gd name="connsiteY419" fmla="*/ 1694616 h 3912503"/>
              <a:gd name="connsiteX420" fmla="*/ 2222100 w 12192528"/>
              <a:gd name="connsiteY420" fmla="*/ 1683103 h 3912503"/>
              <a:gd name="connsiteX421" fmla="*/ 2214332 w 12192528"/>
              <a:gd name="connsiteY421" fmla="*/ 1687847 h 3912503"/>
              <a:gd name="connsiteX422" fmla="*/ 2210127 w 12192528"/>
              <a:gd name="connsiteY422" fmla="*/ 1691249 h 3912503"/>
              <a:gd name="connsiteX423" fmla="*/ 2227208 w 12192528"/>
              <a:gd name="connsiteY423" fmla="*/ 1700872 h 3912503"/>
              <a:gd name="connsiteX424" fmla="*/ 2229867 w 12192528"/>
              <a:gd name="connsiteY424" fmla="*/ 1684397 h 3912503"/>
              <a:gd name="connsiteX425" fmla="*/ 2222100 w 12192528"/>
              <a:gd name="connsiteY425" fmla="*/ 1683103 h 3912503"/>
              <a:gd name="connsiteX426" fmla="*/ 1135797 w 12192528"/>
              <a:gd name="connsiteY426" fmla="*/ 1682585 h 3912503"/>
              <a:gd name="connsiteX427" fmla="*/ 1135657 w 12192528"/>
              <a:gd name="connsiteY427" fmla="*/ 1684620 h 3912503"/>
              <a:gd name="connsiteX428" fmla="*/ 1198655 w 12192528"/>
              <a:gd name="connsiteY428" fmla="*/ 1689272 h 3912503"/>
              <a:gd name="connsiteX429" fmla="*/ 1314555 w 12192528"/>
              <a:gd name="connsiteY429" fmla="*/ 1710285 h 3912503"/>
              <a:gd name="connsiteX430" fmla="*/ 1369793 w 12192528"/>
              <a:gd name="connsiteY430" fmla="*/ 1724206 h 3912503"/>
              <a:gd name="connsiteX431" fmla="*/ 1367679 w 12192528"/>
              <a:gd name="connsiteY431" fmla="*/ 1720297 h 3912503"/>
              <a:gd name="connsiteX432" fmla="*/ 1355581 w 12192528"/>
              <a:gd name="connsiteY432" fmla="*/ 1708253 h 3912503"/>
              <a:gd name="connsiteX433" fmla="*/ 1355581 w 12192528"/>
              <a:gd name="connsiteY433" fmla="*/ 1697458 h 3912503"/>
              <a:gd name="connsiteX434" fmla="*/ 1240593 w 12192528"/>
              <a:gd name="connsiteY434" fmla="*/ 1686150 h 3912503"/>
              <a:gd name="connsiteX435" fmla="*/ 7847880 w 12192528"/>
              <a:gd name="connsiteY435" fmla="*/ 1663016 h 3912503"/>
              <a:gd name="connsiteX436" fmla="*/ 7847780 w 12192528"/>
              <a:gd name="connsiteY436" fmla="*/ 1663140 h 3912503"/>
              <a:gd name="connsiteX437" fmla="*/ 7843187 w 12192528"/>
              <a:gd name="connsiteY437" fmla="*/ 1666040 h 3912503"/>
              <a:gd name="connsiteX438" fmla="*/ 5888368 w 12192528"/>
              <a:gd name="connsiteY438" fmla="*/ 1661582 h 3912503"/>
              <a:gd name="connsiteX439" fmla="*/ 5947745 w 12192528"/>
              <a:gd name="connsiteY439" fmla="*/ 1692506 h 3912503"/>
              <a:gd name="connsiteX440" fmla="*/ 5926033 w 12192528"/>
              <a:gd name="connsiteY440" fmla="*/ 1679415 h 3912503"/>
              <a:gd name="connsiteX441" fmla="*/ 12125881 w 12192528"/>
              <a:gd name="connsiteY441" fmla="*/ 1659984 h 3912503"/>
              <a:gd name="connsiteX442" fmla="*/ 12127684 w 12192528"/>
              <a:gd name="connsiteY442" fmla="*/ 1660723 h 3912503"/>
              <a:gd name="connsiteX443" fmla="*/ 12130072 w 12192528"/>
              <a:gd name="connsiteY443" fmla="*/ 1660545 h 3912503"/>
              <a:gd name="connsiteX444" fmla="*/ 12132641 w 12192528"/>
              <a:gd name="connsiteY444" fmla="*/ 1662755 h 3912503"/>
              <a:gd name="connsiteX445" fmla="*/ 12127862 w 12192528"/>
              <a:gd name="connsiteY445" fmla="*/ 1663113 h 3912503"/>
              <a:gd name="connsiteX446" fmla="*/ 12121197 w 12192528"/>
              <a:gd name="connsiteY446" fmla="*/ 1657374 h 3912503"/>
              <a:gd name="connsiteX447" fmla="*/ 12125479 w 12192528"/>
              <a:gd name="connsiteY447" fmla="*/ 1659349 h 3912503"/>
              <a:gd name="connsiteX448" fmla="*/ 12125881 w 12192528"/>
              <a:gd name="connsiteY448" fmla="*/ 1659984 h 3912503"/>
              <a:gd name="connsiteX449" fmla="*/ 12122726 w 12192528"/>
              <a:gd name="connsiteY449" fmla="*/ 1658691 h 3912503"/>
              <a:gd name="connsiteX450" fmla="*/ 12108878 w 12192528"/>
              <a:gd name="connsiteY450" fmla="*/ 1652983 h 3912503"/>
              <a:gd name="connsiteX451" fmla="*/ 12112781 w 12192528"/>
              <a:gd name="connsiteY451" fmla="*/ 1654212 h 3912503"/>
              <a:gd name="connsiteX452" fmla="*/ 12112811 w 12192528"/>
              <a:gd name="connsiteY452" fmla="*/ 1654627 h 3912503"/>
              <a:gd name="connsiteX453" fmla="*/ 12112633 w 12192528"/>
              <a:gd name="connsiteY453" fmla="*/ 1652237 h 3912503"/>
              <a:gd name="connsiteX454" fmla="*/ 12120159 w 12192528"/>
              <a:gd name="connsiteY454" fmla="*/ 1656480 h 3912503"/>
              <a:gd name="connsiteX455" fmla="*/ 12121197 w 12192528"/>
              <a:gd name="connsiteY455" fmla="*/ 1657374 h 3912503"/>
              <a:gd name="connsiteX456" fmla="*/ 12117701 w 12192528"/>
              <a:gd name="connsiteY456" fmla="*/ 1655763 h 3912503"/>
              <a:gd name="connsiteX457" fmla="*/ 12112781 w 12192528"/>
              <a:gd name="connsiteY457" fmla="*/ 1654212 h 3912503"/>
              <a:gd name="connsiteX458" fmla="*/ 1624616 w 12192528"/>
              <a:gd name="connsiteY458" fmla="*/ 1644976 h 3912503"/>
              <a:gd name="connsiteX459" fmla="*/ 1626230 w 12192528"/>
              <a:gd name="connsiteY459" fmla="*/ 1650353 h 3912503"/>
              <a:gd name="connsiteX460" fmla="*/ 1629298 w 12192528"/>
              <a:gd name="connsiteY460" fmla="*/ 1657664 h 3912503"/>
              <a:gd name="connsiteX461" fmla="*/ 1628882 w 12192528"/>
              <a:gd name="connsiteY461" fmla="*/ 1663751 h 3912503"/>
              <a:gd name="connsiteX462" fmla="*/ 1705819 w 12192528"/>
              <a:gd name="connsiteY462" fmla="*/ 1684982 h 3912503"/>
              <a:gd name="connsiteX463" fmla="*/ 1760201 w 12192528"/>
              <a:gd name="connsiteY463" fmla="*/ 1703428 h 3912503"/>
              <a:gd name="connsiteX464" fmla="*/ 1760561 w 12192528"/>
              <a:gd name="connsiteY464" fmla="*/ 1700555 h 3912503"/>
              <a:gd name="connsiteX465" fmla="*/ 1773979 w 12192528"/>
              <a:gd name="connsiteY465" fmla="*/ 1690101 h 3912503"/>
              <a:gd name="connsiteX466" fmla="*/ 1777976 w 12192528"/>
              <a:gd name="connsiteY466" fmla="*/ 1689976 h 3912503"/>
              <a:gd name="connsiteX467" fmla="*/ 1680131 w 12192528"/>
              <a:gd name="connsiteY467" fmla="*/ 1659294 h 3912503"/>
              <a:gd name="connsiteX468" fmla="*/ 6077418 w 12192528"/>
              <a:gd name="connsiteY468" fmla="*/ 1643024 h 3912503"/>
              <a:gd name="connsiteX469" fmla="*/ 6132888 w 12192528"/>
              <a:gd name="connsiteY469" fmla="*/ 1688071 h 3912503"/>
              <a:gd name="connsiteX470" fmla="*/ 6180271 w 12192528"/>
              <a:gd name="connsiteY470" fmla="*/ 1731276 h 3912503"/>
              <a:gd name="connsiteX471" fmla="*/ 6227322 w 12192528"/>
              <a:gd name="connsiteY471" fmla="*/ 1770443 h 3912503"/>
              <a:gd name="connsiteX472" fmla="*/ 6225014 w 12192528"/>
              <a:gd name="connsiteY472" fmla="*/ 1769544 h 3912503"/>
              <a:gd name="connsiteX473" fmla="*/ 6228472 w 12192528"/>
              <a:gd name="connsiteY473" fmla="*/ 1777405 h 3912503"/>
              <a:gd name="connsiteX474" fmla="*/ 6228280 w 12192528"/>
              <a:gd name="connsiteY474" fmla="*/ 1781240 h 3912503"/>
              <a:gd name="connsiteX475" fmla="*/ 6105644 w 12192528"/>
              <a:gd name="connsiteY475" fmla="*/ 1694409 h 3912503"/>
              <a:gd name="connsiteX476" fmla="*/ 6026392 w 12192528"/>
              <a:gd name="connsiteY476" fmla="*/ 1663561 h 3912503"/>
              <a:gd name="connsiteX477" fmla="*/ 6238079 w 12192528"/>
              <a:gd name="connsiteY477" fmla="*/ 1816331 h 3912503"/>
              <a:gd name="connsiteX478" fmla="*/ 6304866 w 12192528"/>
              <a:gd name="connsiteY478" fmla="*/ 1865786 h 3912503"/>
              <a:gd name="connsiteX479" fmla="*/ 6292593 w 12192528"/>
              <a:gd name="connsiteY479" fmla="*/ 1880557 h 3912503"/>
              <a:gd name="connsiteX480" fmla="*/ 6315047 w 12192528"/>
              <a:gd name="connsiteY480" fmla="*/ 1893205 h 3912503"/>
              <a:gd name="connsiteX481" fmla="*/ 6319265 w 12192528"/>
              <a:gd name="connsiteY481" fmla="*/ 1885724 h 3912503"/>
              <a:gd name="connsiteX482" fmla="*/ 6430009 w 12192528"/>
              <a:gd name="connsiteY482" fmla="*/ 1979655 h 3912503"/>
              <a:gd name="connsiteX483" fmla="*/ 6477035 w 12192528"/>
              <a:gd name="connsiteY483" fmla="*/ 2039664 h 3912503"/>
              <a:gd name="connsiteX484" fmla="*/ 6535581 w 12192528"/>
              <a:gd name="connsiteY484" fmla="*/ 2100244 h 3912503"/>
              <a:gd name="connsiteX485" fmla="*/ 6513318 w 12192528"/>
              <a:gd name="connsiteY485" fmla="*/ 2083760 h 3912503"/>
              <a:gd name="connsiteX486" fmla="*/ 6512745 w 12192528"/>
              <a:gd name="connsiteY486" fmla="*/ 2095266 h 3912503"/>
              <a:gd name="connsiteX487" fmla="*/ 6552673 w 12192528"/>
              <a:gd name="connsiteY487" fmla="*/ 2143387 h 3912503"/>
              <a:gd name="connsiteX488" fmla="*/ 6563994 w 12192528"/>
              <a:gd name="connsiteY488" fmla="*/ 2147795 h 3912503"/>
              <a:gd name="connsiteX489" fmla="*/ 6572430 w 12192528"/>
              <a:gd name="connsiteY489" fmla="*/ 2132834 h 3912503"/>
              <a:gd name="connsiteX490" fmla="*/ 6619461 w 12192528"/>
              <a:gd name="connsiteY490" fmla="*/ 2192841 h 3912503"/>
              <a:gd name="connsiteX491" fmla="*/ 6677813 w 12192528"/>
              <a:gd name="connsiteY491" fmla="*/ 2257257 h 3912503"/>
              <a:gd name="connsiteX492" fmla="*/ 6685487 w 12192528"/>
              <a:gd name="connsiteY492" fmla="*/ 2257638 h 3912503"/>
              <a:gd name="connsiteX493" fmla="*/ 6691580 w 12192528"/>
              <a:gd name="connsiteY493" fmla="*/ 2266907 h 3912503"/>
              <a:gd name="connsiteX494" fmla="*/ 6688771 w 12192528"/>
              <a:gd name="connsiteY494" fmla="*/ 2223084 h 3912503"/>
              <a:gd name="connsiteX495" fmla="*/ 6667332 w 12192528"/>
              <a:gd name="connsiteY495" fmla="*/ 2197141 h 3912503"/>
              <a:gd name="connsiteX496" fmla="*/ 6629230 w 12192528"/>
              <a:gd name="connsiteY496" fmla="*/ 2151033 h 3912503"/>
              <a:gd name="connsiteX497" fmla="*/ 6603321 w 12192528"/>
              <a:gd name="connsiteY497" fmla="*/ 2130522 h 3912503"/>
              <a:gd name="connsiteX498" fmla="*/ 6493720 w 12192528"/>
              <a:gd name="connsiteY498" fmla="*/ 2013579 h 3912503"/>
              <a:gd name="connsiteX499" fmla="*/ 6439138 w 12192528"/>
              <a:gd name="connsiteY499" fmla="*/ 1960405 h 3912503"/>
              <a:gd name="connsiteX500" fmla="*/ 6391362 w 12192528"/>
              <a:gd name="connsiteY500" fmla="*/ 1908599 h 3912503"/>
              <a:gd name="connsiteX501" fmla="*/ 6398708 w 12192528"/>
              <a:gd name="connsiteY501" fmla="*/ 1912738 h 3912503"/>
              <a:gd name="connsiteX502" fmla="*/ 6391604 w 12192528"/>
              <a:gd name="connsiteY502" fmla="*/ 1900852 h 3912503"/>
              <a:gd name="connsiteX503" fmla="*/ 6387957 w 12192528"/>
              <a:gd name="connsiteY503" fmla="*/ 1896825 h 3912503"/>
              <a:gd name="connsiteX504" fmla="*/ 6391795 w 12192528"/>
              <a:gd name="connsiteY504" fmla="*/ 1897015 h 3912503"/>
              <a:gd name="connsiteX505" fmla="*/ 6494674 w 12192528"/>
              <a:gd name="connsiteY505" fmla="*/ 1994401 h 3912503"/>
              <a:gd name="connsiteX506" fmla="*/ 6499078 w 12192528"/>
              <a:gd name="connsiteY506" fmla="*/ 1983085 h 3912503"/>
              <a:gd name="connsiteX507" fmla="*/ 6469523 w 12192528"/>
              <a:gd name="connsiteY507" fmla="*/ 1958548 h 3912503"/>
              <a:gd name="connsiteX508" fmla="*/ 6425379 w 12192528"/>
              <a:gd name="connsiteY508" fmla="*/ 1917908 h 3912503"/>
              <a:gd name="connsiteX509" fmla="*/ 6274519 w 12192528"/>
              <a:gd name="connsiteY509" fmla="*/ 1779691 h 3912503"/>
              <a:gd name="connsiteX510" fmla="*/ 6255714 w 12192528"/>
              <a:gd name="connsiteY510" fmla="*/ 1771068 h 3912503"/>
              <a:gd name="connsiteX511" fmla="*/ 6188925 w 12192528"/>
              <a:gd name="connsiteY511" fmla="*/ 1721613 h 3912503"/>
              <a:gd name="connsiteX512" fmla="*/ 6181821 w 12192528"/>
              <a:gd name="connsiteY512" fmla="*/ 1709726 h 3912503"/>
              <a:gd name="connsiteX513" fmla="*/ 6148237 w 12192528"/>
              <a:gd name="connsiteY513" fmla="*/ 1688833 h 3912503"/>
              <a:gd name="connsiteX514" fmla="*/ 6155911 w 12192528"/>
              <a:gd name="connsiteY514" fmla="*/ 1689215 h 3912503"/>
              <a:gd name="connsiteX515" fmla="*/ 6077418 w 12192528"/>
              <a:gd name="connsiteY515" fmla="*/ 1643024 h 3912503"/>
              <a:gd name="connsiteX516" fmla="*/ 11329355 w 12192528"/>
              <a:gd name="connsiteY516" fmla="*/ 1626097 h 3912503"/>
              <a:gd name="connsiteX517" fmla="*/ 11300277 w 12192528"/>
              <a:gd name="connsiteY517" fmla="*/ 1635142 h 3912503"/>
              <a:gd name="connsiteX518" fmla="*/ 11306517 w 12192528"/>
              <a:gd name="connsiteY518" fmla="*/ 1642970 h 3912503"/>
              <a:gd name="connsiteX519" fmla="*/ 11307007 w 12192528"/>
              <a:gd name="connsiteY519" fmla="*/ 1642790 h 3912503"/>
              <a:gd name="connsiteX520" fmla="*/ 11330543 w 12192528"/>
              <a:gd name="connsiteY520" fmla="*/ 1636224 h 3912503"/>
              <a:gd name="connsiteX521" fmla="*/ 11344214 w 12192528"/>
              <a:gd name="connsiteY521" fmla="*/ 1630503 h 3912503"/>
              <a:gd name="connsiteX522" fmla="*/ 5013373 w 12192528"/>
              <a:gd name="connsiteY522" fmla="*/ 1622666 h 3912503"/>
              <a:gd name="connsiteX523" fmla="*/ 4995051 w 12192528"/>
              <a:gd name="connsiteY523" fmla="*/ 1629235 h 3912503"/>
              <a:gd name="connsiteX524" fmla="*/ 5017133 w 12192528"/>
              <a:gd name="connsiteY524" fmla="*/ 1638717 h 3912503"/>
              <a:gd name="connsiteX525" fmla="*/ 5467232 w 12192528"/>
              <a:gd name="connsiteY525" fmla="*/ 1694834 h 3912503"/>
              <a:gd name="connsiteX526" fmla="*/ 5484494 w 12192528"/>
              <a:gd name="connsiteY526" fmla="*/ 1697630 h 3912503"/>
              <a:gd name="connsiteX527" fmla="*/ 5493337 w 12192528"/>
              <a:gd name="connsiteY527" fmla="*/ 1713144 h 3912503"/>
              <a:gd name="connsiteX528" fmla="*/ 5477153 w 12192528"/>
              <a:gd name="connsiteY528" fmla="*/ 1720514 h 3912503"/>
              <a:gd name="connsiteX529" fmla="*/ 5389251 w 12192528"/>
              <a:gd name="connsiteY529" fmla="*/ 1700765 h 3912503"/>
              <a:gd name="connsiteX530" fmla="*/ 5356133 w 12192528"/>
              <a:gd name="connsiteY530" fmla="*/ 1696011 h 3912503"/>
              <a:gd name="connsiteX531" fmla="*/ 5497172 w 12192528"/>
              <a:gd name="connsiteY531" fmla="*/ 1734144 h 3912503"/>
              <a:gd name="connsiteX532" fmla="*/ 6108276 w 12192528"/>
              <a:gd name="connsiteY532" fmla="*/ 2074822 h 3912503"/>
              <a:gd name="connsiteX533" fmla="*/ 6146858 w 12192528"/>
              <a:gd name="connsiteY533" fmla="*/ 2109890 h 3912503"/>
              <a:gd name="connsiteX534" fmla="*/ 6149367 w 12192528"/>
              <a:gd name="connsiteY534" fmla="*/ 2111743 h 3912503"/>
              <a:gd name="connsiteX535" fmla="*/ 6176331 w 12192528"/>
              <a:gd name="connsiteY535" fmla="*/ 2127293 h 3912503"/>
              <a:gd name="connsiteX536" fmla="*/ 6241887 w 12192528"/>
              <a:gd name="connsiteY536" fmla="*/ 2190772 h 3912503"/>
              <a:gd name="connsiteX537" fmla="*/ 6350117 w 12192528"/>
              <a:gd name="connsiteY537" fmla="*/ 2287711 h 3912503"/>
              <a:gd name="connsiteX538" fmla="*/ 6461731 w 12192528"/>
              <a:gd name="connsiteY538" fmla="*/ 2410512 h 3912503"/>
              <a:gd name="connsiteX539" fmla="*/ 6471242 w 12192528"/>
              <a:gd name="connsiteY539" fmla="*/ 2384680 h 3912503"/>
              <a:gd name="connsiteX540" fmla="*/ 6448551 w 12192528"/>
              <a:gd name="connsiteY540" fmla="*/ 2352402 h 3912503"/>
              <a:gd name="connsiteX541" fmla="*/ 6317077 w 12192528"/>
              <a:gd name="connsiteY541" fmla="*/ 2211359 h 3912503"/>
              <a:gd name="connsiteX542" fmla="*/ 6238422 w 12192528"/>
              <a:gd name="connsiteY542" fmla="*/ 2132113 h 3912503"/>
              <a:gd name="connsiteX543" fmla="*/ 6230286 w 12192528"/>
              <a:gd name="connsiteY543" fmla="*/ 2126362 h 3912503"/>
              <a:gd name="connsiteX544" fmla="*/ 6230166 w 12192528"/>
              <a:gd name="connsiteY544" fmla="*/ 2122666 h 3912503"/>
              <a:gd name="connsiteX545" fmla="*/ 6185979 w 12192528"/>
              <a:gd name="connsiteY545" fmla="*/ 2083352 h 3912503"/>
              <a:gd name="connsiteX546" fmla="*/ 6231235 w 12192528"/>
              <a:gd name="connsiteY546" fmla="*/ 2116002 h 3912503"/>
              <a:gd name="connsiteX547" fmla="*/ 6238420 w 12192528"/>
              <a:gd name="connsiteY547" fmla="*/ 2110045 h 3912503"/>
              <a:gd name="connsiteX548" fmla="*/ 6249447 w 12192528"/>
              <a:gd name="connsiteY548" fmla="*/ 2111328 h 3912503"/>
              <a:gd name="connsiteX549" fmla="*/ 6291377 w 12192528"/>
              <a:gd name="connsiteY549" fmla="*/ 2141096 h 3912503"/>
              <a:gd name="connsiteX550" fmla="*/ 6394627 w 12192528"/>
              <a:gd name="connsiteY550" fmla="*/ 2245789 h 3912503"/>
              <a:gd name="connsiteX551" fmla="*/ 6436562 w 12192528"/>
              <a:gd name="connsiteY551" fmla="*/ 2293242 h 3912503"/>
              <a:gd name="connsiteX552" fmla="*/ 6437768 w 12192528"/>
              <a:gd name="connsiteY552" fmla="*/ 2294418 h 3912503"/>
              <a:gd name="connsiteX553" fmla="*/ 6440279 w 12192528"/>
              <a:gd name="connsiteY553" fmla="*/ 2297454 h 3912503"/>
              <a:gd name="connsiteX554" fmla="*/ 6443729 w 12192528"/>
              <a:gd name="connsiteY554" fmla="*/ 2301354 h 3912503"/>
              <a:gd name="connsiteX555" fmla="*/ 6444971 w 12192528"/>
              <a:gd name="connsiteY555" fmla="*/ 2303119 h 3912503"/>
              <a:gd name="connsiteX556" fmla="*/ 6483937 w 12192528"/>
              <a:gd name="connsiteY556" fmla="*/ 2350194 h 3912503"/>
              <a:gd name="connsiteX557" fmla="*/ 6488663 w 12192528"/>
              <a:gd name="connsiteY557" fmla="*/ 2337349 h 3912503"/>
              <a:gd name="connsiteX558" fmla="*/ 6433933 w 12192528"/>
              <a:gd name="connsiteY558" fmla="*/ 2261706 h 3912503"/>
              <a:gd name="connsiteX559" fmla="*/ 6285011 w 12192528"/>
              <a:gd name="connsiteY559" fmla="*/ 2099996 h 3912503"/>
              <a:gd name="connsiteX560" fmla="*/ 6267052 w 12192528"/>
              <a:gd name="connsiteY560" fmla="*/ 2081952 h 3912503"/>
              <a:gd name="connsiteX561" fmla="*/ 6252693 w 12192528"/>
              <a:gd name="connsiteY561" fmla="*/ 2068951 h 3912503"/>
              <a:gd name="connsiteX562" fmla="*/ 6251057 w 12192528"/>
              <a:gd name="connsiteY562" fmla="*/ 2065525 h 3912503"/>
              <a:gd name="connsiteX563" fmla="*/ 6061716 w 12192528"/>
              <a:gd name="connsiteY563" fmla="*/ 1909575 h 3912503"/>
              <a:gd name="connsiteX564" fmla="*/ 5837514 w 12192528"/>
              <a:gd name="connsiteY564" fmla="*/ 1772266 h 3912503"/>
              <a:gd name="connsiteX565" fmla="*/ 5717199 w 12192528"/>
              <a:gd name="connsiteY565" fmla="*/ 1719450 h 3912503"/>
              <a:gd name="connsiteX566" fmla="*/ 5584900 w 12192528"/>
              <a:gd name="connsiteY566" fmla="*/ 1679208 h 3912503"/>
              <a:gd name="connsiteX567" fmla="*/ 5440035 w 12192528"/>
              <a:gd name="connsiteY567" fmla="*/ 1646823 h 3912503"/>
              <a:gd name="connsiteX568" fmla="*/ 5365518 w 12192528"/>
              <a:gd name="connsiteY568" fmla="*/ 1647015 h 3912503"/>
              <a:gd name="connsiteX569" fmla="*/ 5310532 w 12192528"/>
              <a:gd name="connsiteY569" fmla="*/ 1647190 h 3912503"/>
              <a:gd name="connsiteX570" fmla="*/ 5013373 w 12192528"/>
              <a:gd name="connsiteY570" fmla="*/ 1622666 h 3912503"/>
              <a:gd name="connsiteX571" fmla="*/ 5786006 w 12192528"/>
              <a:gd name="connsiteY571" fmla="*/ 1611402 h 3912503"/>
              <a:gd name="connsiteX572" fmla="*/ 5786068 w 12192528"/>
              <a:gd name="connsiteY572" fmla="*/ 1611427 h 3912503"/>
              <a:gd name="connsiteX573" fmla="*/ 5786068 w 12192528"/>
              <a:gd name="connsiteY573" fmla="*/ 1611402 h 3912503"/>
              <a:gd name="connsiteX574" fmla="*/ 1093926 w 12192528"/>
              <a:gd name="connsiteY574" fmla="*/ 1607896 h 3912503"/>
              <a:gd name="connsiteX575" fmla="*/ 901810 w 12192528"/>
              <a:gd name="connsiteY575" fmla="*/ 1611873 h 3912503"/>
              <a:gd name="connsiteX576" fmla="*/ 840924 w 12192528"/>
              <a:gd name="connsiteY576" fmla="*/ 1618840 h 3912503"/>
              <a:gd name="connsiteX577" fmla="*/ 843366 w 12192528"/>
              <a:gd name="connsiteY577" fmla="*/ 1626503 h 3912503"/>
              <a:gd name="connsiteX578" fmla="*/ 846438 w 12192528"/>
              <a:gd name="connsiteY578" fmla="*/ 1634787 h 3912503"/>
              <a:gd name="connsiteX579" fmla="*/ 846438 w 12192528"/>
              <a:gd name="connsiteY579" fmla="*/ 1638466 h 3912503"/>
              <a:gd name="connsiteX580" fmla="*/ 842751 w 12192528"/>
              <a:gd name="connsiteY580" fmla="*/ 1645828 h 3912503"/>
              <a:gd name="connsiteX581" fmla="*/ 842591 w 12192528"/>
              <a:gd name="connsiteY581" fmla="*/ 1646042 h 3912503"/>
              <a:gd name="connsiteX582" fmla="*/ 923277 w 12192528"/>
              <a:gd name="connsiteY582" fmla="*/ 1638023 h 3912503"/>
              <a:gd name="connsiteX583" fmla="*/ 1298386 w 12192528"/>
              <a:gd name="connsiteY583" fmla="*/ 1647780 h 3912503"/>
              <a:gd name="connsiteX584" fmla="*/ 1429781 w 12192528"/>
              <a:gd name="connsiteY584" fmla="*/ 1668711 h 3912503"/>
              <a:gd name="connsiteX585" fmla="*/ 1539651 w 12192528"/>
              <a:gd name="connsiteY585" fmla="*/ 1692705 h 3912503"/>
              <a:gd name="connsiteX586" fmla="*/ 1540816 w 12192528"/>
              <a:gd name="connsiteY586" fmla="*/ 1691624 h 3912503"/>
              <a:gd name="connsiteX587" fmla="*/ 1541996 w 12192528"/>
              <a:gd name="connsiteY587" fmla="*/ 1684313 h 3912503"/>
              <a:gd name="connsiteX588" fmla="*/ 1535625 w 12192528"/>
              <a:gd name="connsiteY588" fmla="*/ 1685728 h 3912503"/>
              <a:gd name="connsiteX589" fmla="*/ 1530670 w 12192528"/>
              <a:gd name="connsiteY589" fmla="*/ 1689737 h 3912503"/>
              <a:gd name="connsiteX590" fmla="*/ 1525950 w 12192528"/>
              <a:gd name="connsiteY590" fmla="*/ 1686671 h 3912503"/>
              <a:gd name="connsiteX591" fmla="*/ 1531142 w 12192528"/>
              <a:gd name="connsiteY591" fmla="*/ 1673229 h 3912503"/>
              <a:gd name="connsiteX592" fmla="*/ 1531142 w 12192528"/>
              <a:gd name="connsiteY592" fmla="*/ 1666469 h 3912503"/>
              <a:gd name="connsiteX593" fmla="*/ 1472889 w 12192528"/>
              <a:gd name="connsiteY593" fmla="*/ 1653805 h 3912503"/>
              <a:gd name="connsiteX594" fmla="*/ 1093926 w 12192528"/>
              <a:gd name="connsiteY594" fmla="*/ 1607896 h 3912503"/>
              <a:gd name="connsiteX595" fmla="*/ 11301516 w 12192528"/>
              <a:gd name="connsiteY595" fmla="*/ 1604577 h 3912503"/>
              <a:gd name="connsiteX596" fmla="*/ 11301162 w 12192528"/>
              <a:gd name="connsiteY596" fmla="*/ 1604783 h 3912503"/>
              <a:gd name="connsiteX597" fmla="*/ 11281366 w 12192528"/>
              <a:gd name="connsiteY597" fmla="*/ 1611416 h 3912503"/>
              <a:gd name="connsiteX598" fmla="*/ 11292353 w 12192528"/>
              <a:gd name="connsiteY598" fmla="*/ 1625201 h 3912503"/>
              <a:gd name="connsiteX599" fmla="*/ 11315108 w 12192528"/>
              <a:gd name="connsiteY599" fmla="*/ 1618298 h 3912503"/>
              <a:gd name="connsiteX600" fmla="*/ 5818474 w 12192528"/>
              <a:gd name="connsiteY600" fmla="*/ 1603296 h 3912503"/>
              <a:gd name="connsiteX601" fmla="*/ 5822072 w 12192528"/>
              <a:gd name="connsiteY601" fmla="*/ 1604196 h 3912503"/>
              <a:gd name="connsiteX602" fmla="*/ 5818474 w 12192528"/>
              <a:gd name="connsiteY602" fmla="*/ 1604197 h 3912503"/>
              <a:gd name="connsiteX603" fmla="*/ 11443269 w 12192528"/>
              <a:gd name="connsiteY603" fmla="*/ 1601367 h 3912503"/>
              <a:gd name="connsiteX604" fmla="*/ 11438669 w 12192528"/>
              <a:gd name="connsiteY604" fmla="*/ 1604113 h 3912503"/>
              <a:gd name="connsiteX605" fmla="*/ 11429110 w 12192528"/>
              <a:gd name="connsiteY605" fmla="*/ 1604828 h 3912503"/>
              <a:gd name="connsiteX606" fmla="*/ 11436101 w 12192528"/>
              <a:gd name="connsiteY606" fmla="*/ 1601902 h 3912503"/>
              <a:gd name="connsiteX607" fmla="*/ 11438490 w 12192528"/>
              <a:gd name="connsiteY607" fmla="*/ 1601724 h 3912503"/>
              <a:gd name="connsiteX608" fmla="*/ 11440879 w 12192528"/>
              <a:gd name="connsiteY608" fmla="*/ 1601545 h 3912503"/>
              <a:gd name="connsiteX609" fmla="*/ 3850133 w 12192528"/>
              <a:gd name="connsiteY609" fmla="*/ 1600633 h 3912503"/>
              <a:gd name="connsiteX610" fmla="*/ 3853369 w 12192528"/>
              <a:gd name="connsiteY610" fmla="*/ 1602700 h 3912503"/>
              <a:gd name="connsiteX611" fmla="*/ 3842616 w 12192528"/>
              <a:gd name="connsiteY611" fmla="*/ 1606720 h 3912503"/>
              <a:gd name="connsiteX612" fmla="*/ 5807670 w 12192528"/>
              <a:gd name="connsiteY612" fmla="*/ 1600592 h 3912503"/>
              <a:gd name="connsiteX613" fmla="*/ 5818474 w 12192528"/>
              <a:gd name="connsiteY613" fmla="*/ 1618609 h 3912503"/>
              <a:gd name="connsiteX614" fmla="*/ 5789670 w 12192528"/>
              <a:gd name="connsiteY614" fmla="*/ 1611403 h 3912503"/>
              <a:gd name="connsiteX615" fmla="*/ 5788641 w 12192528"/>
              <a:gd name="connsiteY615" fmla="*/ 1612432 h 3912503"/>
              <a:gd name="connsiteX616" fmla="*/ 5810097 w 12192528"/>
              <a:gd name="connsiteY616" fmla="*/ 1620819 h 3912503"/>
              <a:gd name="connsiteX617" fmla="*/ 5851378 w 12192528"/>
              <a:gd name="connsiteY617" fmla="*/ 1642319 h 3912503"/>
              <a:gd name="connsiteX618" fmla="*/ 5853574 w 12192528"/>
              <a:gd name="connsiteY618" fmla="*/ 1635726 h 3912503"/>
              <a:gd name="connsiteX619" fmla="*/ 5861676 w 12192528"/>
              <a:gd name="connsiteY619" fmla="*/ 1633022 h 3912503"/>
              <a:gd name="connsiteX620" fmla="*/ 5843675 w 12192528"/>
              <a:gd name="connsiteY620" fmla="*/ 1615007 h 3912503"/>
              <a:gd name="connsiteX621" fmla="*/ 5850874 w 12192528"/>
              <a:gd name="connsiteY621" fmla="*/ 1618609 h 3912503"/>
              <a:gd name="connsiteX622" fmla="*/ 5858075 w 12192528"/>
              <a:gd name="connsiteY622" fmla="*/ 1622213 h 3912503"/>
              <a:gd name="connsiteX623" fmla="*/ 5854475 w 12192528"/>
              <a:gd name="connsiteY623" fmla="*/ 1618609 h 3912503"/>
              <a:gd name="connsiteX624" fmla="*/ 5847277 w 12192528"/>
              <a:gd name="connsiteY624" fmla="*/ 1615007 h 3912503"/>
              <a:gd name="connsiteX625" fmla="*/ 5843675 w 12192528"/>
              <a:gd name="connsiteY625" fmla="*/ 1611403 h 3912503"/>
              <a:gd name="connsiteX626" fmla="*/ 5825672 w 12192528"/>
              <a:gd name="connsiteY626" fmla="*/ 1600593 h 3912503"/>
              <a:gd name="connsiteX627" fmla="*/ 5822072 w 12192528"/>
              <a:gd name="connsiteY627" fmla="*/ 1600593 h 3912503"/>
              <a:gd name="connsiteX628" fmla="*/ 5818474 w 12192528"/>
              <a:gd name="connsiteY628" fmla="*/ 1600593 h 3912503"/>
              <a:gd name="connsiteX629" fmla="*/ 5818474 w 12192528"/>
              <a:gd name="connsiteY629" fmla="*/ 1603296 h 3912503"/>
              <a:gd name="connsiteX630" fmla="*/ 5814872 w 12192528"/>
              <a:gd name="connsiteY630" fmla="*/ 1602395 h 3912503"/>
              <a:gd name="connsiteX631" fmla="*/ 5807670 w 12192528"/>
              <a:gd name="connsiteY631" fmla="*/ 1600592 h 3912503"/>
              <a:gd name="connsiteX632" fmla="*/ 12017190 w 12192528"/>
              <a:gd name="connsiteY632" fmla="*/ 1596902 h 3912503"/>
              <a:gd name="connsiteX633" fmla="*/ 12014802 w 12192528"/>
              <a:gd name="connsiteY633" fmla="*/ 1597080 h 3912503"/>
              <a:gd name="connsiteX634" fmla="*/ 12012412 w 12192528"/>
              <a:gd name="connsiteY634" fmla="*/ 1597258 h 3912503"/>
              <a:gd name="connsiteX635" fmla="*/ 12011728 w 12192528"/>
              <a:gd name="connsiteY635" fmla="*/ 1596978 h 3912503"/>
              <a:gd name="connsiteX636" fmla="*/ 5729195 w 12192528"/>
              <a:gd name="connsiteY636" fmla="*/ 1588094 h 3912503"/>
              <a:gd name="connsiteX637" fmla="*/ 5727368 w 12192528"/>
              <a:gd name="connsiteY637" fmla="*/ 1588484 h 3912503"/>
              <a:gd name="connsiteX638" fmla="*/ 5750519 w 12192528"/>
              <a:gd name="connsiteY638" fmla="*/ 1597531 h 3912503"/>
              <a:gd name="connsiteX639" fmla="*/ 5741513 w 12192528"/>
              <a:gd name="connsiteY639" fmla="*/ 1592486 h 3912503"/>
              <a:gd name="connsiteX640" fmla="*/ 5729195 w 12192528"/>
              <a:gd name="connsiteY640" fmla="*/ 1588094 h 3912503"/>
              <a:gd name="connsiteX641" fmla="*/ 6445161 w 12192528"/>
              <a:gd name="connsiteY641" fmla="*/ 1583619 h 3912503"/>
              <a:gd name="connsiteX642" fmla="*/ 6458402 w 12192528"/>
              <a:gd name="connsiteY642" fmla="*/ 1601272 h 3912503"/>
              <a:gd name="connsiteX643" fmla="*/ 6467224 w 12192528"/>
              <a:gd name="connsiteY643" fmla="*/ 1596859 h 3912503"/>
              <a:gd name="connsiteX644" fmla="*/ 6493708 w 12192528"/>
              <a:gd name="connsiteY644" fmla="*/ 1623339 h 3912503"/>
              <a:gd name="connsiteX645" fmla="*/ 6480468 w 12192528"/>
              <a:gd name="connsiteY645" fmla="*/ 1614513 h 3912503"/>
              <a:gd name="connsiteX646" fmla="*/ 6559906 w 12192528"/>
              <a:gd name="connsiteY646" fmla="*/ 1676299 h 3912503"/>
              <a:gd name="connsiteX647" fmla="*/ 6648172 w 12192528"/>
              <a:gd name="connsiteY647" fmla="*/ 1738086 h 3912503"/>
              <a:gd name="connsiteX648" fmla="*/ 6648172 w 12192528"/>
              <a:gd name="connsiteY648" fmla="*/ 1746913 h 3912503"/>
              <a:gd name="connsiteX649" fmla="*/ 6718784 w 12192528"/>
              <a:gd name="connsiteY649" fmla="*/ 1813113 h 3912503"/>
              <a:gd name="connsiteX650" fmla="*/ 6745263 w 12192528"/>
              <a:gd name="connsiteY650" fmla="*/ 1839593 h 3912503"/>
              <a:gd name="connsiteX651" fmla="*/ 6758503 w 12192528"/>
              <a:gd name="connsiteY651" fmla="*/ 1848420 h 3912503"/>
              <a:gd name="connsiteX652" fmla="*/ 6776157 w 12192528"/>
              <a:gd name="connsiteY652" fmla="*/ 1870486 h 3912503"/>
              <a:gd name="connsiteX653" fmla="*/ 6820290 w 12192528"/>
              <a:gd name="connsiteY653" fmla="*/ 1910206 h 3912503"/>
              <a:gd name="connsiteX654" fmla="*/ 6860009 w 12192528"/>
              <a:gd name="connsiteY654" fmla="*/ 1949926 h 3912503"/>
              <a:gd name="connsiteX655" fmla="*/ 6881151 w 12192528"/>
              <a:gd name="connsiteY655" fmla="*/ 1971614 h 3912503"/>
              <a:gd name="connsiteX656" fmla="*/ 6931108 w 12192528"/>
              <a:gd name="connsiteY656" fmla="*/ 1901353 h 3912503"/>
              <a:gd name="connsiteX657" fmla="*/ 6873248 w 12192528"/>
              <a:gd name="connsiteY657" fmla="*/ 1857246 h 3912503"/>
              <a:gd name="connsiteX658" fmla="*/ 6736436 w 12192528"/>
              <a:gd name="connsiteY658" fmla="*/ 1764566 h 3912503"/>
              <a:gd name="connsiteX659" fmla="*/ 6749678 w 12192528"/>
              <a:gd name="connsiteY659" fmla="*/ 1755739 h 3912503"/>
              <a:gd name="connsiteX660" fmla="*/ 6652584 w 12192528"/>
              <a:gd name="connsiteY660" fmla="*/ 1702780 h 3912503"/>
              <a:gd name="connsiteX661" fmla="*/ 6551080 w 12192528"/>
              <a:gd name="connsiteY661" fmla="*/ 1645405 h 3912503"/>
              <a:gd name="connsiteX662" fmla="*/ 6555490 w 12192528"/>
              <a:gd name="connsiteY662" fmla="*/ 1645405 h 3912503"/>
              <a:gd name="connsiteX663" fmla="*/ 6551080 w 12192528"/>
              <a:gd name="connsiteY663" fmla="*/ 1636580 h 3912503"/>
              <a:gd name="connsiteX664" fmla="*/ 6551080 w 12192528"/>
              <a:gd name="connsiteY664" fmla="*/ 1632165 h 3912503"/>
              <a:gd name="connsiteX665" fmla="*/ 6529013 w 12192528"/>
              <a:gd name="connsiteY665" fmla="*/ 1623339 h 3912503"/>
              <a:gd name="connsiteX666" fmla="*/ 6520186 w 12192528"/>
              <a:gd name="connsiteY666" fmla="*/ 1614513 h 3912503"/>
              <a:gd name="connsiteX667" fmla="*/ 6515773 w 12192528"/>
              <a:gd name="connsiteY667" fmla="*/ 1614513 h 3912503"/>
              <a:gd name="connsiteX668" fmla="*/ 6515773 w 12192528"/>
              <a:gd name="connsiteY668" fmla="*/ 1618926 h 3912503"/>
              <a:gd name="connsiteX669" fmla="*/ 6458402 w 12192528"/>
              <a:gd name="connsiteY669" fmla="*/ 1583619 h 3912503"/>
              <a:gd name="connsiteX670" fmla="*/ 6445161 w 12192528"/>
              <a:gd name="connsiteY670" fmla="*/ 1583619 h 3912503"/>
              <a:gd name="connsiteX671" fmla="*/ 1284334 w 12192528"/>
              <a:gd name="connsiteY671" fmla="*/ 1582209 h 3912503"/>
              <a:gd name="connsiteX672" fmla="*/ 1307754 w 12192528"/>
              <a:gd name="connsiteY672" fmla="*/ 1597821 h 3912503"/>
              <a:gd name="connsiteX673" fmla="*/ 1535475 w 12192528"/>
              <a:gd name="connsiteY673" fmla="*/ 1641297 h 3912503"/>
              <a:gd name="connsiteX674" fmla="*/ 1538692 w 12192528"/>
              <a:gd name="connsiteY674" fmla="*/ 1635732 h 3912503"/>
              <a:gd name="connsiteX675" fmla="*/ 1538928 w 12192528"/>
              <a:gd name="connsiteY675" fmla="*/ 1630072 h 3912503"/>
              <a:gd name="connsiteX676" fmla="*/ 1537040 w 12192528"/>
              <a:gd name="connsiteY676" fmla="*/ 1626299 h 3912503"/>
              <a:gd name="connsiteX677" fmla="*/ 1541051 w 12192528"/>
              <a:gd name="connsiteY677" fmla="*/ 1623705 h 3912503"/>
              <a:gd name="connsiteX678" fmla="*/ 1541754 w 12192528"/>
              <a:gd name="connsiteY678" fmla="*/ 1623604 h 3912503"/>
              <a:gd name="connsiteX679" fmla="*/ 1524925 w 12192528"/>
              <a:gd name="connsiteY679" fmla="*/ 1619264 h 3912503"/>
              <a:gd name="connsiteX680" fmla="*/ 1367084 w 12192528"/>
              <a:gd name="connsiteY680" fmla="*/ 1588454 h 3912503"/>
              <a:gd name="connsiteX681" fmla="*/ 1284334 w 12192528"/>
              <a:gd name="connsiteY681" fmla="*/ 1582209 h 3912503"/>
              <a:gd name="connsiteX682" fmla="*/ 11263868 w 12192528"/>
              <a:gd name="connsiteY682" fmla="*/ 1571431 h 3912503"/>
              <a:gd name="connsiteX683" fmla="*/ 11253650 w 12192528"/>
              <a:gd name="connsiteY683" fmla="*/ 1575897 h 3912503"/>
              <a:gd name="connsiteX684" fmla="*/ 11253252 w 12192528"/>
              <a:gd name="connsiteY684" fmla="*/ 1576142 h 3912503"/>
              <a:gd name="connsiteX685" fmla="*/ 11254953 w 12192528"/>
              <a:gd name="connsiteY685" fmla="*/ 1578278 h 3912503"/>
              <a:gd name="connsiteX686" fmla="*/ 11256793 w 12192528"/>
              <a:gd name="connsiteY686" fmla="*/ 1577764 h 3912503"/>
              <a:gd name="connsiteX687" fmla="*/ 11265806 w 12192528"/>
              <a:gd name="connsiteY687" fmla="*/ 1573787 h 3912503"/>
              <a:gd name="connsiteX688" fmla="*/ 11266135 w 12192528"/>
              <a:gd name="connsiteY688" fmla="*/ 1573407 h 3912503"/>
              <a:gd name="connsiteX689" fmla="*/ 11625824 w 12192528"/>
              <a:gd name="connsiteY689" fmla="*/ 1568495 h 3912503"/>
              <a:gd name="connsiteX690" fmla="*/ 11626002 w 12192528"/>
              <a:gd name="connsiteY690" fmla="*/ 1570885 h 3912503"/>
              <a:gd name="connsiteX691" fmla="*/ 11623613 w 12192528"/>
              <a:gd name="connsiteY691" fmla="*/ 1571063 h 3912503"/>
              <a:gd name="connsiteX692" fmla="*/ 11625824 w 12192528"/>
              <a:gd name="connsiteY692" fmla="*/ 1568495 h 3912503"/>
              <a:gd name="connsiteX693" fmla="*/ 2526989 w 12192528"/>
              <a:gd name="connsiteY693" fmla="*/ 1561572 h 3912503"/>
              <a:gd name="connsiteX694" fmla="*/ 2535640 w 12192528"/>
              <a:gd name="connsiteY694" fmla="*/ 1565856 h 3912503"/>
              <a:gd name="connsiteX695" fmla="*/ 2540542 w 12192528"/>
              <a:gd name="connsiteY695" fmla="*/ 1568448 h 3912503"/>
              <a:gd name="connsiteX696" fmla="*/ 2546021 w 12192528"/>
              <a:gd name="connsiteY696" fmla="*/ 1573057 h 3912503"/>
              <a:gd name="connsiteX697" fmla="*/ 2549482 w 12192528"/>
              <a:gd name="connsiteY697" fmla="*/ 1577665 h 3912503"/>
              <a:gd name="connsiteX698" fmla="*/ 2553520 w 12192528"/>
              <a:gd name="connsiteY698" fmla="*/ 1590338 h 3912503"/>
              <a:gd name="connsiteX699" fmla="*/ 2556404 w 12192528"/>
              <a:gd name="connsiteY699" fmla="*/ 1598115 h 3912503"/>
              <a:gd name="connsiteX700" fmla="*/ 2556404 w 12192528"/>
              <a:gd name="connsiteY700" fmla="*/ 1601571 h 3912503"/>
              <a:gd name="connsiteX701" fmla="*/ 2552942 w 12192528"/>
              <a:gd name="connsiteY701" fmla="*/ 1608483 h 3912503"/>
              <a:gd name="connsiteX702" fmla="*/ 2545156 w 12192528"/>
              <a:gd name="connsiteY702" fmla="*/ 1618853 h 3912503"/>
              <a:gd name="connsiteX703" fmla="*/ 2543138 w 12192528"/>
              <a:gd name="connsiteY703" fmla="*/ 1622885 h 3912503"/>
              <a:gd name="connsiteX704" fmla="*/ 2539677 w 12192528"/>
              <a:gd name="connsiteY704" fmla="*/ 1624324 h 3912503"/>
              <a:gd name="connsiteX705" fmla="*/ 2533044 w 12192528"/>
              <a:gd name="connsiteY705" fmla="*/ 1626341 h 3912503"/>
              <a:gd name="connsiteX706" fmla="*/ 2530737 w 12192528"/>
              <a:gd name="connsiteY706" fmla="*/ 1627493 h 3912503"/>
              <a:gd name="connsiteX707" fmla="*/ 2521509 w 12192528"/>
              <a:gd name="connsiteY707" fmla="*/ 1628645 h 3912503"/>
              <a:gd name="connsiteX708" fmla="*/ 2519489 w 12192528"/>
              <a:gd name="connsiteY708" fmla="*/ 1629221 h 3912503"/>
              <a:gd name="connsiteX709" fmla="*/ 2499014 w 12192528"/>
              <a:gd name="connsiteY709" fmla="*/ 1616260 h 3912503"/>
              <a:gd name="connsiteX710" fmla="*/ 2492670 w 12192528"/>
              <a:gd name="connsiteY710" fmla="*/ 1604452 h 3912503"/>
              <a:gd name="connsiteX711" fmla="*/ 2490651 w 12192528"/>
              <a:gd name="connsiteY711" fmla="*/ 1599555 h 3912503"/>
              <a:gd name="connsiteX712" fmla="*/ 2490362 w 12192528"/>
              <a:gd name="connsiteY712" fmla="*/ 1594658 h 3912503"/>
              <a:gd name="connsiteX713" fmla="*/ 2491228 w 12192528"/>
              <a:gd name="connsiteY713" fmla="*/ 1590914 h 3912503"/>
              <a:gd name="connsiteX714" fmla="*/ 2492670 w 12192528"/>
              <a:gd name="connsiteY714" fmla="*/ 1583138 h 3912503"/>
              <a:gd name="connsiteX715" fmla="*/ 2492958 w 12192528"/>
              <a:gd name="connsiteY715" fmla="*/ 1580257 h 3912503"/>
              <a:gd name="connsiteX716" fmla="*/ 2493823 w 12192528"/>
              <a:gd name="connsiteY716" fmla="*/ 1573344 h 3912503"/>
              <a:gd name="connsiteX717" fmla="*/ 2508243 w 12192528"/>
              <a:gd name="connsiteY717" fmla="*/ 1562111 h 3912503"/>
              <a:gd name="connsiteX718" fmla="*/ 2517471 w 12192528"/>
              <a:gd name="connsiteY718" fmla="*/ 1561824 h 3912503"/>
              <a:gd name="connsiteX719" fmla="*/ 2526989 w 12192528"/>
              <a:gd name="connsiteY719" fmla="*/ 1561572 h 3912503"/>
              <a:gd name="connsiteX720" fmla="*/ 11737946 w 12192528"/>
              <a:gd name="connsiteY720" fmla="*/ 1557710 h 3912503"/>
              <a:gd name="connsiteX721" fmla="*/ 11735556 w 12192528"/>
              <a:gd name="connsiteY721" fmla="*/ 1557889 h 3912503"/>
              <a:gd name="connsiteX722" fmla="*/ 11735549 w 12192528"/>
              <a:gd name="connsiteY722" fmla="*/ 1557776 h 3912503"/>
              <a:gd name="connsiteX723" fmla="*/ 11740157 w 12192528"/>
              <a:gd name="connsiteY723" fmla="*/ 1555142 h 3912503"/>
              <a:gd name="connsiteX724" fmla="*/ 11740023 w 12192528"/>
              <a:gd name="connsiteY724" fmla="*/ 1555298 h 3912503"/>
              <a:gd name="connsiteX725" fmla="*/ 11737766 w 12192528"/>
              <a:gd name="connsiteY725" fmla="*/ 1555321 h 3912503"/>
              <a:gd name="connsiteX726" fmla="*/ 11740157 w 12192528"/>
              <a:gd name="connsiteY726" fmla="*/ 1555142 h 3912503"/>
              <a:gd name="connsiteX727" fmla="*/ 11245767 w 12192528"/>
              <a:gd name="connsiteY727" fmla="*/ 1554323 h 3912503"/>
              <a:gd name="connsiteX728" fmla="*/ 11236367 w 12192528"/>
              <a:gd name="connsiteY728" fmla="*/ 1558672 h 3912503"/>
              <a:gd name="connsiteX729" fmla="*/ 11242962 w 12192528"/>
              <a:gd name="connsiteY729" fmla="*/ 1564701 h 3912503"/>
              <a:gd name="connsiteX730" fmla="*/ 11252069 w 12192528"/>
              <a:gd name="connsiteY730" fmla="*/ 1561090 h 3912503"/>
              <a:gd name="connsiteX731" fmla="*/ 11702451 w 12192528"/>
              <a:gd name="connsiteY731" fmla="*/ 1548951 h 3912503"/>
              <a:gd name="connsiteX732" fmla="*/ 11723074 w 12192528"/>
              <a:gd name="connsiteY732" fmla="*/ 1551613 h 3912503"/>
              <a:gd name="connsiteX733" fmla="*/ 11720863 w 12192528"/>
              <a:gd name="connsiteY733" fmla="*/ 1554182 h 3912503"/>
              <a:gd name="connsiteX734" fmla="*/ 11723253 w 12192528"/>
              <a:gd name="connsiteY734" fmla="*/ 1554003 h 3912503"/>
              <a:gd name="connsiteX735" fmla="*/ 11732987 w 12192528"/>
              <a:gd name="connsiteY735" fmla="*/ 1555678 h 3912503"/>
              <a:gd name="connsiteX736" fmla="*/ 11735379 w 12192528"/>
              <a:gd name="connsiteY736" fmla="*/ 1555499 h 3912503"/>
              <a:gd name="connsiteX737" fmla="*/ 11735549 w 12192528"/>
              <a:gd name="connsiteY737" fmla="*/ 1557776 h 3912503"/>
              <a:gd name="connsiteX738" fmla="*/ 11731613 w 12192528"/>
              <a:gd name="connsiteY738" fmla="*/ 1557883 h 3912503"/>
              <a:gd name="connsiteX739" fmla="*/ 11721399 w 12192528"/>
              <a:gd name="connsiteY739" fmla="*/ 1561350 h 3912503"/>
              <a:gd name="connsiteX740" fmla="*/ 11718831 w 12192528"/>
              <a:gd name="connsiteY740" fmla="*/ 1559139 h 3912503"/>
              <a:gd name="connsiteX741" fmla="*/ 11716442 w 12192528"/>
              <a:gd name="connsiteY741" fmla="*/ 1559318 h 3912503"/>
              <a:gd name="connsiteX742" fmla="*/ 11713872 w 12192528"/>
              <a:gd name="connsiteY742" fmla="*/ 1557107 h 3912503"/>
              <a:gd name="connsiteX743" fmla="*/ 11711484 w 12192528"/>
              <a:gd name="connsiteY743" fmla="*/ 1557285 h 3912503"/>
              <a:gd name="connsiteX744" fmla="*/ 11711662 w 12192528"/>
              <a:gd name="connsiteY744" fmla="*/ 1559675 h 3912503"/>
              <a:gd name="connsiteX745" fmla="*/ 11692726 w 12192528"/>
              <a:gd name="connsiteY745" fmla="*/ 1563494 h 3912503"/>
              <a:gd name="connsiteX746" fmla="*/ 11692548 w 12192528"/>
              <a:gd name="connsiteY746" fmla="*/ 1561105 h 3912503"/>
              <a:gd name="connsiteX747" fmla="*/ 11687768 w 12192528"/>
              <a:gd name="connsiteY747" fmla="*/ 1561461 h 3912503"/>
              <a:gd name="connsiteX748" fmla="*/ 11685380 w 12192528"/>
              <a:gd name="connsiteY748" fmla="*/ 1561641 h 3912503"/>
              <a:gd name="connsiteX749" fmla="*/ 11661307 w 12192528"/>
              <a:gd name="connsiteY749" fmla="*/ 1561037 h 3912503"/>
              <a:gd name="connsiteX750" fmla="*/ 11661485 w 12192528"/>
              <a:gd name="connsiteY750" fmla="*/ 1563427 h 3912503"/>
              <a:gd name="connsiteX751" fmla="*/ 11658917 w 12192528"/>
              <a:gd name="connsiteY751" fmla="*/ 1561215 h 3912503"/>
              <a:gd name="connsiteX752" fmla="*/ 11656706 w 12192528"/>
              <a:gd name="connsiteY752" fmla="*/ 1563784 h 3912503"/>
              <a:gd name="connsiteX753" fmla="*/ 11642371 w 12192528"/>
              <a:gd name="connsiteY753" fmla="*/ 1564856 h 3912503"/>
              <a:gd name="connsiteX754" fmla="*/ 11635381 w 12192528"/>
              <a:gd name="connsiteY754" fmla="*/ 1567781 h 3912503"/>
              <a:gd name="connsiteX755" fmla="*/ 11632813 w 12192528"/>
              <a:gd name="connsiteY755" fmla="*/ 1565571 h 3912503"/>
              <a:gd name="connsiteX756" fmla="*/ 11630780 w 12192528"/>
              <a:gd name="connsiteY756" fmla="*/ 1570527 h 3912503"/>
              <a:gd name="connsiteX757" fmla="*/ 11630602 w 12192528"/>
              <a:gd name="connsiteY757" fmla="*/ 1568138 h 3912503"/>
              <a:gd name="connsiteX758" fmla="*/ 11628212 w 12192528"/>
              <a:gd name="connsiteY758" fmla="*/ 1568317 h 3912503"/>
              <a:gd name="connsiteX759" fmla="*/ 11625824 w 12192528"/>
              <a:gd name="connsiteY759" fmla="*/ 1568495 h 3912503"/>
              <a:gd name="connsiteX760" fmla="*/ 11623434 w 12192528"/>
              <a:gd name="connsiteY760" fmla="*/ 1568674 h 3912503"/>
              <a:gd name="connsiteX761" fmla="*/ 11621044 w 12192528"/>
              <a:gd name="connsiteY761" fmla="*/ 1568853 h 3912503"/>
              <a:gd name="connsiteX762" fmla="*/ 11616087 w 12192528"/>
              <a:gd name="connsiteY762" fmla="*/ 1566821 h 3912503"/>
              <a:gd name="connsiteX763" fmla="*/ 11611487 w 12192528"/>
              <a:gd name="connsiteY763" fmla="*/ 1569568 h 3912503"/>
              <a:gd name="connsiteX764" fmla="*/ 11596972 w 12192528"/>
              <a:gd name="connsiteY764" fmla="*/ 1568250 h 3912503"/>
              <a:gd name="connsiteX765" fmla="*/ 11639802 w 12192528"/>
              <a:gd name="connsiteY765" fmla="*/ 1562645 h 3912503"/>
              <a:gd name="connsiteX766" fmla="*/ 11658381 w 12192528"/>
              <a:gd name="connsiteY766" fmla="*/ 1554048 h 3912503"/>
              <a:gd name="connsiteX767" fmla="*/ 11682097 w 12192528"/>
              <a:gd name="connsiteY767" fmla="*/ 1549872 h 3912503"/>
              <a:gd name="connsiteX768" fmla="*/ 11702451 w 12192528"/>
              <a:gd name="connsiteY768" fmla="*/ 1548951 h 3912503"/>
              <a:gd name="connsiteX769" fmla="*/ 5573650 w 12192528"/>
              <a:gd name="connsiteY769" fmla="*/ 1535735 h 3912503"/>
              <a:gd name="connsiteX770" fmla="*/ 5576678 w 12192528"/>
              <a:gd name="connsiteY770" fmla="*/ 1537105 h 3912503"/>
              <a:gd name="connsiteX771" fmla="*/ 5645856 w 12192528"/>
              <a:gd name="connsiteY771" fmla="*/ 1556624 h 3912503"/>
              <a:gd name="connsiteX772" fmla="*/ 5689903 w 12192528"/>
              <a:gd name="connsiteY772" fmla="*/ 1573840 h 3912503"/>
              <a:gd name="connsiteX773" fmla="*/ 5685709 w 12192528"/>
              <a:gd name="connsiteY773" fmla="*/ 1569965 h 3912503"/>
              <a:gd name="connsiteX774" fmla="*/ 5649256 w 12192528"/>
              <a:gd name="connsiteY774" fmla="*/ 1553750 h 3912503"/>
              <a:gd name="connsiteX775" fmla="*/ 5573650 w 12192528"/>
              <a:gd name="connsiteY775" fmla="*/ 1535735 h 3912503"/>
              <a:gd name="connsiteX776" fmla="*/ 11310914 w 12192528"/>
              <a:gd name="connsiteY776" fmla="*/ 1534374 h 3912503"/>
              <a:gd name="connsiteX777" fmla="*/ 11303925 w 12192528"/>
              <a:gd name="connsiteY777" fmla="*/ 1537298 h 3912503"/>
              <a:gd name="connsiteX778" fmla="*/ 11303746 w 12192528"/>
              <a:gd name="connsiteY778" fmla="*/ 1534909 h 3912503"/>
              <a:gd name="connsiteX779" fmla="*/ 11285346 w 12192528"/>
              <a:gd name="connsiteY779" fmla="*/ 1545895 h 3912503"/>
              <a:gd name="connsiteX780" fmla="*/ 11280568 w 12192528"/>
              <a:gd name="connsiteY780" fmla="*/ 1546253 h 3912503"/>
              <a:gd name="connsiteX781" fmla="*/ 11278178 w 12192528"/>
              <a:gd name="connsiteY781" fmla="*/ 1546432 h 3912503"/>
              <a:gd name="connsiteX782" fmla="*/ 11275788 w 12192528"/>
              <a:gd name="connsiteY782" fmla="*/ 1546610 h 3912503"/>
              <a:gd name="connsiteX783" fmla="*/ 11275815 w 12192528"/>
              <a:gd name="connsiteY783" fmla="*/ 1546961 h 3912503"/>
              <a:gd name="connsiteX784" fmla="*/ 11280366 w 12192528"/>
              <a:gd name="connsiteY784" fmla="*/ 1552208 h 3912503"/>
              <a:gd name="connsiteX785" fmla="*/ 11292184 w 12192528"/>
              <a:gd name="connsiteY785" fmla="*/ 1548989 h 3912503"/>
              <a:gd name="connsiteX786" fmla="*/ 11299683 w 12192528"/>
              <a:gd name="connsiteY786" fmla="*/ 1544824 h 3912503"/>
              <a:gd name="connsiteX787" fmla="*/ 11302073 w 12192528"/>
              <a:gd name="connsiteY787" fmla="*/ 1544646 h 3912503"/>
              <a:gd name="connsiteX788" fmla="*/ 11304462 w 12192528"/>
              <a:gd name="connsiteY788" fmla="*/ 1544466 h 3912503"/>
              <a:gd name="connsiteX789" fmla="*/ 11304282 w 12192528"/>
              <a:gd name="connsiteY789" fmla="*/ 1542077 h 3912503"/>
              <a:gd name="connsiteX790" fmla="*/ 11301892 w 12192528"/>
              <a:gd name="connsiteY790" fmla="*/ 1542256 h 3912503"/>
              <a:gd name="connsiteX791" fmla="*/ 11311272 w 12192528"/>
              <a:gd name="connsiteY791" fmla="*/ 1539152 h 3912503"/>
              <a:gd name="connsiteX792" fmla="*/ 11310914 w 12192528"/>
              <a:gd name="connsiteY792" fmla="*/ 1534374 h 3912503"/>
              <a:gd name="connsiteX793" fmla="*/ 4043942 w 12192528"/>
              <a:gd name="connsiteY793" fmla="*/ 1532803 h 3912503"/>
              <a:gd name="connsiteX794" fmla="*/ 4043807 w 12192528"/>
              <a:gd name="connsiteY794" fmla="*/ 1532885 h 3912503"/>
              <a:gd name="connsiteX795" fmla="*/ 4038502 w 12192528"/>
              <a:gd name="connsiteY795" fmla="*/ 1534055 h 3912503"/>
              <a:gd name="connsiteX796" fmla="*/ 1520195 w 12192528"/>
              <a:gd name="connsiteY796" fmla="*/ 1516692 h 3912503"/>
              <a:gd name="connsiteX797" fmla="*/ 1521010 w 12192528"/>
              <a:gd name="connsiteY797" fmla="*/ 1523208 h 3912503"/>
              <a:gd name="connsiteX798" fmla="*/ 1521421 w 12192528"/>
              <a:gd name="connsiteY798" fmla="*/ 1527317 h 3912503"/>
              <a:gd name="connsiteX799" fmla="*/ 1523479 w 12192528"/>
              <a:gd name="connsiteY799" fmla="*/ 1538413 h 3912503"/>
              <a:gd name="connsiteX800" fmla="*/ 1524713 w 12192528"/>
              <a:gd name="connsiteY800" fmla="*/ 1543756 h 3912503"/>
              <a:gd name="connsiteX801" fmla="*/ 1524301 w 12192528"/>
              <a:gd name="connsiteY801" fmla="*/ 1550742 h 3912503"/>
              <a:gd name="connsiteX802" fmla="*/ 1521421 w 12192528"/>
              <a:gd name="connsiteY802" fmla="*/ 1557728 h 3912503"/>
              <a:gd name="connsiteX803" fmla="*/ 1520621 w 12192528"/>
              <a:gd name="connsiteY803" fmla="*/ 1559216 h 3912503"/>
              <a:gd name="connsiteX804" fmla="*/ 1557567 w 12192528"/>
              <a:gd name="connsiteY804" fmla="*/ 1566598 h 3912503"/>
              <a:gd name="connsiteX805" fmla="*/ 2044700 w 12192528"/>
              <a:gd name="connsiteY805" fmla="*/ 1732086 h 3912503"/>
              <a:gd name="connsiteX806" fmla="*/ 2072803 w 12192528"/>
              <a:gd name="connsiteY806" fmla="*/ 1764871 h 3912503"/>
              <a:gd name="connsiteX807" fmla="*/ 2083734 w 12192528"/>
              <a:gd name="connsiteY807" fmla="*/ 1777361 h 3912503"/>
              <a:gd name="connsiteX808" fmla="*/ 2144160 w 12192528"/>
              <a:gd name="connsiteY808" fmla="*/ 1808500 h 3912503"/>
              <a:gd name="connsiteX809" fmla="*/ 2149319 w 12192528"/>
              <a:gd name="connsiteY809" fmla="*/ 1788482 h 3912503"/>
              <a:gd name="connsiteX810" fmla="*/ 2157949 w 12192528"/>
              <a:gd name="connsiteY810" fmla="*/ 1778131 h 3912503"/>
              <a:gd name="connsiteX811" fmla="*/ 2166424 w 12192528"/>
              <a:gd name="connsiteY811" fmla="*/ 1772423 h 3912503"/>
              <a:gd name="connsiteX812" fmla="*/ 2143844 w 12192528"/>
              <a:gd name="connsiteY812" fmla="*/ 1758236 h 3912503"/>
              <a:gd name="connsiteX813" fmla="*/ 1927600 w 12192528"/>
              <a:gd name="connsiteY813" fmla="*/ 1644658 h 3912503"/>
              <a:gd name="connsiteX814" fmla="*/ 1551712 w 12192528"/>
              <a:gd name="connsiteY814" fmla="*/ 1522103 h 3912503"/>
              <a:gd name="connsiteX815" fmla="*/ 11205212 w 12192528"/>
              <a:gd name="connsiteY815" fmla="*/ 1510774 h 3912503"/>
              <a:gd name="connsiteX816" fmla="*/ 11189992 w 12192528"/>
              <a:gd name="connsiteY816" fmla="*/ 1516273 h 3912503"/>
              <a:gd name="connsiteX817" fmla="*/ 11195545 w 12192528"/>
              <a:gd name="connsiteY817" fmla="*/ 1521349 h 3912503"/>
              <a:gd name="connsiteX818" fmla="*/ 11209758 w 12192528"/>
              <a:gd name="connsiteY818" fmla="*/ 1515656 h 3912503"/>
              <a:gd name="connsiteX819" fmla="*/ 2143439 w 12192528"/>
              <a:gd name="connsiteY819" fmla="*/ 1497950 h 3912503"/>
              <a:gd name="connsiteX820" fmla="*/ 2149252 w 12192528"/>
              <a:gd name="connsiteY820" fmla="*/ 1499389 h 3912503"/>
              <a:gd name="connsiteX821" fmla="*/ 2169825 w 12192528"/>
              <a:gd name="connsiteY821" fmla="*/ 1515415 h 3912503"/>
              <a:gd name="connsiteX822" fmla="*/ 2171059 w 12192528"/>
              <a:gd name="connsiteY822" fmla="*/ 1525279 h 3912503"/>
              <a:gd name="connsiteX823" fmla="*/ 2171470 w 12192528"/>
              <a:gd name="connsiteY823" fmla="*/ 1529387 h 3912503"/>
              <a:gd name="connsiteX824" fmla="*/ 2173528 w 12192528"/>
              <a:gd name="connsiteY824" fmla="*/ 1540483 h 3912503"/>
              <a:gd name="connsiteX825" fmla="*/ 2174763 w 12192528"/>
              <a:gd name="connsiteY825" fmla="*/ 1545825 h 3912503"/>
              <a:gd name="connsiteX826" fmla="*/ 2174351 w 12192528"/>
              <a:gd name="connsiteY826" fmla="*/ 1552813 h 3912503"/>
              <a:gd name="connsiteX827" fmla="*/ 2171470 w 12192528"/>
              <a:gd name="connsiteY827" fmla="*/ 1559798 h 3912503"/>
              <a:gd name="connsiteX828" fmla="*/ 2162418 w 12192528"/>
              <a:gd name="connsiteY828" fmla="*/ 1576648 h 3912503"/>
              <a:gd name="connsiteX829" fmla="*/ 2133204 w 12192528"/>
              <a:gd name="connsiteY829" fmla="*/ 1595140 h 3912503"/>
              <a:gd name="connsiteX830" fmla="*/ 2130324 w 12192528"/>
              <a:gd name="connsiteY830" fmla="*/ 1594318 h 3912503"/>
              <a:gd name="connsiteX831" fmla="*/ 2117156 w 12192528"/>
              <a:gd name="connsiteY831" fmla="*/ 1592673 h 3912503"/>
              <a:gd name="connsiteX832" fmla="*/ 2113865 w 12192528"/>
              <a:gd name="connsiteY832" fmla="*/ 1591030 h 3912503"/>
              <a:gd name="connsiteX833" fmla="*/ 2104400 w 12192528"/>
              <a:gd name="connsiteY833" fmla="*/ 1588154 h 3912503"/>
              <a:gd name="connsiteX834" fmla="*/ 2103158 w 12192528"/>
              <a:gd name="connsiteY834" fmla="*/ 1587637 h 3912503"/>
              <a:gd name="connsiteX835" fmla="*/ 2101436 w 12192528"/>
              <a:gd name="connsiteY835" fmla="*/ 1591844 h 3912503"/>
              <a:gd name="connsiteX836" fmla="*/ 2095578 w 12192528"/>
              <a:gd name="connsiteY836" fmla="*/ 1598841 h 3912503"/>
              <a:gd name="connsiteX837" fmla="*/ 2086989 w 12192528"/>
              <a:gd name="connsiteY837" fmla="*/ 1603117 h 3912503"/>
              <a:gd name="connsiteX838" fmla="*/ 2079179 w 12192528"/>
              <a:gd name="connsiteY838" fmla="*/ 1603117 h 3912503"/>
              <a:gd name="connsiteX839" fmla="*/ 2078008 w 12192528"/>
              <a:gd name="connsiteY839" fmla="*/ 1601562 h 3912503"/>
              <a:gd name="connsiteX840" fmla="*/ 2067074 w 12192528"/>
              <a:gd name="connsiteY840" fmla="*/ 1593010 h 3912503"/>
              <a:gd name="connsiteX841" fmla="*/ 2063559 w 12192528"/>
              <a:gd name="connsiteY841" fmla="*/ 1579794 h 3912503"/>
              <a:gd name="connsiteX842" fmla="*/ 2069027 w 12192528"/>
              <a:gd name="connsiteY842" fmla="*/ 1564244 h 3912503"/>
              <a:gd name="connsiteX843" fmla="*/ 2074883 w 12192528"/>
              <a:gd name="connsiteY843" fmla="*/ 1560746 h 3912503"/>
              <a:gd name="connsiteX844" fmla="*/ 2080535 w 12192528"/>
              <a:gd name="connsiteY844" fmla="*/ 1553638 h 3912503"/>
              <a:gd name="connsiteX845" fmla="*/ 2080535 w 12192528"/>
              <a:gd name="connsiteY845" fmla="*/ 1550757 h 3912503"/>
              <a:gd name="connsiteX846" fmla="*/ 2084649 w 12192528"/>
              <a:gd name="connsiteY846" fmla="*/ 1539662 h 3912503"/>
              <a:gd name="connsiteX847" fmla="*/ 2090411 w 12192528"/>
              <a:gd name="connsiteY847" fmla="*/ 1521580 h 3912503"/>
              <a:gd name="connsiteX848" fmla="*/ 2095348 w 12192528"/>
              <a:gd name="connsiteY848" fmla="*/ 1515005 h 3912503"/>
              <a:gd name="connsiteX849" fmla="*/ 2103166 w 12192528"/>
              <a:gd name="connsiteY849" fmla="*/ 1508430 h 3912503"/>
              <a:gd name="connsiteX850" fmla="*/ 2110161 w 12192528"/>
              <a:gd name="connsiteY850" fmla="*/ 1504730 h 3912503"/>
              <a:gd name="connsiteX851" fmla="*/ 2122505 w 12192528"/>
              <a:gd name="connsiteY851" fmla="*/ 1498618 h 3912503"/>
              <a:gd name="connsiteX852" fmla="*/ 2136083 w 12192528"/>
              <a:gd name="connsiteY852" fmla="*/ 1498978 h 3912503"/>
              <a:gd name="connsiteX853" fmla="*/ 2143439 w 12192528"/>
              <a:gd name="connsiteY853" fmla="*/ 1497950 h 3912503"/>
              <a:gd name="connsiteX854" fmla="*/ 7618397 w 12192528"/>
              <a:gd name="connsiteY854" fmla="*/ 1490081 h 3912503"/>
              <a:gd name="connsiteX855" fmla="*/ 7613886 w 12192528"/>
              <a:gd name="connsiteY855" fmla="*/ 1492291 h 3912503"/>
              <a:gd name="connsiteX856" fmla="*/ 7614345 w 12192528"/>
              <a:gd name="connsiteY856" fmla="*/ 1491396 h 3912503"/>
              <a:gd name="connsiteX857" fmla="*/ 7618397 w 12192528"/>
              <a:gd name="connsiteY857" fmla="*/ 1490081 h 3912503"/>
              <a:gd name="connsiteX858" fmla="*/ 1224994 w 12192528"/>
              <a:gd name="connsiteY858" fmla="*/ 1479214 h 3912503"/>
              <a:gd name="connsiteX859" fmla="*/ 1226764 w 12192528"/>
              <a:gd name="connsiteY859" fmla="*/ 1480150 h 3912503"/>
              <a:gd name="connsiteX860" fmla="*/ 1232193 w 12192528"/>
              <a:gd name="connsiteY860" fmla="*/ 1484717 h 3912503"/>
              <a:gd name="connsiteX861" fmla="*/ 1235623 w 12192528"/>
              <a:gd name="connsiteY861" fmla="*/ 1489284 h 3912503"/>
              <a:gd name="connsiteX862" fmla="*/ 1239625 w 12192528"/>
              <a:gd name="connsiteY862" fmla="*/ 1501843 h 3912503"/>
              <a:gd name="connsiteX863" fmla="*/ 1242000 w 12192528"/>
              <a:gd name="connsiteY863" fmla="*/ 1508249 h 3912503"/>
              <a:gd name="connsiteX864" fmla="*/ 1256767 w 12192528"/>
              <a:gd name="connsiteY864" fmla="*/ 1509734 h 3912503"/>
              <a:gd name="connsiteX865" fmla="*/ 1357327 w 12192528"/>
              <a:gd name="connsiteY865" fmla="*/ 1526591 h 3912503"/>
              <a:gd name="connsiteX866" fmla="*/ 1433068 w 12192528"/>
              <a:gd name="connsiteY866" fmla="*/ 1541724 h 3912503"/>
              <a:gd name="connsiteX867" fmla="*/ 1434600 w 12192528"/>
              <a:gd name="connsiteY867" fmla="*/ 1537592 h 3912503"/>
              <a:gd name="connsiteX868" fmla="*/ 1440361 w 12192528"/>
              <a:gd name="connsiteY868" fmla="*/ 1519510 h 3912503"/>
              <a:gd name="connsiteX869" fmla="*/ 1445299 w 12192528"/>
              <a:gd name="connsiteY869" fmla="*/ 1512935 h 3912503"/>
              <a:gd name="connsiteX870" fmla="*/ 1453117 w 12192528"/>
              <a:gd name="connsiteY870" fmla="*/ 1506359 h 3912503"/>
              <a:gd name="connsiteX871" fmla="*/ 1454806 w 12192528"/>
              <a:gd name="connsiteY871" fmla="*/ 1505466 h 3912503"/>
              <a:gd name="connsiteX872" fmla="*/ 1357619 w 12192528"/>
              <a:gd name="connsiteY872" fmla="*/ 1488781 h 3912503"/>
              <a:gd name="connsiteX873" fmla="*/ 6132368 w 12192528"/>
              <a:gd name="connsiteY873" fmla="*/ 1467768 h 3912503"/>
              <a:gd name="connsiteX874" fmla="*/ 6140641 w 12192528"/>
              <a:gd name="connsiteY874" fmla="*/ 1473285 h 3912503"/>
              <a:gd name="connsiteX875" fmla="*/ 6132066 w 12192528"/>
              <a:gd name="connsiteY875" fmla="*/ 1467836 h 3912503"/>
              <a:gd name="connsiteX876" fmla="*/ 34570 w 12192528"/>
              <a:gd name="connsiteY876" fmla="*/ 1458927 h 3912503"/>
              <a:gd name="connsiteX877" fmla="*/ 35069 w 12192528"/>
              <a:gd name="connsiteY877" fmla="*/ 1459045 h 3912503"/>
              <a:gd name="connsiteX878" fmla="*/ 34801 w 12192528"/>
              <a:gd name="connsiteY878" fmla="*/ 1459311 h 3912503"/>
              <a:gd name="connsiteX879" fmla="*/ 562 w 12192528"/>
              <a:gd name="connsiteY879" fmla="*/ 1449881 h 3912503"/>
              <a:gd name="connsiteX880" fmla="*/ 817 w 12192528"/>
              <a:gd name="connsiteY880" fmla="*/ 1450873 h 3912503"/>
              <a:gd name="connsiteX881" fmla="*/ 1252 w 12192528"/>
              <a:gd name="connsiteY881" fmla="*/ 1461103 h 3912503"/>
              <a:gd name="connsiteX882" fmla="*/ 5390 w 12192528"/>
              <a:gd name="connsiteY882" fmla="*/ 1468503 h 3912503"/>
              <a:gd name="connsiteX883" fmla="*/ 6044 w 12192528"/>
              <a:gd name="connsiteY883" fmla="*/ 1468503 h 3912503"/>
              <a:gd name="connsiteX884" fmla="*/ 10180 w 12192528"/>
              <a:gd name="connsiteY884" fmla="*/ 1471115 h 3912503"/>
              <a:gd name="connsiteX885" fmla="*/ 7132 w 12192528"/>
              <a:gd name="connsiteY885" fmla="*/ 1473509 h 3912503"/>
              <a:gd name="connsiteX886" fmla="*/ 562 w 12192528"/>
              <a:gd name="connsiteY886" fmla="*/ 1486475 h 3912503"/>
              <a:gd name="connsiteX887" fmla="*/ 1794068 w 12192528"/>
              <a:gd name="connsiteY887" fmla="*/ 1432985 h 3912503"/>
              <a:gd name="connsiteX888" fmla="*/ 1794536 w 12192528"/>
              <a:gd name="connsiteY888" fmla="*/ 1433095 h 3912503"/>
              <a:gd name="connsiteX889" fmla="*/ 1794285 w 12192528"/>
              <a:gd name="connsiteY889" fmla="*/ 1433345 h 3912503"/>
              <a:gd name="connsiteX890" fmla="*/ 4645364 w 12192528"/>
              <a:gd name="connsiteY890" fmla="*/ 1403800 h 3912503"/>
              <a:gd name="connsiteX891" fmla="*/ 4645041 w 12192528"/>
              <a:gd name="connsiteY891" fmla="*/ 1404106 h 3912503"/>
              <a:gd name="connsiteX892" fmla="*/ 4641173 w 12192528"/>
              <a:gd name="connsiteY892" fmla="*/ 1403915 h 3912503"/>
              <a:gd name="connsiteX893" fmla="*/ 6040339 w 12192528"/>
              <a:gd name="connsiteY893" fmla="*/ 1401066 h 3912503"/>
              <a:gd name="connsiteX894" fmla="*/ 6043550 w 12192528"/>
              <a:gd name="connsiteY894" fmla="*/ 1402671 h 3912503"/>
              <a:gd name="connsiteX895" fmla="*/ 6047963 w 12192528"/>
              <a:gd name="connsiteY895" fmla="*/ 1402671 h 3912503"/>
              <a:gd name="connsiteX896" fmla="*/ 6052377 w 12192528"/>
              <a:gd name="connsiteY896" fmla="*/ 1407085 h 3912503"/>
              <a:gd name="connsiteX897" fmla="*/ 6043549 w 12192528"/>
              <a:gd name="connsiteY897" fmla="*/ 1407085 h 3912503"/>
              <a:gd name="connsiteX898" fmla="*/ 6032096 w 12192528"/>
              <a:gd name="connsiteY898" fmla="*/ 1395631 h 3912503"/>
              <a:gd name="connsiteX899" fmla="*/ 6039690 w 12192528"/>
              <a:gd name="connsiteY899" fmla="*/ 1399844 h 3912503"/>
              <a:gd name="connsiteX900" fmla="*/ 6040339 w 12192528"/>
              <a:gd name="connsiteY900" fmla="*/ 1401066 h 3912503"/>
              <a:gd name="connsiteX901" fmla="*/ 6034725 w 12192528"/>
              <a:gd name="connsiteY901" fmla="*/ 1398258 h 3912503"/>
              <a:gd name="connsiteX902" fmla="*/ 4827373 w 12192528"/>
              <a:gd name="connsiteY902" fmla="*/ 1390663 h 3912503"/>
              <a:gd name="connsiteX903" fmla="*/ 4672101 w 12192528"/>
              <a:gd name="connsiteY903" fmla="*/ 1405439 h 3912503"/>
              <a:gd name="connsiteX904" fmla="*/ 4657412 w 12192528"/>
              <a:gd name="connsiteY904" fmla="*/ 1403463 h 3912503"/>
              <a:gd name="connsiteX905" fmla="*/ 4645364 w 12192528"/>
              <a:gd name="connsiteY905" fmla="*/ 1403800 h 3912503"/>
              <a:gd name="connsiteX906" fmla="*/ 4646478 w 12192528"/>
              <a:gd name="connsiteY906" fmla="*/ 1402745 h 3912503"/>
              <a:gd name="connsiteX907" fmla="*/ 4649939 w 12192528"/>
              <a:gd name="connsiteY907" fmla="*/ 1402678 h 3912503"/>
              <a:gd name="connsiteX908" fmla="*/ 4649338 w 12192528"/>
              <a:gd name="connsiteY908" fmla="*/ 1401305 h 3912503"/>
              <a:gd name="connsiteX909" fmla="*/ 4492082 w 12192528"/>
              <a:gd name="connsiteY909" fmla="*/ 1420776 h 3912503"/>
              <a:gd name="connsiteX910" fmla="*/ 4490306 w 12192528"/>
              <a:gd name="connsiteY910" fmla="*/ 1426064 h 3912503"/>
              <a:gd name="connsiteX911" fmla="*/ 4372435 w 12192528"/>
              <a:gd name="connsiteY911" fmla="*/ 1446498 h 3912503"/>
              <a:gd name="connsiteX912" fmla="*/ 4341774 w 12192528"/>
              <a:gd name="connsiteY912" fmla="*/ 1458823 h 3912503"/>
              <a:gd name="connsiteX913" fmla="*/ 4185869 w 12192528"/>
              <a:gd name="connsiteY913" fmla="*/ 1495990 h 3912503"/>
              <a:gd name="connsiteX914" fmla="*/ 4112623 w 12192528"/>
              <a:gd name="connsiteY914" fmla="*/ 1517012 h 3912503"/>
              <a:gd name="connsiteX915" fmla="*/ 4043942 w 12192528"/>
              <a:gd name="connsiteY915" fmla="*/ 1532803 h 3912503"/>
              <a:gd name="connsiteX916" fmla="*/ 4051181 w 12192528"/>
              <a:gd name="connsiteY916" fmla="*/ 1528477 h 3912503"/>
              <a:gd name="connsiteX917" fmla="*/ 4037335 w 12192528"/>
              <a:gd name="connsiteY917" fmla="*/ 1528749 h 3912503"/>
              <a:gd name="connsiteX918" fmla="*/ 4032030 w 12192528"/>
              <a:gd name="connsiteY918" fmla="*/ 1529920 h 3912503"/>
              <a:gd name="connsiteX919" fmla="*/ 4034099 w 12192528"/>
              <a:gd name="connsiteY919" fmla="*/ 1526682 h 3912503"/>
              <a:gd name="connsiteX920" fmla="*/ 4169688 w 12192528"/>
              <a:gd name="connsiteY920" fmla="*/ 1485651 h 3912503"/>
              <a:gd name="connsiteX921" fmla="*/ 4162048 w 12192528"/>
              <a:gd name="connsiteY921" fmla="*/ 1476211 h 3912503"/>
              <a:gd name="connsiteX922" fmla="*/ 4126083 w 12192528"/>
              <a:gd name="connsiteY922" fmla="*/ 1489706 h 3912503"/>
              <a:gd name="connsiteX923" fmla="*/ 4068898 w 12192528"/>
              <a:gd name="connsiteY923" fmla="*/ 1507881 h 3912503"/>
              <a:gd name="connsiteX924" fmla="*/ 3874055 w 12192528"/>
              <a:gd name="connsiteY924" fmla="*/ 1570324 h 3912503"/>
              <a:gd name="connsiteX925" fmla="*/ 3857240 w 12192528"/>
              <a:gd name="connsiteY925" fmla="*/ 1582377 h 3912503"/>
              <a:gd name="connsiteX926" fmla="*/ 3781170 w 12192528"/>
              <a:gd name="connsiteY926" fmla="*/ 1615843 h 3912503"/>
              <a:gd name="connsiteX927" fmla="*/ 3767325 w 12192528"/>
              <a:gd name="connsiteY927" fmla="*/ 1616114 h 3912503"/>
              <a:gd name="connsiteX928" fmla="*/ 3732527 w 12192528"/>
              <a:gd name="connsiteY928" fmla="*/ 1634915 h 3912503"/>
              <a:gd name="connsiteX929" fmla="*/ 3736664 w 12192528"/>
              <a:gd name="connsiteY929" fmla="*/ 1628439 h 3912503"/>
              <a:gd name="connsiteX930" fmla="*/ 3657624 w 12192528"/>
              <a:gd name="connsiteY930" fmla="*/ 1673686 h 3912503"/>
              <a:gd name="connsiteX931" fmla="*/ 3724251 w 12192528"/>
              <a:gd name="connsiteY931" fmla="*/ 1647866 h 3912503"/>
              <a:gd name="connsiteX932" fmla="*/ 3785269 w 12192528"/>
              <a:gd name="connsiteY932" fmla="*/ 1628150 h 3912503"/>
              <a:gd name="connsiteX933" fmla="*/ 3842616 w 12192528"/>
              <a:gd name="connsiteY933" fmla="*/ 1606720 h 3912503"/>
              <a:gd name="connsiteX934" fmla="*/ 3840691 w 12192528"/>
              <a:gd name="connsiteY934" fmla="*/ 1608278 h 3912503"/>
              <a:gd name="connsiteX935" fmla="*/ 3849231 w 12192528"/>
              <a:gd name="connsiteY935" fmla="*/ 1609175 h 3912503"/>
              <a:gd name="connsiteX936" fmla="*/ 3852467 w 12192528"/>
              <a:gd name="connsiteY936" fmla="*/ 1611244 h 3912503"/>
              <a:gd name="connsiteX937" fmla="*/ 3716243 w 12192528"/>
              <a:gd name="connsiteY937" fmla="*/ 1674665 h 3912503"/>
              <a:gd name="connsiteX938" fmla="*/ 3650148 w 12192528"/>
              <a:gd name="connsiteY938" fmla="*/ 1728182 h 3912503"/>
              <a:gd name="connsiteX939" fmla="*/ 3887797 w 12192528"/>
              <a:gd name="connsiteY939" fmla="*/ 1620139 h 3912503"/>
              <a:gd name="connsiteX940" fmla="*/ 3963866 w 12192528"/>
              <a:gd name="connsiteY940" fmla="*/ 1586674 h 3912503"/>
              <a:gd name="connsiteX941" fmla="*/ 3970604 w 12192528"/>
              <a:gd name="connsiteY941" fmla="*/ 1604658 h 3912503"/>
              <a:gd name="connsiteX942" fmla="*/ 3992724 w 12192528"/>
              <a:gd name="connsiteY942" fmla="*/ 1591434 h 3912503"/>
              <a:gd name="connsiteX943" fmla="*/ 3988320 w 12192528"/>
              <a:gd name="connsiteY943" fmla="*/ 1584062 h 3912503"/>
              <a:gd name="connsiteX944" fmla="*/ 4124811 w 12192528"/>
              <a:gd name="connsiteY944" fmla="*/ 1534489 h 3912503"/>
              <a:gd name="connsiteX945" fmla="*/ 4200245 w 12192528"/>
              <a:gd name="connsiteY945" fmla="*/ 1523415 h 3912503"/>
              <a:gd name="connsiteX946" fmla="*/ 4281883 w 12192528"/>
              <a:gd name="connsiteY946" fmla="*/ 1502627 h 3912503"/>
              <a:gd name="connsiteX947" fmla="*/ 4256528 w 12192528"/>
              <a:gd name="connsiteY947" fmla="*/ 1513783 h 3912503"/>
              <a:gd name="connsiteX948" fmla="*/ 4266236 w 12192528"/>
              <a:gd name="connsiteY948" fmla="*/ 1519986 h 3912503"/>
              <a:gd name="connsiteX949" fmla="*/ 4327824 w 12192528"/>
              <a:gd name="connsiteY949" fmla="*/ 1509183 h 3912503"/>
              <a:gd name="connsiteX950" fmla="*/ 4337267 w 12192528"/>
              <a:gd name="connsiteY950" fmla="*/ 1501538 h 3912503"/>
              <a:gd name="connsiteX951" fmla="*/ 4328461 w 12192528"/>
              <a:gd name="connsiteY951" fmla="*/ 1486792 h 3912503"/>
              <a:gd name="connsiteX952" fmla="*/ 4403894 w 12192528"/>
              <a:gd name="connsiteY952" fmla="*/ 1475718 h 3912503"/>
              <a:gd name="connsiteX953" fmla="*/ 4488769 w 12192528"/>
              <a:gd name="connsiteY953" fmla="*/ 1456999 h 3912503"/>
              <a:gd name="connsiteX954" fmla="*/ 4492907 w 12192528"/>
              <a:gd name="connsiteY954" fmla="*/ 1450523 h 3912503"/>
              <a:gd name="connsiteX955" fmla="*/ 4545052 w 12192528"/>
              <a:gd name="connsiteY955" fmla="*/ 1447366 h 3912503"/>
              <a:gd name="connsiteX956" fmla="*/ 4582186 w 12192528"/>
              <a:gd name="connsiteY956" fmla="*/ 1439177 h 3912503"/>
              <a:gd name="connsiteX957" fmla="*/ 4787533 w 12192528"/>
              <a:gd name="connsiteY957" fmla="*/ 1424481 h 3912503"/>
              <a:gd name="connsiteX958" fmla="*/ 4814058 w 12192528"/>
              <a:gd name="connsiteY958" fmla="*/ 1418633 h 3912503"/>
              <a:gd name="connsiteX959" fmla="*/ 4834375 w 12192528"/>
              <a:gd name="connsiteY959" fmla="*/ 1422495 h 3912503"/>
              <a:gd name="connsiteX960" fmla="*/ 4801647 w 12192528"/>
              <a:gd name="connsiteY960" fmla="*/ 1438057 h 3912503"/>
              <a:gd name="connsiteX961" fmla="*/ 4888857 w 12192528"/>
              <a:gd name="connsiteY961" fmla="*/ 1429949 h 3912503"/>
              <a:gd name="connsiteX962" fmla="*/ 4872675 w 12192528"/>
              <a:gd name="connsiteY962" fmla="*/ 1419611 h 3912503"/>
              <a:gd name="connsiteX963" fmla="*/ 4882118 w 12192528"/>
              <a:gd name="connsiteY963" fmla="*/ 1411966 h 3912503"/>
              <a:gd name="connsiteX964" fmla="*/ 4888324 w 12192528"/>
              <a:gd name="connsiteY964" fmla="*/ 1402253 h 3912503"/>
              <a:gd name="connsiteX965" fmla="*/ 4891559 w 12192528"/>
              <a:gd name="connsiteY965" fmla="*/ 1404320 h 3912503"/>
              <a:gd name="connsiteX966" fmla="*/ 4886255 w 12192528"/>
              <a:gd name="connsiteY966" fmla="*/ 1405491 h 3912503"/>
              <a:gd name="connsiteX967" fmla="*/ 4889490 w 12192528"/>
              <a:gd name="connsiteY967" fmla="*/ 1407558 h 3912503"/>
              <a:gd name="connsiteX968" fmla="*/ 4892727 w 12192528"/>
              <a:gd name="connsiteY968" fmla="*/ 1409625 h 3912503"/>
              <a:gd name="connsiteX969" fmla="*/ 4898033 w 12192528"/>
              <a:gd name="connsiteY969" fmla="*/ 1408456 h 3912503"/>
              <a:gd name="connsiteX970" fmla="*/ 4900100 w 12192528"/>
              <a:gd name="connsiteY970" fmla="*/ 1405217 h 3912503"/>
              <a:gd name="connsiteX971" fmla="*/ 4925723 w 12192528"/>
              <a:gd name="connsiteY971" fmla="*/ 1407911 h 3912503"/>
              <a:gd name="connsiteX972" fmla="*/ 4922487 w 12192528"/>
              <a:gd name="connsiteY972" fmla="*/ 1405843 h 3912503"/>
              <a:gd name="connsiteX973" fmla="*/ 4931029 w 12192528"/>
              <a:gd name="connsiteY973" fmla="*/ 1406740 h 3912503"/>
              <a:gd name="connsiteX974" fmla="*/ 4936333 w 12192528"/>
              <a:gd name="connsiteY974" fmla="*/ 1405571 h 3912503"/>
              <a:gd name="connsiteX975" fmla="*/ 4933097 w 12192528"/>
              <a:gd name="connsiteY975" fmla="*/ 1403503 h 3912503"/>
              <a:gd name="connsiteX976" fmla="*/ 4929860 w 12192528"/>
              <a:gd name="connsiteY976" fmla="*/ 1401436 h 3912503"/>
              <a:gd name="connsiteX977" fmla="*/ 5035319 w 12192528"/>
              <a:gd name="connsiteY977" fmla="*/ 1400428 h 3912503"/>
              <a:gd name="connsiteX978" fmla="*/ 5003757 w 12192528"/>
              <a:gd name="connsiteY978" fmla="*/ 1421295 h 3912503"/>
              <a:gd name="connsiteX979" fmla="*/ 5019937 w 12192528"/>
              <a:gd name="connsiteY979" fmla="*/ 1431633 h 3912503"/>
              <a:gd name="connsiteX980" fmla="*/ 5076486 w 12192528"/>
              <a:gd name="connsiteY980" fmla="*/ 1435850 h 3912503"/>
              <a:gd name="connsiteX981" fmla="*/ 5077387 w 12192528"/>
              <a:gd name="connsiteY981" fmla="*/ 1427307 h 3912503"/>
              <a:gd name="connsiteX982" fmla="*/ 5135105 w 12192528"/>
              <a:gd name="connsiteY982" fmla="*/ 1436828 h 3912503"/>
              <a:gd name="connsiteX983" fmla="*/ 5236425 w 12192528"/>
              <a:gd name="connsiteY983" fmla="*/ 1442296 h 3912503"/>
              <a:gd name="connsiteX984" fmla="*/ 5238761 w 12192528"/>
              <a:gd name="connsiteY984" fmla="*/ 1452907 h 3912503"/>
              <a:gd name="connsiteX985" fmla="*/ 5360662 w 12192528"/>
              <a:gd name="connsiteY985" fmla="*/ 1476084 h 3912503"/>
              <a:gd name="connsiteX986" fmla="*/ 5468724 w 12192528"/>
              <a:gd name="connsiteY986" fmla="*/ 1499537 h 3912503"/>
              <a:gd name="connsiteX987" fmla="*/ 5476098 w 12192528"/>
              <a:gd name="connsiteY987" fmla="*/ 1495129 h 3912503"/>
              <a:gd name="connsiteX988" fmla="*/ 5500817 w 12192528"/>
              <a:gd name="connsiteY988" fmla="*/ 1506365 h 3912503"/>
              <a:gd name="connsiteX989" fmla="*/ 5580018 w 12192528"/>
              <a:gd name="connsiteY989" fmla="*/ 1525055 h 3912503"/>
              <a:gd name="connsiteX990" fmla="*/ 5605907 w 12192528"/>
              <a:gd name="connsiteY990" fmla="*/ 1541597 h 3912503"/>
              <a:gd name="connsiteX991" fmla="*/ 5656251 w 12192528"/>
              <a:gd name="connsiteY991" fmla="*/ 1555525 h 3912503"/>
              <a:gd name="connsiteX992" fmla="*/ 5698051 w 12192528"/>
              <a:gd name="connsiteY992" fmla="*/ 1568557 h 3912503"/>
              <a:gd name="connsiteX993" fmla="*/ 5700120 w 12192528"/>
              <a:gd name="connsiteY993" fmla="*/ 1565319 h 3912503"/>
              <a:gd name="connsiteX994" fmla="*/ 5683939 w 12192528"/>
              <a:gd name="connsiteY994" fmla="*/ 1554980 h 3912503"/>
              <a:gd name="connsiteX995" fmla="*/ 5629194 w 12192528"/>
              <a:gd name="connsiteY995" fmla="*/ 1533678 h 3912503"/>
              <a:gd name="connsiteX996" fmla="*/ 5543521 w 12192528"/>
              <a:gd name="connsiteY996" fmla="*/ 1510854 h 3912503"/>
              <a:gd name="connsiteX997" fmla="*/ 5527341 w 12192528"/>
              <a:gd name="connsiteY997" fmla="*/ 1500515 h 3912503"/>
              <a:gd name="connsiteX998" fmla="*/ 5386922 w 12192528"/>
              <a:gd name="connsiteY998" fmla="*/ 1456387 h 3912503"/>
              <a:gd name="connsiteX999" fmla="*/ 5172236 w 12192528"/>
              <a:gd name="connsiteY999" fmla="*/ 1428639 h 3912503"/>
              <a:gd name="connsiteX1000" fmla="*/ 5163429 w 12192528"/>
              <a:gd name="connsiteY1000" fmla="*/ 1413892 h 3912503"/>
              <a:gd name="connsiteX1001" fmla="*/ 5112186 w 12192528"/>
              <a:gd name="connsiteY1001" fmla="*/ 1408507 h 3912503"/>
              <a:gd name="connsiteX1002" fmla="*/ 5117489 w 12192528"/>
              <a:gd name="connsiteY1002" fmla="*/ 1407337 h 3912503"/>
              <a:gd name="connsiteX1003" fmla="*/ 5122797 w 12192528"/>
              <a:gd name="connsiteY1003" fmla="*/ 1406166 h 3912503"/>
              <a:gd name="connsiteX1004" fmla="*/ 5113087 w 12192528"/>
              <a:gd name="connsiteY1004" fmla="*/ 1399963 h 3912503"/>
              <a:gd name="connsiteX1005" fmla="*/ 5107782 w 12192528"/>
              <a:gd name="connsiteY1005" fmla="*/ 1401134 h 3912503"/>
              <a:gd name="connsiteX1006" fmla="*/ 5105715 w 12192528"/>
              <a:gd name="connsiteY1006" fmla="*/ 1404371 h 3912503"/>
              <a:gd name="connsiteX1007" fmla="*/ 5017069 w 12192528"/>
              <a:gd name="connsiteY1007" fmla="*/ 1393327 h 3912503"/>
              <a:gd name="connsiteX1008" fmla="*/ 4872144 w 12192528"/>
              <a:gd name="connsiteY1008" fmla="*/ 1391914 h 3912503"/>
              <a:gd name="connsiteX1009" fmla="*/ 4827373 w 12192528"/>
              <a:gd name="connsiteY1009" fmla="*/ 1390663 h 3912503"/>
              <a:gd name="connsiteX1010" fmla="*/ 6010071 w 12192528"/>
              <a:gd name="connsiteY1010" fmla="*/ 1385873 h 3912503"/>
              <a:gd name="connsiteX1011" fmla="*/ 6017070 w 12192528"/>
              <a:gd name="connsiteY1011" fmla="*/ 1388666 h 3912503"/>
              <a:gd name="connsiteX1012" fmla="*/ 6017071 w 12192528"/>
              <a:gd name="connsiteY1012" fmla="*/ 1389431 h 3912503"/>
              <a:gd name="connsiteX1013" fmla="*/ 6017071 w 12192528"/>
              <a:gd name="connsiteY1013" fmla="*/ 1385018 h 3912503"/>
              <a:gd name="connsiteX1014" fmla="*/ 6030310 w 12192528"/>
              <a:gd name="connsiteY1014" fmla="*/ 1393844 h 3912503"/>
              <a:gd name="connsiteX1015" fmla="*/ 6032096 w 12192528"/>
              <a:gd name="connsiteY1015" fmla="*/ 1395631 h 3912503"/>
              <a:gd name="connsiteX1016" fmla="*/ 6025895 w 12192528"/>
              <a:gd name="connsiteY1016" fmla="*/ 1392190 h 3912503"/>
              <a:gd name="connsiteX1017" fmla="*/ 6017070 w 12192528"/>
              <a:gd name="connsiteY1017" fmla="*/ 1388666 h 3912503"/>
              <a:gd name="connsiteX1018" fmla="*/ 6102027 w 12192528"/>
              <a:gd name="connsiteY1018" fmla="*/ 1366261 h 3912503"/>
              <a:gd name="connsiteX1019" fmla="*/ 6100923 w 12192528"/>
              <a:gd name="connsiteY1019" fmla="*/ 1371777 h 3912503"/>
              <a:gd name="connsiteX1020" fmla="*/ 6096509 w 12192528"/>
              <a:gd name="connsiteY1020" fmla="*/ 1367364 h 3912503"/>
              <a:gd name="connsiteX1021" fmla="*/ 6102027 w 12192528"/>
              <a:gd name="connsiteY1021" fmla="*/ 1366261 h 3912503"/>
              <a:gd name="connsiteX1022" fmla="*/ 8033215 w 12192528"/>
              <a:gd name="connsiteY1022" fmla="*/ 1346577 h 3912503"/>
              <a:gd name="connsiteX1023" fmla="*/ 8031841 w 12192528"/>
              <a:gd name="connsiteY1023" fmla="*/ 1350007 h 3912503"/>
              <a:gd name="connsiteX1024" fmla="*/ 8037040 w 12192528"/>
              <a:gd name="connsiteY1024" fmla="*/ 1346609 h 3912503"/>
              <a:gd name="connsiteX1025" fmla="*/ 169856 w 12192528"/>
              <a:gd name="connsiteY1025" fmla="*/ 1343418 h 3912503"/>
              <a:gd name="connsiteX1026" fmla="*/ 175669 w 12192528"/>
              <a:gd name="connsiteY1026" fmla="*/ 1344856 h 3912503"/>
              <a:gd name="connsiteX1027" fmla="*/ 196243 w 12192528"/>
              <a:gd name="connsiteY1027" fmla="*/ 1360883 h 3912503"/>
              <a:gd name="connsiteX1028" fmla="*/ 197477 w 12192528"/>
              <a:gd name="connsiteY1028" fmla="*/ 1370746 h 3912503"/>
              <a:gd name="connsiteX1029" fmla="*/ 197887 w 12192528"/>
              <a:gd name="connsiteY1029" fmla="*/ 1374854 h 3912503"/>
              <a:gd name="connsiteX1030" fmla="*/ 199945 w 12192528"/>
              <a:gd name="connsiteY1030" fmla="*/ 1385950 h 3912503"/>
              <a:gd name="connsiteX1031" fmla="*/ 201180 w 12192528"/>
              <a:gd name="connsiteY1031" fmla="*/ 1391293 h 3912503"/>
              <a:gd name="connsiteX1032" fmla="*/ 200768 w 12192528"/>
              <a:gd name="connsiteY1032" fmla="*/ 1398280 h 3912503"/>
              <a:gd name="connsiteX1033" fmla="*/ 197887 w 12192528"/>
              <a:gd name="connsiteY1033" fmla="*/ 1405266 h 3912503"/>
              <a:gd name="connsiteX1034" fmla="*/ 188836 w 12192528"/>
              <a:gd name="connsiteY1034" fmla="*/ 1422115 h 3912503"/>
              <a:gd name="connsiteX1035" fmla="*/ 159620 w 12192528"/>
              <a:gd name="connsiteY1035" fmla="*/ 1440607 h 3912503"/>
              <a:gd name="connsiteX1036" fmla="*/ 156741 w 12192528"/>
              <a:gd name="connsiteY1036" fmla="*/ 1439785 h 3912503"/>
              <a:gd name="connsiteX1037" fmla="*/ 143574 w 12192528"/>
              <a:gd name="connsiteY1037" fmla="*/ 1438141 h 3912503"/>
              <a:gd name="connsiteX1038" fmla="*/ 140282 w 12192528"/>
              <a:gd name="connsiteY1038" fmla="*/ 1436497 h 3912503"/>
              <a:gd name="connsiteX1039" fmla="*/ 130817 w 12192528"/>
              <a:gd name="connsiteY1039" fmla="*/ 1433622 h 3912503"/>
              <a:gd name="connsiteX1040" fmla="*/ 125880 w 12192528"/>
              <a:gd name="connsiteY1040" fmla="*/ 1431566 h 3912503"/>
              <a:gd name="connsiteX1041" fmla="*/ 122999 w 12192528"/>
              <a:gd name="connsiteY1041" fmla="*/ 1425812 h 3912503"/>
              <a:gd name="connsiteX1042" fmla="*/ 111889 w 12192528"/>
              <a:gd name="connsiteY1042" fmla="*/ 1411019 h 3912503"/>
              <a:gd name="connsiteX1043" fmla="*/ 106952 w 12192528"/>
              <a:gd name="connsiteY1043" fmla="*/ 1401156 h 3912503"/>
              <a:gd name="connsiteX1044" fmla="*/ 106952 w 12192528"/>
              <a:gd name="connsiteY1044" fmla="*/ 1396225 h 3912503"/>
              <a:gd name="connsiteX1045" fmla="*/ 111067 w 12192528"/>
              <a:gd name="connsiteY1045" fmla="*/ 1385129 h 3912503"/>
              <a:gd name="connsiteX1046" fmla="*/ 116828 w 12192528"/>
              <a:gd name="connsiteY1046" fmla="*/ 1367047 h 3912503"/>
              <a:gd name="connsiteX1047" fmla="*/ 121765 w 12192528"/>
              <a:gd name="connsiteY1047" fmla="*/ 1360473 h 3912503"/>
              <a:gd name="connsiteX1048" fmla="*/ 129583 w 12192528"/>
              <a:gd name="connsiteY1048" fmla="*/ 1353897 h 3912503"/>
              <a:gd name="connsiteX1049" fmla="*/ 136579 w 12192528"/>
              <a:gd name="connsiteY1049" fmla="*/ 1350198 h 3912503"/>
              <a:gd name="connsiteX1050" fmla="*/ 148923 w 12192528"/>
              <a:gd name="connsiteY1050" fmla="*/ 1344085 h 3912503"/>
              <a:gd name="connsiteX1051" fmla="*/ 162501 w 12192528"/>
              <a:gd name="connsiteY1051" fmla="*/ 1344445 h 3912503"/>
              <a:gd name="connsiteX1052" fmla="*/ 169856 w 12192528"/>
              <a:gd name="connsiteY1052" fmla="*/ 1343418 h 3912503"/>
              <a:gd name="connsiteX1053" fmla="*/ 977648 w 12192528"/>
              <a:gd name="connsiteY1053" fmla="*/ 1343134 h 3912503"/>
              <a:gd name="connsiteX1054" fmla="*/ 986861 w 12192528"/>
              <a:gd name="connsiteY1054" fmla="*/ 1347698 h 3912503"/>
              <a:gd name="connsiteX1055" fmla="*/ 992081 w 12192528"/>
              <a:gd name="connsiteY1055" fmla="*/ 1350458 h 3912503"/>
              <a:gd name="connsiteX1056" fmla="*/ 997918 w 12192528"/>
              <a:gd name="connsiteY1056" fmla="*/ 1355367 h 3912503"/>
              <a:gd name="connsiteX1057" fmla="*/ 1001603 w 12192528"/>
              <a:gd name="connsiteY1057" fmla="*/ 1360274 h 3912503"/>
              <a:gd name="connsiteX1058" fmla="*/ 1005903 w 12192528"/>
              <a:gd name="connsiteY1058" fmla="*/ 1373770 h 3912503"/>
              <a:gd name="connsiteX1059" fmla="*/ 1008974 w 12192528"/>
              <a:gd name="connsiteY1059" fmla="*/ 1382053 h 3912503"/>
              <a:gd name="connsiteX1060" fmla="*/ 1008974 w 12192528"/>
              <a:gd name="connsiteY1060" fmla="*/ 1385733 h 3912503"/>
              <a:gd name="connsiteX1061" fmla="*/ 1005288 w 12192528"/>
              <a:gd name="connsiteY1061" fmla="*/ 1393094 h 3912503"/>
              <a:gd name="connsiteX1062" fmla="*/ 996996 w 12192528"/>
              <a:gd name="connsiteY1062" fmla="*/ 1404138 h 3912503"/>
              <a:gd name="connsiteX1063" fmla="*/ 994847 w 12192528"/>
              <a:gd name="connsiteY1063" fmla="*/ 1408431 h 3912503"/>
              <a:gd name="connsiteX1064" fmla="*/ 991161 w 12192528"/>
              <a:gd name="connsiteY1064" fmla="*/ 1409964 h 3912503"/>
              <a:gd name="connsiteX1065" fmla="*/ 984097 w 12192528"/>
              <a:gd name="connsiteY1065" fmla="*/ 1412112 h 3912503"/>
              <a:gd name="connsiteX1066" fmla="*/ 981639 w 12192528"/>
              <a:gd name="connsiteY1066" fmla="*/ 1413338 h 3912503"/>
              <a:gd name="connsiteX1067" fmla="*/ 971812 w 12192528"/>
              <a:gd name="connsiteY1067" fmla="*/ 1414566 h 3912503"/>
              <a:gd name="connsiteX1068" fmla="*/ 969662 w 12192528"/>
              <a:gd name="connsiteY1068" fmla="*/ 1415180 h 3912503"/>
              <a:gd name="connsiteX1069" fmla="*/ 947856 w 12192528"/>
              <a:gd name="connsiteY1069" fmla="*/ 1401375 h 3912503"/>
              <a:gd name="connsiteX1070" fmla="*/ 941100 w 12192528"/>
              <a:gd name="connsiteY1070" fmla="*/ 1388800 h 3912503"/>
              <a:gd name="connsiteX1071" fmla="*/ 938949 w 12192528"/>
              <a:gd name="connsiteY1071" fmla="*/ 1383586 h 3912503"/>
              <a:gd name="connsiteX1072" fmla="*/ 938642 w 12192528"/>
              <a:gd name="connsiteY1072" fmla="*/ 1378371 h 3912503"/>
              <a:gd name="connsiteX1073" fmla="*/ 939564 w 12192528"/>
              <a:gd name="connsiteY1073" fmla="*/ 1374384 h 3912503"/>
              <a:gd name="connsiteX1074" fmla="*/ 941100 w 12192528"/>
              <a:gd name="connsiteY1074" fmla="*/ 1366101 h 3912503"/>
              <a:gd name="connsiteX1075" fmla="*/ 941406 w 12192528"/>
              <a:gd name="connsiteY1075" fmla="*/ 1363034 h 3912503"/>
              <a:gd name="connsiteX1076" fmla="*/ 942328 w 12192528"/>
              <a:gd name="connsiteY1076" fmla="*/ 1355672 h 3912503"/>
              <a:gd name="connsiteX1077" fmla="*/ 957685 w 12192528"/>
              <a:gd name="connsiteY1077" fmla="*/ 1343709 h 3912503"/>
              <a:gd name="connsiteX1078" fmla="*/ 967513 w 12192528"/>
              <a:gd name="connsiteY1078" fmla="*/ 1343404 h 3912503"/>
              <a:gd name="connsiteX1079" fmla="*/ 977648 w 12192528"/>
              <a:gd name="connsiteY1079" fmla="*/ 1343134 h 3912503"/>
              <a:gd name="connsiteX1080" fmla="*/ 8369829 w 12192528"/>
              <a:gd name="connsiteY1080" fmla="*/ 1337567 h 3912503"/>
              <a:gd name="connsiteX1081" fmla="*/ 8369629 w 12192528"/>
              <a:gd name="connsiteY1081" fmla="*/ 1337966 h 3912503"/>
              <a:gd name="connsiteX1082" fmla="*/ 8365928 w 12192528"/>
              <a:gd name="connsiteY1082" fmla="*/ 1339098 h 3912503"/>
              <a:gd name="connsiteX1083" fmla="*/ 1901444 w 12192528"/>
              <a:gd name="connsiteY1083" fmla="*/ 1325150 h 3912503"/>
              <a:gd name="connsiteX1084" fmla="*/ 1914194 w 12192528"/>
              <a:gd name="connsiteY1084" fmla="*/ 1325488 h 3912503"/>
              <a:gd name="connsiteX1085" fmla="*/ 1926558 w 12192528"/>
              <a:gd name="connsiteY1085" fmla="*/ 1325873 h 3912503"/>
              <a:gd name="connsiteX1086" fmla="*/ 1945877 w 12192528"/>
              <a:gd name="connsiteY1086" fmla="*/ 1340922 h 3912503"/>
              <a:gd name="connsiteX1087" fmla="*/ 1947036 w 12192528"/>
              <a:gd name="connsiteY1087" fmla="*/ 1350184 h 3912503"/>
              <a:gd name="connsiteX1088" fmla="*/ 1947421 w 12192528"/>
              <a:gd name="connsiteY1088" fmla="*/ 1354042 h 3912503"/>
              <a:gd name="connsiteX1089" fmla="*/ 1949353 w 12192528"/>
              <a:gd name="connsiteY1089" fmla="*/ 1364460 h 3912503"/>
              <a:gd name="connsiteX1090" fmla="*/ 1950513 w 12192528"/>
              <a:gd name="connsiteY1090" fmla="*/ 1369477 h 3912503"/>
              <a:gd name="connsiteX1091" fmla="*/ 1950126 w 12192528"/>
              <a:gd name="connsiteY1091" fmla="*/ 1376038 h 3912503"/>
              <a:gd name="connsiteX1092" fmla="*/ 1947421 w 12192528"/>
              <a:gd name="connsiteY1092" fmla="*/ 1382597 h 3912503"/>
              <a:gd name="connsiteX1093" fmla="*/ 1938921 w 12192528"/>
              <a:gd name="connsiteY1093" fmla="*/ 1398419 h 3912503"/>
              <a:gd name="connsiteX1094" fmla="*/ 1911489 w 12192528"/>
              <a:gd name="connsiteY1094" fmla="*/ 1415783 h 3912503"/>
              <a:gd name="connsiteX1095" fmla="*/ 1908785 w 12192528"/>
              <a:gd name="connsiteY1095" fmla="*/ 1415011 h 3912503"/>
              <a:gd name="connsiteX1096" fmla="*/ 1896421 w 12192528"/>
              <a:gd name="connsiteY1096" fmla="*/ 1413467 h 3912503"/>
              <a:gd name="connsiteX1097" fmla="*/ 1893330 w 12192528"/>
              <a:gd name="connsiteY1097" fmla="*/ 1411923 h 3912503"/>
              <a:gd name="connsiteX1098" fmla="*/ 1884443 w 12192528"/>
              <a:gd name="connsiteY1098" fmla="*/ 1409223 h 3912503"/>
              <a:gd name="connsiteX1099" fmla="*/ 1879807 w 12192528"/>
              <a:gd name="connsiteY1099" fmla="*/ 1407294 h 3912503"/>
              <a:gd name="connsiteX1100" fmla="*/ 1877102 w 12192528"/>
              <a:gd name="connsiteY1100" fmla="*/ 1401891 h 3912503"/>
              <a:gd name="connsiteX1101" fmla="*/ 1866670 w 12192528"/>
              <a:gd name="connsiteY1101" fmla="*/ 1387999 h 3912503"/>
              <a:gd name="connsiteX1102" fmla="*/ 1862034 w 12192528"/>
              <a:gd name="connsiteY1102" fmla="*/ 1378738 h 3912503"/>
              <a:gd name="connsiteX1103" fmla="*/ 1862034 w 12192528"/>
              <a:gd name="connsiteY1103" fmla="*/ 1374108 h 3912503"/>
              <a:gd name="connsiteX1104" fmla="*/ 1865897 w 12192528"/>
              <a:gd name="connsiteY1104" fmla="*/ 1363690 h 3912503"/>
              <a:gd name="connsiteX1105" fmla="*/ 1871307 w 12192528"/>
              <a:gd name="connsiteY1105" fmla="*/ 1346711 h 3912503"/>
              <a:gd name="connsiteX1106" fmla="*/ 1875943 w 12192528"/>
              <a:gd name="connsiteY1106" fmla="*/ 1340537 h 3912503"/>
              <a:gd name="connsiteX1107" fmla="*/ 1883284 w 12192528"/>
              <a:gd name="connsiteY1107" fmla="*/ 1334362 h 3912503"/>
              <a:gd name="connsiteX1108" fmla="*/ 1889853 w 12192528"/>
              <a:gd name="connsiteY1108" fmla="*/ 1330889 h 3912503"/>
              <a:gd name="connsiteX1109" fmla="*/ 1901444 w 12192528"/>
              <a:gd name="connsiteY1109" fmla="*/ 1325150 h 3912503"/>
              <a:gd name="connsiteX1110" fmla="*/ 2679609 w 12192528"/>
              <a:gd name="connsiteY1110" fmla="*/ 1324257 h 3912503"/>
              <a:gd name="connsiteX1111" fmla="*/ 2688260 w 12192528"/>
              <a:gd name="connsiteY1111" fmla="*/ 1328541 h 3912503"/>
              <a:gd name="connsiteX1112" fmla="*/ 2693162 w 12192528"/>
              <a:gd name="connsiteY1112" fmla="*/ 1331133 h 3912503"/>
              <a:gd name="connsiteX1113" fmla="*/ 2698642 w 12192528"/>
              <a:gd name="connsiteY1113" fmla="*/ 1335742 h 3912503"/>
              <a:gd name="connsiteX1114" fmla="*/ 2702103 w 12192528"/>
              <a:gd name="connsiteY1114" fmla="*/ 1340350 h 3912503"/>
              <a:gd name="connsiteX1115" fmla="*/ 2706140 w 12192528"/>
              <a:gd name="connsiteY1115" fmla="*/ 1353023 h 3912503"/>
              <a:gd name="connsiteX1116" fmla="*/ 2709024 w 12192528"/>
              <a:gd name="connsiteY1116" fmla="*/ 1360800 h 3912503"/>
              <a:gd name="connsiteX1117" fmla="*/ 2709024 w 12192528"/>
              <a:gd name="connsiteY1117" fmla="*/ 1364256 h 3912503"/>
              <a:gd name="connsiteX1118" fmla="*/ 2705563 w 12192528"/>
              <a:gd name="connsiteY1118" fmla="*/ 1371169 h 3912503"/>
              <a:gd name="connsiteX1119" fmla="*/ 2697777 w 12192528"/>
              <a:gd name="connsiteY1119" fmla="*/ 1381538 h 3912503"/>
              <a:gd name="connsiteX1120" fmla="*/ 2695759 w 12192528"/>
              <a:gd name="connsiteY1120" fmla="*/ 1385570 h 3912503"/>
              <a:gd name="connsiteX1121" fmla="*/ 2692298 w 12192528"/>
              <a:gd name="connsiteY1121" fmla="*/ 1387010 h 3912503"/>
              <a:gd name="connsiteX1122" fmla="*/ 2685665 w 12192528"/>
              <a:gd name="connsiteY1122" fmla="*/ 1389027 h 3912503"/>
              <a:gd name="connsiteX1123" fmla="*/ 2683357 w 12192528"/>
              <a:gd name="connsiteY1123" fmla="*/ 1390178 h 3912503"/>
              <a:gd name="connsiteX1124" fmla="*/ 2674129 w 12192528"/>
              <a:gd name="connsiteY1124" fmla="*/ 1391330 h 3912503"/>
              <a:gd name="connsiteX1125" fmla="*/ 2672110 w 12192528"/>
              <a:gd name="connsiteY1125" fmla="*/ 1391906 h 3912503"/>
              <a:gd name="connsiteX1126" fmla="*/ 2651635 w 12192528"/>
              <a:gd name="connsiteY1126" fmla="*/ 1378945 h 3912503"/>
              <a:gd name="connsiteX1127" fmla="*/ 2645291 w 12192528"/>
              <a:gd name="connsiteY1127" fmla="*/ 1367137 h 3912503"/>
              <a:gd name="connsiteX1128" fmla="*/ 2643271 w 12192528"/>
              <a:gd name="connsiteY1128" fmla="*/ 1362240 h 3912503"/>
              <a:gd name="connsiteX1129" fmla="*/ 2642983 w 12192528"/>
              <a:gd name="connsiteY1129" fmla="*/ 1357343 h 3912503"/>
              <a:gd name="connsiteX1130" fmla="*/ 2643849 w 12192528"/>
              <a:gd name="connsiteY1130" fmla="*/ 1353599 h 3912503"/>
              <a:gd name="connsiteX1131" fmla="*/ 2645291 w 12192528"/>
              <a:gd name="connsiteY1131" fmla="*/ 1345823 h 3912503"/>
              <a:gd name="connsiteX1132" fmla="*/ 2645578 w 12192528"/>
              <a:gd name="connsiteY1132" fmla="*/ 1342942 h 3912503"/>
              <a:gd name="connsiteX1133" fmla="*/ 2646444 w 12192528"/>
              <a:gd name="connsiteY1133" fmla="*/ 1336030 h 3912503"/>
              <a:gd name="connsiteX1134" fmla="*/ 2660864 w 12192528"/>
              <a:gd name="connsiteY1134" fmla="*/ 1324797 h 3912503"/>
              <a:gd name="connsiteX1135" fmla="*/ 2670092 w 12192528"/>
              <a:gd name="connsiteY1135" fmla="*/ 1324509 h 3912503"/>
              <a:gd name="connsiteX1136" fmla="*/ 2679609 w 12192528"/>
              <a:gd name="connsiteY1136" fmla="*/ 1324257 h 3912503"/>
              <a:gd name="connsiteX1137" fmla="*/ 466848 w 12192528"/>
              <a:gd name="connsiteY1137" fmla="*/ 1320313 h 3912503"/>
              <a:gd name="connsiteX1138" fmla="*/ 475421 w 12192528"/>
              <a:gd name="connsiteY1138" fmla="*/ 1324559 h 3912503"/>
              <a:gd name="connsiteX1139" fmla="*/ 480282 w 12192528"/>
              <a:gd name="connsiteY1139" fmla="*/ 1327128 h 3912503"/>
              <a:gd name="connsiteX1140" fmla="*/ 485711 w 12192528"/>
              <a:gd name="connsiteY1140" fmla="*/ 1331694 h 3912503"/>
              <a:gd name="connsiteX1141" fmla="*/ 489140 w 12192528"/>
              <a:gd name="connsiteY1141" fmla="*/ 1336262 h 3912503"/>
              <a:gd name="connsiteX1142" fmla="*/ 493142 w 12192528"/>
              <a:gd name="connsiteY1142" fmla="*/ 1348821 h 3912503"/>
              <a:gd name="connsiteX1143" fmla="*/ 496000 w 12192528"/>
              <a:gd name="connsiteY1143" fmla="*/ 1356528 h 3912503"/>
              <a:gd name="connsiteX1144" fmla="*/ 496000 w 12192528"/>
              <a:gd name="connsiteY1144" fmla="*/ 1359953 h 3912503"/>
              <a:gd name="connsiteX1145" fmla="*/ 492571 w 12192528"/>
              <a:gd name="connsiteY1145" fmla="*/ 1366804 h 3912503"/>
              <a:gd name="connsiteX1146" fmla="*/ 484854 w 12192528"/>
              <a:gd name="connsiteY1146" fmla="*/ 1377080 h 3912503"/>
              <a:gd name="connsiteX1147" fmla="*/ 482854 w 12192528"/>
              <a:gd name="connsiteY1147" fmla="*/ 1381076 h 3912503"/>
              <a:gd name="connsiteX1148" fmla="*/ 479423 w 12192528"/>
              <a:gd name="connsiteY1148" fmla="*/ 1382503 h 3912503"/>
              <a:gd name="connsiteX1149" fmla="*/ 472849 w 12192528"/>
              <a:gd name="connsiteY1149" fmla="*/ 1384501 h 3912503"/>
              <a:gd name="connsiteX1150" fmla="*/ 470563 w 12192528"/>
              <a:gd name="connsiteY1150" fmla="*/ 1385643 h 3912503"/>
              <a:gd name="connsiteX1151" fmla="*/ 461418 w 12192528"/>
              <a:gd name="connsiteY1151" fmla="*/ 1386785 h 3912503"/>
              <a:gd name="connsiteX1152" fmla="*/ 459417 w 12192528"/>
              <a:gd name="connsiteY1152" fmla="*/ 1387356 h 3912503"/>
              <a:gd name="connsiteX1153" fmla="*/ 439125 w 12192528"/>
              <a:gd name="connsiteY1153" fmla="*/ 1374512 h 3912503"/>
              <a:gd name="connsiteX1154" fmla="*/ 432837 w 12192528"/>
              <a:gd name="connsiteY1154" fmla="*/ 1362809 h 3912503"/>
              <a:gd name="connsiteX1155" fmla="*/ 430836 w 12192528"/>
              <a:gd name="connsiteY1155" fmla="*/ 1357955 h 3912503"/>
              <a:gd name="connsiteX1156" fmla="*/ 430551 w 12192528"/>
              <a:gd name="connsiteY1156" fmla="*/ 1353102 h 3912503"/>
              <a:gd name="connsiteX1157" fmla="*/ 431408 w 12192528"/>
              <a:gd name="connsiteY1157" fmla="*/ 1349392 h 3912503"/>
              <a:gd name="connsiteX1158" fmla="*/ 432837 w 12192528"/>
              <a:gd name="connsiteY1158" fmla="*/ 1341685 h 3912503"/>
              <a:gd name="connsiteX1159" fmla="*/ 433123 w 12192528"/>
              <a:gd name="connsiteY1159" fmla="*/ 1338832 h 3912503"/>
              <a:gd name="connsiteX1160" fmla="*/ 433981 w 12192528"/>
              <a:gd name="connsiteY1160" fmla="*/ 1331981 h 3912503"/>
              <a:gd name="connsiteX1161" fmla="*/ 448271 w 12192528"/>
              <a:gd name="connsiteY1161" fmla="*/ 1320848 h 3912503"/>
              <a:gd name="connsiteX1162" fmla="*/ 457416 w 12192528"/>
              <a:gd name="connsiteY1162" fmla="*/ 1320563 h 3912503"/>
              <a:gd name="connsiteX1163" fmla="*/ 466848 w 12192528"/>
              <a:gd name="connsiteY1163" fmla="*/ 1320313 h 3912503"/>
              <a:gd name="connsiteX1164" fmla="*/ 12191438 w 12192528"/>
              <a:gd name="connsiteY1164" fmla="*/ 1309133 h 3912503"/>
              <a:gd name="connsiteX1165" fmla="*/ 12192528 w 12192528"/>
              <a:gd name="connsiteY1165" fmla="*/ 1309308 h 3912503"/>
              <a:gd name="connsiteX1166" fmla="*/ 12192528 w 12192528"/>
              <a:gd name="connsiteY1166" fmla="*/ 1309531 h 3912503"/>
              <a:gd name="connsiteX1167" fmla="*/ 2199973 w 12192528"/>
              <a:gd name="connsiteY1167" fmla="*/ 1302827 h 3912503"/>
              <a:gd name="connsiteX1168" fmla="*/ 2208023 w 12192528"/>
              <a:gd name="connsiteY1168" fmla="*/ 1306814 h 3912503"/>
              <a:gd name="connsiteX1169" fmla="*/ 2212587 w 12192528"/>
              <a:gd name="connsiteY1169" fmla="*/ 1309227 h 3912503"/>
              <a:gd name="connsiteX1170" fmla="*/ 2217685 w 12192528"/>
              <a:gd name="connsiteY1170" fmla="*/ 1313514 h 3912503"/>
              <a:gd name="connsiteX1171" fmla="*/ 2220905 w 12192528"/>
              <a:gd name="connsiteY1171" fmla="*/ 1317803 h 3912503"/>
              <a:gd name="connsiteX1172" fmla="*/ 2224662 w 12192528"/>
              <a:gd name="connsiteY1172" fmla="*/ 1329596 h 3912503"/>
              <a:gd name="connsiteX1173" fmla="*/ 2227346 w 12192528"/>
              <a:gd name="connsiteY1173" fmla="*/ 1336833 h 3912503"/>
              <a:gd name="connsiteX1174" fmla="*/ 2227346 w 12192528"/>
              <a:gd name="connsiteY1174" fmla="*/ 1340049 h 3912503"/>
              <a:gd name="connsiteX1175" fmla="*/ 2224126 w 12192528"/>
              <a:gd name="connsiteY1175" fmla="*/ 1346482 h 3912503"/>
              <a:gd name="connsiteX1176" fmla="*/ 2216880 w 12192528"/>
              <a:gd name="connsiteY1176" fmla="*/ 1356131 h 3912503"/>
              <a:gd name="connsiteX1177" fmla="*/ 2215001 w 12192528"/>
              <a:gd name="connsiteY1177" fmla="*/ 1359883 h 3912503"/>
              <a:gd name="connsiteX1178" fmla="*/ 2211781 w 12192528"/>
              <a:gd name="connsiteY1178" fmla="*/ 1361223 h 3912503"/>
              <a:gd name="connsiteX1179" fmla="*/ 2205608 w 12192528"/>
              <a:gd name="connsiteY1179" fmla="*/ 1363099 h 3912503"/>
              <a:gd name="connsiteX1180" fmla="*/ 2203461 w 12192528"/>
              <a:gd name="connsiteY1180" fmla="*/ 1364172 h 3912503"/>
              <a:gd name="connsiteX1181" fmla="*/ 2194874 w 12192528"/>
              <a:gd name="connsiteY1181" fmla="*/ 1365244 h 3912503"/>
              <a:gd name="connsiteX1182" fmla="*/ 2192995 w 12192528"/>
              <a:gd name="connsiteY1182" fmla="*/ 1365780 h 3912503"/>
              <a:gd name="connsiteX1183" fmla="*/ 2173941 w 12192528"/>
              <a:gd name="connsiteY1183" fmla="*/ 1353719 h 3912503"/>
              <a:gd name="connsiteX1184" fmla="*/ 2168037 w 12192528"/>
              <a:gd name="connsiteY1184" fmla="*/ 1342730 h 3912503"/>
              <a:gd name="connsiteX1185" fmla="*/ 2166158 w 12192528"/>
              <a:gd name="connsiteY1185" fmla="*/ 1338173 h 3912503"/>
              <a:gd name="connsiteX1186" fmla="*/ 2165890 w 12192528"/>
              <a:gd name="connsiteY1186" fmla="*/ 1333617 h 3912503"/>
              <a:gd name="connsiteX1187" fmla="*/ 2166695 w 12192528"/>
              <a:gd name="connsiteY1187" fmla="*/ 1330133 h 3912503"/>
              <a:gd name="connsiteX1188" fmla="*/ 2168037 w 12192528"/>
              <a:gd name="connsiteY1188" fmla="*/ 1322895 h 3912503"/>
              <a:gd name="connsiteX1189" fmla="*/ 2168305 w 12192528"/>
              <a:gd name="connsiteY1189" fmla="*/ 1320216 h 3912503"/>
              <a:gd name="connsiteX1190" fmla="*/ 2169111 w 12192528"/>
              <a:gd name="connsiteY1190" fmla="*/ 1313783 h 3912503"/>
              <a:gd name="connsiteX1191" fmla="*/ 2182529 w 12192528"/>
              <a:gd name="connsiteY1191" fmla="*/ 1303330 h 3912503"/>
              <a:gd name="connsiteX1192" fmla="*/ 2191116 w 12192528"/>
              <a:gd name="connsiteY1192" fmla="*/ 1303062 h 3912503"/>
              <a:gd name="connsiteX1193" fmla="*/ 2199973 w 12192528"/>
              <a:gd name="connsiteY1193" fmla="*/ 1302827 h 3912503"/>
              <a:gd name="connsiteX1194" fmla="*/ 8123738 w 12192528"/>
              <a:gd name="connsiteY1194" fmla="*/ 1295917 h 3912503"/>
              <a:gd name="connsiteX1195" fmla="*/ 8118487 w 12192528"/>
              <a:gd name="connsiteY1195" fmla="*/ 1298762 h 3912503"/>
              <a:gd name="connsiteX1196" fmla="*/ 8096071 w 12192528"/>
              <a:gd name="connsiteY1196" fmla="*/ 1311213 h 3912503"/>
              <a:gd name="connsiteX1197" fmla="*/ 8089514 w 12192528"/>
              <a:gd name="connsiteY1197" fmla="*/ 1315681 h 3912503"/>
              <a:gd name="connsiteX1198" fmla="*/ 5839320 w 12192528"/>
              <a:gd name="connsiteY1198" fmla="*/ 1269662 h 3912503"/>
              <a:gd name="connsiteX1199" fmla="*/ 5849364 w 12192528"/>
              <a:gd name="connsiteY1199" fmla="*/ 1270271 h 3912503"/>
              <a:gd name="connsiteX1200" fmla="*/ 5844952 w 12192528"/>
              <a:gd name="connsiteY1200" fmla="*/ 1270271 h 3912503"/>
              <a:gd name="connsiteX1201" fmla="*/ 5840538 w 12192528"/>
              <a:gd name="connsiteY1201" fmla="*/ 1270271 h 3912503"/>
              <a:gd name="connsiteX1202" fmla="*/ 8260284 w 12192528"/>
              <a:gd name="connsiteY1202" fmla="*/ 1261482 h 3912503"/>
              <a:gd name="connsiteX1203" fmla="*/ 7803694 w 12192528"/>
              <a:gd name="connsiteY1203" fmla="*/ 1518508 h 3912503"/>
              <a:gd name="connsiteX1204" fmla="*/ 7802681 w 12192528"/>
              <a:gd name="connsiteY1204" fmla="*/ 1516829 h 3912503"/>
              <a:gd name="connsiteX1205" fmla="*/ 7767484 w 12192528"/>
              <a:gd name="connsiteY1205" fmla="*/ 1549228 h 3912503"/>
              <a:gd name="connsiteX1206" fmla="*/ 7676563 w 12192528"/>
              <a:gd name="connsiteY1206" fmla="*/ 1627987 h 3912503"/>
              <a:gd name="connsiteX1207" fmla="*/ 7671090 w 12192528"/>
              <a:gd name="connsiteY1207" fmla="*/ 1638722 h 3912503"/>
              <a:gd name="connsiteX1208" fmla="*/ 7669773 w 12192528"/>
              <a:gd name="connsiteY1208" fmla="*/ 1634671 h 3912503"/>
              <a:gd name="connsiteX1209" fmla="*/ 7630342 w 12192528"/>
              <a:gd name="connsiteY1209" fmla="*/ 1678814 h 3912503"/>
              <a:gd name="connsiteX1210" fmla="*/ 7604598 w 12192528"/>
              <a:gd name="connsiteY1210" fmla="*/ 1696122 h 3912503"/>
              <a:gd name="connsiteX1211" fmla="*/ 7611280 w 12192528"/>
              <a:gd name="connsiteY1211" fmla="*/ 1702913 h 3912503"/>
              <a:gd name="connsiteX1212" fmla="*/ 7594959 w 12192528"/>
              <a:gd name="connsiteY1212" fmla="*/ 1721645 h 3912503"/>
              <a:gd name="connsiteX1213" fmla="*/ 7581487 w 12192528"/>
              <a:gd name="connsiteY1213" fmla="*/ 1721535 h 3912503"/>
              <a:gd name="connsiteX1214" fmla="*/ 7507986 w 12192528"/>
              <a:gd name="connsiteY1214" fmla="*/ 1812562 h 3912503"/>
              <a:gd name="connsiteX1215" fmla="*/ 7501198 w 12192528"/>
              <a:gd name="connsiteY1215" fmla="*/ 1819243 h 3912503"/>
              <a:gd name="connsiteX1216" fmla="*/ 7498458 w 12192528"/>
              <a:gd name="connsiteY1216" fmla="*/ 1824612 h 3912503"/>
              <a:gd name="connsiteX1217" fmla="*/ 7502513 w 12192528"/>
              <a:gd name="connsiteY1217" fmla="*/ 1823297 h 3912503"/>
              <a:gd name="connsiteX1218" fmla="*/ 7506564 w 12192528"/>
              <a:gd name="connsiteY1218" fmla="*/ 1821982 h 3912503"/>
              <a:gd name="connsiteX1219" fmla="*/ 7426279 w 12192528"/>
              <a:gd name="connsiteY1219" fmla="*/ 1919691 h 3912503"/>
              <a:gd name="connsiteX1220" fmla="*/ 7412805 w 12192528"/>
              <a:gd name="connsiteY1220" fmla="*/ 1919582 h 3912503"/>
              <a:gd name="connsiteX1221" fmla="*/ 7371706 w 12192528"/>
              <a:gd name="connsiteY1221" fmla="*/ 1978466 h 3912503"/>
              <a:gd name="connsiteX1222" fmla="*/ 7377643 w 12192528"/>
              <a:gd name="connsiteY1222" fmla="*/ 1988410 h 3912503"/>
              <a:gd name="connsiteX1223" fmla="*/ 7408533 w 12192528"/>
              <a:gd name="connsiteY1223" fmla="*/ 1947843 h 3912503"/>
              <a:gd name="connsiteX1224" fmla="*/ 7423432 w 12192528"/>
              <a:gd name="connsiteY1224" fmla="*/ 1938532 h 3912503"/>
              <a:gd name="connsiteX1225" fmla="*/ 7476552 w 12192528"/>
              <a:gd name="connsiteY1225" fmla="*/ 1867550 h 3912503"/>
              <a:gd name="connsiteX1226" fmla="*/ 7484657 w 12192528"/>
              <a:gd name="connsiteY1226" fmla="*/ 1864921 h 3912503"/>
              <a:gd name="connsiteX1227" fmla="*/ 7482028 w 12192528"/>
              <a:gd name="connsiteY1227" fmla="*/ 1856816 h 3912503"/>
              <a:gd name="connsiteX1228" fmla="*/ 7559467 w 12192528"/>
              <a:gd name="connsiteY1228" fmla="*/ 1777947 h 3912503"/>
              <a:gd name="connsiteX1229" fmla="*/ 7549940 w 12192528"/>
              <a:gd name="connsiteY1229" fmla="*/ 1789996 h 3912503"/>
              <a:gd name="connsiteX1230" fmla="*/ 7525405 w 12192528"/>
              <a:gd name="connsiteY1230" fmla="*/ 1824830 h 3912503"/>
              <a:gd name="connsiteX1231" fmla="*/ 7479071 w 12192528"/>
              <a:gd name="connsiteY1231" fmla="*/ 1889129 h 3912503"/>
              <a:gd name="connsiteX1232" fmla="*/ 7472282 w 12192528"/>
              <a:gd name="connsiteY1232" fmla="*/ 1895812 h 3912503"/>
              <a:gd name="connsiteX1233" fmla="*/ 7464177 w 12192528"/>
              <a:gd name="connsiteY1233" fmla="*/ 1898440 h 3912503"/>
              <a:gd name="connsiteX1234" fmla="*/ 7450485 w 12192528"/>
              <a:gd name="connsiteY1234" fmla="*/ 1925278 h 3912503"/>
              <a:gd name="connsiteX1235" fmla="*/ 7428687 w 12192528"/>
              <a:gd name="connsiteY1235" fmla="*/ 1954743 h 3912503"/>
              <a:gd name="connsiteX1236" fmla="*/ 7385207 w 12192528"/>
              <a:gd name="connsiteY1236" fmla="*/ 2000202 h 3912503"/>
              <a:gd name="connsiteX1237" fmla="*/ 7387380 w 12192528"/>
              <a:gd name="connsiteY1237" fmla="*/ 2001736 h 3912503"/>
              <a:gd name="connsiteX1238" fmla="*/ 7386735 w 12192528"/>
              <a:gd name="connsiteY1238" fmla="*/ 2003634 h 3912503"/>
              <a:gd name="connsiteX1239" fmla="*/ 7396409 w 12192528"/>
              <a:gd name="connsiteY1239" fmla="*/ 2019844 h 3912503"/>
              <a:gd name="connsiteX1240" fmla="*/ 7462534 w 12192528"/>
              <a:gd name="connsiteY1240" fmla="*/ 1934806 h 3912503"/>
              <a:gd name="connsiteX1241" fmla="*/ 7481591 w 12192528"/>
              <a:gd name="connsiteY1241" fmla="*/ 1910708 h 3912503"/>
              <a:gd name="connsiteX1242" fmla="*/ 7485646 w 12192528"/>
              <a:gd name="connsiteY1242" fmla="*/ 1909393 h 3912503"/>
              <a:gd name="connsiteX1243" fmla="*/ 7496487 w 12192528"/>
              <a:gd name="connsiteY1243" fmla="*/ 1901397 h 3912503"/>
              <a:gd name="connsiteX1244" fmla="*/ 7499228 w 12192528"/>
              <a:gd name="connsiteY1244" fmla="*/ 1896029 h 3912503"/>
              <a:gd name="connsiteX1245" fmla="*/ 7495175 w 12192528"/>
              <a:gd name="connsiteY1245" fmla="*/ 1897344 h 3912503"/>
              <a:gd name="connsiteX1246" fmla="*/ 7544135 w 12192528"/>
              <a:gd name="connsiteY1246" fmla="*/ 1841151 h 3912503"/>
              <a:gd name="connsiteX1247" fmla="*/ 7583568 w 12192528"/>
              <a:gd name="connsiteY1247" fmla="*/ 1797006 h 3912503"/>
              <a:gd name="connsiteX1248" fmla="*/ 7585733 w 12192528"/>
              <a:gd name="connsiteY1248" fmla="*/ 1794876 h 3912503"/>
              <a:gd name="connsiteX1249" fmla="*/ 7586554 w 12192528"/>
              <a:gd name="connsiteY1249" fmla="*/ 1793880 h 3912503"/>
              <a:gd name="connsiteX1250" fmla="*/ 7661003 w 12192528"/>
              <a:gd name="connsiteY1250" fmla="*/ 1718541 h 3912503"/>
              <a:gd name="connsiteX1251" fmla="*/ 7661013 w 12192528"/>
              <a:gd name="connsiteY1251" fmla="*/ 1718136 h 3912503"/>
              <a:gd name="connsiteX1252" fmla="*/ 7670454 w 12192528"/>
              <a:gd name="connsiteY1252" fmla="*/ 1708976 h 3912503"/>
              <a:gd name="connsiteX1253" fmla="*/ 7788388 w 12192528"/>
              <a:gd name="connsiteY1253" fmla="*/ 1589632 h 3912503"/>
              <a:gd name="connsiteX1254" fmla="*/ 8260284 w 12192528"/>
              <a:gd name="connsiteY1254" fmla="*/ 1261482 h 3912503"/>
              <a:gd name="connsiteX1255" fmla="*/ 12104980 w 12192528"/>
              <a:gd name="connsiteY1255" fmla="*/ 1249920 h 3912503"/>
              <a:gd name="connsiteX1256" fmla="*/ 12105097 w 12192528"/>
              <a:gd name="connsiteY1256" fmla="*/ 1250254 h 3912503"/>
              <a:gd name="connsiteX1257" fmla="*/ 12104628 w 12192528"/>
              <a:gd name="connsiteY1257" fmla="*/ 1250151 h 3912503"/>
              <a:gd name="connsiteX1258" fmla="*/ 8417266 w 12192528"/>
              <a:gd name="connsiteY1258" fmla="*/ 1232514 h 3912503"/>
              <a:gd name="connsiteX1259" fmla="*/ 8411559 w 12192528"/>
              <a:gd name="connsiteY1259" fmla="*/ 1234786 h 3912503"/>
              <a:gd name="connsiteX1260" fmla="*/ 8410022 w 12192528"/>
              <a:gd name="connsiteY1260" fmla="*/ 1237798 h 3912503"/>
              <a:gd name="connsiteX1261" fmla="*/ 8418129 w 12192528"/>
              <a:gd name="connsiteY1261" fmla="*/ 1235169 h 3912503"/>
              <a:gd name="connsiteX1262" fmla="*/ 2911864 w 12192528"/>
              <a:gd name="connsiteY1262" fmla="*/ 1232309 h 3912503"/>
              <a:gd name="connsiteX1263" fmla="*/ 2863322 w 12192528"/>
              <a:gd name="connsiteY1263" fmla="*/ 1295774 h 3912503"/>
              <a:gd name="connsiteX1264" fmla="*/ 2850587 w 12192528"/>
              <a:gd name="connsiteY1264" fmla="*/ 1310351 h 3912503"/>
              <a:gd name="connsiteX1265" fmla="*/ 2852691 w 12192528"/>
              <a:gd name="connsiteY1265" fmla="*/ 1311805 h 3912503"/>
              <a:gd name="connsiteX1266" fmla="*/ 2867409 w 12192528"/>
              <a:gd name="connsiteY1266" fmla="*/ 1313020 h 3912503"/>
              <a:gd name="connsiteX1267" fmla="*/ 2890959 w 12192528"/>
              <a:gd name="connsiteY1267" fmla="*/ 1289088 h 3912503"/>
              <a:gd name="connsiteX1268" fmla="*/ 2905911 w 12192528"/>
              <a:gd name="connsiteY1268" fmla="*/ 1244216 h 3912503"/>
              <a:gd name="connsiteX1269" fmla="*/ 2911933 w 12192528"/>
              <a:gd name="connsiteY1269" fmla="*/ 1233374 h 3912503"/>
              <a:gd name="connsiteX1270" fmla="*/ 2155643 w 12192528"/>
              <a:gd name="connsiteY1270" fmla="*/ 1216915 h 3912503"/>
              <a:gd name="connsiteX1271" fmla="*/ 2164217 w 12192528"/>
              <a:gd name="connsiteY1271" fmla="*/ 1221161 h 3912503"/>
              <a:gd name="connsiteX1272" fmla="*/ 2169076 w 12192528"/>
              <a:gd name="connsiteY1272" fmla="*/ 1223730 h 3912503"/>
              <a:gd name="connsiteX1273" fmla="*/ 2174507 w 12192528"/>
              <a:gd name="connsiteY1273" fmla="*/ 1228297 h 3912503"/>
              <a:gd name="connsiteX1274" fmla="*/ 2177936 w 12192528"/>
              <a:gd name="connsiteY1274" fmla="*/ 1232864 h 3912503"/>
              <a:gd name="connsiteX1275" fmla="*/ 2181937 w 12192528"/>
              <a:gd name="connsiteY1275" fmla="*/ 1245423 h 3912503"/>
              <a:gd name="connsiteX1276" fmla="*/ 2184795 w 12192528"/>
              <a:gd name="connsiteY1276" fmla="*/ 1253130 h 3912503"/>
              <a:gd name="connsiteX1277" fmla="*/ 2184795 w 12192528"/>
              <a:gd name="connsiteY1277" fmla="*/ 1256556 h 3912503"/>
              <a:gd name="connsiteX1278" fmla="*/ 2181366 w 12192528"/>
              <a:gd name="connsiteY1278" fmla="*/ 1263406 h 3912503"/>
              <a:gd name="connsiteX1279" fmla="*/ 2173649 w 12192528"/>
              <a:gd name="connsiteY1279" fmla="*/ 1273682 h 3912503"/>
              <a:gd name="connsiteX1280" fmla="*/ 2171648 w 12192528"/>
              <a:gd name="connsiteY1280" fmla="*/ 1277678 h 3912503"/>
              <a:gd name="connsiteX1281" fmla="*/ 2168219 w 12192528"/>
              <a:gd name="connsiteY1281" fmla="*/ 1279105 h 3912503"/>
              <a:gd name="connsiteX1282" fmla="*/ 2161645 w 12192528"/>
              <a:gd name="connsiteY1282" fmla="*/ 1281103 h 3912503"/>
              <a:gd name="connsiteX1283" fmla="*/ 2159358 w 12192528"/>
              <a:gd name="connsiteY1283" fmla="*/ 1282245 h 3912503"/>
              <a:gd name="connsiteX1284" fmla="*/ 2150213 w 12192528"/>
              <a:gd name="connsiteY1284" fmla="*/ 1283387 h 3912503"/>
              <a:gd name="connsiteX1285" fmla="*/ 2148211 w 12192528"/>
              <a:gd name="connsiteY1285" fmla="*/ 1283958 h 3912503"/>
              <a:gd name="connsiteX1286" fmla="*/ 2127919 w 12192528"/>
              <a:gd name="connsiteY1286" fmla="*/ 1271113 h 3912503"/>
              <a:gd name="connsiteX1287" fmla="*/ 2121633 w 12192528"/>
              <a:gd name="connsiteY1287" fmla="*/ 1259410 h 3912503"/>
              <a:gd name="connsiteX1288" fmla="*/ 2119632 w 12192528"/>
              <a:gd name="connsiteY1288" fmla="*/ 1254558 h 3912503"/>
              <a:gd name="connsiteX1289" fmla="*/ 2119346 w 12192528"/>
              <a:gd name="connsiteY1289" fmla="*/ 1249705 h 3912503"/>
              <a:gd name="connsiteX1290" fmla="*/ 2120203 w 12192528"/>
              <a:gd name="connsiteY1290" fmla="*/ 1245995 h 3912503"/>
              <a:gd name="connsiteX1291" fmla="*/ 2121633 w 12192528"/>
              <a:gd name="connsiteY1291" fmla="*/ 1238288 h 3912503"/>
              <a:gd name="connsiteX1292" fmla="*/ 2121918 w 12192528"/>
              <a:gd name="connsiteY1292" fmla="*/ 1235433 h 3912503"/>
              <a:gd name="connsiteX1293" fmla="*/ 2122776 w 12192528"/>
              <a:gd name="connsiteY1293" fmla="*/ 1228582 h 3912503"/>
              <a:gd name="connsiteX1294" fmla="*/ 2137066 w 12192528"/>
              <a:gd name="connsiteY1294" fmla="*/ 1217450 h 3912503"/>
              <a:gd name="connsiteX1295" fmla="*/ 2146211 w 12192528"/>
              <a:gd name="connsiteY1295" fmla="*/ 1217165 h 3912503"/>
              <a:gd name="connsiteX1296" fmla="*/ 2155643 w 12192528"/>
              <a:gd name="connsiteY1296" fmla="*/ 1216915 h 3912503"/>
              <a:gd name="connsiteX1297" fmla="*/ 8275194 w 12192528"/>
              <a:gd name="connsiteY1297" fmla="*/ 1215563 h 3912503"/>
              <a:gd name="connsiteX1298" fmla="*/ 8263740 w 12192528"/>
              <a:gd name="connsiteY1298" fmla="*/ 1220296 h 3912503"/>
              <a:gd name="connsiteX1299" fmla="*/ 8233022 w 12192528"/>
              <a:gd name="connsiteY1299" fmla="*/ 1235857 h 3912503"/>
              <a:gd name="connsiteX1300" fmla="*/ 8211486 w 12192528"/>
              <a:gd name="connsiteY1300" fmla="*/ 1247811 h 3912503"/>
              <a:gd name="connsiteX1301" fmla="*/ 7487079 w 12192528"/>
              <a:gd name="connsiteY1301" fmla="*/ 1209056 h 3912503"/>
              <a:gd name="connsiteX1302" fmla="*/ 7486867 w 12192528"/>
              <a:gd name="connsiteY1302" fmla="*/ 1209417 h 3912503"/>
              <a:gd name="connsiteX1303" fmla="*/ 7486613 w 12192528"/>
              <a:gd name="connsiteY1303" fmla="*/ 1209167 h 3912503"/>
              <a:gd name="connsiteX1304" fmla="*/ 1563784 w 12192528"/>
              <a:gd name="connsiteY1304" fmla="*/ 1205899 h 3912503"/>
              <a:gd name="connsiteX1305" fmla="*/ 1563518 w 12192528"/>
              <a:gd name="connsiteY1305" fmla="*/ 1206342 h 3912503"/>
              <a:gd name="connsiteX1306" fmla="*/ 1563209 w 12192528"/>
              <a:gd name="connsiteY1306" fmla="*/ 1206035 h 3912503"/>
              <a:gd name="connsiteX1307" fmla="*/ 4781344 w 12192528"/>
              <a:gd name="connsiteY1307" fmla="*/ 1199658 h 3912503"/>
              <a:gd name="connsiteX1308" fmla="*/ 4785755 w 12192528"/>
              <a:gd name="connsiteY1308" fmla="*/ 1199658 h 3912503"/>
              <a:gd name="connsiteX1309" fmla="*/ 4790168 w 12192528"/>
              <a:gd name="connsiteY1309" fmla="*/ 1199658 h 3912503"/>
              <a:gd name="connsiteX1310" fmla="*/ 4794583 w 12192528"/>
              <a:gd name="connsiteY1310" fmla="*/ 1199658 h 3912503"/>
              <a:gd name="connsiteX1311" fmla="*/ 4785755 w 12192528"/>
              <a:gd name="connsiteY1311" fmla="*/ 1204071 h 3912503"/>
              <a:gd name="connsiteX1312" fmla="*/ 4768102 w 12192528"/>
              <a:gd name="connsiteY1312" fmla="*/ 1204071 h 3912503"/>
              <a:gd name="connsiteX1313" fmla="*/ 4781344 w 12192528"/>
              <a:gd name="connsiteY1313" fmla="*/ 1199658 h 3912503"/>
              <a:gd name="connsiteX1314" fmla="*/ 62800 w 12192528"/>
              <a:gd name="connsiteY1314" fmla="*/ 1178205 h 3912503"/>
              <a:gd name="connsiteX1315" fmla="*/ 73611 w 12192528"/>
              <a:gd name="connsiteY1315" fmla="*/ 1179861 h 3912503"/>
              <a:gd name="connsiteX1316" fmla="*/ 82760 w 12192528"/>
              <a:gd name="connsiteY1316" fmla="*/ 1185657 h 3912503"/>
              <a:gd name="connsiteX1317" fmla="*/ 87750 w 12192528"/>
              <a:gd name="connsiteY1317" fmla="*/ 1191452 h 3912503"/>
              <a:gd name="connsiteX1318" fmla="*/ 87750 w 12192528"/>
              <a:gd name="connsiteY1318" fmla="*/ 1206355 h 3912503"/>
              <a:gd name="connsiteX1319" fmla="*/ 78601 w 12192528"/>
              <a:gd name="connsiteY1319" fmla="*/ 1215463 h 3912503"/>
              <a:gd name="connsiteX1320" fmla="*/ 72779 w 12192528"/>
              <a:gd name="connsiteY1320" fmla="*/ 1226227 h 3912503"/>
              <a:gd name="connsiteX1321" fmla="*/ 68205 w 12192528"/>
              <a:gd name="connsiteY1321" fmla="*/ 1237405 h 3912503"/>
              <a:gd name="connsiteX1322" fmla="*/ 61967 w 12192528"/>
              <a:gd name="connsiteY1322" fmla="*/ 1244856 h 3912503"/>
              <a:gd name="connsiteX1323" fmla="*/ 52820 w 12192528"/>
              <a:gd name="connsiteY1323" fmla="*/ 1249409 h 3912503"/>
              <a:gd name="connsiteX1324" fmla="*/ 44502 w 12192528"/>
              <a:gd name="connsiteY1324" fmla="*/ 1249409 h 3912503"/>
              <a:gd name="connsiteX1325" fmla="*/ 43255 w 12192528"/>
              <a:gd name="connsiteY1325" fmla="*/ 1247754 h 3912503"/>
              <a:gd name="connsiteX1326" fmla="*/ 31611 w 12192528"/>
              <a:gd name="connsiteY1326" fmla="*/ 1238645 h 3912503"/>
              <a:gd name="connsiteX1327" fmla="*/ 27868 w 12192528"/>
              <a:gd name="connsiteY1327" fmla="*/ 1224571 h 3912503"/>
              <a:gd name="connsiteX1328" fmla="*/ 33690 w 12192528"/>
              <a:gd name="connsiteY1328" fmla="*/ 1208011 h 3912503"/>
              <a:gd name="connsiteX1329" fmla="*/ 39927 w 12192528"/>
              <a:gd name="connsiteY1329" fmla="*/ 1204286 h 3912503"/>
              <a:gd name="connsiteX1330" fmla="*/ 47829 w 12192528"/>
              <a:gd name="connsiteY1330" fmla="*/ 1194350 h 3912503"/>
              <a:gd name="connsiteX1331" fmla="*/ 50324 w 12192528"/>
              <a:gd name="connsiteY1331" fmla="*/ 1189796 h 3912503"/>
              <a:gd name="connsiteX1332" fmla="*/ 62800 w 12192528"/>
              <a:gd name="connsiteY1332" fmla="*/ 1178205 h 3912503"/>
              <a:gd name="connsiteX1333" fmla="*/ 1179814 w 12192528"/>
              <a:gd name="connsiteY1333" fmla="*/ 1173359 h 3912503"/>
              <a:gd name="connsiteX1334" fmla="*/ 1189028 w 12192528"/>
              <a:gd name="connsiteY1334" fmla="*/ 1177922 h 3912503"/>
              <a:gd name="connsiteX1335" fmla="*/ 1194248 w 12192528"/>
              <a:gd name="connsiteY1335" fmla="*/ 1180682 h 3912503"/>
              <a:gd name="connsiteX1336" fmla="*/ 1200083 w 12192528"/>
              <a:gd name="connsiteY1336" fmla="*/ 1185592 h 3912503"/>
              <a:gd name="connsiteX1337" fmla="*/ 1203769 w 12192528"/>
              <a:gd name="connsiteY1337" fmla="*/ 1190499 h 3912503"/>
              <a:gd name="connsiteX1338" fmla="*/ 1208069 w 12192528"/>
              <a:gd name="connsiteY1338" fmla="*/ 1203994 h 3912503"/>
              <a:gd name="connsiteX1339" fmla="*/ 1211140 w 12192528"/>
              <a:gd name="connsiteY1339" fmla="*/ 1212278 h 3912503"/>
              <a:gd name="connsiteX1340" fmla="*/ 1211140 w 12192528"/>
              <a:gd name="connsiteY1340" fmla="*/ 1215957 h 3912503"/>
              <a:gd name="connsiteX1341" fmla="*/ 1207454 w 12192528"/>
              <a:gd name="connsiteY1341" fmla="*/ 1223319 h 3912503"/>
              <a:gd name="connsiteX1342" fmla="*/ 1199162 w 12192528"/>
              <a:gd name="connsiteY1342" fmla="*/ 1234362 h 3912503"/>
              <a:gd name="connsiteX1343" fmla="*/ 1197013 w 12192528"/>
              <a:gd name="connsiteY1343" fmla="*/ 1238656 h 3912503"/>
              <a:gd name="connsiteX1344" fmla="*/ 1193327 w 12192528"/>
              <a:gd name="connsiteY1344" fmla="*/ 1240190 h 3912503"/>
              <a:gd name="connsiteX1345" fmla="*/ 1186263 w 12192528"/>
              <a:gd name="connsiteY1345" fmla="*/ 1242338 h 3912503"/>
              <a:gd name="connsiteX1346" fmla="*/ 1183805 w 12192528"/>
              <a:gd name="connsiteY1346" fmla="*/ 1243563 h 3912503"/>
              <a:gd name="connsiteX1347" fmla="*/ 1173978 w 12192528"/>
              <a:gd name="connsiteY1347" fmla="*/ 1244790 h 3912503"/>
              <a:gd name="connsiteX1348" fmla="*/ 1171828 w 12192528"/>
              <a:gd name="connsiteY1348" fmla="*/ 1245405 h 3912503"/>
              <a:gd name="connsiteX1349" fmla="*/ 1150022 w 12192528"/>
              <a:gd name="connsiteY1349" fmla="*/ 1231601 h 3912503"/>
              <a:gd name="connsiteX1350" fmla="*/ 1143266 w 12192528"/>
              <a:gd name="connsiteY1350" fmla="*/ 1219025 h 3912503"/>
              <a:gd name="connsiteX1351" fmla="*/ 1141116 w 12192528"/>
              <a:gd name="connsiteY1351" fmla="*/ 1213810 h 3912503"/>
              <a:gd name="connsiteX1352" fmla="*/ 1140808 w 12192528"/>
              <a:gd name="connsiteY1352" fmla="*/ 1208596 h 3912503"/>
              <a:gd name="connsiteX1353" fmla="*/ 1141731 w 12192528"/>
              <a:gd name="connsiteY1353" fmla="*/ 1204609 h 3912503"/>
              <a:gd name="connsiteX1354" fmla="*/ 1143266 w 12192528"/>
              <a:gd name="connsiteY1354" fmla="*/ 1196327 h 3912503"/>
              <a:gd name="connsiteX1355" fmla="*/ 1143572 w 12192528"/>
              <a:gd name="connsiteY1355" fmla="*/ 1193259 h 3912503"/>
              <a:gd name="connsiteX1356" fmla="*/ 1144494 w 12192528"/>
              <a:gd name="connsiteY1356" fmla="*/ 1185897 h 3912503"/>
              <a:gd name="connsiteX1357" fmla="*/ 1159851 w 12192528"/>
              <a:gd name="connsiteY1357" fmla="*/ 1173934 h 3912503"/>
              <a:gd name="connsiteX1358" fmla="*/ 1169678 w 12192528"/>
              <a:gd name="connsiteY1358" fmla="*/ 1173629 h 3912503"/>
              <a:gd name="connsiteX1359" fmla="*/ 1179814 w 12192528"/>
              <a:gd name="connsiteY1359" fmla="*/ 1173359 h 3912503"/>
              <a:gd name="connsiteX1360" fmla="*/ 1820575 w 12192528"/>
              <a:gd name="connsiteY1360" fmla="*/ 1169389 h 3912503"/>
              <a:gd name="connsiteX1361" fmla="*/ 1830727 w 12192528"/>
              <a:gd name="connsiteY1361" fmla="*/ 1170944 h 3912503"/>
              <a:gd name="connsiteX1362" fmla="*/ 1839318 w 12192528"/>
              <a:gd name="connsiteY1362" fmla="*/ 1176386 h 3912503"/>
              <a:gd name="connsiteX1363" fmla="*/ 1844003 w 12192528"/>
              <a:gd name="connsiteY1363" fmla="*/ 1181828 h 3912503"/>
              <a:gd name="connsiteX1364" fmla="*/ 1844003 w 12192528"/>
              <a:gd name="connsiteY1364" fmla="*/ 1195823 h 3912503"/>
              <a:gd name="connsiteX1365" fmla="*/ 1835413 w 12192528"/>
              <a:gd name="connsiteY1365" fmla="*/ 1204374 h 3912503"/>
              <a:gd name="connsiteX1366" fmla="*/ 1829946 w 12192528"/>
              <a:gd name="connsiteY1366" fmla="*/ 1214481 h 3912503"/>
              <a:gd name="connsiteX1367" fmla="*/ 1825651 w 12192528"/>
              <a:gd name="connsiteY1367" fmla="*/ 1224977 h 3912503"/>
              <a:gd name="connsiteX1368" fmla="*/ 1819793 w 12192528"/>
              <a:gd name="connsiteY1368" fmla="*/ 1231974 h 3912503"/>
              <a:gd name="connsiteX1369" fmla="*/ 1811204 w 12192528"/>
              <a:gd name="connsiteY1369" fmla="*/ 1236250 h 3912503"/>
              <a:gd name="connsiteX1370" fmla="*/ 1803394 w 12192528"/>
              <a:gd name="connsiteY1370" fmla="*/ 1236250 h 3912503"/>
              <a:gd name="connsiteX1371" fmla="*/ 1802223 w 12192528"/>
              <a:gd name="connsiteY1371" fmla="*/ 1234695 h 3912503"/>
              <a:gd name="connsiteX1372" fmla="*/ 1791289 w 12192528"/>
              <a:gd name="connsiteY1372" fmla="*/ 1226143 h 3912503"/>
              <a:gd name="connsiteX1373" fmla="*/ 1787775 w 12192528"/>
              <a:gd name="connsiteY1373" fmla="*/ 1212927 h 3912503"/>
              <a:gd name="connsiteX1374" fmla="*/ 1793242 w 12192528"/>
              <a:gd name="connsiteY1374" fmla="*/ 1197377 h 3912503"/>
              <a:gd name="connsiteX1375" fmla="*/ 1799098 w 12192528"/>
              <a:gd name="connsiteY1375" fmla="*/ 1193879 h 3912503"/>
              <a:gd name="connsiteX1376" fmla="*/ 1806518 w 12192528"/>
              <a:gd name="connsiteY1376" fmla="*/ 1184549 h 3912503"/>
              <a:gd name="connsiteX1377" fmla="*/ 1808861 w 12192528"/>
              <a:gd name="connsiteY1377" fmla="*/ 1180274 h 3912503"/>
              <a:gd name="connsiteX1378" fmla="*/ 1820575 w 12192528"/>
              <a:gd name="connsiteY1378" fmla="*/ 1169389 h 3912503"/>
              <a:gd name="connsiteX1379" fmla="*/ 5134407 w 12192528"/>
              <a:gd name="connsiteY1379" fmla="*/ 1164351 h 3912503"/>
              <a:gd name="connsiteX1380" fmla="*/ 5134407 w 12192528"/>
              <a:gd name="connsiteY1380" fmla="*/ 1168764 h 3912503"/>
              <a:gd name="connsiteX1381" fmla="*/ 5129996 w 12192528"/>
              <a:gd name="connsiteY1381" fmla="*/ 1168764 h 3912503"/>
              <a:gd name="connsiteX1382" fmla="*/ 5134407 w 12192528"/>
              <a:gd name="connsiteY1382" fmla="*/ 1164351 h 3912503"/>
              <a:gd name="connsiteX1383" fmla="*/ 12023158 w 12192528"/>
              <a:gd name="connsiteY1383" fmla="*/ 1160424 h 3912503"/>
              <a:gd name="connsiteX1384" fmla="*/ 12036966 w 12192528"/>
              <a:gd name="connsiteY1384" fmla="*/ 1160536 h 3912503"/>
              <a:gd name="connsiteX1385" fmla="*/ 12042462 w 12192528"/>
              <a:gd name="connsiteY1385" fmla="*/ 1161385 h 3912503"/>
              <a:gd name="connsiteX1386" fmla="*/ 12051450 w 12192528"/>
              <a:gd name="connsiteY1386" fmla="*/ 1163473 h 3912503"/>
              <a:gd name="connsiteX1387" fmla="*/ 12060108 w 12192528"/>
              <a:gd name="connsiteY1387" fmla="*/ 1161087 h 3912503"/>
              <a:gd name="connsiteX1388" fmla="*/ 12063348 w 12192528"/>
              <a:gd name="connsiteY1388" fmla="*/ 1161436 h 3912503"/>
              <a:gd name="connsiteX1389" fmla="*/ 12063810 w 12192528"/>
              <a:gd name="connsiteY1389" fmla="*/ 1164700 h 3912503"/>
              <a:gd name="connsiteX1390" fmla="*/ 12063291 w 12192528"/>
              <a:gd name="connsiteY1390" fmla="*/ 1167174 h 3912503"/>
              <a:gd name="connsiteX1391" fmla="*/ 12063698 w 12192528"/>
              <a:gd name="connsiteY1391" fmla="*/ 1170551 h 3912503"/>
              <a:gd name="connsiteX1392" fmla="*/ 12066893 w 12192528"/>
              <a:gd name="connsiteY1392" fmla="*/ 1170057 h 3912503"/>
              <a:gd name="connsiteX1393" fmla="*/ 12071966 w 12192528"/>
              <a:gd name="connsiteY1393" fmla="*/ 1173653 h 3912503"/>
              <a:gd name="connsiteX1394" fmla="*/ 12071910 w 12192528"/>
              <a:gd name="connsiteY1394" fmla="*/ 1176580 h 3912503"/>
              <a:gd name="connsiteX1395" fmla="*/ 12074597 w 12192528"/>
              <a:gd name="connsiteY1395" fmla="*/ 1179474 h 3912503"/>
              <a:gd name="connsiteX1396" fmla="*/ 12077401 w 12192528"/>
              <a:gd name="connsiteY1396" fmla="*/ 1176972 h 3912503"/>
              <a:gd name="connsiteX1397" fmla="*/ 12078441 w 12192528"/>
              <a:gd name="connsiteY1397" fmla="*/ 1174040 h 3912503"/>
              <a:gd name="connsiteX1398" fmla="*/ 12085882 w 12192528"/>
              <a:gd name="connsiteY1398" fmla="*/ 1195317 h 3912503"/>
              <a:gd name="connsiteX1399" fmla="*/ 12084493 w 12192528"/>
              <a:gd name="connsiteY1399" fmla="*/ 1196085 h 3912503"/>
              <a:gd name="connsiteX1400" fmla="*/ 12084454 w 12192528"/>
              <a:gd name="connsiteY1400" fmla="*/ 1200383 h 3912503"/>
              <a:gd name="connsiteX1401" fmla="*/ 12087051 w 12192528"/>
              <a:gd name="connsiteY1401" fmla="*/ 1203460 h 3912503"/>
              <a:gd name="connsiteX1402" fmla="*/ 12087118 w 12192528"/>
              <a:gd name="connsiteY1402" fmla="*/ 1208945 h 3912503"/>
              <a:gd name="connsiteX1403" fmla="*/ 12087424 w 12192528"/>
              <a:gd name="connsiteY1403" fmla="*/ 1226585 h 3912503"/>
              <a:gd name="connsiteX1404" fmla="*/ 12089018 w 12192528"/>
              <a:gd name="connsiteY1404" fmla="*/ 1229857 h 3912503"/>
              <a:gd name="connsiteX1405" fmla="*/ 12084453 w 12192528"/>
              <a:gd name="connsiteY1405" fmla="*/ 1230367 h 3912503"/>
              <a:gd name="connsiteX1406" fmla="*/ 12083902 w 12192528"/>
              <a:gd name="connsiteY1406" fmla="*/ 1230099 h 3912503"/>
              <a:gd name="connsiteX1407" fmla="*/ 12077373 w 12192528"/>
              <a:gd name="connsiteY1407" fmla="*/ 1234656 h 3912503"/>
              <a:gd name="connsiteX1408" fmla="*/ 12072812 w 12192528"/>
              <a:gd name="connsiteY1408" fmla="*/ 1243120 h 3912503"/>
              <a:gd name="connsiteX1409" fmla="*/ 12063796 w 12192528"/>
              <a:gd name="connsiteY1409" fmla="*/ 1253739 h 3912503"/>
              <a:gd name="connsiteX1410" fmla="*/ 12059432 w 12192528"/>
              <a:gd name="connsiteY1410" fmla="*/ 1255710 h 3912503"/>
              <a:gd name="connsiteX1411" fmla="*/ 12047250 w 12192528"/>
              <a:gd name="connsiteY1411" fmla="*/ 1261612 h 3912503"/>
              <a:gd name="connsiteX1412" fmla="*/ 12042032 w 12192528"/>
              <a:gd name="connsiteY1412" fmla="*/ 1261126 h 3912503"/>
              <a:gd name="connsiteX1413" fmla="*/ 12021232 w 12192528"/>
              <a:gd name="connsiteY1413" fmla="*/ 1257622 h 3912503"/>
              <a:gd name="connsiteX1414" fmla="*/ 12019268 w 12192528"/>
              <a:gd name="connsiteY1414" fmla="*/ 1261668 h 3912503"/>
              <a:gd name="connsiteX1415" fmla="*/ 12023783 w 12192528"/>
              <a:gd name="connsiteY1415" fmla="*/ 1264540 h 3912503"/>
              <a:gd name="connsiteX1416" fmla="*/ 12028165 w 12192528"/>
              <a:gd name="connsiteY1416" fmla="*/ 1263940 h 3912503"/>
              <a:gd name="connsiteX1417" fmla="*/ 12031471 w 12192528"/>
              <a:gd name="connsiteY1417" fmla="*/ 1265090 h 3912503"/>
              <a:gd name="connsiteX1418" fmla="*/ 12029315 w 12192528"/>
              <a:gd name="connsiteY1418" fmla="*/ 1268131 h 3912503"/>
              <a:gd name="connsiteX1419" fmla="*/ 12025578 w 12192528"/>
              <a:gd name="connsiteY1419" fmla="*/ 1269272 h 3912503"/>
              <a:gd name="connsiteX1420" fmla="*/ 12021893 w 12192528"/>
              <a:gd name="connsiteY1420" fmla="*/ 1274526 h 3912503"/>
              <a:gd name="connsiteX1421" fmla="*/ 12027395 w 12192528"/>
              <a:gd name="connsiteY1421" fmla="*/ 1275833 h 3912503"/>
              <a:gd name="connsiteX1422" fmla="*/ 12032776 w 12192528"/>
              <a:gd name="connsiteY1422" fmla="*/ 1274581 h 3912503"/>
              <a:gd name="connsiteX1423" fmla="*/ 12035296 w 12192528"/>
              <a:gd name="connsiteY1423" fmla="*/ 1278756 h 3912503"/>
              <a:gd name="connsiteX1424" fmla="*/ 12026163 w 12192528"/>
              <a:gd name="connsiteY1424" fmla="*/ 1287275 h 3912503"/>
              <a:gd name="connsiteX1425" fmla="*/ 12021257 w 12192528"/>
              <a:gd name="connsiteY1425" fmla="*/ 1297388 h 3912503"/>
              <a:gd name="connsiteX1426" fmla="*/ 12022974 w 12192528"/>
              <a:gd name="connsiteY1426" fmla="*/ 1303219 h 3912503"/>
              <a:gd name="connsiteX1427" fmla="*/ 12023097 w 12192528"/>
              <a:gd name="connsiteY1427" fmla="*/ 1305777 h 3912503"/>
              <a:gd name="connsiteX1428" fmla="*/ 12020537 w 12192528"/>
              <a:gd name="connsiteY1428" fmla="*/ 1305898 h 3912503"/>
              <a:gd name="connsiteX1429" fmla="*/ 12014890 w 12192528"/>
              <a:gd name="connsiteY1429" fmla="*/ 1307702 h 3912503"/>
              <a:gd name="connsiteX1430" fmla="*/ 12006092 w 12192528"/>
              <a:gd name="connsiteY1430" fmla="*/ 1313656 h 3912503"/>
              <a:gd name="connsiteX1431" fmla="*/ 12003767 w 12192528"/>
              <a:gd name="connsiteY1431" fmla="*/ 1317979 h 3912503"/>
              <a:gd name="connsiteX1432" fmla="*/ 12003812 w 12192528"/>
              <a:gd name="connsiteY1432" fmla="*/ 1321635 h 3912503"/>
              <a:gd name="connsiteX1433" fmla="*/ 11999702 w 12192528"/>
              <a:gd name="connsiteY1433" fmla="*/ 1322141 h 3912503"/>
              <a:gd name="connsiteX1434" fmla="*/ 11996949 w 12192528"/>
              <a:gd name="connsiteY1434" fmla="*/ 1321259 h 3912503"/>
              <a:gd name="connsiteX1435" fmla="*/ 11990164 w 12192528"/>
              <a:gd name="connsiteY1435" fmla="*/ 1327281 h 3912503"/>
              <a:gd name="connsiteX1436" fmla="*/ 11990371 w 12192528"/>
              <a:gd name="connsiteY1436" fmla="*/ 1329198 h 3912503"/>
              <a:gd name="connsiteX1437" fmla="*/ 11988580 w 12192528"/>
              <a:gd name="connsiteY1437" fmla="*/ 1332419 h 3912503"/>
              <a:gd name="connsiteX1438" fmla="*/ 11985993 w 12192528"/>
              <a:gd name="connsiteY1438" fmla="*/ 1330255 h 3912503"/>
              <a:gd name="connsiteX1439" fmla="*/ 11985314 w 12192528"/>
              <a:gd name="connsiteY1439" fmla="*/ 1326972 h 3912503"/>
              <a:gd name="connsiteX1440" fmla="*/ 11981901 w 12192528"/>
              <a:gd name="connsiteY1440" fmla="*/ 1324636 h 3912503"/>
              <a:gd name="connsiteX1441" fmla="*/ 11969251 w 12192528"/>
              <a:gd name="connsiteY1441" fmla="*/ 1322134 h 3912503"/>
              <a:gd name="connsiteX1442" fmla="*/ 11954824 w 12192528"/>
              <a:gd name="connsiteY1442" fmla="*/ 1316270 h 3912503"/>
              <a:gd name="connsiteX1443" fmla="*/ 11952315 w 12192528"/>
              <a:gd name="connsiteY1443" fmla="*/ 1313008 h 3912503"/>
              <a:gd name="connsiteX1444" fmla="*/ 11944890 w 12192528"/>
              <a:gd name="connsiteY1444" fmla="*/ 1303954 h 3912503"/>
              <a:gd name="connsiteX1445" fmla="*/ 11943674 w 12192528"/>
              <a:gd name="connsiteY1445" fmla="*/ 1301774 h 3912503"/>
              <a:gd name="connsiteX1446" fmla="*/ 11940307 w 12192528"/>
              <a:gd name="connsiteY1446" fmla="*/ 1288101 h 3912503"/>
              <a:gd name="connsiteX1447" fmla="*/ 11943368 w 12192528"/>
              <a:gd name="connsiteY1447" fmla="*/ 1269142 h 3912503"/>
              <a:gd name="connsiteX1448" fmla="*/ 11943742 w 12192528"/>
              <a:gd name="connsiteY1448" fmla="*/ 1262282 h 3912503"/>
              <a:gd name="connsiteX1449" fmla="*/ 11948219 w 12192528"/>
              <a:gd name="connsiteY1449" fmla="*/ 1254459 h 3912503"/>
              <a:gd name="connsiteX1450" fmla="*/ 11952256 w 12192528"/>
              <a:gd name="connsiteY1450" fmla="*/ 1248012 h 3912503"/>
              <a:gd name="connsiteX1451" fmla="*/ 11953409 w 12192528"/>
              <a:gd name="connsiteY1451" fmla="*/ 1245164 h 3912503"/>
              <a:gd name="connsiteX1452" fmla="*/ 11970330 w 12192528"/>
              <a:gd name="connsiteY1452" fmla="*/ 1237926 h 3912503"/>
              <a:gd name="connsiteX1453" fmla="*/ 11983577 w 12192528"/>
              <a:gd name="connsiteY1453" fmla="*/ 1236857 h 3912503"/>
              <a:gd name="connsiteX1454" fmla="*/ 11996210 w 12192528"/>
              <a:gd name="connsiteY1454" fmla="*/ 1230492 h 3912503"/>
              <a:gd name="connsiteX1455" fmla="*/ 11996087 w 12192528"/>
              <a:gd name="connsiteY1455" fmla="*/ 1227934 h 3912503"/>
              <a:gd name="connsiteX1456" fmla="*/ 11991478 w 12192528"/>
              <a:gd name="connsiteY1456" fmla="*/ 1209796 h 3912503"/>
              <a:gd name="connsiteX1457" fmla="*/ 11991432 w 12192528"/>
              <a:gd name="connsiteY1457" fmla="*/ 1206140 h 3912503"/>
              <a:gd name="connsiteX1458" fmla="*/ 11994421 w 12192528"/>
              <a:gd name="connsiteY1458" fmla="*/ 1196231 h 3912503"/>
              <a:gd name="connsiteX1459" fmla="*/ 11997020 w 12192528"/>
              <a:gd name="connsiteY1459" fmla="*/ 1184317 h 3912503"/>
              <a:gd name="connsiteX1460" fmla="*/ 11999344 w 12192528"/>
              <a:gd name="connsiteY1460" fmla="*/ 1179993 h 3912503"/>
              <a:gd name="connsiteX1461" fmla="*/ 12020603 w 12192528"/>
              <a:gd name="connsiteY1461" fmla="*/ 1161002 h 3912503"/>
              <a:gd name="connsiteX1462" fmla="*/ 12023158 w 12192528"/>
              <a:gd name="connsiteY1462" fmla="*/ 1160424 h 3912503"/>
              <a:gd name="connsiteX1463" fmla="*/ 5337420 w 12192528"/>
              <a:gd name="connsiteY1463" fmla="*/ 1159731 h 3912503"/>
              <a:gd name="connsiteX1464" fmla="*/ 5341835 w 12192528"/>
              <a:gd name="connsiteY1464" fmla="*/ 1159938 h 3912503"/>
              <a:gd name="connsiteX1465" fmla="*/ 5337418 w 12192528"/>
              <a:gd name="connsiteY1465" fmla="*/ 1159938 h 3912503"/>
              <a:gd name="connsiteX1466" fmla="*/ 5341832 w 12192528"/>
              <a:gd name="connsiteY1466" fmla="*/ 1155525 h 3912503"/>
              <a:gd name="connsiteX1467" fmla="*/ 5346247 w 12192528"/>
              <a:gd name="connsiteY1467" fmla="*/ 1155525 h 3912503"/>
              <a:gd name="connsiteX1468" fmla="*/ 5345978 w 12192528"/>
              <a:gd name="connsiteY1468" fmla="*/ 1155793 h 3912503"/>
              <a:gd name="connsiteX1469" fmla="*/ 8672136 w 12192528"/>
              <a:gd name="connsiteY1469" fmla="*/ 1148300 h 3912503"/>
              <a:gd name="connsiteX1470" fmla="*/ 8668085 w 12192528"/>
              <a:gd name="connsiteY1470" fmla="*/ 1149614 h 3912503"/>
              <a:gd name="connsiteX1471" fmla="*/ 8664032 w 12192528"/>
              <a:gd name="connsiteY1471" fmla="*/ 1150928 h 3912503"/>
              <a:gd name="connsiteX1472" fmla="*/ 8647820 w 12192528"/>
              <a:gd name="connsiteY1472" fmla="*/ 1156186 h 3912503"/>
              <a:gd name="connsiteX1473" fmla="*/ 8638440 w 12192528"/>
              <a:gd name="connsiteY1473" fmla="*/ 1156831 h 3912503"/>
              <a:gd name="connsiteX1474" fmla="*/ 1907816 w 12192528"/>
              <a:gd name="connsiteY1474" fmla="*/ 1140199 h 3912503"/>
              <a:gd name="connsiteX1475" fmla="*/ 1916390 w 12192528"/>
              <a:gd name="connsiteY1475" fmla="*/ 1144445 h 3912503"/>
              <a:gd name="connsiteX1476" fmla="*/ 1921251 w 12192528"/>
              <a:gd name="connsiteY1476" fmla="*/ 1147015 h 3912503"/>
              <a:gd name="connsiteX1477" fmla="*/ 1926680 w 12192528"/>
              <a:gd name="connsiteY1477" fmla="*/ 1151582 h 3912503"/>
              <a:gd name="connsiteX1478" fmla="*/ 1930109 w 12192528"/>
              <a:gd name="connsiteY1478" fmla="*/ 1156149 h 3912503"/>
              <a:gd name="connsiteX1479" fmla="*/ 1934110 w 12192528"/>
              <a:gd name="connsiteY1479" fmla="*/ 1168708 h 3912503"/>
              <a:gd name="connsiteX1480" fmla="*/ 1936969 w 12192528"/>
              <a:gd name="connsiteY1480" fmla="*/ 1176416 h 3912503"/>
              <a:gd name="connsiteX1481" fmla="*/ 1936969 w 12192528"/>
              <a:gd name="connsiteY1481" fmla="*/ 1179841 h 3912503"/>
              <a:gd name="connsiteX1482" fmla="*/ 1933539 w 12192528"/>
              <a:gd name="connsiteY1482" fmla="*/ 1186692 h 3912503"/>
              <a:gd name="connsiteX1483" fmla="*/ 1925823 w 12192528"/>
              <a:gd name="connsiteY1483" fmla="*/ 1196968 h 3912503"/>
              <a:gd name="connsiteX1484" fmla="*/ 1923823 w 12192528"/>
              <a:gd name="connsiteY1484" fmla="*/ 1200963 h 3912503"/>
              <a:gd name="connsiteX1485" fmla="*/ 1920392 w 12192528"/>
              <a:gd name="connsiteY1485" fmla="*/ 1202391 h 3912503"/>
              <a:gd name="connsiteX1486" fmla="*/ 1913818 w 12192528"/>
              <a:gd name="connsiteY1486" fmla="*/ 1204388 h 3912503"/>
              <a:gd name="connsiteX1487" fmla="*/ 1911532 w 12192528"/>
              <a:gd name="connsiteY1487" fmla="*/ 1205530 h 3912503"/>
              <a:gd name="connsiteX1488" fmla="*/ 1902387 w 12192528"/>
              <a:gd name="connsiteY1488" fmla="*/ 1206673 h 3912503"/>
              <a:gd name="connsiteX1489" fmla="*/ 1900386 w 12192528"/>
              <a:gd name="connsiteY1489" fmla="*/ 1207244 h 3912503"/>
              <a:gd name="connsiteX1490" fmla="*/ 1880094 w 12192528"/>
              <a:gd name="connsiteY1490" fmla="*/ 1194399 h 3912503"/>
              <a:gd name="connsiteX1491" fmla="*/ 1873806 w 12192528"/>
              <a:gd name="connsiteY1491" fmla="*/ 1182696 h 3912503"/>
              <a:gd name="connsiteX1492" fmla="*/ 1871805 w 12192528"/>
              <a:gd name="connsiteY1492" fmla="*/ 1177843 h 3912503"/>
              <a:gd name="connsiteX1493" fmla="*/ 1871520 w 12192528"/>
              <a:gd name="connsiteY1493" fmla="*/ 1172990 h 3912503"/>
              <a:gd name="connsiteX1494" fmla="*/ 1872377 w 12192528"/>
              <a:gd name="connsiteY1494" fmla="*/ 1169279 h 3912503"/>
              <a:gd name="connsiteX1495" fmla="*/ 1873806 w 12192528"/>
              <a:gd name="connsiteY1495" fmla="*/ 1161572 h 3912503"/>
              <a:gd name="connsiteX1496" fmla="*/ 1874091 w 12192528"/>
              <a:gd name="connsiteY1496" fmla="*/ 1158718 h 3912503"/>
              <a:gd name="connsiteX1497" fmla="*/ 1874950 w 12192528"/>
              <a:gd name="connsiteY1497" fmla="*/ 1151868 h 3912503"/>
              <a:gd name="connsiteX1498" fmla="*/ 1889240 w 12192528"/>
              <a:gd name="connsiteY1498" fmla="*/ 1140735 h 3912503"/>
              <a:gd name="connsiteX1499" fmla="*/ 1898384 w 12192528"/>
              <a:gd name="connsiteY1499" fmla="*/ 1140450 h 3912503"/>
              <a:gd name="connsiteX1500" fmla="*/ 1907816 w 12192528"/>
              <a:gd name="connsiteY1500" fmla="*/ 1140199 h 3912503"/>
              <a:gd name="connsiteX1501" fmla="*/ 5240327 w 12192528"/>
              <a:gd name="connsiteY1501" fmla="*/ 1137871 h 3912503"/>
              <a:gd name="connsiteX1502" fmla="*/ 5315354 w 12192528"/>
              <a:gd name="connsiteY1502" fmla="*/ 1146697 h 3912503"/>
              <a:gd name="connsiteX1503" fmla="*/ 5310940 w 12192528"/>
              <a:gd name="connsiteY1503" fmla="*/ 1151112 h 3912503"/>
              <a:gd name="connsiteX1504" fmla="*/ 5315354 w 12192528"/>
              <a:gd name="connsiteY1504" fmla="*/ 1151110 h 3912503"/>
              <a:gd name="connsiteX1505" fmla="*/ 5333006 w 12192528"/>
              <a:gd name="connsiteY1505" fmla="*/ 1155525 h 3912503"/>
              <a:gd name="connsiteX1506" fmla="*/ 5337420 w 12192528"/>
              <a:gd name="connsiteY1506" fmla="*/ 1155525 h 3912503"/>
              <a:gd name="connsiteX1507" fmla="*/ 5337420 w 12192528"/>
              <a:gd name="connsiteY1507" fmla="*/ 1159731 h 3912503"/>
              <a:gd name="connsiteX1508" fmla="*/ 5330181 w 12192528"/>
              <a:gd name="connsiteY1508" fmla="*/ 1159386 h 3912503"/>
              <a:gd name="connsiteX1509" fmla="*/ 5310940 w 12192528"/>
              <a:gd name="connsiteY1509" fmla="*/ 1164351 h 3912503"/>
              <a:gd name="connsiteX1510" fmla="*/ 5306526 w 12192528"/>
              <a:gd name="connsiteY1510" fmla="*/ 1159938 h 3912503"/>
              <a:gd name="connsiteX1511" fmla="*/ 5302115 w 12192528"/>
              <a:gd name="connsiteY1511" fmla="*/ 1159938 h 3912503"/>
              <a:gd name="connsiteX1512" fmla="*/ 5297701 w 12192528"/>
              <a:gd name="connsiteY1512" fmla="*/ 1155525 h 3912503"/>
              <a:gd name="connsiteX1513" fmla="*/ 5293288 w 12192528"/>
              <a:gd name="connsiteY1513" fmla="*/ 1155525 h 3912503"/>
              <a:gd name="connsiteX1514" fmla="*/ 5293288 w 12192528"/>
              <a:gd name="connsiteY1514" fmla="*/ 1159938 h 3912503"/>
              <a:gd name="connsiteX1515" fmla="*/ 5257981 w 12192528"/>
              <a:gd name="connsiteY1515" fmla="*/ 1164351 h 3912503"/>
              <a:gd name="connsiteX1516" fmla="*/ 5257981 w 12192528"/>
              <a:gd name="connsiteY1516" fmla="*/ 1159938 h 3912503"/>
              <a:gd name="connsiteX1517" fmla="*/ 5249152 w 12192528"/>
              <a:gd name="connsiteY1517" fmla="*/ 1159938 h 3912503"/>
              <a:gd name="connsiteX1518" fmla="*/ 5244741 w 12192528"/>
              <a:gd name="connsiteY1518" fmla="*/ 1159938 h 3912503"/>
              <a:gd name="connsiteX1519" fmla="*/ 5200609 w 12192528"/>
              <a:gd name="connsiteY1519" fmla="*/ 1155525 h 3912503"/>
              <a:gd name="connsiteX1520" fmla="*/ 5200607 w 12192528"/>
              <a:gd name="connsiteY1520" fmla="*/ 1159938 h 3912503"/>
              <a:gd name="connsiteX1521" fmla="*/ 5196195 w 12192528"/>
              <a:gd name="connsiteY1521" fmla="*/ 1155525 h 3912503"/>
              <a:gd name="connsiteX1522" fmla="*/ 5191780 w 12192528"/>
              <a:gd name="connsiteY1522" fmla="*/ 1159939 h 3912503"/>
              <a:gd name="connsiteX1523" fmla="*/ 5165301 w 12192528"/>
              <a:gd name="connsiteY1523" fmla="*/ 1159938 h 3912503"/>
              <a:gd name="connsiteX1524" fmla="*/ 5152061 w 12192528"/>
              <a:gd name="connsiteY1524" fmla="*/ 1164351 h 3912503"/>
              <a:gd name="connsiteX1525" fmla="*/ 5147646 w 12192528"/>
              <a:gd name="connsiteY1525" fmla="*/ 1159938 h 3912503"/>
              <a:gd name="connsiteX1526" fmla="*/ 5143235 w 12192528"/>
              <a:gd name="connsiteY1526" fmla="*/ 1168764 h 3912503"/>
              <a:gd name="connsiteX1527" fmla="*/ 5143235 w 12192528"/>
              <a:gd name="connsiteY1527" fmla="*/ 1164351 h 3912503"/>
              <a:gd name="connsiteX1528" fmla="*/ 5138821 w 12192528"/>
              <a:gd name="connsiteY1528" fmla="*/ 1164351 h 3912503"/>
              <a:gd name="connsiteX1529" fmla="*/ 5134407 w 12192528"/>
              <a:gd name="connsiteY1529" fmla="*/ 1164351 h 3912503"/>
              <a:gd name="connsiteX1530" fmla="*/ 5129996 w 12192528"/>
              <a:gd name="connsiteY1530" fmla="*/ 1164352 h 3912503"/>
              <a:gd name="connsiteX1531" fmla="*/ 5125580 w 12192528"/>
              <a:gd name="connsiteY1531" fmla="*/ 1164351 h 3912503"/>
              <a:gd name="connsiteX1532" fmla="*/ 5116754 w 12192528"/>
              <a:gd name="connsiteY1532" fmla="*/ 1159938 h 3912503"/>
              <a:gd name="connsiteX1533" fmla="*/ 5107927 w 12192528"/>
              <a:gd name="connsiteY1533" fmla="*/ 1164351 h 3912503"/>
              <a:gd name="connsiteX1534" fmla="*/ 5081448 w 12192528"/>
              <a:gd name="connsiteY1534" fmla="*/ 1159938 h 3912503"/>
              <a:gd name="connsiteX1535" fmla="*/ 5160887 w 12192528"/>
              <a:gd name="connsiteY1535" fmla="*/ 1155525 h 3912503"/>
              <a:gd name="connsiteX1536" fmla="*/ 5196195 w 12192528"/>
              <a:gd name="connsiteY1536" fmla="*/ 1142285 h 3912503"/>
              <a:gd name="connsiteX1537" fmla="*/ 5240327 w 12192528"/>
              <a:gd name="connsiteY1537" fmla="*/ 1137871 h 3912503"/>
              <a:gd name="connsiteX1538" fmla="*/ 9339349 w 12192528"/>
              <a:gd name="connsiteY1538" fmla="*/ 1125863 h 3912503"/>
              <a:gd name="connsiteX1539" fmla="*/ 9251014 w 12192528"/>
              <a:gd name="connsiteY1539" fmla="*/ 1133467 h 3912503"/>
              <a:gd name="connsiteX1540" fmla="*/ 9232286 w 12192528"/>
              <a:gd name="connsiteY1540" fmla="*/ 1129233 h 3912503"/>
              <a:gd name="connsiteX1541" fmla="*/ 9085225 w 12192528"/>
              <a:gd name="connsiteY1541" fmla="*/ 1135377 h 3912503"/>
              <a:gd name="connsiteX1542" fmla="*/ 8873864 w 12192528"/>
              <a:gd name="connsiteY1542" fmla="*/ 1182131 h 3912503"/>
              <a:gd name="connsiteX1543" fmla="*/ 8860575 w 12192528"/>
              <a:gd name="connsiteY1543" fmla="*/ 1171249 h 3912503"/>
              <a:gd name="connsiteX1544" fmla="*/ 8810544 w 12192528"/>
              <a:gd name="connsiteY1544" fmla="*/ 1183574 h 3912503"/>
              <a:gd name="connsiteX1545" fmla="*/ 8815136 w 12192528"/>
              <a:gd name="connsiteY1545" fmla="*/ 1180673 h 3912503"/>
              <a:gd name="connsiteX1546" fmla="*/ 8819730 w 12192528"/>
              <a:gd name="connsiteY1546" fmla="*/ 1177772 h 3912503"/>
              <a:gd name="connsiteX1547" fmla="*/ 8808493 w 12192528"/>
              <a:gd name="connsiteY1547" fmla="*/ 1175232 h 3912503"/>
              <a:gd name="connsiteX1548" fmla="*/ 8803900 w 12192528"/>
              <a:gd name="connsiteY1548" fmla="*/ 1178132 h 3912503"/>
              <a:gd name="connsiteX1549" fmla="*/ 8803052 w 12192528"/>
              <a:gd name="connsiteY1549" fmla="*/ 1181880 h 3912503"/>
              <a:gd name="connsiteX1550" fmla="*/ 8715921 w 12192528"/>
              <a:gd name="connsiteY1550" fmla="*/ 1201573 h 3912503"/>
              <a:gd name="connsiteX1551" fmla="*/ 8579116 w 12192528"/>
              <a:gd name="connsiteY1551" fmla="*/ 1249427 h 3912503"/>
              <a:gd name="connsiteX1552" fmla="*/ 8536577 w 12192528"/>
              <a:gd name="connsiteY1552" fmla="*/ 1263444 h 3912503"/>
              <a:gd name="connsiteX1553" fmla="*/ 8395536 w 12192528"/>
              <a:gd name="connsiteY1553" fmla="*/ 1330037 h 3912503"/>
              <a:gd name="connsiteX1554" fmla="*/ 8381050 w 12192528"/>
              <a:gd name="connsiteY1554" fmla="*/ 1333162 h 3912503"/>
              <a:gd name="connsiteX1555" fmla="*/ 8369829 w 12192528"/>
              <a:gd name="connsiteY1555" fmla="*/ 1337567 h 3912503"/>
              <a:gd name="connsiteX1556" fmla="*/ 8370520 w 12192528"/>
              <a:gd name="connsiteY1556" fmla="*/ 1336198 h 3912503"/>
              <a:gd name="connsiteX1557" fmla="*/ 8373754 w 12192528"/>
              <a:gd name="connsiteY1557" fmla="*/ 1334960 h 3912503"/>
              <a:gd name="connsiteX1558" fmla="*/ 8372721 w 12192528"/>
              <a:gd name="connsiteY1558" fmla="*/ 1333873 h 3912503"/>
              <a:gd name="connsiteX1559" fmla="*/ 8231404 w 12192528"/>
              <a:gd name="connsiteY1559" fmla="*/ 1405556 h 3912503"/>
              <a:gd name="connsiteX1560" fmla="*/ 8231531 w 12192528"/>
              <a:gd name="connsiteY1560" fmla="*/ 1411132 h 3912503"/>
              <a:gd name="connsiteX1561" fmla="*/ 8127589 w 12192528"/>
              <a:gd name="connsiteY1561" fmla="*/ 1470355 h 3912503"/>
              <a:gd name="connsiteX1562" fmla="*/ 8102929 w 12192528"/>
              <a:gd name="connsiteY1562" fmla="*/ 1492353 h 3912503"/>
              <a:gd name="connsiteX1563" fmla="*/ 7968889 w 12192528"/>
              <a:gd name="connsiteY1563" fmla="*/ 1580223 h 3912503"/>
              <a:gd name="connsiteX1564" fmla="*/ 7907125 w 12192528"/>
              <a:gd name="connsiteY1564" fmla="*/ 1624855 h 3912503"/>
              <a:gd name="connsiteX1565" fmla="*/ 7847880 w 12192528"/>
              <a:gd name="connsiteY1565" fmla="*/ 1663016 h 3912503"/>
              <a:gd name="connsiteX1566" fmla="*/ 7853220 w 12192528"/>
              <a:gd name="connsiteY1566" fmla="*/ 1656491 h 3912503"/>
              <a:gd name="connsiteX1567" fmla="*/ 7840290 w 12192528"/>
              <a:gd name="connsiteY1567" fmla="*/ 1661445 h 3912503"/>
              <a:gd name="connsiteX1568" fmla="*/ 7835695 w 12192528"/>
              <a:gd name="connsiteY1568" fmla="*/ 1664347 h 3912503"/>
              <a:gd name="connsiteX1569" fmla="*/ 7836543 w 12192528"/>
              <a:gd name="connsiteY1569" fmla="*/ 1660599 h 3912503"/>
              <a:gd name="connsiteX1570" fmla="*/ 7950161 w 12192528"/>
              <a:gd name="connsiteY1570" fmla="*/ 1575989 h 3912503"/>
              <a:gd name="connsiteX1571" fmla="*/ 7939771 w 12192528"/>
              <a:gd name="connsiteY1571" fmla="*/ 1569703 h 3912503"/>
              <a:gd name="connsiteX1572" fmla="*/ 7910520 w 12192528"/>
              <a:gd name="connsiteY1572" fmla="*/ 1594601 h 3912503"/>
              <a:gd name="connsiteX1573" fmla="*/ 7862896 w 12192528"/>
              <a:gd name="connsiteY1573" fmla="*/ 1631105 h 3912503"/>
              <a:gd name="connsiteX1574" fmla="*/ 7700808 w 12192528"/>
              <a:gd name="connsiteY1574" fmla="*/ 1755965 h 3912503"/>
              <a:gd name="connsiteX1575" fmla="*/ 7689081 w 12192528"/>
              <a:gd name="connsiteY1575" fmla="*/ 1773008 h 3912503"/>
              <a:gd name="connsiteX1576" fmla="*/ 7628881 w 12192528"/>
              <a:gd name="connsiteY1576" fmla="*/ 1830304 h 3912503"/>
              <a:gd name="connsiteX1577" fmla="*/ 7615952 w 12192528"/>
              <a:gd name="connsiteY1577" fmla="*/ 1835257 h 3912503"/>
              <a:gd name="connsiteX1578" fmla="*/ 7589597 w 12192528"/>
              <a:gd name="connsiteY1578" fmla="*/ 1864752 h 3912503"/>
              <a:gd name="connsiteX1579" fmla="*/ 7591292 w 12192528"/>
              <a:gd name="connsiteY1579" fmla="*/ 1857256 h 3912503"/>
              <a:gd name="connsiteX1580" fmla="*/ 7532298 w 12192528"/>
              <a:gd name="connsiteY1580" fmla="*/ 1926641 h 3912503"/>
              <a:gd name="connsiteX1581" fmla="*/ 7586207 w 12192528"/>
              <a:gd name="connsiteY1581" fmla="*/ 1879742 h 3912503"/>
              <a:gd name="connsiteX1582" fmla="*/ 7636914 w 12192528"/>
              <a:gd name="connsiteY1582" fmla="*/ 1840489 h 3912503"/>
              <a:gd name="connsiteX1583" fmla="*/ 7683586 w 12192528"/>
              <a:gd name="connsiteY1583" fmla="*/ 1800869 h 3912503"/>
              <a:gd name="connsiteX1584" fmla="*/ 7682302 w 12192528"/>
              <a:gd name="connsiteY1584" fmla="*/ 1802989 h 3912503"/>
              <a:gd name="connsiteX1585" fmla="*/ 7690641 w 12192528"/>
              <a:gd name="connsiteY1585" fmla="*/ 1800935 h 3912503"/>
              <a:gd name="connsiteX1586" fmla="*/ 7694387 w 12192528"/>
              <a:gd name="connsiteY1586" fmla="*/ 1801781 h 3912503"/>
              <a:gd name="connsiteX1587" fmla="*/ 7587770 w 12192528"/>
              <a:gd name="connsiteY1587" fmla="*/ 1907669 h 3912503"/>
              <a:gd name="connsiteX1588" fmla="*/ 7543759 w 12192528"/>
              <a:gd name="connsiteY1588" fmla="*/ 1980440 h 3912503"/>
              <a:gd name="connsiteX1589" fmla="*/ 7730640 w 12192528"/>
              <a:gd name="connsiteY1589" fmla="*/ 1798159 h 3912503"/>
              <a:gd name="connsiteX1590" fmla="*/ 7790837 w 12192528"/>
              <a:gd name="connsiteY1590" fmla="*/ 1740866 h 3912503"/>
              <a:gd name="connsiteX1591" fmla="*/ 7803279 w 12192528"/>
              <a:gd name="connsiteY1591" fmla="*/ 1755496 h 3912503"/>
              <a:gd name="connsiteX1592" fmla="*/ 7819596 w 12192528"/>
              <a:gd name="connsiteY1592" fmla="*/ 1735551 h 3912503"/>
              <a:gd name="connsiteX1593" fmla="*/ 7812954 w 12192528"/>
              <a:gd name="connsiteY1593" fmla="*/ 1730108 h 3912503"/>
              <a:gd name="connsiteX1594" fmla="*/ 7924521 w 12192528"/>
              <a:gd name="connsiteY1594" fmla="*/ 1637158 h 3912503"/>
              <a:gd name="connsiteX1595" fmla="*/ 7991719 w 12192528"/>
              <a:gd name="connsiteY1595" fmla="*/ 1601142 h 3912503"/>
              <a:gd name="connsiteX1596" fmla="*/ 8061460 w 12192528"/>
              <a:gd name="connsiteY1596" fmla="*/ 1553883 h 3912503"/>
              <a:gd name="connsiteX1597" fmla="*/ 8041395 w 12192528"/>
              <a:gd name="connsiteY1597" fmla="*/ 1572980 h 3912503"/>
              <a:gd name="connsiteX1598" fmla="*/ 8052631 w 12192528"/>
              <a:gd name="connsiteY1598" fmla="*/ 1575521 h 3912503"/>
              <a:gd name="connsiteX1599" fmla="*/ 8106898 w 12192528"/>
              <a:gd name="connsiteY1599" fmla="*/ 1544460 h 3912503"/>
              <a:gd name="connsiteX1600" fmla="*/ 8113187 w 12192528"/>
              <a:gd name="connsiteY1600" fmla="*/ 1534063 h 3912503"/>
              <a:gd name="connsiteX1601" fmla="*/ 8099898 w 12192528"/>
              <a:gd name="connsiteY1601" fmla="*/ 1523181 h 3912503"/>
              <a:gd name="connsiteX1602" fmla="*/ 8167097 w 12192528"/>
              <a:gd name="connsiteY1602" fmla="*/ 1487164 h 3912503"/>
              <a:gd name="connsiteX1603" fmla="*/ 8240583 w 12192528"/>
              <a:gd name="connsiteY1603" fmla="*/ 1440752 h 3912503"/>
              <a:gd name="connsiteX1604" fmla="*/ 8242275 w 12192528"/>
              <a:gd name="connsiteY1604" fmla="*/ 1433257 h 3912503"/>
              <a:gd name="connsiteX1605" fmla="*/ 8290257 w 12192528"/>
              <a:gd name="connsiteY1605" fmla="*/ 1412591 h 3912503"/>
              <a:gd name="connsiteX1606" fmla="*/ 8322408 w 12192528"/>
              <a:gd name="connsiteY1606" fmla="*/ 1392286 h 3912503"/>
              <a:gd name="connsiteX1607" fmla="*/ 8510581 w 12192528"/>
              <a:gd name="connsiteY1607" fmla="*/ 1308775 h 3912503"/>
              <a:gd name="connsiteX1608" fmla="*/ 8533544 w 12192528"/>
              <a:gd name="connsiteY1608" fmla="*/ 1294272 h 3912503"/>
              <a:gd name="connsiteX1609" fmla="*/ 8553968 w 12192528"/>
              <a:gd name="connsiteY1609" fmla="*/ 1291010 h 3912503"/>
              <a:gd name="connsiteX1610" fmla="*/ 8528461 w 12192528"/>
              <a:gd name="connsiteY1610" fmla="*/ 1316757 h 3912503"/>
              <a:gd name="connsiteX1611" fmla="*/ 8607744 w 12192528"/>
              <a:gd name="connsiteY1611" fmla="*/ 1279533 h 3912503"/>
              <a:gd name="connsiteX1612" fmla="*/ 8589016 w 12192528"/>
              <a:gd name="connsiteY1612" fmla="*/ 1275299 h 3912503"/>
              <a:gd name="connsiteX1613" fmla="*/ 8595302 w 12192528"/>
              <a:gd name="connsiteY1613" fmla="*/ 1264905 h 3912503"/>
              <a:gd name="connsiteX1614" fmla="*/ 8597844 w 12192528"/>
              <a:gd name="connsiteY1614" fmla="*/ 1253661 h 3912503"/>
              <a:gd name="connsiteX1615" fmla="*/ 8601591 w 12192528"/>
              <a:gd name="connsiteY1615" fmla="*/ 1254508 h 3912503"/>
              <a:gd name="connsiteX1616" fmla="*/ 8596997 w 12192528"/>
              <a:gd name="connsiteY1616" fmla="*/ 1257408 h 3912503"/>
              <a:gd name="connsiteX1617" fmla="*/ 8600742 w 12192528"/>
              <a:gd name="connsiteY1617" fmla="*/ 1258256 h 3912503"/>
              <a:gd name="connsiteX1618" fmla="*/ 8604489 w 12192528"/>
              <a:gd name="connsiteY1618" fmla="*/ 1259103 h 3912503"/>
              <a:gd name="connsiteX1619" fmla="*/ 8609082 w 12192528"/>
              <a:gd name="connsiteY1619" fmla="*/ 1256201 h 3912503"/>
              <a:gd name="connsiteX1620" fmla="*/ 8609929 w 12192528"/>
              <a:gd name="connsiteY1620" fmla="*/ 1252454 h 3912503"/>
              <a:gd name="connsiteX1621" fmla="*/ 8634944 w 12192528"/>
              <a:gd name="connsiteY1621" fmla="*/ 1246291 h 3912503"/>
              <a:gd name="connsiteX1622" fmla="*/ 8631199 w 12192528"/>
              <a:gd name="connsiteY1622" fmla="*/ 1245445 h 3912503"/>
              <a:gd name="connsiteX1623" fmla="*/ 8639538 w 12192528"/>
              <a:gd name="connsiteY1623" fmla="*/ 1243391 h 3912503"/>
              <a:gd name="connsiteX1624" fmla="*/ 8644130 w 12192528"/>
              <a:gd name="connsiteY1624" fmla="*/ 1240490 h 3912503"/>
              <a:gd name="connsiteX1625" fmla="*/ 8640384 w 12192528"/>
              <a:gd name="connsiteY1625" fmla="*/ 1239644 h 3912503"/>
              <a:gd name="connsiteX1626" fmla="*/ 8636638 w 12192528"/>
              <a:gd name="connsiteY1626" fmla="*/ 1238797 h 3912503"/>
              <a:gd name="connsiteX1627" fmla="*/ 8735498 w 12192528"/>
              <a:gd name="connsiteY1627" fmla="*/ 1202060 h 3912503"/>
              <a:gd name="connsiteX1628" fmla="*/ 8712890 w 12192528"/>
              <a:gd name="connsiteY1628" fmla="*/ 1232399 h 3912503"/>
              <a:gd name="connsiteX1629" fmla="*/ 8731618 w 12192528"/>
              <a:gd name="connsiteY1629" fmla="*/ 1236633 h 3912503"/>
              <a:gd name="connsiteX1630" fmla="*/ 8786242 w 12192528"/>
              <a:gd name="connsiteY1630" fmla="*/ 1221409 h 3912503"/>
              <a:gd name="connsiteX1631" fmla="*/ 8784190 w 12192528"/>
              <a:gd name="connsiteY1631" fmla="*/ 1213068 h 3912503"/>
              <a:gd name="connsiteX1632" fmla="*/ 8841714 w 12192528"/>
              <a:gd name="connsiteY1632" fmla="*/ 1202437 h 3912503"/>
              <a:gd name="connsiteX1633" fmla="*/ 8938877 w 12192528"/>
              <a:gd name="connsiteY1633" fmla="*/ 1173195 h 3912503"/>
              <a:gd name="connsiteX1634" fmla="*/ 8944674 w 12192528"/>
              <a:gd name="connsiteY1634" fmla="*/ 1182384 h 3912503"/>
              <a:gd name="connsiteX1635" fmla="*/ 9067210 w 12192528"/>
              <a:gd name="connsiteY1635" fmla="*/ 1162817 h 3912503"/>
              <a:gd name="connsiteX1636" fmla="*/ 9176815 w 12192528"/>
              <a:gd name="connsiteY1636" fmla="*/ 1148205 h 3912503"/>
              <a:gd name="connsiteX1637" fmla="*/ 9182255 w 12192528"/>
              <a:gd name="connsiteY1637" fmla="*/ 1141557 h 3912503"/>
              <a:gd name="connsiteX1638" fmla="*/ 9209322 w 12192528"/>
              <a:gd name="connsiteY1638" fmla="*/ 1143737 h 3912503"/>
              <a:gd name="connsiteX1639" fmla="*/ 9290166 w 12192528"/>
              <a:gd name="connsiteY1639" fmla="*/ 1134440 h 3912503"/>
              <a:gd name="connsiteX1640" fmla="*/ 9320131 w 12192528"/>
              <a:gd name="connsiteY1640" fmla="*/ 1141213 h 3912503"/>
              <a:gd name="connsiteX1641" fmla="*/ 9372214 w 12192528"/>
              <a:gd name="connsiteY1641" fmla="*/ 1137231 h 3912503"/>
              <a:gd name="connsiteX1642" fmla="*/ 9415957 w 12192528"/>
              <a:gd name="connsiteY1642" fmla="*/ 1135303 h 3912503"/>
              <a:gd name="connsiteX1643" fmla="*/ 9416804 w 12192528"/>
              <a:gd name="connsiteY1643" fmla="*/ 1131556 h 3912503"/>
              <a:gd name="connsiteX1644" fmla="*/ 9398076 w 12192528"/>
              <a:gd name="connsiteY1644" fmla="*/ 1127322 h 3912503"/>
              <a:gd name="connsiteX1645" fmla="*/ 9339349 w 12192528"/>
              <a:gd name="connsiteY1645" fmla="*/ 1125863 h 3912503"/>
              <a:gd name="connsiteX1646" fmla="*/ 1478794 w 12192528"/>
              <a:gd name="connsiteY1646" fmla="*/ 1120425 h 3912503"/>
              <a:gd name="connsiteX1647" fmla="*/ 1496361 w 12192528"/>
              <a:gd name="connsiteY1647" fmla="*/ 1136748 h 3912503"/>
              <a:gd name="connsiteX1648" fmla="*/ 1499875 w 12192528"/>
              <a:gd name="connsiteY1648" fmla="*/ 1143161 h 3912503"/>
              <a:gd name="connsiteX1649" fmla="*/ 1511002 w 12192528"/>
              <a:gd name="connsiteY1649" fmla="*/ 1157153 h 3912503"/>
              <a:gd name="connsiteX1650" fmla="*/ 1519785 w 12192528"/>
              <a:gd name="connsiteY1650" fmla="*/ 1162399 h 3912503"/>
              <a:gd name="connsiteX1651" fmla="*/ 1527983 w 12192528"/>
              <a:gd name="connsiteY1651" fmla="*/ 1185718 h 3912503"/>
              <a:gd name="connsiteX1652" fmla="*/ 1522713 w 12192528"/>
              <a:gd name="connsiteY1652" fmla="*/ 1205539 h 3912503"/>
              <a:gd name="connsiteX1653" fmla="*/ 1506317 w 12192528"/>
              <a:gd name="connsiteY1653" fmla="*/ 1218364 h 3912503"/>
              <a:gd name="connsiteX1654" fmla="*/ 1504561 w 12192528"/>
              <a:gd name="connsiteY1654" fmla="*/ 1220696 h 3912503"/>
              <a:gd name="connsiteX1655" fmla="*/ 1492848 w 12192528"/>
              <a:gd name="connsiteY1655" fmla="*/ 1220696 h 3912503"/>
              <a:gd name="connsiteX1656" fmla="*/ 1479965 w 12192528"/>
              <a:gd name="connsiteY1656" fmla="*/ 1214283 h 3912503"/>
              <a:gd name="connsiteX1657" fmla="*/ 1471180 w 12192528"/>
              <a:gd name="connsiteY1657" fmla="*/ 1203790 h 3912503"/>
              <a:gd name="connsiteX1658" fmla="*/ 1464738 w 12192528"/>
              <a:gd name="connsiteY1658" fmla="*/ 1188050 h 3912503"/>
              <a:gd name="connsiteX1659" fmla="*/ 1456541 w 12192528"/>
              <a:gd name="connsiteY1659" fmla="*/ 1172893 h 3912503"/>
              <a:gd name="connsiteX1660" fmla="*/ 1443657 w 12192528"/>
              <a:gd name="connsiteY1660" fmla="*/ 1160066 h 3912503"/>
              <a:gd name="connsiteX1661" fmla="*/ 1443657 w 12192528"/>
              <a:gd name="connsiteY1661" fmla="*/ 1139080 h 3912503"/>
              <a:gd name="connsiteX1662" fmla="*/ 1450685 w 12192528"/>
              <a:gd name="connsiteY1662" fmla="*/ 1130918 h 3912503"/>
              <a:gd name="connsiteX1663" fmla="*/ 1463567 w 12192528"/>
              <a:gd name="connsiteY1663" fmla="*/ 1122757 h 3912503"/>
              <a:gd name="connsiteX1664" fmla="*/ 1478794 w 12192528"/>
              <a:gd name="connsiteY1664" fmla="*/ 1120425 h 3912503"/>
              <a:gd name="connsiteX1665" fmla="*/ 728989 w 12192528"/>
              <a:gd name="connsiteY1665" fmla="*/ 1116721 h 3912503"/>
              <a:gd name="connsiteX1666" fmla="*/ 745343 w 12192528"/>
              <a:gd name="connsiteY1666" fmla="*/ 1120768 h 3912503"/>
              <a:gd name="connsiteX1667" fmla="*/ 755487 w 12192528"/>
              <a:gd name="connsiteY1667" fmla="*/ 1129914 h 3912503"/>
              <a:gd name="connsiteX1668" fmla="*/ 767755 w 12192528"/>
              <a:gd name="connsiteY1668" fmla="*/ 1118514 h 3912503"/>
              <a:gd name="connsiteX1669" fmla="*/ 782981 w 12192528"/>
              <a:gd name="connsiteY1669" fmla="*/ 1120847 h 3912503"/>
              <a:gd name="connsiteX1670" fmla="*/ 795864 w 12192528"/>
              <a:gd name="connsiteY1670" fmla="*/ 1129007 h 3912503"/>
              <a:gd name="connsiteX1671" fmla="*/ 802891 w 12192528"/>
              <a:gd name="connsiteY1671" fmla="*/ 1137169 h 3912503"/>
              <a:gd name="connsiteX1672" fmla="*/ 802891 w 12192528"/>
              <a:gd name="connsiteY1672" fmla="*/ 1158156 h 3912503"/>
              <a:gd name="connsiteX1673" fmla="*/ 800149 w 12192528"/>
              <a:gd name="connsiteY1673" fmla="*/ 1160887 h 3912503"/>
              <a:gd name="connsiteX1674" fmla="*/ 803231 w 12192528"/>
              <a:gd name="connsiteY1674" fmla="*/ 1165863 h 3912503"/>
              <a:gd name="connsiteX1675" fmla="*/ 806704 w 12192528"/>
              <a:gd name="connsiteY1675" fmla="*/ 1193613 h 3912503"/>
              <a:gd name="connsiteX1676" fmla="*/ 807861 w 12192528"/>
              <a:gd name="connsiteY1676" fmla="*/ 1205175 h 3912503"/>
              <a:gd name="connsiteX1677" fmla="*/ 813650 w 12192528"/>
              <a:gd name="connsiteY1677" fmla="*/ 1236395 h 3912503"/>
              <a:gd name="connsiteX1678" fmla="*/ 817123 w 12192528"/>
              <a:gd name="connsiteY1678" fmla="*/ 1251426 h 3912503"/>
              <a:gd name="connsiteX1679" fmla="*/ 815965 w 12192528"/>
              <a:gd name="connsiteY1679" fmla="*/ 1271083 h 3912503"/>
              <a:gd name="connsiteX1680" fmla="*/ 807861 w 12192528"/>
              <a:gd name="connsiteY1680" fmla="*/ 1290740 h 3912503"/>
              <a:gd name="connsiteX1681" fmla="*/ 782391 w 12192528"/>
              <a:gd name="connsiteY1681" fmla="*/ 1338147 h 3912503"/>
              <a:gd name="connsiteX1682" fmla="*/ 700190 w 12192528"/>
              <a:gd name="connsiteY1682" fmla="*/ 1390179 h 3912503"/>
              <a:gd name="connsiteX1683" fmla="*/ 692086 w 12192528"/>
              <a:gd name="connsiteY1683" fmla="*/ 1387867 h 3912503"/>
              <a:gd name="connsiteX1684" fmla="*/ 655038 w 12192528"/>
              <a:gd name="connsiteY1684" fmla="*/ 1383241 h 3912503"/>
              <a:gd name="connsiteX1685" fmla="*/ 645776 w 12192528"/>
              <a:gd name="connsiteY1685" fmla="*/ 1378617 h 3912503"/>
              <a:gd name="connsiteX1686" fmla="*/ 619146 w 12192528"/>
              <a:gd name="connsiteY1686" fmla="*/ 1370523 h 3912503"/>
              <a:gd name="connsiteX1687" fmla="*/ 605254 w 12192528"/>
              <a:gd name="connsiteY1687" fmla="*/ 1364740 h 3912503"/>
              <a:gd name="connsiteX1688" fmla="*/ 597150 w 12192528"/>
              <a:gd name="connsiteY1688" fmla="*/ 1348553 h 3912503"/>
              <a:gd name="connsiteX1689" fmla="*/ 565890 w 12192528"/>
              <a:gd name="connsiteY1689" fmla="*/ 1306928 h 3912503"/>
              <a:gd name="connsiteX1690" fmla="*/ 551997 w 12192528"/>
              <a:gd name="connsiteY1690" fmla="*/ 1279177 h 3912503"/>
              <a:gd name="connsiteX1691" fmla="*/ 551997 w 12192528"/>
              <a:gd name="connsiteY1691" fmla="*/ 1265302 h 3912503"/>
              <a:gd name="connsiteX1692" fmla="*/ 563575 w 12192528"/>
              <a:gd name="connsiteY1692" fmla="*/ 1234082 h 3912503"/>
              <a:gd name="connsiteX1693" fmla="*/ 579783 w 12192528"/>
              <a:gd name="connsiteY1693" fmla="*/ 1183207 h 3912503"/>
              <a:gd name="connsiteX1694" fmla="*/ 593677 w 12192528"/>
              <a:gd name="connsiteY1694" fmla="*/ 1164706 h 3912503"/>
              <a:gd name="connsiteX1695" fmla="*/ 615673 w 12192528"/>
              <a:gd name="connsiteY1695" fmla="*/ 1146205 h 3912503"/>
              <a:gd name="connsiteX1696" fmla="*/ 635355 w 12192528"/>
              <a:gd name="connsiteY1696" fmla="*/ 1135799 h 3912503"/>
              <a:gd name="connsiteX1697" fmla="*/ 708295 w 12192528"/>
              <a:gd name="connsiteY1697" fmla="*/ 1119611 h 3912503"/>
              <a:gd name="connsiteX1698" fmla="*/ 728989 w 12192528"/>
              <a:gd name="connsiteY1698" fmla="*/ 1116721 h 3912503"/>
              <a:gd name="connsiteX1699" fmla="*/ 4481236 w 12192528"/>
              <a:gd name="connsiteY1699" fmla="*/ 1115804 h 3912503"/>
              <a:gd name="connsiteX1700" fmla="*/ 4428277 w 12192528"/>
              <a:gd name="connsiteY1700" fmla="*/ 1137871 h 3912503"/>
              <a:gd name="connsiteX1701" fmla="*/ 4419450 w 12192528"/>
              <a:gd name="connsiteY1701" fmla="*/ 1137871 h 3912503"/>
              <a:gd name="connsiteX1702" fmla="*/ 4415036 w 12192528"/>
              <a:gd name="connsiteY1702" fmla="*/ 1142285 h 3912503"/>
              <a:gd name="connsiteX1703" fmla="*/ 4344424 w 12192528"/>
              <a:gd name="connsiteY1703" fmla="*/ 1164352 h 3912503"/>
              <a:gd name="connsiteX1704" fmla="*/ 4201432 w 12192528"/>
              <a:gd name="connsiteY1704" fmla="*/ 1218455 h 3912503"/>
              <a:gd name="connsiteX1705" fmla="*/ 4204241 w 12192528"/>
              <a:gd name="connsiteY1705" fmla="*/ 1236168 h 3912503"/>
              <a:gd name="connsiteX1706" fmla="*/ 4207611 w 12192528"/>
              <a:gd name="connsiteY1706" fmla="*/ 1234964 h 3912503"/>
              <a:gd name="connsiteX1707" fmla="*/ 4212023 w 12192528"/>
              <a:gd name="connsiteY1707" fmla="*/ 1234965 h 3912503"/>
              <a:gd name="connsiteX1708" fmla="*/ 4220849 w 12192528"/>
              <a:gd name="connsiteY1708" fmla="*/ 1234965 h 3912503"/>
              <a:gd name="connsiteX1709" fmla="*/ 4220850 w 12192528"/>
              <a:gd name="connsiteY1709" fmla="*/ 1230551 h 3912503"/>
              <a:gd name="connsiteX1710" fmla="*/ 4287051 w 12192528"/>
              <a:gd name="connsiteY1710" fmla="*/ 1199658 h 3912503"/>
              <a:gd name="connsiteX1711" fmla="*/ 4375317 w 12192528"/>
              <a:gd name="connsiteY1711" fmla="*/ 1164351 h 3912503"/>
              <a:gd name="connsiteX1712" fmla="*/ 4423862 w 12192528"/>
              <a:gd name="connsiteY1712" fmla="*/ 1146697 h 3912503"/>
              <a:gd name="connsiteX1713" fmla="*/ 4428277 w 12192528"/>
              <a:gd name="connsiteY1713" fmla="*/ 1146697 h 3912503"/>
              <a:gd name="connsiteX1714" fmla="*/ 4432690 w 12192528"/>
              <a:gd name="connsiteY1714" fmla="*/ 1146697 h 3912503"/>
              <a:gd name="connsiteX1715" fmla="*/ 4437104 w 12192528"/>
              <a:gd name="connsiteY1715" fmla="*/ 1146697 h 3912503"/>
              <a:gd name="connsiteX1716" fmla="*/ 4437104 w 12192528"/>
              <a:gd name="connsiteY1716" fmla="*/ 1142285 h 3912503"/>
              <a:gd name="connsiteX1717" fmla="*/ 4441516 w 12192528"/>
              <a:gd name="connsiteY1717" fmla="*/ 1133457 h 3912503"/>
              <a:gd name="connsiteX1718" fmla="*/ 4472409 w 12192528"/>
              <a:gd name="connsiteY1718" fmla="*/ 1124632 h 3912503"/>
              <a:gd name="connsiteX1719" fmla="*/ 4481236 w 12192528"/>
              <a:gd name="connsiteY1719" fmla="*/ 1115804 h 3912503"/>
              <a:gd name="connsiteX1720" fmla="*/ 2482521 w 12192528"/>
              <a:gd name="connsiteY1720" fmla="*/ 1113340 h 3912503"/>
              <a:gd name="connsiteX1721" fmla="*/ 2496819 w 12192528"/>
              <a:gd name="connsiteY1721" fmla="*/ 1115530 h 3912503"/>
              <a:gd name="connsiteX1722" fmla="*/ 2508916 w 12192528"/>
              <a:gd name="connsiteY1722" fmla="*/ 1123194 h 3912503"/>
              <a:gd name="connsiteX1723" fmla="*/ 2515514 w 12192528"/>
              <a:gd name="connsiteY1723" fmla="*/ 1130857 h 3912503"/>
              <a:gd name="connsiteX1724" fmla="*/ 2515514 w 12192528"/>
              <a:gd name="connsiteY1724" fmla="*/ 1150564 h 3912503"/>
              <a:gd name="connsiteX1725" fmla="*/ 2503417 w 12192528"/>
              <a:gd name="connsiteY1725" fmla="*/ 1162607 h 3912503"/>
              <a:gd name="connsiteX1726" fmla="*/ 2495719 w 12192528"/>
              <a:gd name="connsiteY1726" fmla="*/ 1176840 h 3912503"/>
              <a:gd name="connsiteX1727" fmla="*/ 2489670 w 12192528"/>
              <a:gd name="connsiteY1727" fmla="*/ 1191619 h 3912503"/>
              <a:gd name="connsiteX1728" fmla="*/ 2481422 w 12192528"/>
              <a:gd name="connsiteY1728" fmla="*/ 1201473 h 3912503"/>
              <a:gd name="connsiteX1729" fmla="*/ 2469325 w 12192528"/>
              <a:gd name="connsiteY1729" fmla="*/ 1207494 h 3912503"/>
              <a:gd name="connsiteX1730" fmla="*/ 2458327 w 12192528"/>
              <a:gd name="connsiteY1730" fmla="*/ 1207494 h 3912503"/>
              <a:gd name="connsiteX1731" fmla="*/ 2456677 w 12192528"/>
              <a:gd name="connsiteY1731" fmla="*/ 1205304 h 3912503"/>
              <a:gd name="connsiteX1732" fmla="*/ 2441281 w 12192528"/>
              <a:gd name="connsiteY1732" fmla="*/ 1193261 h 3912503"/>
              <a:gd name="connsiteX1733" fmla="*/ 2436332 w 12192528"/>
              <a:gd name="connsiteY1733" fmla="*/ 1174650 h 3912503"/>
              <a:gd name="connsiteX1734" fmla="*/ 2444031 w 12192528"/>
              <a:gd name="connsiteY1734" fmla="*/ 1152754 h 3912503"/>
              <a:gd name="connsiteX1735" fmla="*/ 2452278 w 12192528"/>
              <a:gd name="connsiteY1735" fmla="*/ 1147827 h 3912503"/>
              <a:gd name="connsiteX1736" fmla="*/ 2462726 w 12192528"/>
              <a:gd name="connsiteY1736" fmla="*/ 1134689 h 3912503"/>
              <a:gd name="connsiteX1737" fmla="*/ 2466026 w 12192528"/>
              <a:gd name="connsiteY1737" fmla="*/ 1128667 h 3912503"/>
              <a:gd name="connsiteX1738" fmla="*/ 2482521 w 12192528"/>
              <a:gd name="connsiteY1738" fmla="*/ 1113340 h 3912503"/>
              <a:gd name="connsiteX1739" fmla="*/ 8962880 w 12192528"/>
              <a:gd name="connsiteY1739" fmla="*/ 1089485 h 3912503"/>
              <a:gd name="connsiteX1740" fmla="*/ 8767012 w 12192528"/>
              <a:gd name="connsiteY1740" fmla="*/ 1125151 h 3912503"/>
              <a:gd name="connsiteX1741" fmla="*/ 8743275 w 12192528"/>
              <a:gd name="connsiteY1741" fmla="*/ 1130603 h 3912503"/>
              <a:gd name="connsiteX1742" fmla="*/ 8739829 w 12192528"/>
              <a:gd name="connsiteY1742" fmla="*/ 1132153 h 3912503"/>
              <a:gd name="connsiteX1743" fmla="*/ 8703136 w 12192528"/>
              <a:gd name="connsiteY1743" fmla="*/ 1147203 h 3912503"/>
              <a:gd name="connsiteX1744" fmla="*/ 8699085 w 12192528"/>
              <a:gd name="connsiteY1744" fmla="*/ 1148518 h 3912503"/>
              <a:gd name="connsiteX1745" fmla="*/ 8681560 w 12192528"/>
              <a:gd name="connsiteY1745" fmla="*/ 1149723 h 3912503"/>
              <a:gd name="connsiteX1746" fmla="*/ 8680243 w 12192528"/>
              <a:gd name="connsiteY1746" fmla="*/ 1145670 h 3912503"/>
              <a:gd name="connsiteX1747" fmla="*/ 8680065 w 12192528"/>
              <a:gd name="connsiteY1747" fmla="*/ 1145122 h 3912503"/>
              <a:gd name="connsiteX1748" fmla="*/ 8648083 w 12192528"/>
              <a:gd name="connsiteY1748" fmla="*/ 1152467 h 3912503"/>
              <a:gd name="connsiteX1749" fmla="*/ 8631892 w 12192528"/>
              <a:gd name="connsiteY1749" fmla="*/ 1157282 h 3912503"/>
              <a:gd name="connsiteX1750" fmla="*/ 8638440 w 12192528"/>
              <a:gd name="connsiteY1750" fmla="*/ 1156831 h 3912503"/>
              <a:gd name="connsiteX1751" fmla="*/ 8604542 w 12192528"/>
              <a:gd name="connsiteY1751" fmla="*/ 1165415 h 3912503"/>
              <a:gd name="connsiteX1752" fmla="*/ 8570032 w 12192528"/>
              <a:gd name="connsiteY1752" fmla="*/ 1175677 h 3912503"/>
              <a:gd name="connsiteX1753" fmla="*/ 8557093 w 12192528"/>
              <a:gd name="connsiteY1753" fmla="*/ 1180504 h 3912503"/>
              <a:gd name="connsiteX1754" fmla="*/ 8541130 w 12192528"/>
              <a:gd name="connsiteY1754" fmla="*/ 1186312 h 3912503"/>
              <a:gd name="connsiteX1755" fmla="*/ 8537077 w 12192528"/>
              <a:gd name="connsiteY1755" fmla="*/ 1187626 h 3912503"/>
              <a:gd name="connsiteX1756" fmla="*/ 8493924 w 12192528"/>
              <a:gd name="connsiteY1756" fmla="*/ 1202024 h 3912503"/>
              <a:gd name="connsiteX1757" fmla="*/ 8438330 w 12192528"/>
              <a:gd name="connsiteY1757" fmla="*/ 1224137 h 3912503"/>
              <a:gd name="connsiteX1758" fmla="*/ 8450062 w 12192528"/>
              <a:gd name="connsiteY1758" fmla="*/ 1220332 h 3912503"/>
              <a:gd name="connsiteX1759" fmla="*/ 8538392 w 12192528"/>
              <a:gd name="connsiteY1759" fmla="*/ 1191679 h 3912503"/>
              <a:gd name="connsiteX1760" fmla="*/ 8545074 w 12192528"/>
              <a:gd name="connsiteY1760" fmla="*/ 1198470 h 3912503"/>
              <a:gd name="connsiteX1761" fmla="*/ 8549126 w 12192528"/>
              <a:gd name="connsiteY1761" fmla="*/ 1197155 h 3912503"/>
              <a:gd name="connsiteX1762" fmla="*/ 8547812 w 12192528"/>
              <a:gd name="connsiteY1762" fmla="*/ 1193103 h 3912503"/>
              <a:gd name="connsiteX1763" fmla="*/ 8632924 w 12192528"/>
              <a:gd name="connsiteY1763" fmla="*/ 1165497 h 3912503"/>
              <a:gd name="connsiteX1764" fmla="*/ 8631608 w 12192528"/>
              <a:gd name="connsiteY1764" fmla="*/ 1161445 h 3912503"/>
              <a:gd name="connsiteX1765" fmla="*/ 8649135 w 12192528"/>
              <a:gd name="connsiteY1765" fmla="*/ 1160240 h 3912503"/>
              <a:gd name="connsiteX1766" fmla="*/ 8657240 w 12192528"/>
              <a:gd name="connsiteY1766" fmla="*/ 1157611 h 3912503"/>
              <a:gd name="connsiteX1767" fmla="*/ 8658447 w 12192528"/>
              <a:gd name="connsiteY1767" fmla="*/ 1175135 h 3912503"/>
              <a:gd name="connsiteX1768" fmla="*/ 8642234 w 12192528"/>
              <a:gd name="connsiteY1768" fmla="*/ 1180394 h 3912503"/>
              <a:gd name="connsiteX1769" fmla="*/ 8617916 w 12192528"/>
              <a:gd name="connsiteY1769" fmla="*/ 1188282 h 3912503"/>
              <a:gd name="connsiteX1770" fmla="*/ 8613864 w 12192528"/>
              <a:gd name="connsiteY1770" fmla="*/ 1189596 h 3912503"/>
              <a:gd name="connsiteX1771" fmla="*/ 8609810 w 12192528"/>
              <a:gd name="connsiteY1771" fmla="*/ 1190910 h 3912503"/>
              <a:gd name="connsiteX1772" fmla="*/ 8601704 w 12192528"/>
              <a:gd name="connsiteY1772" fmla="*/ 1193539 h 3912503"/>
              <a:gd name="connsiteX1773" fmla="*/ 8597652 w 12192528"/>
              <a:gd name="connsiteY1773" fmla="*/ 1194854 h 3912503"/>
              <a:gd name="connsiteX1774" fmla="*/ 8598521 w 12192528"/>
              <a:gd name="connsiteY1774" fmla="*/ 1195297 h 3912503"/>
              <a:gd name="connsiteX1775" fmla="*/ 8676247 w 12192528"/>
              <a:gd name="connsiteY1775" fmla="*/ 1172771 h 3912503"/>
              <a:gd name="connsiteX1776" fmla="*/ 8688108 w 12192528"/>
              <a:gd name="connsiteY1776" fmla="*/ 1169975 h 3912503"/>
              <a:gd name="connsiteX1777" fmla="*/ 8682763 w 12192528"/>
              <a:gd name="connsiteY1777" fmla="*/ 1167249 h 3912503"/>
              <a:gd name="connsiteX1778" fmla="*/ 8666552 w 12192528"/>
              <a:gd name="connsiteY1778" fmla="*/ 1172506 h 3912503"/>
              <a:gd name="connsiteX1779" fmla="*/ 8669400 w 12192528"/>
              <a:gd name="connsiteY1779" fmla="*/ 1153666 h 3912503"/>
              <a:gd name="connsiteX1780" fmla="*/ 8677506 w 12192528"/>
              <a:gd name="connsiteY1780" fmla="*/ 1151038 h 3912503"/>
              <a:gd name="connsiteX1781" fmla="*/ 8681560 w 12192528"/>
              <a:gd name="connsiteY1781" fmla="*/ 1149723 h 3912503"/>
              <a:gd name="connsiteX1782" fmla="*/ 8678820 w 12192528"/>
              <a:gd name="connsiteY1782" fmla="*/ 1155090 h 3912503"/>
              <a:gd name="connsiteX1783" fmla="*/ 8684188 w 12192528"/>
              <a:gd name="connsiteY1783" fmla="*/ 1157828 h 3912503"/>
              <a:gd name="connsiteX1784" fmla="*/ 8690978 w 12192528"/>
              <a:gd name="connsiteY1784" fmla="*/ 1151147 h 3912503"/>
              <a:gd name="connsiteX1785" fmla="*/ 8695032 w 12192528"/>
              <a:gd name="connsiteY1785" fmla="*/ 1149831 h 3912503"/>
              <a:gd name="connsiteX1786" fmla="*/ 8712558 w 12192528"/>
              <a:gd name="connsiteY1786" fmla="*/ 1148627 h 3912503"/>
              <a:gd name="connsiteX1787" fmla="*/ 8723292 w 12192528"/>
              <a:gd name="connsiteY1787" fmla="*/ 1154103 h 3912503"/>
              <a:gd name="connsiteX1788" fmla="*/ 8752976 w 12192528"/>
              <a:gd name="connsiteY1788" fmla="*/ 1148955 h 3912503"/>
              <a:gd name="connsiteX1789" fmla="*/ 8754400 w 12192528"/>
              <a:gd name="connsiteY1789" fmla="*/ 1139534 h 3912503"/>
              <a:gd name="connsiteX1790" fmla="*/ 8761082 w 12192528"/>
              <a:gd name="connsiteY1790" fmla="*/ 1146325 h 3912503"/>
              <a:gd name="connsiteX1791" fmla="*/ 8784086 w 12192528"/>
              <a:gd name="connsiteY1791" fmla="*/ 1134385 h 3912503"/>
              <a:gd name="connsiteX1792" fmla="*/ 8813769 w 12192528"/>
              <a:gd name="connsiteY1792" fmla="*/ 1129236 h 3912503"/>
              <a:gd name="connsiteX1793" fmla="*/ 8817822 w 12192528"/>
              <a:gd name="connsiteY1793" fmla="*/ 1127922 h 3912503"/>
              <a:gd name="connsiteX1794" fmla="*/ 8832611 w 12192528"/>
              <a:gd name="connsiteY1794" fmla="*/ 1132084 h 3912503"/>
              <a:gd name="connsiteX1795" fmla="*/ 8863719 w 12192528"/>
              <a:gd name="connsiteY1795" fmla="*/ 1117514 h 3912503"/>
              <a:gd name="connsiteX1796" fmla="*/ 8898772 w 12192528"/>
              <a:gd name="connsiteY1796" fmla="*/ 1115104 h 3912503"/>
              <a:gd name="connsiteX1797" fmla="*/ 8916297 w 12192528"/>
              <a:gd name="connsiteY1797" fmla="*/ 1113899 h 3912503"/>
              <a:gd name="connsiteX1798" fmla="*/ 8940506 w 12192528"/>
              <a:gd name="connsiteY1798" fmla="*/ 1119484 h 3912503"/>
              <a:gd name="connsiteX1799" fmla="*/ 8957422 w 12192528"/>
              <a:gd name="connsiteY1799" fmla="*/ 1112948 h 3912503"/>
              <a:gd name="connsiteX1800" fmla="*/ 8958432 w 12192528"/>
              <a:gd name="connsiteY1800" fmla="*/ 1112866 h 3912503"/>
              <a:gd name="connsiteX1801" fmla="*/ 8958301 w 12192528"/>
              <a:gd name="connsiteY1801" fmla="*/ 1110616 h 3912503"/>
              <a:gd name="connsiteX1802" fmla="*/ 8959105 w 12192528"/>
              <a:gd name="connsiteY1802" fmla="*/ 1107132 h 3912503"/>
              <a:gd name="connsiteX1803" fmla="*/ 8960449 w 12192528"/>
              <a:gd name="connsiteY1803" fmla="*/ 1099894 h 3912503"/>
              <a:gd name="connsiteX1804" fmla="*/ 8960717 w 12192528"/>
              <a:gd name="connsiteY1804" fmla="*/ 1097215 h 3912503"/>
              <a:gd name="connsiteX1805" fmla="*/ 8961522 w 12192528"/>
              <a:gd name="connsiteY1805" fmla="*/ 1090782 h 3912503"/>
              <a:gd name="connsiteX1806" fmla="*/ 9007281 w 12192528"/>
              <a:gd name="connsiteY1806" fmla="*/ 1081399 h 3912503"/>
              <a:gd name="connsiteX1807" fmla="*/ 8998709 w 12192528"/>
              <a:gd name="connsiteY1807" fmla="*/ 1082960 h 3912503"/>
              <a:gd name="connsiteX1808" fmla="*/ 9000433 w 12192528"/>
              <a:gd name="connsiteY1808" fmla="*/ 1083813 h 3912503"/>
              <a:gd name="connsiteX1809" fmla="*/ 9004995 w 12192528"/>
              <a:gd name="connsiteY1809" fmla="*/ 1086226 h 3912503"/>
              <a:gd name="connsiteX1810" fmla="*/ 9010095 w 12192528"/>
              <a:gd name="connsiteY1810" fmla="*/ 1090513 h 3912503"/>
              <a:gd name="connsiteX1811" fmla="*/ 9013316 w 12192528"/>
              <a:gd name="connsiteY1811" fmla="*/ 1094802 h 3912503"/>
              <a:gd name="connsiteX1812" fmla="*/ 9017024 w 12192528"/>
              <a:gd name="connsiteY1812" fmla="*/ 1106446 h 3912503"/>
              <a:gd name="connsiteX1813" fmla="*/ 9025506 w 12192528"/>
              <a:gd name="connsiteY1813" fmla="*/ 1105352 h 3912503"/>
              <a:gd name="connsiteX1814" fmla="*/ 9041718 w 12192528"/>
              <a:gd name="connsiteY1814" fmla="*/ 1100093 h 3912503"/>
              <a:gd name="connsiteX1815" fmla="*/ 9046778 w 12192528"/>
              <a:gd name="connsiteY1815" fmla="*/ 1098452 h 3912503"/>
              <a:gd name="connsiteX1816" fmla="*/ 9034686 w 12192528"/>
              <a:gd name="connsiteY1816" fmla="*/ 1083029 h 3912503"/>
              <a:gd name="connsiteX1817" fmla="*/ 9007281 w 12192528"/>
              <a:gd name="connsiteY1817" fmla="*/ 1081399 h 3912503"/>
              <a:gd name="connsiteX1818" fmla="*/ 11971024 w 12192528"/>
              <a:gd name="connsiteY1818" fmla="*/ 1080295 h 3912503"/>
              <a:gd name="connsiteX1819" fmla="*/ 11970808 w 12192528"/>
              <a:gd name="connsiteY1819" fmla="*/ 1080656 h 3912503"/>
              <a:gd name="connsiteX1820" fmla="*/ 11970556 w 12192528"/>
              <a:gd name="connsiteY1820" fmla="*/ 1080405 h 3912503"/>
              <a:gd name="connsiteX1821" fmla="*/ 4566882 w 12192528"/>
              <a:gd name="connsiteY1821" fmla="*/ 1057328 h 3912503"/>
              <a:gd name="connsiteX1822" fmla="*/ 4560676 w 12192528"/>
              <a:gd name="connsiteY1822" fmla="*/ 1058431 h 3912503"/>
              <a:gd name="connsiteX1823" fmla="*/ 4547437 w 12192528"/>
              <a:gd name="connsiteY1823" fmla="*/ 1062845 h 3912503"/>
              <a:gd name="connsiteX1824" fmla="*/ 4547437 w 12192528"/>
              <a:gd name="connsiteY1824" fmla="*/ 1058431 h 3912503"/>
              <a:gd name="connsiteX1825" fmla="*/ 4512129 w 12192528"/>
              <a:gd name="connsiteY1825" fmla="*/ 1076085 h 3912503"/>
              <a:gd name="connsiteX1826" fmla="*/ 4503304 w 12192528"/>
              <a:gd name="connsiteY1826" fmla="*/ 1076085 h 3912503"/>
              <a:gd name="connsiteX1827" fmla="*/ 4498889 w 12192528"/>
              <a:gd name="connsiteY1827" fmla="*/ 1076085 h 3912503"/>
              <a:gd name="connsiteX1828" fmla="*/ 4494475 w 12192528"/>
              <a:gd name="connsiteY1828" fmla="*/ 1076085 h 3912503"/>
              <a:gd name="connsiteX1829" fmla="*/ 4494477 w 12192528"/>
              <a:gd name="connsiteY1829" fmla="*/ 1080499 h 3912503"/>
              <a:gd name="connsiteX1830" fmla="*/ 4485649 w 12192528"/>
              <a:gd name="connsiteY1830" fmla="*/ 1080498 h 3912503"/>
              <a:gd name="connsiteX1831" fmla="*/ 4490065 w 12192528"/>
              <a:gd name="connsiteY1831" fmla="*/ 1071670 h 3912503"/>
              <a:gd name="connsiteX1832" fmla="*/ 4476823 w 12192528"/>
              <a:gd name="connsiteY1832" fmla="*/ 1076085 h 3912503"/>
              <a:gd name="connsiteX1833" fmla="*/ 4472409 w 12192528"/>
              <a:gd name="connsiteY1833" fmla="*/ 1076085 h 3912503"/>
              <a:gd name="connsiteX1834" fmla="*/ 4467995 w 12192528"/>
              <a:gd name="connsiteY1834" fmla="*/ 1076085 h 3912503"/>
              <a:gd name="connsiteX1835" fmla="*/ 4463584 w 12192528"/>
              <a:gd name="connsiteY1835" fmla="*/ 1076085 h 3912503"/>
              <a:gd name="connsiteX1836" fmla="*/ 4445930 w 12192528"/>
              <a:gd name="connsiteY1836" fmla="*/ 1080499 h 3912503"/>
              <a:gd name="connsiteX1837" fmla="*/ 4441516 w 12192528"/>
              <a:gd name="connsiteY1837" fmla="*/ 1084912 h 3912503"/>
              <a:gd name="connsiteX1838" fmla="*/ 4437102 w 12192528"/>
              <a:gd name="connsiteY1838" fmla="*/ 1084912 h 3912503"/>
              <a:gd name="connsiteX1839" fmla="*/ 4441516 w 12192528"/>
              <a:gd name="connsiteY1839" fmla="*/ 1084912 h 3912503"/>
              <a:gd name="connsiteX1840" fmla="*/ 4397383 w 12192528"/>
              <a:gd name="connsiteY1840" fmla="*/ 1098151 h 3912503"/>
              <a:gd name="connsiteX1841" fmla="*/ 4388557 w 12192528"/>
              <a:gd name="connsiteY1841" fmla="*/ 1098152 h 3912503"/>
              <a:gd name="connsiteX1842" fmla="*/ 4388556 w 12192528"/>
              <a:gd name="connsiteY1842" fmla="*/ 1102564 h 3912503"/>
              <a:gd name="connsiteX1843" fmla="*/ 4348838 w 12192528"/>
              <a:gd name="connsiteY1843" fmla="*/ 1115804 h 3912503"/>
              <a:gd name="connsiteX1844" fmla="*/ 4348838 w 12192528"/>
              <a:gd name="connsiteY1844" fmla="*/ 1120218 h 3912503"/>
              <a:gd name="connsiteX1845" fmla="*/ 4344424 w 12192528"/>
              <a:gd name="connsiteY1845" fmla="*/ 1120218 h 3912503"/>
              <a:gd name="connsiteX1846" fmla="*/ 4344424 w 12192528"/>
              <a:gd name="connsiteY1846" fmla="*/ 1115804 h 3912503"/>
              <a:gd name="connsiteX1847" fmla="*/ 4340009 w 12192528"/>
              <a:gd name="connsiteY1847" fmla="*/ 1115804 h 3912503"/>
              <a:gd name="connsiteX1848" fmla="*/ 4335598 w 12192528"/>
              <a:gd name="connsiteY1848" fmla="*/ 1120218 h 3912503"/>
              <a:gd name="connsiteX1849" fmla="*/ 4212024 w 12192528"/>
              <a:gd name="connsiteY1849" fmla="*/ 1159938 h 3912503"/>
              <a:gd name="connsiteX1850" fmla="*/ 4204720 w 12192528"/>
              <a:gd name="connsiteY1850" fmla="*/ 1160981 h 3912503"/>
              <a:gd name="connsiteX1851" fmla="*/ 4203153 w 12192528"/>
              <a:gd name="connsiteY1851" fmla="*/ 1182170 h 3912503"/>
              <a:gd name="connsiteX1852" fmla="*/ 4247332 w 12192528"/>
              <a:gd name="connsiteY1852" fmla="*/ 1164351 h 3912503"/>
              <a:gd name="connsiteX1853" fmla="*/ 4282636 w 12192528"/>
              <a:gd name="connsiteY1853" fmla="*/ 1146697 h 3912503"/>
              <a:gd name="connsiteX1854" fmla="*/ 4278222 w 12192528"/>
              <a:gd name="connsiteY1854" fmla="*/ 1151110 h 3912503"/>
              <a:gd name="connsiteX1855" fmla="*/ 4326770 w 12192528"/>
              <a:gd name="connsiteY1855" fmla="*/ 1133457 h 3912503"/>
              <a:gd name="connsiteX1856" fmla="*/ 4340009 w 12192528"/>
              <a:gd name="connsiteY1856" fmla="*/ 1133457 h 3912503"/>
              <a:gd name="connsiteX1857" fmla="*/ 4481236 w 12192528"/>
              <a:gd name="connsiteY1857" fmla="*/ 1089325 h 3912503"/>
              <a:gd name="connsiteX1858" fmla="*/ 4481236 w 12192528"/>
              <a:gd name="connsiteY1858" fmla="*/ 1093737 h 3912503"/>
              <a:gd name="connsiteX1859" fmla="*/ 4485649 w 12192528"/>
              <a:gd name="connsiteY1859" fmla="*/ 1093737 h 3912503"/>
              <a:gd name="connsiteX1860" fmla="*/ 4490063 w 12192528"/>
              <a:gd name="connsiteY1860" fmla="*/ 1089326 h 3912503"/>
              <a:gd name="connsiteX1861" fmla="*/ 4538609 w 12192528"/>
              <a:gd name="connsiteY1861" fmla="*/ 1076085 h 3912503"/>
              <a:gd name="connsiteX1862" fmla="*/ 4543022 w 12192528"/>
              <a:gd name="connsiteY1862" fmla="*/ 1076085 h 3912503"/>
              <a:gd name="connsiteX1863" fmla="*/ 4547437 w 12192528"/>
              <a:gd name="connsiteY1863" fmla="*/ 1076085 h 3912503"/>
              <a:gd name="connsiteX1864" fmla="*/ 4547437 w 12192528"/>
              <a:gd name="connsiteY1864" fmla="*/ 1071670 h 3912503"/>
              <a:gd name="connsiteX1865" fmla="*/ 4543022 w 12192528"/>
              <a:gd name="connsiteY1865" fmla="*/ 1071670 h 3912503"/>
              <a:gd name="connsiteX1866" fmla="*/ 4560677 w 12192528"/>
              <a:gd name="connsiteY1866" fmla="*/ 1067258 h 3912503"/>
              <a:gd name="connsiteX1867" fmla="*/ 4566882 w 12192528"/>
              <a:gd name="connsiteY1867" fmla="*/ 1057328 h 3912503"/>
              <a:gd name="connsiteX1868" fmla="*/ 1693947 w 12192528"/>
              <a:gd name="connsiteY1868" fmla="*/ 1052444 h 3912503"/>
              <a:gd name="connsiteX1869" fmla="*/ 1698471 w 12192528"/>
              <a:gd name="connsiteY1869" fmla="*/ 1054704 h 3912503"/>
              <a:gd name="connsiteX1870" fmla="*/ 1711537 w 12192528"/>
              <a:gd name="connsiteY1870" fmla="*/ 1060731 h 3912503"/>
              <a:gd name="connsiteX1871" fmla="*/ 1714049 w 12192528"/>
              <a:gd name="connsiteY1871" fmla="*/ 1062489 h 3912503"/>
              <a:gd name="connsiteX1872" fmla="*/ 1725107 w 12192528"/>
              <a:gd name="connsiteY1872" fmla="*/ 1075800 h 3912503"/>
              <a:gd name="connsiteX1873" fmla="*/ 1731891 w 12192528"/>
              <a:gd name="connsiteY1873" fmla="*/ 1098404 h 3912503"/>
              <a:gd name="connsiteX1874" fmla="*/ 1735158 w 12192528"/>
              <a:gd name="connsiteY1874" fmla="*/ 1106190 h 3912503"/>
              <a:gd name="connsiteX1875" fmla="*/ 1734403 w 12192528"/>
              <a:gd name="connsiteY1875" fmla="*/ 1117242 h 3912503"/>
              <a:gd name="connsiteX1876" fmla="*/ 1733399 w 12192528"/>
              <a:gd name="connsiteY1876" fmla="*/ 1126534 h 3912503"/>
              <a:gd name="connsiteX1877" fmla="*/ 1733650 w 12192528"/>
              <a:gd name="connsiteY1877" fmla="*/ 1130301 h 3912503"/>
              <a:gd name="connsiteX1878" fmla="*/ 1718825 w 12192528"/>
              <a:gd name="connsiteY1878" fmla="*/ 1147379 h 3912503"/>
              <a:gd name="connsiteX1879" fmla="*/ 1704753 w 12192528"/>
              <a:gd name="connsiteY1879" fmla="*/ 1155668 h 3912503"/>
              <a:gd name="connsiteX1880" fmla="*/ 1694198 w 12192528"/>
              <a:gd name="connsiteY1880" fmla="*/ 1169481 h 3912503"/>
              <a:gd name="connsiteX1881" fmla="*/ 1695706 w 12192528"/>
              <a:gd name="connsiteY1881" fmla="*/ 1172244 h 3912503"/>
              <a:gd name="connsiteX1882" fmla="*/ 1710533 w 12192528"/>
              <a:gd name="connsiteY1882" fmla="*/ 1189825 h 3912503"/>
              <a:gd name="connsiteX1883" fmla="*/ 1712541 w 12192528"/>
              <a:gd name="connsiteY1883" fmla="*/ 1193843 h 3912503"/>
              <a:gd name="connsiteX1884" fmla="*/ 1714552 w 12192528"/>
              <a:gd name="connsiteY1884" fmla="*/ 1206401 h 3912503"/>
              <a:gd name="connsiteX1885" fmla="*/ 1718070 w 12192528"/>
              <a:gd name="connsiteY1885" fmla="*/ 1220968 h 3912503"/>
              <a:gd name="connsiteX1886" fmla="*/ 1717819 w 12192528"/>
              <a:gd name="connsiteY1886" fmla="*/ 1226995 h 3912503"/>
              <a:gd name="connsiteX1887" fmla="*/ 1704502 w 12192528"/>
              <a:gd name="connsiteY1887" fmla="*/ 1259394 h 3912503"/>
              <a:gd name="connsiteX1888" fmla="*/ 1701987 w 12192528"/>
              <a:gd name="connsiteY1888" fmla="*/ 1261404 h 3912503"/>
              <a:gd name="connsiteX1889" fmla="*/ 1686660 w 12192528"/>
              <a:gd name="connsiteY1889" fmla="*/ 1268686 h 3912503"/>
              <a:gd name="connsiteX1890" fmla="*/ 1680128 w 12192528"/>
              <a:gd name="connsiteY1890" fmla="*/ 1270696 h 3912503"/>
              <a:gd name="connsiteX1891" fmla="*/ 1669070 w 12192528"/>
              <a:gd name="connsiteY1891" fmla="*/ 1273207 h 3912503"/>
              <a:gd name="connsiteX1892" fmla="*/ 1660778 w 12192528"/>
              <a:gd name="connsiteY1892" fmla="*/ 1280490 h 3912503"/>
              <a:gd name="connsiteX1893" fmla="*/ 1657009 w 12192528"/>
              <a:gd name="connsiteY1893" fmla="*/ 1281842 h 3912503"/>
              <a:gd name="connsiteX1894" fmla="*/ 1654747 w 12192528"/>
              <a:gd name="connsiteY1894" fmla="*/ 1278482 h 3912503"/>
              <a:gd name="connsiteX1895" fmla="*/ 1653994 w 12192528"/>
              <a:gd name="connsiteY1895" fmla="*/ 1275468 h 3912503"/>
              <a:gd name="connsiteX1896" fmla="*/ 1651732 w 12192528"/>
              <a:gd name="connsiteY1896" fmla="*/ 1271952 h 3912503"/>
              <a:gd name="connsiteX1897" fmla="*/ 1648465 w 12192528"/>
              <a:gd name="connsiteY1897" fmla="*/ 1274212 h 3912503"/>
              <a:gd name="connsiteX1898" fmla="*/ 1640927 w 12192528"/>
              <a:gd name="connsiteY1898" fmla="*/ 1272957 h 3912503"/>
              <a:gd name="connsiteX1899" fmla="*/ 1639420 w 12192528"/>
              <a:gd name="connsiteY1899" fmla="*/ 1269692 h 3912503"/>
              <a:gd name="connsiteX1900" fmla="*/ 1634896 w 12192528"/>
              <a:gd name="connsiteY1900" fmla="*/ 1267933 h 3912503"/>
              <a:gd name="connsiteX1901" fmla="*/ 1633137 w 12192528"/>
              <a:gd name="connsiteY1901" fmla="*/ 1272203 h 3912503"/>
              <a:gd name="connsiteX1902" fmla="*/ 1633561 w 12192528"/>
              <a:gd name="connsiteY1902" fmla="*/ 1276001 h 3912503"/>
              <a:gd name="connsiteX1903" fmla="*/ 1613922 w 12192528"/>
              <a:gd name="connsiteY1903" fmla="*/ 1256470 h 3912503"/>
              <a:gd name="connsiteX1904" fmla="*/ 1615045 w 12192528"/>
              <a:gd name="connsiteY1904" fmla="*/ 1254873 h 3912503"/>
              <a:gd name="connsiteX1905" fmla="*/ 1612783 w 12192528"/>
              <a:gd name="connsiteY1905" fmla="*/ 1250101 h 3912503"/>
              <a:gd name="connsiteX1906" fmla="*/ 1608260 w 12192528"/>
              <a:gd name="connsiteY1906" fmla="*/ 1248093 h 3912503"/>
              <a:gd name="connsiteX1907" fmla="*/ 1605245 w 12192528"/>
              <a:gd name="connsiteY1907" fmla="*/ 1242064 h 3912503"/>
              <a:gd name="connsiteX1908" fmla="*/ 1595445 w 12192528"/>
              <a:gd name="connsiteY1908" fmla="*/ 1222725 h 3912503"/>
              <a:gd name="connsiteX1909" fmla="*/ 1591927 w 12192528"/>
              <a:gd name="connsiteY1909" fmla="*/ 1219963 h 3912503"/>
              <a:gd name="connsiteX1910" fmla="*/ 1596702 w 12192528"/>
              <a:gd name="connsiteY1910" fmla="*/ 1216950 h 3912503"/>
              <a:gd name="connsiteX1911" fmla="*/ 1597456 w 12192528"/>
              <a:gd name="connsiteY1911" fmla="*/ 1216950 h 3912503"/>
              <a:gd name="connsiteX1912" fmla="*/ 1602229 w 12192528"/>
              <a:gd name="connsiteY1912" fmla="*/ 1208410 h 3912503"/>
              <a:gd name="connsiteX1913" fmla="*/ 1602733 w 12192528"/>
              <a:gd name="connsiteY1913" fmla="*/ 1196607 h 3912503"/>
              <a:gd name="connsiteX1914" fmla="*/ 1607005 w 12192528"/>
              <a:gd name="connsiteY1914" fmla="*/ 1180029 h 3912503"/>
              <a:gd name="connsiteX1915" fmla="*/ 1610773 w 12192528"/>
              <a:gd name="connsiteY1915" fmla="*/ 1175508 h 3912503"/>
              <a:gd name="connsiteX1916" fmla="*/ 1621076 w 12192528"/>
              <a:gd name="connsiteY1916" fmla="*/ 1162449 h 3912503"/>
              <a:gd name="connsiteX1917" fmla="*/ 1627106 w 12192528"/>
              <a:gd name="connsiteY1917" fmla="*/ 1160189 h 3912503"/>
              <a:gd name="connsiteX1918" fmla="*/ 1651984 w 12192528"/>
              <a:gd name="connsiteY1918" fmla="*/ 1152905 h 3912503"/>
              <a:gd name="connsiteX1919" fmla="*/ 1651984 w 12192528"/>
              <a:gd name="connsiteY1919" fmla="*/ 1147379 h 3912503"/>
              <a:gd name="connsiteX1920" fmla="*/ 1645451 w 12192528"/>
              <a:gd name="connsiteY1920" fmla="*/ 1146626 h 3912503"/>
              <a:gd name="connsiteX1921" fmla="*/ 1640927 w 12192528"/>
              <a:gd name="connsiteY1921" fmla="*/ 1149639 h 3912503"/>
              <a:gd name="connsiteX1922" fmla="*/ 1636655 w 12192528"/>
              <a:gd name="connsiteY1922" fmla="*/ 1150143 h 3912503"/>
              <a:gd name="connsiteX1923" fmla="*/ 1637410 w 12192528"/>
              <a:gd name="connsiteY1923" fmla="*/ 1145622 h 3912503"/>
              <a:gd name="connsiteX1924" fmla="*/ 1640927 w 12192528"/>
              <a:gd name="connsiteY1924" fmla="*/ 1142357 h 3912503"/>
              <a:gd name="connsiteX1925" fmla="*/ 1642184 w 12192528"/>
              <a:gd name="connsiteY1925" fmla="*/ 1134571 h 3912503"/>
              <a:gd name="connsiteX1926" fmla="*/ 1635399 w 12192528"/>
              <a:gd name="connsiteY1926" fmla="*/ 1136078 h 3912503"/>
              <a:gd name="connsiteX1927" fmla="*/ 1630122 w 12192528"/>
              <a:gd name="connsiteY1927" fmla="*/ 1140347 h 3912503"/>
              <a:gd name="connsiteX1928" fmla="*/ 1625095 w 12192528"/>
              <a:gd name="connsiteY1928" fmla="*/ 1137082 h 3912503"/>
              <a:gd name="connsiteX1929" fmla="*/ 1630625 w 12192528"/>
              <a:gd name="connsiteY1929" fmla="*/ 1122767 h 3912503"/>
              <a:gd name="connsiteX1930" fmla="*/ 1630625 w 12192528"/>
              <a:gd name="connsiteY1930" fmla="*/ 1108953 h 3912503"/>
              <a:gd name="connsiteX1931" fmla="*/ 1625599 w 12192528"/>
              <a:gd name="connsiteY1931" fmla="*/ 1103428 h 3912503"/>
              <a:gd name="connsiteX1932" fmla="*/ 1624091 w 12192528"/>
              <a:gd name="connsiteY1932" fmla="*/ 1100664 h 3912503"/>
              <a:gd name="connsiteX1933" fmla="*/ 1626855 w 12192528"/>
              <a:gd name="connsiteY1933" fmla="*/ 1099158 h 3912503"/>
              <a:gd name="connsiteX1934" fmla="*/ 1632133 w 12192528"/>
              <a:gd name="connsiteY1934" fmla="*/ 1094135 h 3912503"/>
              <a:gd name="connsiteX1935" fmla="*/ 1638665 w 12192528"/>
              <a:gd name="connsiteY1935" fmla="*/ 1082833 h 3912503"/>
              <a:gd name="connsiteX1936" fmla="*/ 1638916 w 12192528"/>
              <a:gd name="connsiteY1936" fmla="*/ 1076806 h 3912503"/>
              <a:gd name="connsiteX1937" fmla="*/ 1636906 w 12192528"/>
              <a:gd name="connsiteY1937" fmla="*/ 1072788 h 3912503"/>
              <a:gd name="connsiteX1938" fmla="*/ 1641177 w 12192528"/>
              <a:gd name="connsiteY1938" fmla="*/ 1070025 h 3912503"/>
              <a:gd name="connsiteX1939" fmla="*/ 1644696 w 12192528"/>
              <a:gd name="connsiteY1939" fmla="*/ 1069521 h 3912503"/>
              <a:gd name="connsiteX1940" fmla="*/ 1648968 w 12192528"/>
              <a:gd name="connsiteY1940" fmla="*/ 1059225 h 3912503"/>
              <a:gd name="connsiteX1941" fmla="*/ 1647712 w 12192528"/>
              <a:gd name="connsiteY1941" fmla="*/ 1057216 h 3912503"/>
              <a:gd name="connsiteX1942" fmla="*/ 1647964 w 12192528"/>
              <a:gd name="connsiteY1942" fmla="*/ 1052695 h 3912503"/>
              <a:gd name="connsiteX1943" fmla="*/ 1651984 w 12192528"/>
              <a:gd name="connsiteY1943" fmla="*/ 1053699 h 3912503"/>
              <a:gd name="connsiteX1944" fmla="*/ 1654496 w 12192528"/>
              <a:gd name="connsiteY1944" fmla="*/ 1056965 h 3912503"/>
              <a:gd name="connsiteX1945" fmla="*/ 1659522 w 12192528"/>
              <a:gd name="connsiteY1945" fmla="*/ 1057718 h 3912503"/>
              <a:gd name="connsiteX1946" fmla="*/ 1674850 w 12192528"/>
              <a:gd name="connsiteY1946" fmla="*/ 1053699 h 3912503"/>
              <a:gd name="connsiteX1947" fmla="*/ 1693947 w 12192528"/>
              <a:gd name="connsiteY1947" fmla="*/ 1052444 h 3912503"/>
              <a:gd name="connsiteX1948" fmla="*/ 7349352 w 12192528"/>
              <a:gd name="connsiteY1948" fmla="*/ 1039895 h 3912503"/>
              <a:gd name="connsiteX1949" fmla="*/ 7361073 w 12192528"/>
              <a:gd name="connsiteY1949" fmla="*/ 1050780 h 3912503"/>
              <a:gd name="connsiteX1950" fmla="*/ 7363413 w 12192528"/>
              <a:gd name="connsiteY1950" fmla="*/ 1055055 h 3912503"/>
              <a:gd name="connsiteX1951" fmla="*/ 7370829 w 12192528"/>
              <a:gd name="connsiteY1951" fmla="*/ 1064385 h 3912503"/>
              <a:gd name="connsiteX1952" fmla="*/ 7376689 w 12192528"/>
              <a:gd name="connsiteY1952" fmla="*/ 1067883 h 3912503"/>
              <a:gd name="connsiteX1953" fmla="*/ 7382160 w 12192528"/>
              <a:gd name="connsiteY1953" fmla="*/ 1083432 h 3912503"/>
              <a:gd name="connsiteX1954" fmla="*/ 7378638 w 12192528"/>
              <a:gd name="connsiteY1954" fmla="*/ 1096649 h 3912503"/>
              <a:gd name="connsiteX1955" fmla="*/ 7367704 w 12192528"/>
              <a:gd name="connsiteY1955" fmla="*/ 1105201 h 3912503"/>
              <a:gd name="connsiteX1956" fmla="*/ 7366532 w 12192528"/>
              <a:gd name="connsiteY1956" fmla="*/ 1106756 h 3912503"/>
              <a:gd name="connsiteX1957" fmla="*/ 7358727 w 12192528"/>
              <a:gd name="connsiteY1957" fmla="*/ 1106756 h 3912503"/>
              <a:gd name="connsiteX1958" fmla="*/ 7350130 w 12192528"/>
              <a:gd name="connsiteY1958" fmla="*/ 1102480 h 3912503"/>
              <a:gd name="connsiteX1959" fmla="*/ 7344276 w 12192528"/>
              <a:gd name="connsiteY1959" fmla="*/ 1095483 h 3912503"/>
              <a:gd name="connsiteX1960" fmla="*/ 7339978 w 12192528"/>
              <a:gd name="connsiteY1960" fmla="*/ 1084987 h 3912503"/>
              <a:gd name="connsiteX1961" fmla="*/ 7334513 w 12192528"/>
              <a:gd name="connsiteY1961" fmla="*/ 1074880 h 3912503"/>
              <a:gd name="connsiteX1962" fmla="*/ 7325926 w 12192528"/>
              <a:gd name="connsiteY1962" fmla="*/ 1066329 h 3912503"/>
              <a:gd name="connsiteX1963" fmla="*/ 7325926 w 12192528"/>
              <a:gd name="connsiteY1963" fmla="*/ 1052334 h 3912503"/>
              <a:gd name="connsiteX1964" fmla="*/ 7330610 w 12192528"/>
              <a:gd name="connsiteY1964" fmla="*/ 1046892 h 3912503"/>
              <a:gd name="connsiteX1965" fmla="*/ 7339202 w 12192528"/>
              <a:gd name="connsiteY1965" fmla="*/ 1041450 h 3912503"/>
              <a:gd name="connsiteX1966" fmla="*/ 7349352 w 12192528"/>
              <a:gd name="connsiteY1966" fmla="*/ 1039895 h 3912503"/>
              <a:gd name="connsiteX1967" fmla="*/ 11847267 w 12192528"/>
              <a:gd name="connsiteY1967" fmla="*/ 1037896 h 3912503"/>
              <a:gd name="connsiteX1968" fmla="*/ 11862621 w 12192528"/>
              <a:gd name="connsiteY1968" fmla="*/ 1041696 h 3912503"/>
              <a:gd name="connsiteX1969" fmla="*/ 11916978 w 12192528"/>
              <a:gd name="connsiteY1969" fmla="*/ 1084039 h 3912503"/>
              <a:gd name="connsiteX1970" fmla="*/ 11920240 w 12192528"/>
              <a:gd name="connsiteY1970" fmla="*/ 1110097 h 3912503"/>
              <a:gd name="connsiteX1971" fmla="*/ 11921326 w 12192528"/>
              <a:gd name="connsiteY1971" fmla="*/ 1120954 h 3912503"/>
              <a:gd name="connsiteX1972" fmla="*/ 11926762 w 12192528"/>
              <a:gd name="connsiteY1972" fmla="*/ 1150269 h 3912503"/>
              <a:gd name="connsiteX1973" fmla="*/ 11930023 w 12192528"/>
              <a:gd name="connsiteY1973" fmla="*/ 1164383 h 3912503"/>
              <a:gd name="connsiteX1974" fmla="*/ 11928936 w 12192528"/>
              <a:gd name="connsiteY1974" fmla="*/ 1182841 h 3912503"/>
              <a:gd name="connsiteX1975" fmla="*/ 11921326 w 12192528"/>
              <a:gd name="connsiteY1975" fmla="*/ 1201298 h 3912503"/>
              <a:gd name="connsiteX1976" fmla="*/ 11897409 w 12192528"/>
              <a:gd name="connsiteY1976" fmla="*/ 1245813 h 3912503"/>
              <a:gd name="connsiteX1977" fmla="*/ 11820226 w 12192528"/>
              <a:gd name="connsiteY1977" fmla="*/ 1294670 h 3912503"/>
              <a:gd name="connsiteX1978" fmla="*/ 11812615 w 12192528"/>
              <a:gd name="connsiteY1978" fmla="*/ 1292499 h 3912503"/>
              <a:gd name="connsiteX1979" fmla="*/ 11777828 w 12192528"/>
              <a:gd name="connsiteY1979" fmla="*/ 1288156 h 3912503"/>
              <a:gd name="connsiteX1980" fmla="*/ 11769130 w 12192528"/>
              <a:gd name="connsiteY1980" fmla="*/ 1283814 h 3912503"/>
              <a:gd name="connsiteX1981" fmla="*/ 11744125 w 12192528"/>
              <a:gd name="connsiteY1981" fmla="*/ 1276213 h 3912503"/>
              <a:gd name="connsiteX1982" fmla="*/ 11731080 w 12192528"/>
              <a:gd name="connsiteY1982" fmla="*/ 1270784 h 3912503"/>
              <a:gd name="connsiteX1983" fmla="*/ 11723470 w 12192528"/>
              <a:gd name="connsiteY1983" fmla="*/ 1255584 h 3912503"/>
              <a:gd name="connsiteX1984" fmla="*/ 11694119 w 12192528"/>
              <a:gd name="connsiteY1984" fmla="*/ 1216498 h 3912503"/>
              <a:gd name="connsiteX1985" fmla="*/ 11681074 w 12192528"/>
              <a:gd name="connsiteY1985" fmla="*/ 1190441 h 3912503"/>
              <a:gd name="connsiteX1986" fmla="*/ 11681074 w 12192528"/>
              <a:gd name="connsiteY1986" fmla="*/ 1177412 h 3912503"/>
              <a:gd name="connsiteX1987" fmla="*/ 11691945 w 12192528"/>
              <a:gd name="connsiteY1987" fmla="*/ 1148097 h 3912503"/>
              <a:gd name="connsiteX1988" fmla="*/ 11707164 w 12192528"/>
              <a:gd name="connsiteY1988" fmla="*/ 1100325 h 3912503"/>
              <a:gd name="connsiteX1989" fmla="*/ 11720209 w 12192528"/>
              <a:gd name="connsiteY1989" fmla="*/ 1082954 h 3912503"/>
              <a:gd name="connsiteX1990" fmla="*/ 11740864 w 12192528"/>
              <a:gd name="connsiteY1990" fmla="*/ 1065581 h 3912503"/>
              <a:gd name="connsiteX1991" fmla="*/ 11759346 w 12192528"/>
              <a:gd name="connsiteY1991" fmla="*/ 1055810 h 3912503"/>
              <a:gd name="connsiteX1992" fmla="*/ 11827836 w 12192528"/>
              <a:gd name="connsiteY1992" fmla="*/ 1040609 h 3912503"/>
              <a:gd name="connsiteX1993" fmla="*/ 11847267 w 12192528"/>
              <a:gd name="connsiteY1993" fmla="*/ 1037896 h 3912503"/>
              <a:gd name="connsiteX1994" fmla="*/ 3112015 w 12192528"/>
              <a:gd name="connsiteY1994" fmla="*/ 1034215 h 3912503"/>
              <a:gd name="connsiteX1995" fmla="*/ 3084844 w 12192528"/>
              <a:gd name="connsiteY1995" fmla="*/ 1059412 h 3912503"/>
              <a:gd name="connsiteX1996" fmla="*/ 3027532 w 12192528"/>
              <a:gd name="connsiteY1996" fmla="*/ 1109347 h 3912503"/>
              <a:gd name="connsiteX1997" fmla="*/ 3017812 w 12192528"/>
              <a:gd name="connsiteY1997" fmla="*/ 1121249 h 3912503"/>
              <a:gd name="connsiteX1998" fmla="*/ 3073376 w 12192528"/>
              <a:gd name="connsiteY1998" fmla="*/ 1117080 h 3912503"/>
              <a:gd name="connsiteX1999" fmla="*/ 3103561 w 12192528"/>
              <a:gd name="connsiteY1999" fmla="*/ 1115679 h 3912503"/>
              <a:gd name="connsiteX2000" fmla="*/ 3130140 w 12192528"/>
              <a:gd name="connsiteY2000" fmla="*/ 1120962 h 3912503"/>
              <a:gd name="connsiteX2001" fmla="*/ 3132652 w 12192528"/>
              <a:gd name="connsiteY2001" fmla="*/ 1119370 h 3912503"/>
              <a:gd name="connsiteX2002" fmla="*/ 3121223 w 12192528"/>
              <a:gd name="connsiteY2002" fmla="*/ 1072209 h 3912503"/>
              <a:gd name="connsiteX2003" fmla="*/ 6719746 w 12192528"/>
              <a:gd name="connsiteY2003" fmla="*/ 1025507 h 3912503"/>
              <a:gd name="connsiteX2004" fmla="*/ 6723785 w 12192528"/>
              <a:gd name="connsiteY2004" fmla="*/ 1028671 h 3912503"/>
              <a:gd name="connsiteX2005" fmla="*/ 6720182 w 12192528"/>
              <a:gd name="connsiteY2005" fmla="*/ 1028671 h 3912503"/>
              <a:gd name="connsiteX2006" fmla="*/ 6716582 w 12192528"/>
              <a:gd name="connsiteY2006" fmla="*/ 1028671 h 3912503"/>
              <a:gd name="connsiteX2007" fmla="*/ 12192528 w 12192528"/>
              <a:gd name="connsiteY2007" fmla="*/ 991088 h 3912503"/>
              <a:gd name="connsiteX2008" fmla="*/ 12192528 w 12192528"/>
              <a:gd name="connsiteY2008" fmla="*/ 998161 h 3912503"/>
              <a:gd name="connsiteX2009" fmla="*/ 12191272 w 12192528"/>
              <a:gd name="connsiteY2009" fmla="*/ 994787 h 3912503"/>
              <a:gd name="connsiteX2010" fmla="*/ 10459204 w 12192528"/>
              <a:gd name="connsiteY2010" fmla="*/ 986789 h 3912503"/>
              <a:gd name="connsiteX2011" fmla="*/ 10458834 w 12192528"/>
              <a:gd name="connsiteY2011" fmla="*/ 991796 h 3912503"/>
              <a:gd name="connsiteX2012" fmla="*/ 10464841 w 12192528"/>
              <a:gd name="connsiteY2012" fmla="*/ 989354 h 3912503"/>
              <a:gd name="connsiteX2013" fmla="*/ 12076946 w 12192528"/>
              <a:gd name="connsiteY2013" fmla="*/ 955420 h 3912503"/>
              <a:gd name="connsiteX2014" fmla="*/ 12080627 w 12192528"/>
              <a:gd name="connsiteY2014" fmla="*/ 957259 h 3912503"/>
              <a:gd name="connsiteX2015" fmla="*/ 12091259 w 12192528"/>
              <a:gd name="connsiteY2015" fmla="*/ 962164 h 3912503"/>
              <a:gd name="connsiteX2016" fmla="*/ 12093304 w 12192528"/>
              <a:gd name="connsiteY2016" fmla="*/ 963595 h 3912503"/>
              <a:gd name="connsiteX2017" fmla="*/ 12102301 w 12192528"/>
              <a:gd name="connsiteY2017" fmla="*/ 974427 h 3912503"/>
              <a:gd name="connsiteX2018" fmla="*/ 12107822 w 12192528"/>
              <a:gd name="connsiteY2018" fmla="*/ 992821 h 3912503"/>
              <a:gd name="connsiteX2019" fmla="*/ 12110480 w 12192528"/>
              <a:gd name="connsiteY2019" fmla="*/ 999157 h 3912503"/>
              <a:gd name="connsiteX2020" fmla="*/ 12109867 w 12192528"/>
              <a:gd name="connsiteY2020" fmla="*/ 1008149 h 3912503"/>
              <a:gd name="connsiteX2021" fmla="*/ 12109050 w 12192528"/>
              <a:gd name="connsiteY2021" fmla="*/ 1015711 h 3912503"/>
              <a:gd name="connsiteX2022" fmla="*/ 12109254 w 12192528"/>
              <a:gd name="connsiteY2022" fmla="*/ 1018777 h 3912503"/>
              <a:gd name="connsiteX2023" fmla="*/ 12097189 w 12192528"/>
              <a:gd name="connsiteY2023" fmla="*/ 1032675 h 3912503"/>
              <a:gd name="connsiteX2024" fmla="*/ 12085738 w 12192528"/>
              <a:gd name="connsiteY2024" fmla="*/ 1039419 h 3912503"/>
              <a:gd name="connsiteX2025" fmla="*/ 12077151 w 12192528"/>
              <a:gd name="connsiteY2025" fmla="*/ 1050660 h 3912503"/>
              <a:gd name="connsiteX2026" fmla="*/ 12078377 w 12192528"/>
              <a:gd name="connsiteY2026" fmla="*/ 1052908 h 3912503"/>
              <a:gd name="connsiteX2027" fmla="*/ 12090441 w 12192528"/>
              <a:gd name="connsiteY2027" fmla="*/ 1067214 h 3912503"/>
              <a:gd name="connsiteX2028" fmla="*/ 12092077 w 12192528"/>
              <a:gd name="connsiteY2028" fmla="*/ 1070484 h 3912503"/>
              <a:gd name="connsiteX2029" fmla="*/ 12093712 w 12192528"/>
              <a:gd name="connsiteY2029" fmla="*/ 1080704 h 3912503"/>
              <a:gd name="connsiteX2030" fmla="*/ 12096576 w 12192528"/>
              <a:gd name="connsiteY2030" fmla="*/ 1092558 h 3912503"/>
              <a:gd name="connsiteX2031" fmla="*/ 12096371 w 12192528"/>
              <a:gd name="connsiteY2031" fmla="*/ 1097462 h 3912503"/>
              <a:gd name="connsiteX2032" fmla="*/ 12085534 w 12192528"/>
              <a:gd name="connsiteY2032" fmla="*/ 1123828 h 3912503"/>
              <a:gd name="connsiteX2033" fmla="*/ 12083488 w 12192528"/>
              <a:gd name="connsiteY2033" fmla="*/ 1125462 h 3912503"/>
              <a:gd name="connsiteX2034" fmla="*/ 12071016 w 12192528"/>
              <a:gd name="connsiteY2034" fmla="*/ 1131390 h 3912503"/>
              <a:gd name="connsiteX2035" fmla="*/ 12065699 w 12192528"/>
              <a:gd name="connsiteY2035" fmla="*/ 1133024 h 3912503"/>
              <a:gd name="connsiteX2036" fmla="*/ 12056703 w 12192528"/>
              <a:gd name="connsiteY2036" fmla="*/ 1135069 h 3912503"/>
              <a:gd name="connsiteX2037" fmla="*/ 12049954 w 12192528"/>
              <a:gd name="connsiteY2037" fmla="*/ 1140995 h 3912503"/>
              <a:gd name="connsiteX2038" fmla="*/ 12046887 w 12192528"/>
              <a:gd name="connsiteY2038" fmla="*/ 1142094 h 3912503"/>
              <a:gd name="connsiteX2039" fmla="*/ 12045047 w 12192528"/>
              <a:gd name="connsiteY2039" fmla="*/ 1139361 h 3912503"/>
              <a:gd name="connsiteX2040" fmla="*/ 12044434 w 12192528"/>
              <a:gd name="connsiteY2040" fmla="*/ 1136907 h 3912503"/>
              <a:gd name="connsiteX2041" fmla="*/ 12042592 w 12192528"/>
              <a:gd name="connsiteY2041" fmla="*/ 1134046 h 3912503"/>
              <a:gd name="connsiteX2042" fmla="*/ 12039936 w 12192528"/>
              <a:gd name="connsiteY2042" fmla="*/ 1135885 h 3912503"/>
              <a:gd name="connsiteX2043" fmla="*/ 12033800 w 12192528"/>
              <a:gd name="connsiteY2043" fmla="*/ 1134864 h 3912503"/>
              <a:gd name="connsiteX2044" fmla="*/ 12032574 w 12192528"/>
              <a:gd name="connsiteY2044" fmla="*/ 1132206 h 3912503"/>
              <a:gd name="connsiteX2045" fmla="*/ 12028893 w 12192528"/>
              <a:gd name="connsiteY2045" fmla="*/ 1130776 h 3912503"/>
              <a:gd name="connsiteX2046" fmla="*/ 12027461 w 12192528"/>
              <a:gd name="connsiteY2046" fmla="*/ 1134251 h 3912503"/>
              <a:gd name="connsiteX2047" fmla="*/ 12027805 w 12192528"/>
              <a:gd name="connsiteY2047" fmla="*/ 1137341 h 3912503"/>
              <a:gd name="connsiteX2048" fmla="*/ 12011823 w 12192528"/>
              <a:gd name="connsiteY2048" fmla="*/ 1121447 h 3912503"/>
              <a:gd name="connsiteX2049" fmla="*/ 12012739 w 12192528"/>
              <a:gd name="connsiteY2049" fmla="*/ 1120149 h 3912503"/>
              <a:gd name="connsiteX2050" fmla="*/ 12010898 w 12192528"/>
              <a:gd name="connsiteY2050" fmla="*/ 1116266 h 3912503"/>
              <a:gd name="connsiteX2051" fmla="*/ 12007217 w 12192528"/>
              <a:gd name="connsiteY2051" fmla="*/ 1114630 h 3912503"/>
              <a:gd name="connsiteX2052" fmla="*/ 12004764 w 12192528"/>
              <a:gd name="connsiteY2052" fmla="*/ 1109725 h 3912503"/>
              <a:gd name="connsiteX2053" fmla="*/ 11996789 w 12192528"/>
              <a:gd name="connsiteY2053" fmla="*/ 1093988 h 3912503"/>
              <a:gd name="connsiteX2054" fmla="*/ 11993926 w 12192528"/>
              <a:gd name="connsiteY2054" fmla="*/ 1091740 h 3912503"/>
              <a:gd name="connsiteX2055" fmla="*/ 11997811 w 12192528"/>
              <a:gd name="connsiteY2055" fmla="*/ 1089287 h 3912503"/>
              <a:gd name="connsiteX2056" fmla="*/ 11998424 w 12192528"/>
              <a:gd name="connsiteY2056" fmla="*/ 1089287 h 3912503"/>
              <a:gd name="connsiteX2057" fmla="*/ 12002310 w 12192528"/>
              <a:gd name="connsiteY2057" fmla="*/ 1082338 h 3912503"/>
              <a:gd name="connsiteX2058" fmla="*/ 12002719 w 12192528"/>
              <a:gd name="connsiteY2058" fmla="*/ 1072733 h 3912503"/>
              <a:gd name="connsiteX2059" fmla="*/ 12006195 w 12192528"/>
              <a:gd name="connsiteY2059" fmla="*/ 1059244 h 3912503"/>
              <a:gd name="connsiteX2060" fmla="*/ 12009263 w 12192528"/>
              <a:gd name="connsiteY2060" fmla="*/ 1055565 h 3912503"/>
              <a:gd name="connsiteX2061" fmla="*/ 12017646 w 12192528"/>
              <a:gd name="connsiteY2061" fmla="*/ 1044938 h 3912503"/>
              <a:gd name="connsiteX2062" fmla="*/ 12022553 w 12192528"/>
              <a:gd name="connsiteY2062" fmla="*/ 1043098 h 3912503"/>
              <a:gd name="connsiteX2063" fmla="*/ 12042797 w 12192528"/>
              <a:gd name="connsiteY2063" fmla="*/ 1037171 h 3912503"/>
              <a:gd name="connsiteX2064" fmla="*/ 12042797 w 12192528"/>
              <a:gd name="connsiteY2064" fmla="*/ 1032675 h 3912503"/>
              <a:gd name="connsiteX2065" fmla="*/ 12037480 w 12192528"/>
              <a:gd name="connsiteY2065" fmla="*/ 1032061 h 3912503"/>
              <a:gd name="connsiteX2066" fmla="*/ 12033800 w 12192528"/>
              <a:gd name="connsiteY2066" fmla="*/ 1034515 h 3912503"/>
              <a:gd name="connsiteX2067" fmla="*/ 12030324 w 12192528"/>
              <a:gd name="connsiteY2067" fmla="*/ 1034922 h 3912503"/>
              <a:gd name="connsiteX2068" fmla="*/ 12030936 w 12192528"/>
              <a:gd name="connsiteY2068" fmla="*/ 1031244 h 3912503"/>
              <a:gd name="connsiteX2069" fmla="*/ 12033800 w 12192528"/>
              <a:gd name="connsiteY2069" fmla="*/ 1028587 h 3912503"/>
              <a:gd name="connsiteX2070" fmla="*/ 12034822 w 12192528"/>
              <a:gd name="connsiteY2070" fmla="*/ 1022252 h 3912503"/>
              <a:gd name="connsiteX2071" fmla="*/ 12029302 w 12192528"/>
              <a:gd name="connsiteY2071" fmla="*/ 1023477 h 3912503"/>
              <a:gd name="connsiteX2072" fmla="*/ 12025007 w 12192528"/>
              <a:gd name="connsiteY2072" fmla="*/ 1026952 h 3912503"/>
              <a:gd name="connsiteX2073" fmla="*/ 12020918 w 12192528"/>
              <a:gd name="connsiteY2073" fmla="*/ 1024295 h 3912503"/>
              <a:gd name="connsiteX2074" fmla="*/ 12025417 w 12192528"/>
              <a:gd name="connsiteY2074" fmla="*/ 1012645 h 3912503"/>
              <a:gd name="connsiteX2075" fmla="*/ 12025417 w 12192528"/>
              <a:gd name="connsiteY2075" fmla="*/ 1001405 h 3912503"/>
              <a:gd name="connsiteX2076" fmla="*/ 12021327 w 12192528"/>
              <a:gd name="connsiteY2076" fmla="*/ 996908 h 3912503"/>
              <a:gd name="connsiteX2077" fmla="*/ 12020099 w 12192528"/>
              <a:gd name="connsiteY2077" fmla="*/ 994661 h 3912503"/>
              <a:gd name="connsiteX2078" fmla="*/ 12022349 w 12192528"/>
              <a:gd name="connsiteY2078" fmla="*/ 993434 h 3912503"/>
              <a:gd name="connsiteX2079" fmla="*/ 12026643 w 12192528"/>
              <a:gd name="connsiteY2079" fmla="*/ 989346 h 3912503"/>
              <a:gd name="connsiteX2080" fmla="*/ 12031960 w 12192528"/>
              <a:gd name="connsiteY2080" fmla="*/ 980149 h 3912503"/>
              <a:gd name="connsiteX2081" fmla="*/ 12032165 w 12192528"/>
              <a:gd name="connsiteY2081" fmla="*/ 975245 h 3912503"/>
              <a:gd name="connsiteX2082" fmla="*/ 12030528 w 12192528"/>
              <a:gd name="connsiteY2082" fmla="*/ 971975 h 3912503"/>
              <a:gd name="connsiteX2083" fmla="*/ 12034004 w 12192528"/>
              <a:gd name="connsiteY2083" fmla="*/ 969726 h 3912503"/>
              <a:gd name="connsiteX2084" fmla="*/ 12036868 w 12192528"/>
              <a:gd name="connsiteY2084" fmla="*/ 969317 h 3912503"/>
              <a:gd name="connsiteX2085" fmla="*/ 12040344 w 12192528"/>
              <a:gd name="connsiteY2085" fmla="*/ 960937 h 3912503"/>
              <a:gd name="connsiteX2086" fmla="*/ 12039322 w 12192528"/>
              <a:gd name="connsiteY2086" fmla="*/ 959303 h 3912503"/>
              <a:gd name="connsiteX2087" fmla="*/ 12039525 w 12192528"/>
              <a:gd name="connsiteY2087" fmla="*/ 955624 h 3912503"/>
              <a:gd name="connsiteX2088" fmla="*/ 12042797 w 12192528"/>
              <a:gd name="connsiteY2088" fmla="*/ 956442 h 3912503"/>
              <a:gd name="connsiteX2089" fmla="*/ 12044842 w 12192528"/>
              <a:gd name="connsiteY2089" fmla="*/ 959099 h 3912503"/>
              <a:gd name="connsiteX2090" fmla="*/ 12048931 w 12192528"/>
              <a:gd name="connsiteY2090" fmla="*/ 959712 h 3912503"/>
              <a:gd name="connsiteX2091" fmla="*/ 12061405 w 12192528"/>
              <a:gd name="connsiteY2091" fmla="*/ 956442 h 3912503"/>
              <a:gd name="connsiteX2092" fmla="*/ 12076946 w 12192528"/>
              <a:gd name="connsiteY2092" fmla="*/ 955420 h 3912503"/>
              <a:gd name="connsiteX2093" fmla="*/ 2111583 w 12192528"/>
              <a:gd name="connsiteY2093" fmla="*/ 948085 h 3912503"/>
              <a:gd name="connsiteX2094" fmla="*/ 2124333 w 12192528"/>
              <a:gd name="connsiteY2094" fmla="*/ 948423 h 3912503"/>
              <a:gd name="connsiteX2095" fmla="*/ 2136697 w 12192528"/>
              <a:gd name="connsiteY2095" fmla="*/ 948809 h 3912503"/>
              <a:gd name="connsiteX2096" fmla="*/ 2156016 w 12192528"/>
              <a:gd name="connsiteY2096" fmla="*/ 963857 h 3912503"/>
              <a:gd name="connsiteX2097" fmla="*/ 2157175 w 12192528"/>
              <a:gd name="connsiteY2097" fmla="*/ 973119 h 3912503"/>
              <a:gd name="connsiteX2098" fmla="*/ 2157561 w 12192528"/>
              <a:gd name="connsiteY2098" fmla="*/ 976977 h 3912503"/>
              <a:gd name="connsiteX2099" fmla="*/ 2159492 w 12192528"/>
              <a:gd name="connsiteY2099" fmla="*/ 987396 h 3912503"/>
              <a:gd name="connsiteX2100" fmla="*/ 2160652 w 12192528"/>
              <a:gd name="connsiteY2100" fmla="*/ 992413 h 3912503"/>
              <a:gd name="connsiteX2101" fmla="*/ 2160265 w 12192528"/>
              <a:gd name="connsiteY2101" fmla="*/ 998973 h 3912503"/>
              <a:gd name="connsiteX2102" fmla="*/ 2157561 w 12192528"/>
              <a:gd name="connsiteY2102" fmla="*/ 1005533 h 3912503"/>
              <a:gd name="connsiteX2103" fmla="*/ 2149061 w 12192528"/>
              <a:gd name="connsiteY2103" fmla="*/ 1021354 h 3912503"/>
              <a:gd name="connsiteX2104" fmla="*/ 2121628 w 12192528"/>
              <a:gd name="connsiteY2104" fmla="*/ 1038718 h 3912503"/>
              <a:gd name="connsiteX2105" fmla="*/ 2118924 w 12192528"/>
              <a:gd name="connsiteY2105" fmla="*/ 1037946 h 3912503"/>
              <a:gd name="connsiteX2106" fmla="*/ 2106560 w 12192528"/>
              <a:gd name="connsiteY2106" fmla="*/ 1036402 h 3912503"/>
              <a:gd name="connsiteX2107" fmla="*/ 2103469 w 12192528"/>
              <a:gd name="connsiteY2107" fmla="*/ 1034859 h 3912503"/>
              <a:gd name="connsiteX2108" fmla="*/ 2094582 w 12192528"/>
              <a:gd name="connsiteY2108" fmla="*/ 1032158 h 3912503"/>
              <a:gd name="connsiteX2109" fmla="*/ 2089946 w 12192528"/>
              <a:gd name="connsiteY2109" fmla="*/ 1030229 h 3912503"/>
              <a:gd name="connsiteX2110" fmla="*/ 2087241 w 12192528"/>
              <a:gd name="connsiteY2110" fmla="*/ 1024826 h 3912503"/>
              <a:gd name="connsiteX2111" fmla="*/ 2076810 w 12192528"/>
              <a:gd name="connsiteY2111" fmla="*/ 1010934 h 3912503"/>
              <a:gd name="connsiteX2112" fmla="*/ 2072173 w 12192528"/>
              <a:gd name="connsiteY2112" fmla="*/ 1001673 h 3912503"/>
              <a:gd name="connsiteX2113" fmla="*/ 2072173 w 12192528"/>
              <a:gd name="connsiteY2113" fmla="*/ 997044 h 3912503"/>
              <a:gd name="connsiteX2114" fmla="*/ 2076037 w 12192528"/>
              <a:gd name="connsiteY2114" fmla="*/ 986625 h 3912503"/>
              <a:gd name="connsiteX2115" fmla="*/ 2081446 w 12192528"/>
              <a:gd name="connsiteY2115" fmla="*/ 969646 h 3912503"/>
              <a:gd name="connsiteX2116" fmla="*/ 2086082 w 12192528"/>
              <a:gd name="connsiteY2116" fmla="*/ 963472 h 3912503"/>
              <a:gd name="connsiteX2117" fmla="*/ 2093423 w 12192528"/>
              <a:gd name="connsiteY2117" fmla="*/ 957298 h 3912503"/>
              <a:gd name="connsiteX2118" fmla="*/ 2099992 w 12192528"/>
              <a:gd name="connsiteY2118" fmla="*/ 953825 h 3912503"/>
              <a:gd name="connsiteX2119" fmla="*/ 2111583 w 12192528"/>
              <a:gd name="connsiteY2119" fmla="*/ 948085 h 3912503"/>
              <a:gd name="connsiteX2120" fmla="*/ 393648 w 12192528"/>
              <a:gd name="connsiteY2120" fmla="*/ 941854 h 3912503"/>
              <a:gd name="connsiteX2121" fmla="*/ 399461 w 12192528"/>
              <a:gd name="connsiteY2121" fmla="*/ 943292 h 3912503"/>
              <a:gd name="connsiteX2122" fmla="*/ 420035 w 12192528"/>
              <a:gd name="connsiteY2122" fmla="*/ 959319 h 3912503"/>
              <a:gd name="connsiteX2123" fmla="*/ 421270 w 12192528"/>
              <a:gd name="connsiteY2123" fmla="*/ 969183 h 3912503"/>
              <a:gd name="connsiteX2124" fmla="*/ 421681 w 12192528"/>
              <a:gd name="connsiteY2124" fmla="*/ 973291 h 3912503"/>
              <a:gd name="connsiteX2125" fmla="*/ 423737 w 12192528"/>
              <a:gd name="connsiteY2125" fmla="*/ 984386 h 3912503"/>
              <a:gd name="connsiteX2126" fmla="*/ 424972 w 12192528"/>
              <a:gd name="connsiteY2126" fmla="*/ 989729 h 3912503"/>
              <a:gd name="connsiteX2127" fmla="*/ 424560 w 12192528"/>
              <a:gd name="connsiteY2127" fmla="*/ 996716 h 3912503"/>
              <a:gd name="connsiteX2128" fmla="*/ 421681 w 12192528"/>
              <a:gd name="connsiteY2128" fmla="*/ 1003702 h 3912503"/>
              <a:gd name="connsiteX2129" fmla="*/ 412628 w 12192528"/>
              <a:gd name="connsiteY2129" fmla="*/ 1020552 h 3912503"/>
              <a:gd name="connsiteX2130" fmla="*/ 383413 w 12192528"/>
              <a:gd name="connsiteY2130" fmla="*/ 1039043 h 3912503"/>
              <a:gd name="connsiteX2131" fmla="*/ 380533 w 12192528"/>
              <a:gd name="connsiteY2131" fmla="*/ 1038222 h 3912503"/>
              <a:gd name="connsiteX2132" fmla="*/ 367366 w 12192528"/>
              <a:gd name="connsiteY2132" fmla="*/ 1036577 h 3912503"/>
              <a:gd name="connsiteX2133" fmla="*/ 364074 w 12192528"/>
              <a:gd name="connsiteY2133" fmla="*/ 1034933 h 3912503"/>
              <a:gd name="connsiteX2134" fmla="*/ 354610 w 12192528"/>
              <a:gd name="connsiteY2134" fmla="*/ 1032058 h 3912503"/>
              <a:gd name="connsiteX2135" fmla="*/ 349672 w 12192528"/>
              <a:gd name="connsiteY2135" fmla="*/ 1030002 h 3912503"/>
              <a:gd name="connsiteX2136" fmla="*/ 346792 w 12192528"/>
              <a:gd name="connsiteY2136" fmla="*/ 1024249 h 3912503"/>
              <a:gd name="connsiteX2137" fmla="*/ 335683 w 12192528"/>
              <a:gd name="connsiteY2137" fmla="*/ 1009455 h 3912503"/>
              <a:gd name="connsiteX2138" fmla="*/ 330745 w 12192528"/>
              <a:gd name="connsiteY2138" fmla="*/ 999592 h 3912503"/>
              <a:gd name="connsiteX2139" fmla="*/ 330745 w 12192528"/>
              <a:gd name="connsiteY2139" fmla="*/ 994661 h 3912503"/>
              <a:gd name="connsiteX2140" fmla="*/ 334860 w 12192528"/>
              <a:gd name="connsiteY2140" fmla="*/ 983566 h 3912503"/>
              <a:gd name="connsiteX2141" fmla="*/ 340620 w 12192528"/>
              <a:gd name="connsiteY2141" fmla="*/ 965484 h 3912503"/>
              <a:gd name="connsiteX2142" fmla="*/ 345557 w 12192528"/>
              <a:gd name="connsiteY2142" fmla="*/ 958909 h 3912503"/>
              <a:gd name="connsiteX2143" fmla="*/ 353376 w 12192528"/>
              <a:gd name="connsiteY2143" fmla="*/ 952333 h 3912503"/>
              <a:gd name="connsiteX2144" fmla="*/ 360371 w 12192528"/>
              <a:gd name="connsiteY2144" fmla="*/ 948634 h 3912503"/>
              <a:gd name="connsiteX2145" fmla="*/ 372715 w 12192528"/>
              <a:gd name="connsiteY2145" fmla="*/ 942521 h 3912503"/>
              <a:gd name="connsiteX2146" fmla="*/ 386294 w 12192528"/>
              <a:gd name="connsiteY2146" fmla="*/ 942881 h 3912503"/>
              <a:gd name="connsiteX2147" fmla="*/ 393648 w 12192528"/>
              <a:gd name="connsiteY2147" fmla="*/ 941854 h 3912503"/>
              <a:gd name="connsiteX2148" fmla="*/ 9365385 w 12192528"/>
              <a:gd name="connsiteY2148" fmla="*/ 936777 h 3912503"/>
              <a:gd name="connsiteX2149" fmla="*/ 9381236 w 12192528"/>
              <a:gd name="connsiteY2149" fmla="*/ 939927 h 3912503"/>
              <a:gd name="connsiteX2150" fmla="*/ 9381824 w 12192528"/>
              <a:gd name="connsiteY2150" fmla="*/ 939901 h 3912503"/>
              <a:gd name="connsiteX2151" fmla="*/ 9387862 w 12192528"/>
              <a:gd name="connsiteY2151" fmla="*/ 940236 h 3912503"/>
              <a:gd name="connsiteX2152" fmla="*/ 9387435 w 12192528"/>
              <a:gd name="connsiteY2152" fmla="*/ 938477 h 3912503"/>
              <a:gd name="connsiteX2153" fmla="*/ 9222336 w 12192528"/>
              <a:gd name="connsiteY2153" fmla="*/ 925048 h 3912503"/>
              <a:gd name="connsiteX2154" fmla="*/ 9099659 w 12192528"/>
              <a:gd name="connsiteY2154" fmla="*/ 933486 h 3912503"/>
              <a:gd name="connsiteX2155" fmla="*/ 9016083 w 12192528"/>
              <a:gd name="connsiteY2155" fmla="*/ 938199 h 3912503"/>
              <a:gd name="connsiteX2156" fmla="*/ 8913666 w 12192528"/>
              <a:gd name="connsiteY2156" fmla="*/ 940063 h 3912503"/>
              <a:gd name="connsiteX2157" fmla="*/ 8811247 w 12192528"/>
              <a:gd name="connsiteY2157" fmla="*/ 941928 h 3912503"/>
              <a:gd name="connsiteX2158" fmla="*/ 8772140 w 12192528"/>
              <a:gd name="connsiteY2158" fmla="*/ 945654 h 3912503"/>
              <a:gd name="connsiteX2159" fmla="*/ 8708721 w 12192528"/>
              <a:gd name="connsiteY2159" fmla="*/ 957265 h 3912503"/>
              <a:gd name="connsiteX2160" fmla="*/ 8692508 w 12192528"/>
              <a:gd name="connsiteY2160" fmla="*/ 962525 h 3912503"/>
              <a:gd name="connsiteX2161" fmla="*/ 8623717 w 12192528"/>
              <a:gd name="connsiteY2161" fmla="*/ 971397 h 3912503"/>
              <a:gd name="connsiteX2162" fmla="*/ 8619664 w 12192528"/>
              <a:gd name="connsiteY2162" fmla="*/ 972712 h 3912503"/>
              <a:gd name="connsiteX2163" fmla="*/ 8618350 w 12192528"/>
              <a:gd name="connsiteY2163" fmla="*/ 968660 h 3912503"/>
              <a:gd name="connsiteX2164" fmla="*/ 8610245 w 12192528"/>
              <a:gd name="connsiteY2164" fmla="*/ 971289 h 3912503"/>
              <a:gd name="connsiteX2165" fmla="*/ 8611559 w 12192528"/>
              <a:gd name="connsiteY2165" fmla="*/ 975342 h 3912503"/>
              <a:gd name="connsiteX2166" fmla="*/ 8615612 w 12192528"/>
              <a:gd name="connsiteY2166" fmla="*/ 974027 h 3912503"/>
              <a:gd name="connsiteX2167" fmla="*/ 8596662 w 12192528"/>
              <a:gd name="connsiteY2167" fmla="*/ 984653 h 3912503"/>
              <a:gd name="connsiteX2168" fmla="*/ 8383293 w 12192528"/>
              <a:gd name="connsiteY2168" fmla="*/ 1044904 h 3912503"/>
              <a:gd name="connsiteX2169" fmla="*/ 8303549 w 12192528"/>
              <a:gd name="connsiteY2169" fmla="*/ 1075246 h 3912503"/>
              <a:gd name="connsiteX2170" fmla="*/ 8171009 w 12192528"/>
              <a:gd name="connsiteY2170" fmla="*/ 1136153 h 3912503"/>
              <a:gd name="connsiteX2171" fmla="*/ 8037045 w 12192528"/>
              <a:gd name="connsiteY2171" fmla="*/ 1206479 h 3912503"/>
              <a:gd name="connsiteX2172" fmla="*/ 7957190 w 12192528"/>
              <a:gd name="connsiteY2172" fmla="*/ 1250296 h 3912503"/>
              <a:gd name="connsiteX2173" fmla="*/ 7930136 w 12192528"/>
              <a:gd name="connsiteY2173" fmla="*/ 1263551 h 3912503"/>
              <a:gd name="connsiteX2174" fmla="*/ 7878653 w 12192528"/>
              <a:gd name="connsiteY2174" fmla="*/ 1298165 h 3912503"/>
              <a:gd name="connsiteX2175" fmla="*/ 7877341 w 12192528"/>
              <a:gd name="connsiteY2175" fmla="*/ 1294113 h 3912503"/>
              <a:gd name="connsiteX2176" fmla="*/ 7873288 w 12192528"/>
              <a:gd name="connsiteY2176" fmla="*/ 1295428 h 3912503"/>
              <a:gd name="connsiteX2177" fmla="*/ 7865183 w 12192528"/>
              <a:gd name="connsiteY2177" fmla="*/ 1298057 h 3912503"/>
              <a:gd name="connsiteX2178" fmla="*/ 7862443 w 12192528"/>
              <a:gd name="connsiteY2178" fmla="*/ 1303424 h 3912503"/>
              <a:gd name="connsiteX2179" fmla="*/ 7853024 w 12192528"/>
              <a:gd name="connsiteY2179" fmla="*/ 1302000 h 3912503"/>
              <a:gd name="connsiteX2180" fmla="*/ 7855654 w 12192528"/>
              <a:gd name="connsiteY2180" fmla="*/ 1310106 h 3912503"/>
              <a:gd name="connsiteX2181" fmla="*/ 7851601 w 12192528"/>
              <a:gd name="connsiteY2181" fmla="*/ 1311421 h 3912503"/>
              <a:gd name="connsiteX2182" fmla="*/ 7844810 w 12192528"/>
              <a:gd name="connsiteY2182" fmla="*/ 1318103 h 3912503"/>
              <a:gd name="connsiteX2183" fmla="*/ 7854228 w 12192528"/>
              <a:gd name="connsiteY2183" fmla="*/ 1319525 h 3912503"/>
              <a:gd name="connsiteX2184" fmla="*/ 7852915 w 12192528"/>
              <a:gd name="connsiteY2184" fmla="*/ 1315473 h 3912503"/>
              <a:gd name="connsiteX2185" fmla="*/ 7858281 w 12192528"/>
              <a:gd name="connsiteY2185" fmla="*/ 1318211 h 3912503"/>
              <a:gd name="connsiteX2186" fmla="*/ 7767479 w 12192528"/>
              <a:gd name="connsiteY2186" fmla="*/ 1383498 h 3912503"/>
              <a:gd name="connsiteX2187" fmla="*/ 7631870 w 12192528"/>
              <a:gd name="connsiteY2187" fmla="*/ 1490192 h 3912503"/>
              <a:gd name="connsiteX2188" fmla="*/ 7630557 w 12192528"/>
              <a:gd name="connsiteY2188" fmla="*/ 1486138 h 3912503"/>
              <a:gd name="connsiteX2189" fmla="*/ 7634610 w 12192528"/>
              <a:gd name="connsiteY2189" fmla="*/ 1484824 h 3912503"/>
              <a:gd name="connsiteX2190" fmla="*/ 7636032 w 12192528"/>
              <a:gd name="connsiteY2190" fmla="*/ 1475403 h 3912503"/>
              <a:gd name="connsiteX2191" fmla="*/ 7629243 w 12192528"/>
              <a:gd name="connsiteY2191" fmla="*/ 1482084 h 3912503"/>
              <a:gd name="connsiteX2192" fmla="*/ 7622452 w 12192528"/>
              <a:gd name="connsiteY2192" fmla="*/ 1488767 h 3912503"/>
              <a:gd name="connsiteX2193" fmla="*/ 7608977 w 12192528"/>
              <a:gd name="connsiteY2193" fmla="*/ 1488657 h 3912503"/>
              <a:gd name="connsiteX2194" fmla="*/ 7611633 w 12192528"/>
              <a:gd name="connsiteY2194" fmla="*/ 1493396 h 3912503"/>
              <a:gd name="connsiteX2195" fmla="*/ 7613886 w 12192528"/>
              <a:gd name="connsiteY2195" fmla="*/ 1492291 h 3912503"/>
              <a:gd name="connsiteX2196" fmla="*/ 7608866 w 12192528"/>
              <a:gd name="connsiteY2196" fmla="*/ 1502131 h 3912503"/>
              <a:gd name="connsiteX2197" fmla="*/ 7621024 w 12192528"/>
              <a:gd name="connsiteY2197" fmla="*/ 1498186 h 3912503"/>
              <a:gd name="connsiteX2198" fmla="*/ 7589697 w 12192528"/>
              <a:gd name="connsiteY2198" fmla="*/ 1539702 h 3912503"/>
              <a:gd name="connsiteX2199" fmla="*/ 7584329 w 12192528"/>
              <a:gd name="connsiteY2199" fmla="*/ 1536965 h 3912503"/>
              <a:gd name="connsiteX2200" fmla="*/ 7542158 w 12192528"/>
              <a:gd name="connsiteY2200" fmla="*/ 1586476 h 3912503"/>
              <a:gd name="connsiteX2201" fmla="*/ 7544896 w 12192528"/>
              <a:gd name="connsiteY2201" fmla="*/ 1581109 h 3912503"/>
              <a:gd name="connsiteX2202" fmla="*/ 7493304 w 12192528"/>
              <a:gd name="connsiteY2202" fmla="*/ 1629197 h 3912503"/>
              <a:gd name="connsiteX2203" fmla="*/ 7490567 w 12192528"/>
              <a:gd name="connsiteY2203" fmla="*/ 1634564 h 3912503"/>
              <a:gd name="connsiteX2204" fmla="*/ 7506779 w 12192528"/>
              <a:gd name="connsiteY2204" fmla="*/ 1629306 h 3912503"/>
              <a:gd name="connsiteX2205" fmla="*/ 7474140 w 12192528"/>
              <a:gd name="connsiteY2205" fmla="*/ 1666768 h 3912503"/>
              <a:gd name="connsiteX2206" fmla="*/ 7464718 w 12192528"/>
              <a:gd name="connsiteY2206" fmla="*/ 1665345 h 3912503"/>
              <a:gd name="connsiteX2207" fmla="*/ 7460559 w 12192528"/>
              <a:gd name="connsiteY2207" fmla="*/ 1680132 h 3912503"/>
              <a:gd name="connsiteX2208" fmla="*/ 7457818 w 12192528"/>
              <a:gd name="connsiteY2208" fmla="*/ 1685500 h 3912503"/>
              <a:gd name="connsiteX2209" fmla="*/ 7452343 w 12192528"/>
              <a:gd name="connsiteY2209" fmla="*/ 1696235 h 3912503"/>
              <a:gd name="connsiteX2210" fmla="*/ 7460448 w 12192528"/>
              <a:gd name="connsiteY2210" fmla="*/ 1693606 h 3912503"/>
              <a:gd name="connsiteX2211" fmla="*/ 7464501 w 12192528"/>
              <a:gd name="connsiteY2211" fmla="*/ 1692291 h 3912503"/>
              <a:gd name="connsiteX2212" fmla="*/ 7395059 w 12192528"/>
              <a:gd name="connsiteY2212" fmla="*/ 1782003 h 3912503"/>
              <a:gd name="connsiteX2213" fmla="*/ 7365262 w 12192528"/>
              <a:gd name="connsiteY2213" fmla="*/ 1800626 h 3912503"/>
              <a:gd name="connsiteX2214" fmla="*/ 7363946 w 12192528"/>
              <a:gd name="connsiteY2214" fmla="*/ 1796573 h 3912503"/>
              <a:gd name="connsiteX2215" fmla="*/ 7359893 w 12192528"/>
              <a:gd name="connsiteY2215" fmla="*/ 1797888 h 3912503"/>
              <a:gd name="connsiteX2216" fmla="*/ 7354417 w 12192528"/>
              <a:gd name="connsiteY2216" fmla="*/ 1808623 h 3912503"/>
              <a:gd name="connsiteX2217" fmla="*/ 7351676 w 12192528"/>
              <a:gd name="connsiteY2217" fmla="*/ 1813990 h 3912503"/>
              <a:gd name="connsiteX2218" fmla="*/ 7351569 w 12192528"/>
              <a:gd name="connsiteY2218" fmla="*/ 1827464 h 3912503"/>
              <a:gd name="connsiteX2219" fmla="*/ 7339300 w 12192528"/>
              <a:gd name="connsiteY2219" fmla="*/ 1844880 h 3912503"/>
              <a:gd name="connsiteX2220" fmla="*/ 7359677 w 12192528"/>
              <a:gd name="connsiteY2220" fmla="*/ 1824834 h 3912503"/>
              <a:gd name="connsiteX2221" fmla="*/ 7357043 w 12192528"/>
              <a:gd name="connsiteY2221" fmla="*/ 1816728 h 3912503"/>
              <a:gd name="connsiteX2222" fmla="*/ 7359784 w 12192528"/>
              <a:gd name="connsiteY2222" fmla="*/ 1811361 h 3912503"/>
              <a:gd name="connsiteX2223" fmla="*/ 7363836 w 12192528"/>
              <a:gd name="connsiteY2223" fmla="*/ 1810046 h 3912503"/>
              <a:gd name="connsiteX2224" fmla="*/ 7365262 w 12192528"/>
              <a:gd name="connsiteY2224" fmla="*/ 1800626 h 3912503"/>
              <a:gd name="connsiteX2225" fmla="*/ 7430329 w 12192528"/>
              <a:gd name="connsiteY2225" fmla="*/ 1752647 h 3912503"/>
              <a:gd name="connsiteX2226" fmla="*/ 7438434 w 12192528"/>
              <a:gd name="connsiteY2226" fmla="*/ 1750017 h 3912503"/>
              <a:gd name="connsiteX2227" fmla="*/ 7439749 w 12192528"/>
              <a:gd name="connsiteY2227" fmla="*/ 1754071 h 3912503"/>
              <a:gd name="connsiteX2228" fmla="*/ 7442487 w 12192528"/>
              <a:gd name="connsiteY2228" fmla="*/ 1748703 h 3912503"/>
              <a:gd name="connsiteX2229" fmla="*/ 7446539 w 12192528"/>
              <a:gd name="connsiteY2229" fmla="*/ 1747388 h 3912503"/>
              <a:gd name="connsiteX2230" fmla="*/ 7423480 w 12192528"/>
              <a:gd name="connsiteY2230" fmla="*/ 1786783 h 3912503"/>
              <a:gd name="connsiteX2231" fmla="*/ 7388777 w 12192528"/>
              <a:gd name="connsiteY2231" fmla="*/ 1817888 h 3912503"/>
              <a:gd name="connsiteX2232" fmla="*/ 7388045 w 12192528"/>
              <a:gd name="connsiteY2232" fmla="*/ 1815632 h 3912503"/>
              <a:gd name="connsiteX2233" fmla="*/ 7385312 w 12192528"/>
              <a:gd name="connsiteY2233" fmla="*/ 1821000 h 3912503"/>
              <a:gd name="connsiteX2234" fmla="*/ 7371723 w 12192528"/>
              <a:gd name="connsiteY2234" fmla="*/ 1834363 h 3912503"/>
              <a:gd name="connsiteX2235" fmla="*/ 7374461 w 12192528"/>
              <a:gd name="connsiteY2235" fmla="*/ 1828995 h 3912503"/>
              <a:gd name="connsiteX2236" fmla="*/ 7370409 w 12192528"/>
              <a:gd name="connsiteY2236" fmla="*/ 1830310 h 3912503"/>
              <a:gd name="connsiteX2237" fmla="*/ 7367670 w 12192528"/>
              <a:gd name="connsiteY2237" fmla="*/ 1835678 h 3912503"/>
              <a:gd name="connsiteX2238" fmla="*/ 7337999 w 12192528"/>
              <a:gd name="connsiteY2238" fmla="*/ 1859858 h 3912503"/>
              <a:gd name="connsiteX2239" fmla="*/ 7316293 w 12192528"/>
              <a:gd name="connsiteY2239" fmla="*/ 1885631 h 3912503"/>
              <a:gd name="connsiteX2240" fmla="*/ 7359341 w 12192528"/>
              <a:gd name="connsiteY2240" fmla="*/ 1957756 h 3912503"/>
              <a:gd name="connsiteX2241" fmla="*/ 7389584 w 12192528"/>
              <a:gd name="connsiteY2241" fmla="*/ 1917036 h 3912503"/>
              <a:gd name="connsiteX2242" fmla="*/ 7440297 w 12192528"/>
              <a:gd name="connsiteY2242" fmla="*/ 1852435 h 3912503"/>
              <a:gd name="connsiteX2243" fmla="*/ 7462093 w 12192528"/>
              <a:gd name="connsiteY2243" fmla="*/ 1822969 h 3912503"/>
              <a:gd name="connsiteX2244" fmla="*/ 7497472 w 12192528"/>
              <a:gd name="connsiteY2244" fmla="*/ 1780139 h 3912503"/>
              <a:gd name="connsiteX2245" fmla="*/ 7631981 w 12192528"/>
              <a:gd name="connsiteY2245" fmla="*/ 1642447 h 3912503"/>
              <a:gd name="connsiteX2246" fmla="*/ 7671417 w 12192528"/>
              <a:gd name="connsiteY2246" fmla="*/ 1598303 h 3912503"/>
              <a:gd name="connsiteX2247" fmla="*/ 7679522 w 12192528"/>
              <a:gd name="connsiteY2247" fmla="*/ 1595674 h 3912503"/>
              <a:gd name="connsiteX2248" fmla="*/ 7712055 w 12192528"/>
              <a:gd name="connsiteY2248" fmla="*/ 1571684 h 3912503"/>
              <a:gd name="connsiteX2249" fmla="*/ 7735169 w 12192528"/>
              <a:gd name="connsiteY2249" fmla="*/ 1546272 h 3912503"/>
              <a:gd name="connsiteX2250" fmla="*/ 7816553 w 12192528"/>
              <a:gd name="connsiteY2250" fmla="*/ 1479561 h 3912503"/>
              <a:gd name="connsiteX2251" fmla="*/ 7862667 w 12192528"/>
              <a:gd name="connsiteY2251" fmla="*/ 1442208 h 3912503"/>
              <a:gd name="connsiteX2252" fmla="*/ 7933097 w 12192528"/>
              <a:gd name="connsiteY2252" fmla="*/ 1396968 h 3912503"/>
              <a:gd name="connsiteX2253" fmla="*/ 7942629 w 12192528"/>
              <a:gd name="connsiteY2253" fmla="*/ 1384918 h 3912503"/>
              <a:gd name="connsiteX2254" fmla="*/ 7972422 w 12192528"/>
              <a:gd name="connsiteY2254" fmla="*/ 1366296 h 3912503"/>
              <a:gd name="connsiteX2255" fmla="*/ 8015686 w 12192528"/>
              <a:gd name="connsiteY2255" fmla="*/ 1347783 h 3912503"/>
              <a:gd name="connsiteX2256" fmla="*/ 8018537 w 12192528"/>
              <a:gd name="connsiteY2256" fmla="*/ 1328942 h 3912503"/>
              <a:gd name="connsiteX2257" fmla="*/ 8036172 w 12192528"/>
              <a:gd name="connsiteY2257" fmla="*/ 1314265 h 3912503"/>
              <a:gd name="connsiteX2258" fmla="*/ 8128179 w 12192528"/>
              <a:gd name="connsiteY2258" fmla="*/ 1266503 h 3912503"/>
              <a:gd name="connsiteX2259" fmla="*/ 8145707 w 12192528"/>
              <a:gd name="connsiteY2259" fmla="*/ 1265298 h 3912503"/>
              <a:gd name="connsiteX2260" fmla="*/ 8155237 w 12192528"/>
              <a:gd name="connsiteY2260" fmla="*/ 1253248 h 3912503"/>
              <a:gd name="connsiteX2261" fmla="*/ 8159290 w 12192528"/>
              <a:gd name="connsiteY2261" fmla="*/ 1251933 h 3912503"/>
              <a:gd name="connsiteX2262" fmla="*/ 8256670 w 12192528"/>
              <a:gd name="connsiteY2262" fmla="*/ 1206912 h 3912503"/>
              <a:gd name="connsiteX2263" fmla="*/ 8257984 w 12192528"/>
              <a:gd name="connsiteY2263" fmla="*/ 1210965 h 3912503"/>
              <a:gd name="connsiteX2264" fmla="*/ 8278249 w 12192528"/>
              <a:gd name="connsiteY2264" fmla="*/ 1204393 h 3912503"/>
              <a:gd name="connsiteX2265" fmla="*/ 8299937 w 12192528"/>
              <a:gd name="connsiteY2265" fmla="*/ 1188400 h 3912503"/>
              <a:gd name="connsiteX2266" fmla="*/ 8314723 w 12192528"/>
              <a:gd name="connsiteY2266" fmla="*/ 1192562 h 3912503"/>
              <a:gd name="connsiteX2267" fmla="*/ 8366098 w 12192528"/>
              <a:gd name="connsiteY2267" fmla="*/ 1171418 h 3912503"/>
              <a:gd name="connsiteX2268" fmla="*/ 8403996 w 12192528"/>
              <a:gd name="connsiteY2268" fmla="*/ 1150168 h 3912503"/>
              <a:gd name="connsiteX2269" fmla="*/ 8409362 w 12192528"/>
              <a:gd name="connsiteY2269" fmla="*/ 1152907 h 3912503"/>
              <a:gd name="connsiteX2270" fmla="*/ 8472895 w 12192528"/>
              <a:gd name="connsiteY2270" fmla="*/ 1127821 h 3912503"/>
              <a:gd name="connsiteX2271" fmla="*/ 8480896 w 12192528"/>
              <a:gd name="connsiteY2271" fmla="*/ 1125227 h 3912503"/>
              <a:gd name="connsiteX2272" fmla="*/ 8523648 w 12192528"/>
              <a:gd name="connsiteY2272" fmla="*/ 1109160 h 3912503"/>
              <a:gd name="connsiteX2273" fmla="*/ 8532365 w 12192528"/>
              <a:gd name="connsiteY2273" fmla="*/ 1104050 h 3912503"/>
              <a:gd name="connsiteX2274" fmla="*/ 8530202 w 12192528"/>
              <a:gd name="connsiteY2274" fmla="*/ 1106697 h 3912503"/>
              <a:gd name="connsiteX2275" fmla="*/ 8585206 w 12192528"/>
              <a:gd name="connsiteY2275" fmla="*/ 1086029 h 3912503"/>
              <a:gd name="connsiteX2276" fmla="*/ 8726041 w 12192528"/>
              <a:gd name="connsiteY2276" fmla="*/ 1043572 h 3912503"/>
              <a:gd name="connsiteX2277" fmla="*/ 8725860 w 12192528"/>
              <a:gd name="connsiteY2277" fmla="*/ 1043138 h 3912503"/>
              <a:gd name="connsiteX2278" fmla="*/ 8725594 w 12192528"/>
              <a:gd name="connsiteY2278" fmla="*/ 1038581 h 3912503"/>
              <a:gd name="connsiteX2279" fmla="*/ 8726398 w 12192528"/>
              <a:gd name="connsiteY2279" fmla="*/ 1035097 h 3912503"/>
              <a:gd name="connsiteX2280" fmla="*/ 8727741 w 12192528"/>
              <a:gd name="connsiteY2280" fmla="*/ 1027860 h 3912503"/>
              <a:gd name="connsiteX2281" fmla="*/ 8728010 w 12192528"/>
              <a:gd name="connsiteY2281" fmla="*/ 1025180 h 3912503"/>
              <a:gd name="connsiteX2282" fmla="*/ 8728814 w 12192528"/>
              <a:gd name="connsiteY2282" fmla="*/ 1018748 h 3912503"/>
              <a:gd name="connsiteX2283" fmla="*/ 8742234 w 12192528"/>
              <a:gd name="connsiteY2283" fmla="*/ 1008294 h 3912503"/>
              <a:gd name="connsiteX2284" fmla="*/ 8750820 w 12192528"/>
              <a:gd name="connsiteY2284" fmla="*/ 1008026 h 3912503"/>
              <a:gd name="connsiteX2285" fmla="*/ 8767728 w 12192528"/>
              <a:gd name="connsiteY2285" fmla="*/ 1011778 h 3912503"/>
              <a:gd name="connsiteX2286" fmla="*/ 8772290 w 12192528"/>
              <a:gd name="connsiteY2286" fmla="*/ 1014191 h 3912503"/>
              <a:gd name="connsiteX2287" fmla="*/ 8777390 w 12192528"/>
              <a:gd name="connsiteY2287" fmla="*/ 1018479 h 3912503"/>
              <a:gd name="connsiteX2288" fmla="*/ 8780610 w 12192528"/>
              <a:gd name="connsiteY2288" fmla="*/ 1022767 h 3912503"/>
              <a:gd name="connsiteX2289" fmla="*/ 8781875 w 12192528"/>
              <a:gd name="connsiteY2289" fmla="*/ 1026738 h 3912503"/>
              <a:gd name="connsiteX2290" fmla="*/ 8800367 w 12192528"/>
              <a:gd name="connsiteY2290" fmla="*/ 1021164 h 3912503"/>
              <a:gd name="connsiteX2291" fmla="*/ 9022051 w 12192528"/>
              <a:gd name="connsiteY2291" fmla="*/ 972694 h 3912503"/>
              <a:gd name="connsiteX2292" fmla="*/ 9201839 w 12192528"/>
              <a:gd name="connsiteY2292" fmla="*/ 947956 h 3912503"/>
              <a:gd name="connsiteX2293" fmla="*/ 9249722 w 12192528"/>
              <a:gd name="connsiteY2293" fmla="*/ 945813 h 3912503"/>
              <a:gd name="connsiteX2294" fmla="*/ 9256912 w 12192528"/>
              <a:gd name="connsiteY2294" fmla="*/ 940922 h 3912503"/>
              <a:gd name="connsiteX2295" fmla="*/ 9268501 w 12192528"/>
              <a:gd name="connsiteY2295" fmla="*/ 941296 h 3912503"/>
              <a:gd name="connsiteX2296" fmla="*/ 9328310 w 12192528"/>
              <a:gd name="connsiteY2296" fmla="*/ 936808 h 3912503"/>
              <a:gd name="connsiteX2297" fmla="*/ 9351707 w 12192528"/>
              <a:gd name="connsiteY2297" fmla="*/ 935722 h 3912503"/>
              <a:gd name="connsiteX2298" fmla="*/ 9300098 w 12192528"/>
              <a:gd name="connsiteY2298" fmla="*/ 931742 h 3912503"/>
              <a:gd name="connsiteX2299" fmla="*/ 9222336 w 12192528"/>
              <a:gd name="connsiteY2299" fmla="*/ 925048 h 3912503"/>
              <a:gd name="connsiteX2300" fmla="*/ 11833298 w 12192528"/>
              <a:gd name="connsiteY2300" fmla="*/ 911134 h 3912503"/>
              <a:gd name="connsiteX2301" fmla="*/ 11845014 w 12192528"/>
              <a:gd name="connsiteY2301" fmla="*/ 922018 h 3912503"/>
              <a:gd name="connsiteX2302" fmla="*/ 11847356 w 12192528"/>
              <a:gd name="connsiteY2302" fmla="*/ 926294 h 3912503"/>
              <a:gd name="connsiteX2303" fmla="*/ 11854775 w 12192528"/>
              <a:gd name="connsiteY2303" fmla="*/ 935623 h 3912503"/>
              <a:gd name="connsiteX2304" fmla="*/ 11860632 w 12192528"/>
              <a:gd name="connsiteY2304" fmla="*/ 939122 h 3912503"/>
              <a:gd name="connsiteX2305" fmla="*/ 11866099 w 12192528"/>
              <a:gd name="connsiteY2305" fmla="*/ 954671 h 3912503"/>
              <a:gd name="connsiteX2306" fmla="*/ 11862585 w 12192528"/>
              <a:gd name="connsiteY2306" fmla="*/ 967887 h 3912503"/>
              <a:gd name="connsiteX2307" fmla="*/ 11851651 w 12192528"/>
              <a:gd name="connsiteY2307" fmla="*/ 976440 h 3912503"/>
              <a:gd name="connsiteX2308" fmla="*/ 11850481 w 12192528"/>
              <a:gd name="connsiteY2308" fmla="*/ 977994 h 3912503"/>
              <a:gd name="connsiteX2309" fmla="*/ 11842671 w 12192528"/>
              <a:gd name="connsiteY2309" fmla="*/ 977994 h 3912503"/>
              <a:gd name="connsiteX2310" fmla="*/ 11834081 w 12192528"/>
              <a:gd name="connsiteY2310" fmla="*/ 973718 h 3912503"/>
              <a:gd name="connsiteX2311" fmla="*/ 11828225 w 12192528"/>
              <a:gd name="connsiteY2311" fmla="*/ 966722 h 3912503"/>
              <a:gd name="connsiteX2312" fmla="*/ 11823927 w 12192528"/>
              <a:gd name="connsiteY2312" fmla="*/ 956226 h 3912503"/>
              <a:gd name="connsiteX2313" fmla="*/ 11818462 w 12192528"/>
              <a:gd name="connsiteY2313" fmla="*/ 946119 h 3912503"/>
              <a:gd name="connsiteX2314" fmla="*/ 11809871 w 12192528"/>
              <a:gd name="connsiteY2314" fmla="*/ 937567 h 3912503"/>
              <a:gd name="connsiteX2315" fmla="*/ 11809871 w 12192528"/>
              <a:gd name="connsiteY2315" fmla="*/ 923573 h 3912503"/>
              <a:gd name="connsiteX2316" fmla="*/ 11814557 w 12192528"/>
              <a:gd name="connsiteY2316" fmla="*/ 918131 h 3912503"/>
              <a:gd name="connsiteX2317" fmla="*/ 11823147 w 12192528"/>
              <a:gd name="connsiteY2317" fmla="*/ 912688 h 3912503"/>
              <a:gd name="connsiteX2318" fmla="*/ 11833298 w 12192528"/>
              <a:gd name="connsiteY2318" fmla="*/ 911134 h 3912503"/>
              <a:gd name="connsiteX2319" fmla="*/ 5160887 w 12192528"/>
              <a:gd name="connsiteY2319" fmla="*/ 886310 h 3912503"/>
              <a:gd name="connsiteX2320" fmla="*/ 5156475 w 12192528"/>
              <a:gd name="connsiteY2320" fmla="*/ 890724 h 3912503"/>
              <a:gd name="connsiteX2321" fmla="*/ 5032900 w 12192528"/>
              <a:gd name="connsiteY2321" fmla="*/ 890724 h 3912503"/>
              <a:gd name="connsiteX2322" fmla="*/ 4746036 w 12192528"/>
              <a:gd name="connsiteY2322" fmla="*/ 917204 h 3912503"/>
              <a:gd name="connsiteX2323" fmla="*/ 4290911 w 12192528"/>
              <a:gd name="connsiteY2323" fmla="*/ 1022573 h 3912503"/>
              <a:gd name="connsiteX2324" fmla="*/ 4168852 w 12192528"/>
              <a:gd name="connsiteY2324" fmla="*/ 1068909 h 3912503"/>
              <a:gd name="connsiteX2325" fmla="*/ 4169889 w 12192528"/>
              <a:gd name="connsiteY2325" fmla="*/ 1071705 h 3912503"/>
              <a:gd name="connsiteX2326" fmla="*/ 4169889 w 12192528"/>
              <a:gd name="connsiteY2326" fmla="*/ 1075807 h 3912503"/>
              <a:gd name="connsiteX2327" fmla="*/ 4416692 w 12192528"/>
              <a:gd name="connsiteY2327" fmla="*/ 997748 h 3912503"/>
              <a:gd name="connsiteX2328" fmla="*/ 5010835 w 12192528"/>
              <a:gd name="connsiteY2328" fmla="*/ 917204 h 3912503"/>
              <a:gd name="connsiteX2329" fmla="*/ 5010835 w 12192528"/>
              <a:gd name="connsiteY2329" fmla="*/ 926031 h 3912503"/>
              <a:gd name="connsiteX2330" fmla="*/ 4882850 w 12192528"/>
              <a:gd name="connsiteY2330" fmla="*/ 974578 h 3912503"/>
              <a:gd name="connsiteX2331" fmla="*/ 4900502 w 12192528"/>
              <a:gd name="connsiteY2331" fmla="*/ 978991 h 3912503"/>
              <a:gd name="connsiteX2332" fmla="*/ 4821063 w 12192528"/>
              <a:gd name="connsiteY2332" fmla="*/ 987818 h 3912503"/>
              <a:gd name="connsiteX2333" fmla="*/ 4763690 w 12192528"/>
              <a:gd name="connsiteY2333" fmla="*/ 1009885 h 3912503"/>
              <a:gd name="connsiteX2334" fmla="*/ 4807823 w 12192528"/>
              <a:gd name="connsiteY2334" fmla="*/ 1018712 h 3912503"/>
              <a:gd name="connsiteX2335" fmla="*/ 4803408 w 12192528"/>
              <a:gd name="connsiteY2335" fmla="*/ 1023125 h 3912503"/>
              <a:gd name="connsiteX2336" fmla="*/ 4798997 w 12192528"/>
              <a:gd name="connsiteY2336" fmla="*/ 1023125 h 3912503"/>
              <a:gd name="connsiteX2337" fmla="*/ 4794581 w 12192528"/>
              <a:gd name="connsiteY2337" fmla="*/ 1023125 h 3912503"/>
              <a:gd name="connsiteX2338" fmla="*/ 4785755 w 12192528"/>
              <a:gd name="connsiteY2338" fmla="*/ 1023125 h 3912503"/>
              <a:gd name="connsiteX2339" fmla="*/ 4790168 w 12192528"/>
              <a:gd name="connsiteY2339" fmla="*/ 1027537 h 3912503"/>
              <a:gd name="connsiteX2340" fmla="*/ 4794584 w 12192528"/>
              <a:gd name="connsiteY2340" fmla="*/ 1027537 h 3912503"/>
              <a:gd name="connsiteX2341" fmla="*/ 4798997 w 12192528"/>
              <a:gd name="connsiteY2341" fmla="*/ 1027537 h 3912503"/>
              <a:gd name="connsiteX2342" fmla="*/ 4812237 w 12192528"/>
              <a:gd name="connsiteY2342" fmla="*/ 1031951 h 3912503"/>
              <a:gd name="connsiteX2343" fmla="*/ 4816648 w 12192528"/>
              <a:gd name="connsiteY2343" fmla="*/ 1027537 h 3912503"/>
              <a:gd name="connsiteX2344" fmla="*/ 4812237 w 12192528"/>
              <a:gd name="connsiteY2344" fmla="*/ 1027537 h 3912503"/>
              <a:gd name="connsiteX2345" fmla="*/ 4807823 w 12192528"/>
              <a:gd name="connsiteY2345" fmla="*/ 1023125 h 3912503"/>
              <a:gd name="connsiteX2346" fmla="*/ 4821062 w 12192528"/>
              <a:gd name="connsiteY2346" fmla="*/ 1023125 h 3912503"/>
              <a:gd name="connsiteX2347" fmla="*/ 4825476 w 12192528"/>
              <a:gd name="connsiteY2347" fmla="*/ 1023125 h 3912503"/>
              <a:gd name="connsiteX2348" fmla="*/ 4860781 w 12192528"/>
              <a:gd name="connsiteY2348" fmla="*/ 1045192 h 3912503"/>
              <a:gd name="connsiteX2349" fmla="*/ 4807823 w 12192528"/>
              <a:gd name="connsiteY2349" fmla="*/ 1049604 h 3912503"/>
              <a:gd name="connsiteX2350" fmla="*/ 4825476 w 12192528"/>
              <a:gd name="connsiteY2350" fmla="*/ 1067257 h 3912503"/>
              <a:gd name="connsiteX2351" fmla="*/ 4719556 w 12192528"/>
              <a:gd name="connsiteY2351" fmla="*/ 1111391 h 3912503"/>
              <a:gd name="connsiteX2352" fmla="*/ 4715141 w 12192528"/>
              <a:gd name="connsiteY2352" fmla="*/ 1111391 h 3912503"/>
              <a:gd name="connsiteX2353" fmla="*/ 4706316 w 12192528"/>
              <a:gd name="connsiteY2353" fmla="*/ 1111391 h 3912503"/>
              <a:gd name="connsiteX2354" fmla="*/ 4701900 w 12192528"/>
              <a:gd name="connsiteY2354" fmla="*/ 1115804 h 3912503"/>
              <a:gd name="connsiteX2355" fmla="*/ 4653355 w 12192528"/>
              <a:gd name="connsiteY2355" fmla="*/ 1129045 h 3912503"/>
              <a:gd name="connsiteX2356" fmla="*/ 4635703 w 12192528"/>
              <a:gd name="connsiteY2356" fmla="*/ 1133457 h 3912503"/>
              <a:gd name="connsiteX2357" fmla="*/ 4631288 w 12192528"/>
              <a:gd name="connsiteY2357" fmla="*/ 1137871 h 3912503"/>
              <a:gd name="connsiteX2358" fmla="*/ 4626876 w 12192528"/>
              <a:gd name="connsiteY2358" fmla="*/ 1137871 h 3912503"/>
              <a:gd name="connsiteX2359" fmla="*/ 4626876 w 12192528"/>
              <a:gd name="connsiteY2359" fmla="*/ 1142285 h 3912503"/>
              <a:gd name="connsiteX2360" fmla="*/ 4622463 w 12192528"/>
              <a:gd name="connsiteY2360" fmla="*/ 1142285 h 3912503"/>
              <a:gd name="connsiteX2361" fmla="*/ 4604810 w 12192528"/>
              <a:gd name="connsiteY2361" fmla="*/ 1151112 h 3912503"/>
              <a:gd name="connsiteX2362" fmla="*/ 4618049 w 12192528"/>
              <a:gd name="connsiteY2362" fmla="*/ 1155525 h 3912503"/>
              <a:gd name="connsiteX2363" fmla="*/ 4609223 w 12192528"/>
              <a:gd name="connsiteY2363" fmla="*/ 1164351 h 3912503"/>
              <a:gd name="connsiteX2364" fmla="*/ 4569503 w 12192528"/>
              <a:gd name="connsiteY2364" fmla="*/ 1168764 h 3912503"/>
              <a:gd name="connsiteX2365" fmla="*/ 4463584 w 12192528"/>
              <a:gd name="connsiteY2365" fmla="*/ 1204071 h 3912503"/>
              <a:gd name="connsiteX2366" fmla="*/ 4437102 w 12192528"/>
              <a:gd name="connsiteY2366" fmla="*/ 1212897 h 3912503"/>
              <a:gd name="connsiteX2367" fmla="*/ 4348838 w 12192528"/>
              <a:gd name="connsiteY2367" fmla="*/ 1243791 h 3912503"/>
              <a:gd name="connsiteX2368" fmla="*/ 4335598 w 12192528"/>
              <a:gd name="connsiteY2368" fmla="*/ 1243791 h 3912503"/>
              <a:gd name="connsiteX2369" fmla="*/ 4326771 w 12192528"/>
              <a:gd name="connsiteY2369" fmla="*/ 1252618 h 3912503"/>
              <a:gd name="connsiteX2370" fmla="*/ 4322356 w 12192528"/>
              <a:gd name="connsiteY2370" fmla="*/ 1248203 h 3912503"/>
              <a:gd name="connsiteX2371" fmla="*/ 4260571 w 12192528"/>
              <a:gd name="connsiteY2371" fmla="*/ 1274684 h 3912503"/>
              <a:gd name="connsiteX2372" fmla="*/ 4260571 w 12192528"/>
              <a:gd name="connsiteY2372" fmla="*/ 1265858 h 3912503"/>
              <a:gd name="connsiteX2373" fmla="*/ 4247332 w 12192528"/>
              <a:gd name="connsiteY2373" fmla="*/ 1279098 h 3912503"/>
              <a:gd name="connsiteX2374" fmla="*/ 4238193 w 12192528"/>
              <a:gd name="connsiteY2374" fmla="*/ 1282035 h 3912503"/>
              <a:gd name="connsiteX2375" fmla="*/ 4249592 w 12192528"/>
              <a:gd name="connsiteY2375" fmla="*/ 1287860 h 3912503"/>
              <a:gd name="connsiteX2376" fmla="*/ 4297332 w 12192528"/>
              <a:gd name="connsiteY2376" fmla="*/ 1271163 h 3912503"/>
              <a:gd name="connsiteX2377" fmla="*/ 4584250 w 12192528"/>
              <a:gd name="connsiteY2377" fmla="*/ 1207034 h 3912503"/>
              <a:gd name="connsiteX2378" fmla="*/ 4804569 w 12192528"/>
              <a:gd name="connsiteY2378" fmla="*/ 1175960 h 3912503"/>
              <a:gd name="connsiteX2379" fmla="*/ 4824643 w 12192528"/>
              <a:gd name="connsiteY2379" fmla="*/ 1181029 h 3912503"/>
              <a:gd name="connsiteX2380" fmla="*/ 4816353 w 12192528"/>
              <a:gd name="connsiteY2380" fmla="*/ 1190133 h 3912503"/>
              <a:gd name="connsiteX2381" fmla="*/ 4465087 w 12192528"/>
              <a:gd name="connsiteY2381" fmla="*/ 1256427 h 3912503"/>
              <a:gd name="connsiteX2382" fmla="*/ 4296734 w 12192528"/>
              <a:gd name="connsiteY2382" fmla="*/ 1305865 h 3912503"/>
              <a:gd name="connsiteX2383" fmla="*/ 4312540 w 12192528"/>
              <a:gd name="connsiteY2383" fmla="*/ 1310402 h 3912503"/>
              <a:gd name="connsiteX2384" fmla="*/ 4335142 w 12192528"/>
              <a:gd name="connsiteY2384" fmla="*/ 1318492 h 3912503"/>
              <a:gd name="connsiteX2385" fmla="*/ 4414434 w 12192528"/>
              <a:gd name="connsiteY2385" fmla="*/ 1295504 h 3912503"/>
              <a:gd name="connsiteX2386" fmla="*/ 4444757 w 12192528"/>
              <a:gd name="connsiteY2386" fmla="*/ 1289120 h 3912503"/>
              <a:gd name="connsiteX2387" fmla="*/ 4459170 w 12192528"/>
              <a:gd name="connsiteY2387" fmla="*/ 1279098 h 3912503"/>
              <a:gd name="connsiteX2388" fmla="*/ 4481236 w 12192528"/>
              <a:gd name="connsiteY2388" fmla="*/ 1270271 h 3912503"/>
              <a:gd name="connsiteX2389" fmla="*/ 4507717 w 12192528"/>
              <a:gd name="connsiteY2389" fmla="*/ 1265858 h 3912503"/>
              <a:gd name="connsiteX2390" fmla="*/ 4538608 w 12192528"/>
              <a:gd name="connsiteY2390" fmla="*/ 1257032 h 3912503"/>
              <a:gd name="connsiteX2391" fmla="*/ 4582743 w 12192528"/>
              <a:gd name="connsiteY2391" fmla="*/ 1248204 h 3912503"/>
              <a:gd name="connsiteX2392" fmla="*/ 4609223 w 12192528"/>
              <a:gd name="connsiteY2392" fmla="*/ 1239379 h 3912503"/>
              <a:gd name="connsiteX2393" fmla="*/ 4613636 w 12192528"/>
              <a:gd name="connsiteY2393" fmla="*/ 1239379 h 3912503"/>
              <a:gd name="connsiteX2394" fmla="*/ 4648942 w 12192528"/>
              <a:gd name="connsiteY2394" fmla="*/ 1230551 h 3912503"/>
              <a:gd name="connsiteX2395" fmla="*/ 4679836 w 12192528"/>
              <a:gd name="connsiteY2395" fmla="*/ 1221725 h 3912503"/>
              <a:gd name="connsiteX2396" fmla="*/ 4693076 w 12192528"/>
              <a:gd name="connsiteY2396" fmla="*/ 1217313 h 3912503"/>
              <a:gd name="connsiteX2397" fmla="*/ 4697488 w 12192528"/>
              <a:gd name="connsiteY2397" fmla="*/ 1217312 h 3912503"/>
              <a:gd name="connsiteX2398" fmla="*/ 4710729 w 12192528"/>
              <a:gd name="connsiteY2398" fmla="*/ 1221725 h 3912503"/>
              <a:gd name="connsiteX2399" fmla="*/ 4715141 w 12192528"/>
              <a:gd name="connsiteY2399" fmla="*/ 1221725 h 3912503"/>
              <a:gd name="connsiteX2400" fmla="*/ 4723970 w 12192528"/>
              <a:gd name="connsiteY2400" fmla="*/ 1217312 h 3912503"/>
              <a:gd name="connsiteX2401" fmla="*/ 4723970 w 12192528"/>
              <a:gd name="connsiteY2401" fmla="*/ 1212897 h 3912503"/>
              <a:gd name="connsiteX2402" fmla="*/ 4746036 w 12192528"/>
              <a:gd name="connsiteY2402" fmla="*/ 1212897 h 3912503"/>
              <a:gd name="connsiteX2403" fmla="*/ 4750449 w 12192528"/>
              <a:gd name="connsiteY2403" fmla="*/ 1208485 h 3912503"/>
              <a:gd name="connsiteX2404" fmla="*/ 4746036 w 12192528"/>
              <a:gd name="connsiteY2404" fmla="*/ 1208485 h 3912503"/>
              <a:gd name="connsiteX2405" fmla="*/ 4723970 w 12192528"/>
              <a:gd name="connsiteY2405" fmla="*/ 1212897 h 3912503"/>
              <a:gd name="connsiteX2406" fmla="*/ 4723970 w 12192528"/>
              <a:gd name="connsiteY2406" fmla="*/ 1208485 h 3912503"/>
              <a:gd name="connsiteX2407" fmla="*/ 4732795 w 12192528"/>
              <a:gd name="connsiteY2407" fmla="*/ 1208485 h 3912503"/>
              <a:gd name="connsiteX2408" fmla="*/ 4737209 w 12192528"/>
              <a:gd name="connsiteY2408" fmla="*/ 1208485 h 3912503"/>
              <a:gd name="connsiteX2409" fmla="*/ 4750449 w 12192528"/>
              <a:gd name="connsiteY2409" fmla="*/ 1204071 h 3912503"/>
              <a:gd name="connsiteX2410" fmla="*/ 4768102 w 12192528"/>
              <a:gd name="connsiteY2410" fmla="*/ 1204071 h 3912503"/>
              <a:gd name="connsiteX2411" fmla="*/ 4763689 w 12192528"/>
              <a:gd name="connsiteY2411" fmla="*/ 1208486 h 3912503"/>
              <a:gd name="connsiteX2412" fmla="*/ 4772515 w 12192528"/>
              <a:gd name="connsiteY2412" fmla="*/ 1208485 h 3912503"/>
              <a:gd name="connsiteX2413" fmla="*/ 4781344 w 12192528"/>
              <a:gd name="connsiteY2413" fmla="*/ 1208485 h 3912503"/>
              <a:gd name="connsiteX2414" fmla="*/ 4794584 w 12192528"/>
              <a:gd name="connsiteY2414" fmla="*/ 1204071 h 3912503"/>
              <a:gd name="connsiteX2415" fmla="*/ 4803408 w 12192528"/>
              <a:gd name="connsiteY2415" fmla="*/ 1204071 h 3912503"/>
              <a:gd name="connsiteX2416" fmla="*/ 4807823 w 12192528"/>
              <a:gd name="connsiteY2416" fmla="*/ 1199658 h 3912503"/>
              <a:gd name="connsiteX2417" fmla="*/ 4821063 w 12192528"/>
              <a:gd name="connsiteY2417" fmla="*/ 1195245 h 3912503"/>
              <a:gd name="connsiteX2418" fmla="*/ 4829889 w 12192528"/>
              <a:gd name="connsiteY2418" fmla="*/ 1195245 h 3912503"/>
              <a:gd name="connsiteX2419" fmla="*/ 4834302 w 12192528"/>
              <a:gd name="connsiteY2419" fmla="*/ 1199658 h 3912503"/>
              <a:gd name="connsiteX2420" fmla="*/ 4838716 w 12192528"/>
              <a:gd name="connsiteY2420" fmla="*/ 1195245 h 3912503"/>
              <a:gd name="connsiteX2421" fmla="*/ 4847542 w 12192528"/>
              <a:gd name="connsiteY2421" fmla="*/ 1199658 h 3912503"/>
              <a:gd name="connsiteX2422" fmla="*/ 4856368 w 12192528"/>
              <a:gd name="connsiteY2422" fmla="*/ 1195245 h 3912503"/>
              <a:gd name="connsiteX2423" fmla="*/ 4851957 w 12192528"/>
              <a:gd name="connsiteY2423" fmla="*/ 1190831 h 3912503"/>
              <a:gd name="connsiteX2424" fmla="*/ 4865196 w 12192528"/>
              <a:gd name="connsiteY2424" fmla="*/ 1190831 h 3912503"/>
              <a:gd name="connsiteX2425" fmla="*/ 4869610 w 12192528"/>
              <a:gd name="connsiteY2425" fmla="*/ 1190832 h 3912503"/>
              <a:gd name="connsiteX2426" fmla="*/ 4887261 w 12192528"/>
              <a:gd name="connsiteY2426" fmla="*/ 1186418 h 3912503"/>
              <a:gd name="connsiteX2427" fmla="*/ 4904916 w 12192528"/>
              <a:gd name="connsiteY2427" fmla="*/ 1186418 h 3912503"/>
              <a:gd name="connsiteX2428" fmla="*/ 4918155 w 12192528"/>
              <a:gd name="connsiteY2428" fmla="*/ 1186418 h 3912503"/>
              <a:gd name="connsiteX2429" fmla="*/ 4944634 w 12192528"/>
              <a:gd name="connsiteY2429" fmla="*/ 1186418 h 3912503"/>
              <a:gd name="connsiteX2430" fmla="*/ 4957877 w 12192528"/>
              <a:gd name="connsiteY2430" fmla="*/ 1190831 h 3912503"/>
              <a:gd name="connsiteX2431" fmla="*/ 4953461 w 12192528"/>
              <a:gd name="connsiteY2431" fmla="*/ 1195245 h 3912503"/>
              <a:gd name="connsiteX2432" fmla="*/ 4949048 w 12192528"/>
              <a:gd name="connsiteY2432" fmla="*/ 1199659 h 3912503"/>
              <a:gd name="connsiteX2433" fmla="*/ 4953461 w 12192528"/>
              <a:gd name="connsiteY2433" fmla="*/ 1199658 h 3912503"/>
              <a:gd name="connsiteX2434" fmla="*/ 4957874 w 12192528"/>
              <a:gd name="connsiteY2434" fmla="*/ 1199658 h 3912503"/>
              <a:gd name="connsiteX2435" fmla="*/ 4962288 w 12192528"/>
              <a:gd name="connsiteY2435" fmla="*/ 1195245 h 3912503"/>
              <a:gd name="connsiteX2436" fmla="*/ 4966702 w 12192528"/>
              <a:gd name="connsiteY2436" fmla="*/ 1190831 h 3912503"/>
              <a:gd name="connsiteX2437" fmla="*/ 4966702 w 12192528"/>
              <a:gd name="connsiteY2437" fmla="*/ 1186418 h 3912503"/>
              <a:gd name="connsiteX2438" fmla="*/ 4944634 w 12192528"/>
              <a:gd name="connsiteY2438" fmla="*/ 1182004 h 3912503"/>
              <a:gd name="connsiteX2439" fmla="*/ 4940224 w 12192528"/>
              <a:gd name="connsiteY2439" fmla="*/ 1182005 h 3912503"/>
              <a:gd name="connsiteX2440" fmla="*/ 4922569 w 12192528"/>
              <a:gd name="connsiteY2440" fmla="*/ 1182004 h 3912503"/>
              <a:gd name="connsiteX2441" fmla="*/ 4913741 w 12192528"/>
              <a:gd name="connsiteY2441" fmla="*/ 1182004 h 3912503"/>
              <a:gd name="connsiteX2442" fmla="*/ 4935808 w 12192528"/>
              <a:gd name="connsiteY2442" fmla="*/ 1177592 h 3912503"/>
              <a:gd name="connsiteX2443" fmla="*/ 4962288 w 12192528"/>
              <a:gd name="connsiteY2443" fmla="*/ 1173177 h 3912503"/>
              <a:gd name="connsiteX2444" fmla="*/ 4971116 w 12192528"/>
              <a:gd name="connsiteY2444" fmla="*/ 1177592 h 3912503"/>
              <a:gd name="connsiteX2445" fmla="*/ 4979942 w 12192528"/>
              <a:gd name="connsiteY2445" fmla="*/ 1177592 h 3912503"/>
              <a:gd name="connsiteX2446" fmla="*/ 5002008 w 12192528"/>
              <a:gd name="connsiteY2446" fmla="*/ 1177592 h 3912503"/>
              <a:gd name="connsiteX2447" fmla="*/ 4997595 w 12192528"/>
              <a:gd name="connsiteY2447" fmla="*/ 1182004 h 3912503"/>
              <a:gd name="connsiteX2448" fmla="*/ 4997596 w 12192528"/>
              <a:gd name="connsiteY2448" fmla="*/ 1186418 h 3912503"/>
              <a:gd name="connsiteX2449" fmla="*/ 5002008 w 12192528"/>
              <a:gd name="connsiteY2449" fmla="*/ 1186418 h 3912503"/>
              <a:gd name="connsiteX2450" fmla="*/ 5006420 w 12192528"/>
              <a:gd name="connsiteY2450" fmla="*/ 1186418 h 3912503"/>
              <a:gd name="connsiteX2451" fmla="*/ 5010834 w 12192528"/>
              <a:gd name="connsiteY2451" fmla="*/ 1182004 h 3912503"/>
              <a:gd name="connsiteX2452" fmla="*/ 5015251 w 12192528"/>
              <a:gd name="connsiteY2452" fmla="*/ 1182004 h 3912503"/>
              <a:gd name="connsiteX2453" fmla="*/ 5019661 w 12192528"/>
              <a:gd name="connsiteY2453" fmla="*/ 1182004 h 3912503"/>
              <a:gd name="connsiteX2454" fmla="*/ 5037315 w 12192528"/>
              <a:gd name="connsiteY2454" fmla="*/ 1177592 h 3912503"/>
              <a:gd name="connsiteX2455" fmla="*/ 5059383 w 12192528"/>
              <a:gd name="connsiteY2455" fmla="*/ 1177592 h 3912503"/>
              <a:gd name="connsiteX2456" fmla="*/ 5063793 w 12192528"/>
              <a:gd name="connsiteY2456" fmla="*/ 1182004 h 3912503"/>
              <a:gd name="connsiteX2457" fmla="*/ 5059383 w 12192528"/>
              <a:gd name="connsiteY2457" fmla="*/ 1186419 h 3912503"/>
              <a:gd name="connsiteX2458" fmla="*/ 5006420 w 12192528"/>
              <a:gd name="connsiteY2458" fmla="*/ 1190831 h 3912503"/>
              <a:gd name="connsiteX2459" fmla="*/ 5002006 w 12192528"/>
              <a:gd name="connsiteY2459" fmla="*/ 1190831 h 3912503"/>
              <a:gd name="connsiteX2460" fmla="*/ 5006420 w 12192528"/>
              <a:gd name="connsiteY2460" fmla="*/ 1195245 h 3912503"/>
              <a:gd name="connsiteX2461" fmla="*/ 5059383 w 12192528"/>
              <a:gd name="connsiteY2461" fmla="*/ 1190831 h 3912503"/>
              <a:gd name="connsiteX2462" fmla="*/ 5068208 w 12192528"/>
              <a:gd name="connsiteY2462" fmla="*/ 1204071 h 3912503"/>
              <a:gd name="connsiteX2463" fmla="*/ 5116754 w 12192528"/>
              <a:gd name="connsiteY2463" fmla="*/ 1212897 h 3912503"/>
              <a:gd name="connsiteX2464" fmla="*/ 5293286 w 12192528"/>
              <a:gd name="connsiteY2464" fmla="*/ 1248204 h 3912503"/>
              <a:gd name="connsiteX2465" fmla="*/ 5297701 w 12192528"/>
              <a:gd name="connsiteY2465" fmla="*/ 1248204 h 3912503"/>
              <a:gd name="connsiteX2466" fmla="*/ 5302115 w 12192528"/>
              <a:gd name="connsiteY2466" fmla="*/ 1248204 h 3912503"/>
              <a:gd name="connsiteX2467" fmla="*/ 5297699 w 12192528"/>
              <a:gd name="connsiteY2467" fmla="*/ 1243791 h 3912503"/>
              <a:gd name="connsiteX2468" fmla="*/ 5125580 w 12192528"/>
              <a:gd name="connsiteY2468" fmla="*/ 1208485 h 3912503"/>
              <a:gd name="connsiteX2469" fmla="*/ 5129996 w 12192528"/>
              <a:gd name="connsiteY2469" fmla="*/ 1208485 h 3912503"/>
              <a:gd name="connsiteX2470" fmla="*/ 5121166 w 12192528"/>
              <a:gd name="connsiteY2470" fmla="*/ 1199658 h 3912503"/>
              <a:gd name="connsiteX2471" fmla="*/ 5134406 w 12192528"/>
              <a:gd name="connsiteY2471" fmla="*/ 1199658 h 3912503"/>
              <a:gd name="connsiteX2472" fmla="*/ 5134407 w 12192528"/>
              <a:gd name="connsiteY2472" fmla="*/ 1204071 h 3912503"/>
              <a:gd name="connsiteX2473" fmla="*/ 5138821 w 12192528"/>
              <a:gd name="connsiteY2473" fmla="*/ 1204071 h 3912503"/>
              <a:gd name="connsiteX2474" fmla="*/ 5143235 w 12192528"/>
              <a:gd name="connsiteY2474" fmla="*/ 1204071 h 3912503"/>
              <a:gd name="connsiteX2475" fmla="*/ 5143235 w 12192528"/>
              <a:gd name="connsiteY2475" fmla="*/ 1199658 h 3912503"/>
              <a:gd name="connsiteX2476" fmla="*/ 5165300 w 12192528"/>
              <a:gd name="connsiteY2476" fmla="*/ 1204071 h 3912503"/>
              <a:gd name="connsiteX2477" fmla="*/ 5174127 w 12192528"/>
              <a:gd name="connsiteY2477" fmla="*/ 1204071 h 3912503"/>
              <a:gd name="connsiteX2478" fmla="*/ 5187368 w 12192528"/>
              <a:gd name="connsiteY2478" fmla="*/ 1204071 h 3912503"/>
              <a:gd name="connsiteX2479" fmla="*/ 5191780 w 12192528"/>
              <a:gd name="connsiteY2479" fmla="*/ 1204071 h 3912503"/>
              <a:gd name="connsiteX2480" fmla="*/ 5196195 w 12192528"/>
              <a:gd name="connsiteY2480" fmla="*/ 1208485 h 3912503"/>
              <a:gd name="connsiteX2481" fmla="*/ 5205019 w 12192528"/>
              <a:gd name="connsiteY2481" fmla="*/ 1208485 h 3912503"/>
              <a:gd name="connsiteX2482" fmla="*/ 5209434 w 12192528"/>
              <a:gd name="connsiteY2482" fmla="*/ 1204071 h 3912503"/>
              <a:gd name="connsiteX2483" fmla="*/ 5315354 w 12192528"/>
              <a:gd name="connsiteY2483" fmla="*/ 1204071 h 3912503"/>
              <a:gd name="connsiteX2484" fmla="*/ 5363899 w 12192528"/>
              <a:gd name="connsiteY2484" fmla="*/ 1212897 h 3912503"/>
              <a:gd name="connsiteX2485" fmla="*/ 5359489 w 12192528"/>
              <a:gd name="connsiteY2485" fmla="*/ 1208485 h 3912503"/>
              <a:gd name="connsiteX2486" fmla="*/ 5447752 w 12192528"/>
              <a:gd name="connsiteY2486" fmla="*/ 1217312 h 3912503"/>
              <a:gd name="connsiteX2487" fmla="*/ 5452166 w 12192528"/>
              <a:gd name="connsiteY2487" fmla="*/ 1212897 h 3912503"/>
              <a:gd name="connsiteX2488" fmla="*/ 5474234 w 12192528"/>
              <a:gd name="connsiteY2488" fmla="*/ 1217312 h 3912503"/>
              <a:gd name="connsiteX2489" fmla="*/ 5478645 w 12192528"/>
              <a:gd name="connsiteY2489" fmla="*/ 1221725 h 3912503"/>
              <a:gd name="connsiteX2490" fmla="*/ 5487473 w 12192528"/>
              <a:gd name="connsiteY2490" fmla="*/ 1217312 h 3912503"/>
              <a:gd name="connsiteX2491" fmla="*/ 5513952 w 12192528"/>
              <a:gd name="connsiteY2491" fmla="*/ 1221725 h 3912503"/>
              <a:gd name="connsiteX2492" fmla="*/ 5518366 w 12192528"/>
              <a:gd name="connsiteY2492" fmla="*/ 1221726 h 3912503"/>
              <a:gd name="connsiteX2493" fmla="*/ 5531607 w 12192528"/>
              <a:gd name="connsiteY2493" fmla="*/ 1226137 h 3912503"/>
              <a:gd name="connsiteX2494" fmla="*/ 5536018 w 12192528"/>
              <a:gd name="connsiteY2494" fmla="*/ 1226137 h 3912503"/>
              <a:gd name="connsiteX2495" fmla="*/ 5540432 w 12192528"/>
              <a:gd name="connsiteY2495" fmla="*/ 1226137 h 3912503"/>
              <a:gd name="connsiteX2496" fmla="*/ 5615460 w 12192528"/>
              <a:gd name="connsiteY2496" fmla="*/ 1243791 h 3912503"/>
              <a:gd name="connsiteX2497" fmla="*/ 5628699 w 12192528"/>
              <a:gd name="connsiteY2497" fmla="*/ 1243791 h 3912503"/>
              <a:gd name="connsiteX2498" fmla="*/ 5633113 w 12192528"/>
              <a:gd name="connsiteY2498" fmla="*/ 1243790 h 3912503"/>
              <a:gd name="connsiteX2499" fmla="*/ 5650765 w 12192528"/>
              <a:gd name="connsiteY2499" fmla="*/ 1243790 h 3912503"/>
              <a:gd name="connsiteX2500" fmla="*/ 5699311 w 12192528"/>
              <a:gd name="connsiteY2500" fmla="*/ 1261445 h 3912503"/>
              <a:gd name="connsiteX2501" fmla="*/ 5884670 w 12192528"/>
              <a:gd name="connsiteY2501" fmla="*/ 1318819 h 3912503"/>
              <a:gd name="connsiteX2502" fmla="*/ 5889085 w 12192528"/>
              <a:gd name="connsiteY2502" fmla="*/ 1318819 h 3912503"/>
              <a:gd name="connsiteX2503" fmla="*/ 5893498 w 12192528"/>
              <a:gd name="connsiteY2503" fmla="*/ 1323231 h 3912503"/>
              <a:gd name="connsiteX2504" fmla="*/ 5951973 w 12192528"/>
              <a:gd name="connsiteY2504" fmla="*/ 1356331 h 3912503"/>
              <a:gd name="connsiteX2505" fmla="*/ 6010071 w 12192528"/>
              <a:gd name="connsiteY2505" fmla="*/ 1385873 h 3912503"/>
              <a:gd name="connsiteX2506" fmla="*/ 6008796 w 12192528"/>
              <a:gd name="connsiteY2506" fmla="*/ 1385363 h 3912503"/>
              <a:gd name="connsiteX2507" fmla="*/ 5995002 w 12192528"/>
              <a:gd name="connsiteY2507" fmla="*/ 1380605 h 3912503"/>
              <a:gd name="connsiteX2508" fmla="*/ 5986176 w 12192528"/>
              <a:gd name="connsiteY2508" fmla="*/ 1376192 h 3912503"/>
              <a:gd name="connsiteX2509" fmla="*/ 5955283 w 12192528"/>
              <a:gd name="connsiteY2509" fmla="*/ 1362951 h 3912503"/>
              <a:gd name="connsiteX2510" fmla="*/ 5902324 w 12192528"/>
              <a:gd name="connsiteY2510" fmla="*/ 1340885 h 3912503"/>
              <a:gd name="connsiteX2511" fmla="*/ 5893498 w 12192528"/>
              <a:gd name="connsiteY2511" fmla="*/ 1336472 h 3912503"/>
              <a:gd name="connsiteX2512" fmla="*/ 5884670 w 12192528"/>
              <a:gd name="connsiteY2512" fmla="*/ 1332058 h 3912503"/>
              <a:gd name="connsiteX2513" fmla="*/ 5880257 w 12192528"/>
              <a:gd name="connsiteY2513" fmla="*/ 1336472 h 3912503"/>
              <a:gd name="connsiteX2514" fmla="*/ 5897909 w 12192528"/>
              <a:gd name="connsiteY2514" fmla="*/ 1349712 h 3912503"/>
              <a:gd name="connsiteX2515" fmla="*/ 5902324 w 12192528"/>
              <a:gd name="connsiteY2515" fmla="*/ 1349712 h 3912503"/>
              <a:gd name="connsiteX2516" fmla="*/ 5981762 w 12192528"/>
              <a:gd name="connsiteY2516" fmla="*/ 1385019 h 3912503"/>
              <a:gd name="connsiteX2517" fmla="*/ 5986176 w 12192528"/>
              <a:gd name="connsiteY2517" fmla="*/ 1385019 h 3912503"/>
              <a:gd name="connsiteX2518" fmla="*/ 6008241 w 12192528"/>
              <a:gd name="connsiteY2518" fmla="*/ 1402671 h 3912503"/>
              <a:gd name="connsiteX2519" fmla="*/ 6034725 w 12192528"/>
              <a:gd name="connsiteY2519" fmla="*/ 1415913 h 3912503"/>
              <a:gd name="connsiteX2520" fmla="*/ 6087683 w 12192528"/>
              <a:gd name="connsiteY2520" fmla="*/ 1439633 h 3912503"/>
              <a:gd name="connsiteX2521" fmla="*/ 6132066 w 12192528"/>
              <a:gd name="connsiteY2521" fmla="*/ 1467836 h 3912503"/>
              <a:gd name="connsiteX2522" fmla="*/ 6127403 w 12192528"/>
              <a:gd name="connsiteY2522" fmla="*/ 1468871 h 3912503"/>
              <a:gd name="connsiteX2523" fmla="*/ 6330415 w 12192528"/>
              <a:gd name="connsiteY2523" fmla="*/ 1592446 h 3912503"/>
              <a:gd name="connsiteX2524" fmla="*/ 6330415 w 12192528"/>
              <a:gd name="connsiteY2524" fmla="*/ 1596858 h 3912503"/>
              <a:gd name="connsiteX2525" fmla="*/ 6334829 w 12192528"/>
              <a:gd name="connsiteY2525" fmla="*/ 1596859 h 3912503"/>
              <a:gd name="connsiteX2526" fmla="*/ 6339242 w 12192528"/>
              <a:gd name="connsiteY2526" fmla="*/ 1596859 h 3912503"/>
              <a:gd name="connsiteX2527" fmla="*/ 6352483 w 12192528"/>
              <a:gd name="connsiteY2527" fmla="*/ 1614513 h 3912503"/>
              <a:gd name="connsiteX2528" fmla="*/ 6414267 w 12192528"/>
              <a:gd name="connsiteY2528" fmla="*/ 1649819 h 3912503"/>
              <a:gd name="connsiteX2529" fmla="*/ 6401029 w 12192528"/>
              <a:gd name="connsiteY2529" fmla="*/ 1649818 h 3912503"/>
              <a:gd name="connsiteX2530" fmla="*/ 6431922 w 12192528"/>
              <a:gd name="connsiteY2530" fmla="*/ 1663059 h 3912503"/>
              <a:gd name="connsiteX2531" fmla="*/ 6427507 w 12192528"/>
              <a:gd name="connsiteY2531" fmla="*/ 1667472 h 3912503"/>
              <a:gd name="connsiteX2532" fmla="*/ 6502532 w 12192528"/>
              <a:gd name="connsiteY2532" fmla="*/ 1720433 h 3912503"/>
              <a:gd name="connsiteX2533" fmla="*/ 6502532 w 12192528"/>
              <a:gd name="connsiteY2533" fmla="*/ 1724846 h 3912503"/>
              <a:gd name="connsiteX2534" fmla="*/ 6555490 w 12192528"/>
              <a:gd name="connsiteY2534" fmla="*/ 1773392 h 3912503"/>
              <a:gd name="connsiteX2535" fmla="*/ 6621689 w 12192528"/>
              <a:gd name="connsiteY2535" fmla="*/ 1830765 h 3912503"/>
              <a:gd name="connsiteX2536" fmla="*/ 6649828 w 12192528"/>
              <a:gd name="connsiteY2536" fmla="*/ 1864417 h 3912503"/>
              <a:gd name="connsiteX2537" fmla="*/ 6683345 w 12192528"/>
              <a:gd name="connsiteY2537" fmla="*/ 1896966 h 3912503"/>
              <a:gd name="connsiteX2538" fmla="*/ 6679066 w 12192528"/>
              <a:gd name="connsiteY2538" fmla="*/ 1896966 h 3912503"/>
              <a:gd name="connsiteX2539" fmla="*/ 6683479 w 12192528"/>
              <a:gd name="connsiteY2539" fmla="*/ 1901380 h 3912503"/>
              <a:gd name="connsiteX2540" fmla="*/ 6692305 w 12192528"/>
              <a:gd name="connsiteY2540" fmla="*/ 1905793 h 3912503"/>
              <a:gd name="connsiteX2541" fmla="*/ 6687890 w 12192528"/>
              <a:gd name="connsiteY2541" fmla="*/ 1905793 h 3912503"/>
              <a:gd name="connsiteX2542" fmla="*/ 6714370 w 12192528"/>
              <a:gd name="connsiteY2542" fmla="*/ 1932272 h 3912503"/>
              <a:gd name="connsiteX2543" fmla="*/ 6718784 w 12192528"/>
              <a:gd name="connsiteY2543" fmla="*/ 1932272 h 3912503"/>
              <a:gd name="connsiteX2544" fmla="*/ 6727610 w 12192528"/>
              <a:gd name="connsiteY2544" fmla="*/ 1936686 h 3912503"/>
              <a:gd name="connsiteX2545" fmla="*/ 6718784 w 12192528"/>
              <a:gd name="connsiteY2545" fmla="*/ 1936686 h 3912503"/>
              <a:gd name="connsiteX2546" fmla="*/ 6732024 w 12192528"/>
              <a:gd name="connsiteY2546" fmla="*/ 1949926 h 3912503"/>
              <a:gd name="connsiteX2547" fmla="*/ 6727608 w 12192528"/>
              <a:gd name="connsiteY2547" fmla="*/ 1949926 h 3912503"/>
              <a:gd name="connsiteX2548" fmla="*/ 6723198 w 12192528"/>
              <a:gd name="connsiteY2548" fmla="*/ 1949926 h 3912503"/>
              <a:gd name="connsiteX2549" fmla="*/ 6723198 w 12192528"/>
              <a:gd name="connsiteY2549" fmla="*/ 1954339 h 3912503"/>
              <a:gd name="connsiteX2550" fmla="*/ 6732024 w 12192528"/>
              <a:gd name="connsiteY2550" fmla="*/ 1954339 h 3912503"/>
              <a:gd name="connsiteX2551" fmla="*/ 6736436 w 12192528"/>
              <a:gd name="connsiteY2551" fmla="*/ 1954338 h 3912503"/>
              <a:gd name="connsiteX2552" fmla="*/ 6740851 w 12192528"/>
              <a:gd name="connsiteY2552" fmla="*/ 1958753 h 3912503"/>
              <a:gd name="connsiteX2553" fmla="*/ 6740851 w 12192528"/>
              <a:gd name="connsiteY2553" fmla="*/ 1963166 h 3912503"/>
              <a:gd name="connsiteX2554" fmla="*/ 6740851 w 12192528"/>
              <a:gd name="connsiteY2554" fmla="*/ 1967580 h 3912503"/>
              <a:gd name="connsiteX2555" fmla="*/ 6745263 w 12192528"/>
              <a:gd name="connsiteY2555" fmla="*/ 1967580 h 3912503"/>
              <a:gd name="connsiteX2556" fmla="*/ 6749678 w 12192528"/>
              <a:gd name="connsiteY2556" fmla="*/ 1967580 h 3912503"/>
              <a:gd name="connsiteX2557" fmla="*/ 6758503 w 12192528"/>
              <a:gd name="connsiteY2557" fmla="*/ 1980820 h 3912503"/>
              <a:gd name="connsiteX2558" fmla="*/ 6754092 w 12192528"/>
              <a:gd name="connsiteY2558" fmla="*/ 1980819 h 3912503"/>
              <a:gd name="connsiteX2559" fmla="*/ 6758503 w 12192528"/>
              <a:gd name="connsiteY2559" fmla="*/ 1985233 h 3912503"/>
              <a:gd name="connsiteX2560" fmla="*/ 6762917 w 12192528"/>
              <a:gd name="connsiteY2560" fmla="*/ 1989647 h 3912503"/>
              <a:gd name="connsiteX2561" fmla="*/ 6771744 w 12192528"/>
              <a:gd name="connsiteY2561" fmla="*/ 1994059 h 3912503"/>
              <a:gd name="connsiteX2562" fmla="*/ 6767331 w 12192528"/>
              <a:gd name="connsiteY2562" fmla="*/ 1994059 h 3912503"/>
              <a:gd name="connsiteX2563" fmla="*/ 6776157 w 12192528"/>
              <a:gd name="connsiteY2563" fmla="*/ 2011713 h 3912503"/>
              <a:gd name="connsiteX2564" fmla="*/ 6767331 w 12192528"/>
              <a:gd name="connsiteY2564" fmla="*/ 2011713 h 3912503"/>
              <a:gd name="connsiteX2565" fmla="*/ 6780571 w 12192528"/>
              <a:gd name="connsiteY2565" fmla="*/ 2029366 h 3912503"/>
              <a:gd name="connsiteX2566" fmla="*/ 6776157 w 12192528"/>
              <a:gd name="connsiteY2566" fmla="*/ 2029366 h 3912503"/>
              <a:gd name="connsiteX2567" fmla="*/ 6771744 w 12192528"/>
              <a:gd name="connsiteY2567" fmla="*/ 2024953 h 3912503"/>
              <a:gd name="connsiteX2568" fmla="*/ 6767331 w 12192528"/>
              <a:gd name="connsiteY2568" fmla="*/ 2024953 h 3912503"/>
              <a:gd name="connsiteX2569" fmla="*/ 6771744 w 12192528"/>
              <a:gd name="connsiteY2569" fmla="*/ 2029366 h 3912503"/>
              <a:gd name="connsiteX2570" fmla="*/ 6776157 w 12192528"/>
              <a:gd name="connsiteY2570" fmla="*/ 2033780 h 3912503"/>
              <a:gd name="connsiteX2571" fmla="*/ 6784983 w 12192528"/>
              <a:gd name="connsiteY2571" fmla="*/ 2038193 h 3912503"/>
              <a:gd name="connsiteX2572" fmla="*/ 6784983 w 12192528"/>
              <a:gd name="connsiteY2572" fmla="*/ 2029366 h 3912503"/>
              <a:gd name="connsiteX2573" fmla="*/ 6789396 w 12192528"/>
              <a:gd name="connsiteY2573" fmla="*/ 2033780 h 3912503"/>
              <a:gd name="connsiteX2574" fmla="*/ 6815876 w 12192528"/>
              <a:gd name="connsiteY2574" fmla="*/ 2055847 h 3912503"/>
              <a:gd name="connsiteX2575" fmla="*/ 6811465 w 12192528"/>
              <a:gd name="connsiteY2575" fmla="*/ 2038193 h 3912503"/>
              <a:gd name="connsiteX2576" fmla="*/ 6824703 w 12192528"/>
              <a:gd name="connsiteY2576" fmla="*/ 2055847 h 3912503"/>
              <a:gd name="connsiteX2577" fmla="*/ 6830026 w 12192528"/>
              <a:gd name="connsiteY2577" fmla="*/ 2061170 h 3912503"/>
              <a:gd name="connsiteX2578" fmla="*/ 6832873 w 12192528"/>
              <a:gd name="connsiteY2578" fmla="*/ 2056131 h 3912503"/>
              <a:gd name="connsiteX2579" fmla="*/ 6829114 w 12192528"/>
              <a:gd name="connsiteY2579" fmla="*/ 2051433 h 3912503"/>
              <a:gd name="connsiteX2580" fmla="*/ 6811465 w 12192528"/>
              <a:gd name="connsiteY2580" fmla="*/ 2029366 h 3912503"/>
              <a:gd name="connsiteX2581" fmla="*/ 6776157 w 12192528"/>
              <a:gd name="connsiteY2581" fmla="*/ 1989647 h 3912503"/>
              <a:gd name="connsiteX2582" fmla="*/ 6767331 w 12192528"/>
              <a:gd name="connsiteY2582" fmla="*/ 1976406 h 3912503"/>
              <a:gd name="connsiteX2583" fmla="*/ 6758503 w 12192528"/>
              <a:gd name="connsiteY2583" fmla="*/ 1967580 h 3912503"/>
              <a:gd name="connsiteX2584" fmla="*/ 6754092 w 12192528"/>
              <a:gd name="connsiteY2584" fmla="*/ 1958754 h 3912503"/>
              <a:gd name="connsiteX2585" fmla="*/ 6740851 w 12192528"/>
              <a:gd name="connsiteY2585" fmla="*/ 1945513 h 3912503"/>
              <a:gd name="connsiteX2586" fmla="*/ 6732024 w 12192528"/>
              <a:gd name="connsiteY2586" fmla="*/ 1932272 h 3912503"/>
              <a:gd name="connsiteX2587" fmla="*/ 6718784 w 12192528"/>
              <a:gd name="connsiteY2587" fmla="*/ 1923447 h 3912503"/>
              <a:gd name="connsiteX2588" fmla="*/ 6718784 w 12192528"/>
              <a:gd name="connsiteY2588" fmla="*/ 1919033 h 3912503"/>
              <a:gd name="connsiteX2589" fmla="*/ 6604038 w 12192528"/>
              <a:gd name="connsiteY2589" fmla="*/ 1786632 h 3912503"/>
              <a:gd name="connsiteX2590" fmla="*/ 6604038 w 12192528"/>
              <a:gd name="connsiteY2590" fmla="*/ 1782220 h 3912503"/>
              <a:gd name="connsiteX2591" fmla="*/ 6604038 w 12192528"/>
              <a:gd name="connsiteY2591" fmla="*/ 1777806 h 3912503"/>
              <a:gd name="connsiteX2592" fmla="*/ 6612866 w 12192528"/>
              <a:gd name="connsiteY2592" fmla="*/ 1786632 h 3912503"/>
              <a:gd name="connsiteX2593" fmla="*/ 6621689 w 12192528"/>
              <a:gd name="connsiteY2593" fmla="*/ 1795460 h 3912503"/>
              <a:gd name="connsiteX2594" fmla="*/ 6630516 w 12192528"/>
              <a:gd name="connsiteY2594" fmla="*/ 1804286 h 3912503"/>
              <a:gd name="connsiteX2595" fmla="*/ 6634931 w 12192528"/>
              <a:gd name="connsiteY2595" fmla="*/ 1804286 h 3912503"/>
              <a:gd name="connsiteX2596" fmla="*/ 6656998 w 12192528"/>
              <a:gd name="connsiteY2596" fmla="*/ 1826353 h 3912503"/>
              <a:gd name="connsiteX2597" fmla="*/ 6661411 w 12192528"/>
              <a:gd name="connsiteY2597" fmla="*/ 1826353 h 3912503"/>
              <a:gd name="connsiteX2598" fmla="*/ 6661412 w 12192528"/>
              <a:gd name="connsiteY2598" fmla="*/ 1821938 h 3912503"/>
              <a:gd name="connsiteX2599" fmla="*/ 6656998 w 12192528"/>
              <a:gd name="connsiteY2599" fmla="*/ 1817525 h 3912503"/>
              <a:gd name="connsiteX2600" fmla="*/ 6652584 w 12192528"/>
              <a:gd name="connsiteY2600" fmla="*/ 1813113 h 3912503"/>
              <a:gd name="connsiteX2601" fmla="*/ 6648172 w 12192528"/>
              <a:gd name="connsiteY2601" fmla="*/ 1808699 h 3912503"/>
              <a:gd name="connsiteX2602" fmla="*/ 6639347 w 12192528"/>
              <a:gd name="connsiteY2602" fmla="*/ 1799873 h 3912503"/>
              <a:gd name="connsiteX2603" fmla="*/ 6653964 w 12192528"/>
              <a:gd name="connsiteY2603" fmla="*/ 1814078 h 3912503"/>
              <a:gd name="connsiteX2604" fmla="*/ 6665783 w 12192528"/>
              <a:gd name="connsiteY2604" fmla="*/ 1826272 h 3912503"/>
              <a:gd name="connsiteX2605" fmla="*/ 6665824 w 12192528"/>
              <a:gd name="connsiteY2605" fmla="*/ 1826353 h 3912503"/>
              <a:gd name="connsiteX2606" fmla="*/ 6665872 w 12192528"/>
              <a:gd name="connsiteY2606" fmla="*/ 1826366 h 3912503"/>
              <a:gd name="connsiteX2607" fmla="*/ 6666928 w 12192528"/>
              <a:gd name="connsiteY2607" fmla="*/ 1827456 h 3912503"/>
              <a:gd name="connsiteX2608" fmla="*/ 6661412 w 12192528"/>
              <a:gd name="connsiteY2608" fmla="*/ 1835179 h 3912503"/>
              <a:gd name="connsiteX2609" fmla="*/ 6709958 w 12192528"/>
              <a:gd name="connsiteY2609" fmla="*/ 1879314 h 3912503"/>
              <a:gd name="connsiteX2610" fmla="*/ 6709956 w 12192528"/>
              <a:gd name="connsiteY2610" fmla="*/ 1874899 h 3912503"/>
              <a:gd name="connsiteX2611" fmla="*/ 6723198 w 12192528"/>
              <a:gd name="connsiteY2611" fmla="*/ 1888139 h 3912503"/>
              <a:gd name="connsiteX2612" fmla="*/ 6723198 w 12192528"/>
              <a:gd name="connsiteY2612" fmla="*/ 1892553 h 3912503"/>
              <a:gd name="connsiteX2613" fmla="*/ 6727610 w 12192528"/>
              <a:gd name="connsiteY2613" fmla="*/ 1892553 h 3912503"/>
              <a:gd name="connsiteX2614" fmla="*/ 6727610 w 12192528"/>
              <a:gd name="connsiteY2614" fmla="*/ 1896965 h 3912503"/>
              <a:gd name="connsiteX2615" fmla="*/ 6736436 w 12192528"/>
              <a:gd name="connsiteY2615" fmla="*/ 1905792 h 3912503"/>
              <a:gd name="connsiteX2616" fmla="*/ 6745263 w 12192528"/>
              <a:gd name="connsiteY2616" fmla="*/ 1910205 h 3912503"/>
              <a:gd name="connsiteX2617" fmla="*/ 6749678 w 12192528"/>
              <a:gd name="connsiteY2617" fmla="*/ 1914619 h 3912503"/>
              <a:gd name="connsiteX2618" fmla="*/ 6762917 w 12192528"/>
              <a:gd name="connsiteY2618" fmla="*/ 1927860 h 3912503"/>
              <a:gd name="connsiteX2619" fmla="*/ 6767331 w 12192528"/>
              <a:gd name="connsiteY2619" fmla="*/ 1927859 h 3912503"/>
              <a:gd name="connsiteX2620" fmla="*/ 6771744 w 12192528"/>
              <a:gd name="connsiteY2620" fmla="*/ 1932272 h 3912503"/>
              <a:gd name="connsiteX2621" fmla="*/ 6807051 w 12192528"/>
              <a:gd name="connsiteY2621" fmla="*/ 1971993 h 3912503"/>
              <a:gd name="connsiteX2622" fmla="*/ 6802634 w 12192528"/>
              <a:gd name="connsiteY2622" fmla="*/ 1976406 h 3912503"/>
              <a:gd name="connsiteX2623" fmla="*/ 6798220 w 12192528"/>
              <a:gd name="connsiteY2623" fmla="*/ 1971993 h 3912503"/>
              <a:gd name="connsiteX2624" fmla="*/ 6793810 w 12192528"/>
              <a:gd name="connsiteY2624" fmla="*/ 1967580 h 3912503"/>
              <a:gd name="connsiteX2625" fmla="*/ 6793810 w 12192528"/>
              <a:gd name="connsiteY2625" fmla="*/ 1971993 h 3912503"/>
              <a:gd name="connsiteX2626" fmla="*/ 6798224 w 12192528"/>
              <a:gd name="connsiteY2626" fmla="*/ 1976406 h 3912503"/>
              <a:gd name="connsiteX2627" fmla="*/ 6802634 w 12192528"/>
              <a:gd name="connsiteY2627" fmla="*/ 1980820 h 3912503"/>
              <a:gd name="connsiteX2628" fmla="*/ 6807051 w 12192528"/>
              <a:gd name="connsiteY2628" fmla="*/ 1980820 h 3912503"/>
              <a:gd name="connsiteX2629" fmla="*/ 6811465 w 12192528"/>
              <a:gd name="connsiteY2629" fmla="*/ 1980820 h 3912503"/>
              <a:gd name="connsiteX2630" fmla="*/ 6842356 w 12192528"/>
              <a:gd name="connsiteY2630" fmla="*/ 2020539 h 3912503"/>
              <a:gd name="connsiteX2631" fmla="*/ 6846767 w 12192528"/>
              <a:gd name="connsiteY2631" fmla="*/ 2020540 h 3912503"/>
              <a:gd name="connsiteX2632" fmla="*/ 6850210 w 12192528"/>
              <a:gd name="connsiteY2632" fmla="*/ 2025459 h 3912503"/>
              <a:gd name="connsiteX2633" fmla="*/ 6856480 w 12192528"/>
              <a:gd name="connsiteY2633" fmla="*/ 2014366 h 3912503"/>
              <a:gd name="connsiteX2634" fmla="*/ 6851182 w 12192528"/>
              <a:gd name="connsiteY2634" fmla="*/ 2007300 h 3912503"/>
              <a:gd name="connsiteX2635" fmla="*/ 6833529 w 12192528"/>
              <a:gd name="connsiteY2635" fmla="*/ 1985233 h 3912503"/>
              <a:gd name="connsiteX2636" fmla="*/ 6833529 w 12192528"/>
              <a:gd name="connsiteY2636" fmla="*/ 1980820 h 3912503"/>
              <a:gd name="connsiteX2637" fmla="*/ 6829114 w 12192528"/>
              <a:gd name="connsiteY2637" fmla="*/ 1976406 h 3912503"/>
              <a:gd name="connsiteX2638" fmla="*/ 6824703 w 12192528"/>
              <a:gd name="connsiteY2638" fmla="*/ 1976406 h 3912503"/>
              <a:gd name="connsiteX2639" fmla="*/ 6824703 w 12192528"/>
              <a:gd name="connsiteY2639" fmla="*/ 1971993 h 3912503"/>
              <a:gd name="connsiteX2640" fmla="*/ 6749678 w 12192528"/>
              <a:gd name="connsiteY2640" fmla="*/ 1888139 h 3912503"/>
              <a:gd name="connsiteX2641" fmla="*/ 6745263 w 12192528"/>
              <a:gd name="connsiteY2641" fmla="*/ 1879314 h 3912503"/>
              <a:gd name="connsiteX2642" fmla="*/ 6745263 w 12192528"/>
              <a:gd name="connsiteY2642" fmla="*/ 1874899 h 3912503"/>
              <a:gd name="connsiteX2643" fmla="*/ 6740851 w 12192528"/>
              <a:gd name="connsiteY2643" fmla="*/ 1870485 h 3912503"/>
              <a:gd name="connsiteX2644" fmla="*/ 6736436 w 12192528"/>
              <a:gd name="connsiteY2644" fmla="*/ 1870486 h 3912503"/>
              <a:gd name="connsiteX2645" fmla="*/ 6701129 w 12192528"/>
              <a:gd name="connsiteY2645" fmla="*/ 1839592 h 3912503"/>
              <a:gd name="connsiteX2646" fmla="*/ 6696717 w 12192528"/>
              <a:gd name="connsiteY2646" fmla="*/ 1835180 h 3912503"/>
              <a:gd name="connsiteX2647" fmla="*/ 6687890 w 12192528"/>
              <a:gd name="connsiteY2647" fmla="*/ 1830765 h 3912503"/>
              <a:gd name="connsiteX2648" fmla="*/ 6687890 w 12192528"/>
              <a:gd name="connsiteY2648" fmla="*/ 1839408 h 3912503"/>
              <a:gd name="connsiteX2649" fmla="*/ 6679066 w 12192528"/>
              <a:gd name="connsiteY2649" fmla="*/ 1830214 h 3912503"/>
              <a:gd name="connsiteX2650" fmla="*/ 6665872 w 12192528"/>
              <a:gd name="connsiteY2650" fmla="*/ 1826366 h 3912503"/>
              <a:gd name="connsiteX2651" fmla="*/ 6665783 w 12192528"/>
              <a:gd name="connsiteY2651" fmla="*/ 1826272 h 3912503"/>
              <a:gd name="connsiteX2652" fmla="*/ 6657551 w 12192528"/>
              <a:gd name="connsiteY2652" fmla="*/ 1810905 h 3912503"/>
              <a:gd name="connsiteX2653" fmla="*/ 6639347 w 12192528"/>
              <a:gd name="connsiteY2653" fmla="*/ 1795459 h 3912503"/>
              <a:gd name="connsiteX2654" fmla="*/ 6639347 w 12192528"/>
              <a:gd name="connsiteY2654" fmla="*/ 1791046 h 3912503"/>
              <a:gd name="connsiteX2655" fmla="*/ 6634931 w 12192528"/>
              <a:gd name="connsiteY2655" fmla="*/ 1791044 h 3912503"/>
              <a:gd name="connsiteX2656" fmla="*/ 6630516 w 12192528"/>
              <a:gd name="connsiteY2656" fmla="*/ 1791046 h 3912503"/>
              <a:gd name="connsiteX2657" fmla="*/ 6626106 w 12192528"/>
              <a:gd name="connsiteY2657" fmla="*/ 1777806 h 3912503"/>
              <a:gd name="connsiteX2658" fmla="*/ 6630516 w 12192528"/>
              <a:gd name="connsiteY2658" fmla="*/ 1782220 h 3912503"/>
              <a:gd name="connsiteX2659" fmla="*/ 6639347 w 12192528"/>
              <a:gd name="connsiteY2659" fmla="*/ 1786632 h 3912503"/>
              <a:gd name="connsiteX2660" fmla="*/ 6634931 w 12192528"/>
              <a:gd name="connsiteY2660" fmla="*/ 1777805 h 3912503"/>
              <a:gd name="connsiteX2661" fmla="*/ 6634931 w 12192528"/>
              <a:gd name="connsiteY2661" fmla="*/ 1773392 h 3912503"/>
              <a:gd name="connsiteX2662" fmla="*/ 6656998 w 12192528"/>
              <a:gd name="connsiteY2662" fmla="*/ 1791046 h 3912503"/>
              <a:gd name="connsiteX2663" fmla="*/ 6515773 w 12192528"/>
              <a:gd name="connsiteY2663" fmla="*/ 1654232 h 3912503"/>
              <a:gd name="connsiteX2664" fmla="*/ 6498119 w 12192528"/>
              <a:gd name="connsiteY2664" fmla="*/ 1640992 h 3912503"/>
              <a:gd name="connsiteX2665" fmla="*/ 6493708 w 12192528"/>
              <a:gd name="connsiteY2665" fmla="*/ 1636580 h 3912503"/>
              <a:gd name="connsiteX2666" fmla="*/ 6343655 w 12192528"/>
              <a:gd name="connsiteY2666" fmla="*/ 1526246 h 3912503"/>
              <a:gd name="connsiteX2667" fmla="*/ 6334829 w 12192528"/>
              <a:gd name="connsiteY2667" fmla="*/ 1517419 h 3912503"/>
              <a:gd name="connsiteX2668" fmla="*/ 6348068 w 12192528"/>
              <a:gd name="connsiteY2668" fmla="*/ 1526246 h 3912503"/>
              <a:gd name="connsiteX2669" fmla="*/ 6356895 w 12192528"/>
              <a:gd name="connsiteY2669" fmla="*/ 1526246 h 3912503"/>
              <a:gd name="connsiteX2670" fmla="*/ 6374548 w 12192528"/>
              <a:gd name="connsiteY2670" fmla="*/ 1535072 h 3912503"/>
              <a:gd name="connsiteX2671" fmla="*/ 6378962 w 12192528"/>
              <a:gd name="connsiteY2671" fmla="*/ 1539486 h 3912503"/>
              <a:gd name="connsiteX2672" fmla="*/ 6383376 w 12192528"/>
              <a:gd name="connsiteY2672" fmla="*/ 1539486 h 3912503"/>
              <a:gd name="connsiteX2673" fmla="*/ 6423095 w 12192528"/>
              <a:gd name="connsiteY2673" fmla="*/ 1557139 h 3912503"/>
              <a:gd name="connsiteX2674" fmla="*/ 6414267 w 12192528"/>
              <a:gd name="connsiteY2674" fmla="*/ 1552725 h 3912503"/>
              <a:gd name="connsiteX2675" fmla="*/ 6423096 w 12192528"/>
              <a:gd name="connsiteY2675" fmla="*/ 1552725 h 3912503"/>
              <a:gd name="connsiteX2676" fmla="*/ 6418682 w 12192528"/>
              <a:gd name="connsiteY2676" fmla="*/ 1543899 h 3912503"/>
              <a:gd name="connsiteX2677" fmla="*/ 6423096 w 12192528"/>
              <a:gd name="connsiteY2677" fmla="*/ 1543898 h 3912503"/>
              <a:gd name="connsiteX2678" fmla="*/ 6427507 w 12192528"/>
              <a:gd name="connsiteY2678" fmla="*/ 1548312 h 3912503"/>
              <a:gd name="connsiteX2679" fmla="*/ 6431921 w 12192528"/>
              <a:gd name="connsiteY2679" fmla="*/ 1548310 h 3912503"/>
              <a:gd name="connsiteX2680" fmla="*/ 6458401 w 12192528"/>
              <a:gd name="connsiteY2680" fmla="*/ 1561552 h 3912503"/>
              <a:gd name="connsiteX2681" fmla="*/ 6462814 w 12192528"/>
              <a:gd name="connsiteY2681" fmla="*/ 1561552 h 3912503"/>
              <a:gd name="connsiteX2682" fmla="*/ 6458402 w 12192528"/>
              <a:gd name="connsiteY2682" fmla="*/ 1557138 h 3912503"/>
              <a:gd name="connsiteX2683" fmla="*/ 6458402 w 12192528"/>
              <a:gd name="connsiteY2683" fmla="*/ 1552725 h 3912503"/>
              <a:gd name="connsiteX2684" fmla="*/ 6537839 w 12192528"/>
              <a:gd name="connsiteY2684" fmla="*/ 1596859 h 3912503"/>
              <a:gd name="connsiteX2685" fmla="*/ 6612866 w 12192528"/>
              <a:gd name="connsiteY2685" fmla="*/ 1645405 h 3912503"/>
              <a:gd name="connsiteX2686" fmla="*/ 6617277 w 12192528"/>
              <a:gd name="connsiteY2686" fmla="*/ 1645405 h 3912503"/>
              <a:gd name="connsiteX2687" fmla="*/ 6617277 w 12192528"/>
              <a:gd name="connsiteY2687" fmla="*/ 1649819 h 3912503"/>
              <a:gd name="connsiteX2688" fmla="*/ 6621689 w 12192528"/>
              <a:gd name="connsiteY2688" fmla="*/ 1649819 h 3912503"/>
              <a:gd name="connsiteX2689" fmla="*/ 6626106 w 12192528"/>
              <a:gd name="connsiteY2689" fmla="*/ 1654232 h 3912503"/>
              <a:gd name="connsiteX2690" fmla="*/ 6639346 w 12192528"/>
              <a:gd name="connsiteY2690" fmla="*/ 1663059 h 3912503"/>
              <a:gd name="connsiteX2691" fmla="*/ 6648172 w 12192528"/>
              <a:gd name="connsiteY2691" fmla="*/ 1663058 h 3912503"/>
              <a:gd name="connsiteX2692" fmla="*/ 6630516 w 12192528"/>
              <a:gd name="connsiteY2692" fmla="*/ 1654232 h 3912503"/>
              <a:gd name="connsiteX2693" fmla="*/ 6630516 w 12192528"/>
              <a:gd name="connsiteY2693" fmla="*/ 1649818 h 3912503"/>
              <a:gd name="connsiteX2694" fmla="*/ 6634931 w 12192528"/>
              <a:gd name="connsiteY2694" fmla="*/ 1649819 h 3912503"/>
              <a:gd name="connsiteX2695" fmla="*/ 6630516 w 12192528"/>
              <a:gd name="connsiteY2695" fmla="*/ 1645405 h 3912503"/>
              <a:gd name="connsiteX2696" fmla="*/ 6626106 w 12192528"/>
              <a:gd name="connsiteY2696" fmla="*/ 1645405 h 3912503"/>
              <a:gd name="connsiteX2697" fmla="*/ 6621689 w 12192528"/>
              <a:gd name="connsiteY2697" fmla="*/ 1640992 h 3912503"/>
              <a:gd name="connsiteX2698" fmla="*/ 6608454 w 12192528"/>
              <a:gd name="connsiteY2698" fmla="*/ 1632165 h 3912503"/>
              <a:gd name="connsiteX2699" fmla="*/ 6599624 w 12192528"/>
              <a:gd name="connsiteY2699" fmla="*/ 1632165 h 3912503"/>
              <a:gd name="connsiteX2700" fmla="*/ 6599624 w 12192528"/>
              <a:gd name="connsiteY2700" fmla="*/ 1623339 h 3912503"/>
              <a:gd name="connsiteX2701" fmla="*/ 6568731 w 12192528"/>
              <a:gd name="connsiteY2701" fmla="*/ 1610098 h 3912503"/>
              <a:gd name="connsiteX2702" fmla="*/ 6515773 w 12192528"/>
              <a:gd name="connsiteY2702" fmla="*/ 1574792 h 3912503"/>
              <a:gd name="connsiteX2703" fmla="*/ 6515773 w 12192528"/>
              <a:gd name="connsiteY2703" fmla="*/ 1579205 h 3912503"/>
              <a:gd name="connsiteX2704" fmla="*/ 6506947 w 12192528"/>
              <a:gd name="connsiteY2704" fmla="*/ 1570379 h 3912503"/>
              <a:gd name="connsiteX2705" fmla="*/ 6498119 w 12192528"/>
              <a:gd name="connsiteY2705" fmla="*/ 1570379 h 3912503"/>
              <a:gd name="connsiteX2706" fmla="*/ 6498119 w 12192528"/>
              <a:gd name="connsiteY2706" fmla="*/ 1565965 h 3912503"/>
              <a:gd name="connsiteX2707" fmla="*/ 6489293 w 12192528"/>
              <a:gd name="connsiteY2707" fmla="*/ 1557139 h 3912503"/>
              <a:gd name="connsiteX2708" fmla="*/ 6427507 w 12192528"/>
              <a:gd name="connsiteY2708" fmla="*/ 1526246 h 3912503"/>
              <a:gd name="connsiteX2709" fmla="*/ 6427507 w 12192528"/>
              <a:gd name="connsiteY2709" fmla="*/ 1535072 h 3912503"/>
              <a:gd name="connsiteX2710" fmla="*/ 6330415 w 12192528"/>
              <a:gd name="connsiteY2710" fmla="*/ 1482112 h 3912503"/>
              <a:gd name="connsiteX2711" fmla="*/ 6250975 w 12192528"/>
              <a:gd name="connsiteY2711" fmla="*/ 1442392 h 3912503"/>
              <a:gd name="connsiteX2712" fmla="*/ 6250977 w 12192528"/>
              <a:gd name="connsiteY2712" fmla="*/ 1437977 h 3912503"/>
              <a:gd name="connsiteX2713" fmla="*/ 6198016 w 12192528"/>
              <a:gd name="connsiteY2713" fmla="*/ 1411498 h 3912503"/>
              <a:gd name="connsiteX2714" fmla="*/ 6211253 w 12192528"/>
              <a:gd name="connsiteY2714" fmla="*/ 1411498 h 3912503"/>
              <a:gd name="connsiteX2715" fmla="*/ 6193603 w 12192528"/>
              <a:gd name="connsiteY2715" fmla="*/ 1415913 h 3912503"/>
              <a:gd name="connsiteX2716" fmla="*/ 6136229 w 12192528"/>
              <a:gd name="connsiteY2716" fmla="*/ 1380605 h 3912503"/>
              <a:gd name="connsiteX2717" fmla="*/ 6131816 w 12192528"/>
              <a:gd name="connsiteY2717" fmla="*/ 1376192 h 3912503"/>
              <a:gd name="connsiteX2718" fmla="*/ 6127403 w 12192528"/>
              <a:gd name="connsiteY2718" fmla="*/ 1376192 h 3912503"/>
              <a:gd name="connsiteX2719" fmla="*/ 6127403 w 12192528"/>
              <a:gd name="connsiteY2719" fmla="*/ 1380604 h 3912503"/>
              <a:gd name="connsiteX2720" fmla="*/ 6118577 w 12192528"/>
              <a:gd name="connsiteY2720" fmla="*/ 1376192 h 3912503"/>
              <a:gd name="connsiteX2721" fmla="*/ 6122990 w 12192528"/>
              <a:gd name="connsiteY2721" fmla="*/ 1376191 h 3912503"/>
              <a:gd name="connsiteX2722" fmla="*/ 6122990 w 12192528"/>
              <a:gd name="connsiteY2722" fmla="*/ 1371777 h 3912503"/>
              <a:gd name="connsiteX2723" fmla="*/ 6114162 w 12192528"/>
              <a:gd name="connsiteY2723" fmla="*/ 1371777 h 3912503"/>
              <a:gd name="connsiteX2724" fmla="*/ 6109748 w 12192528"/>
              <a:gd name="connsiteY2724" fmla="*/ 1367364 h 3912503"/>
              <a:gd name="connsiteX2725" fmla="*/ 6096509 w 12192528"/>
              <a:gd name="connsiteY2725" fmla="*/ 1367364 h 3912503"/>
              <a:gd name="connsiteX2726" fmla="*/ 6087683 w 12192528"/>
              <a:gd name="connsiteY2726" fmla="*/ 1362951 h 3912503"/>
              <a:gd name="connsiteX2727" fmla="*/ 6092098 w 12192528"/>
              <a:gd name="connsiteY2727" fmla="*/ 1367364 h 3912503"/>
              <a:gd name="connsiteX2728" fmla="*/ 6096508 w 12192528"/>
              <a:gd name="connsiteY2728" fmla="*/ 1371777 h 3912503"/>
              <a:gd name="connsiteX2729" fmla="*/ 6087683 w 12192528"/>
              <a:gd name="connsiteY2729" fmla="*/ 1371777 h 3912503"/>
              <a:gd name="connsiteX2730" fmla="*/ 6061203 w 12192528"/>
              <a:gd name="connsiteY2730" fmla="*/ 1358538 h 3912503"/>
              <a:gd name="connsiteX2731" fmla="*/ 6012656 w 12192528"/>
              <a:gd name="connsiteY2731" fmla="*/ 1336472 h 3912503"/>
              <a:gd name="connsiteX2732" fmla="*/ 6008244 w 12192528"/>
              <a:gd name="connsiteY2732" fmla="*/ 1332058 h 3912503"/>
              <a:gd name="connsiteX2733" fmla="*/ 6003831 w 12192528"/>
              <a:gd name="connsiteY2733" fmla="*/ 1332058 h 3912503"/>
              <a:gd name="connsiteX2734" fmla="*/ 5981763 w 12192528"/>
              <a:gd name="connsiteY2734" fmla="*/ 1323231 h 3912503"/>
              <a:gd name="connsiteX2735" fmla="*/ 5964112 w 12192528"/>
              <a:gd name="connsiteY2735" fmla="*/ 1318819 h 3912503"/>
              <a:gd name="connsiteX2736" fmla="*/ 5933218 w 12192528"/>
              <a:gd name="connsiteY2736" fmla="*/ 1301165 h 3912503"/>
              <a:gd name="connsiteX2737" fmla="*/ 5933218 w 12192528"/>
              <a:gd name="connsiteY2737" fmla="*/ 1296751 h 3912503"/>
              <a:gd name="connsiteX2738" fmla="*/ 5924391 w 12192528"/>
              <a:gd name="connsiteY2738" fmla="*/ 1296752 h 3912503"/>
              <a:gd name="connsiteX2739" fmla="*/ 5919979 w 12192528"/>
              <a:gd name="connsiteY2739" fmla="*/ 1296752 h 3912503"/>
              <a:gd name="connsiteX2740" fmla="*/ 5924391 w 12192528"/>
              <a:gd name="connsiteY2740" fmla="*/ 1301164 h 3912503"/>
              <a:gd name="connsiteX2741" fmla="*/ 5893498 w 12192528"/>
              <a:gd name="connsiteY2741" fmla="*/ 1287925 h 3912503"/>
              <a:gd name="connsiteX2742" fmla="*/ 5889084 w 12192528"/>
              <a:gd name="connsiteY2742" fmla="*/ 1283512 h 3912503"/>
              <a:gd name="connsiteX2743" fmla="*/ 5884670 w 12192528"/>
              <a:gd name="connsiteY2743" fmla="*/ 1283510 h 3912503"/>
              <a:gd name="connsiteX2744" fmla="*/ 5853777 w 12192528"/>
              <a:gd name="connsiteY2744" fmla="*/ 1274685 h 3912503"/>
              <a:gd name="connsiteX2745" fmla="*/ 5858191 w 12192528"/>
              <a:gd name="connsiteY2745" fmla="*/ 1274685 h 3912503"/>
              <a:gd name="connsiteX2746" fmla="*/ 5871431 w 12192528"/>
              <a:gd name="connsiteY2746" fmla="*/ 1274684 h 3912503"/>
              <a:gd name="connsiteX2747" fmla="*/ 5862604 w 12192528"/>
              <a:gd name="connsiteY2747" fmla="*/ 1270271 h 3912503"/>
              <a:gd name="connsiteX2748" fmla="*/ 5858191 w 12192528"/>
              <a:gd name="connsiteY2748" fmla="*/ 1265858 h 3912503"/>
              <a:gd name="connsiteX2749" fmla="*/ 5875845 w 12192528"/>
              <a:gd name="connsiteY2749" fmla="*/ 1270271 h 3912503"/>
              <a:gd name="connsiteX2750" fmla="*/ 5880257 w 12192528"/>
              <a:gd name="connsiteY2750" fmla="*/ 1261445 h 3912503"/>
              <a:gd name="connsiteX2751" fmla="*/ 5849364 w 12192528"/>
              <a:gd name="connsiteY2751" fmla="*/ 1248204 h 3912503"/>
              <a:gd name="connsiteX2752" fmla="*/ 5844951 w 12192528"/>
              <a:gd name="connsiteY2752" fmla="*/ 1243791 h 3912503"/>
              <a:gd name="connsiteX2753" fmla="*/ 5840538 w 12192528"/>
              <a:gd name="connsiteY2753" fmla="*/ 1243791 h 3912503"/>
              <a:gd name="connsiteX2754" fmla="*/ 5836125 w 12192528"/>
              <a:gd name="connsiteY2754" fmla="*/ 1243791 h 3912503"/>
              <a:gd name="connsiteX2755" fmla="*/ 5840538 w 12192528"/>
              <a:gd name="connsiteY2755" fmla="*/ 1248204 h 3912503"/>
              <a:gd name="connsiteX2756" fmla="*/ 5827298 w 12192528"/>
              <a:gd name="connsiteY2756" fmla="*/ 1248204 h 3912503"/>
              <a:gd name="connsiteX2757" fmla="*/ 5822882 w 12192528"/>
              <a:gd name="connsiteY2757" fmla="*/ 1252618 h 3912503"/>
              <a:gd name="connsiteX2758" fmla="*/ 5844951 w 12192528"/>
              <a:gd name="connsiteY2758" fmla="*/ 1261445 h 3912503"/>
              <a:gd name="connsiteX2759" fmla="*/ 5840538 w 12192528"/>
              <a:gd name="connsiteY2759" fmla="*/ 1261445 h 3912503"/>
              <a:gd name="connsiteX2760" fmla="*/ 5831713 w 12192528"/>
              <a:gd name="connsiteY2760" fmla="*/ 1265858 h 3912503"/>
              <a:gd name="connsiteX2761" fmla="*/ 5839320 w 12192528"/>
              <a:gd name="connsiteY2761" fmla="*/ 1269662 h 3912503"/>
              <a:gd name="connsiteX2762" fmla="*/ 5831160 w 12192528"/>
              <a:gd name="connsiteY2762" fmla="*/ 1269168 h 3912503"/>
              <a:gd name="connsiteX2763" fmla="*/ 5809645 w 12192528"/>
              <a:gd name="connsiteY2763" fmla="*/ 1261445 h 3912503"/>
              <a:gd name="connsiteX2764" fmla="*/ 5796403 w 12192528"/>
              <a:gd name="connsiteY2764" fmla="*/ 1274685 h 3912503"/>
              <a:gd name="connsiteX2765" fmla="*/ 5800818 w 12192528"/>
              <a:gd name="connsiteY2765" fmla="*/ 1270270 h 3912503"/>
              <a:gd name="connsiteX2766" fmla="*/ 5800818 w 12192528"/>
              <a:gd name="connsiteY2766" fmla="*/ 1265858 h 3912503"/>
              <a:gd name="connsiteX2767" fmla="*/ 5800818 w 12192528"/>
              <a:gd name="connsiteY2767" fmla="*/ 1261445 h 3912503"/>
              <a:gd name="connsiteX2768" fmla="*/ 5791991 w 12192528"/>
              <a:gd name="connsiteY2768" fmla="*/ 1261443 h 3912503"/>
              <a:gd name="connsiteX2769" fmla="*/ 5787579 w 12192528"/>
              <a:gd name="connsiteY2769" fmla="*/ 1261443 h 3912503"/>
              <a:gd name="connsiteX2770" fmla="*/ 5778750 w 12192528"/>
              <a:gd name="connsiteY2770" fmla="*/ 1252618 h 3912503"/>
              <a:gd name="connsiteX2771" fmla="*/ 5787579 w 12192528"/>
              <a:gd name="connsiteY2771" fmla="*/ 1252618 h 3912503"/>
              <a:gd name="connsiteX2772" fmla="*/ 5787579 w 12192528"/>
              <a:gd name="connsiteY2772" fmla="*/ 1248203 h 3912503"/>
              <a:gd name="connsiteX2773" fmla="*/ 5778750 w 12192528"/>
              <a:gd name="connsiteY2773" fmla="*/ 1243791 h 3912503"/>
              <a:gd name="connsiteX2774" fmla="*/ 5769923 w 12192528"/>
              <a:gd name="connsiteY2774" fmla="*/ 1243791 h 3912503"/>
              <a:gd name="connsiteX2775" fmla="*/ 5761100 w 12192528"/>
              <a:gd name="connsiteY2775" fmla="*/ 1252617 h 3912503"/>
              <a:gd name="connsiteX2776" fmla="*/ 5756685 w 12192528"/>
              <a:gd name="connsiteY2776" fmla="*/ 1257032 h 3912503"/>
              <a:gd name="connsiteX2777" fmla="*/ 5761100 w 12192528"/>
              <a:gd name="connsiteY2777" fmla="*/ 1261445 h 3912503"/>
              <a:gd name="connsiteX2778" fmla="*/ 5739030 w 12192528"/>
              <a:gd name="connsiteY2778" fmla="*/ 1257032 h 3912503"/>
              <a:gd name="connsiteX2779" fmla="*/ 5752271 w 12192528"/>
              <a:gd name="connsiteY2779" fmla="*/ 1257032 h 3912503"/>
              <a:gd name="connsiteX2780" fmla="*/ 5734619 w 12192528"/>
              <a:gd name="connsiteY2780" fmla="*/ 1248204 h 3912503"/>
              <a:gd name="connsiteX2781" fmla="*/ 5734616 w 12192528"/>
              <a:gd name="connsiteY2781" fmla="*/ 1243790 h 3912503"/>
              <a:gd name="connsiteX2782" fmla="*/ 5730206 w 12192528"/>
              <a:gd name="connsiteY2782" fmla="*/ 1243791 h 3912503"/>
              <a:gd name="connsiteX2783" fmla="*/ 5725793 w 12192528"/>
              <a:gd name="connsiteY2783" fmla="*/ 1243791 h 3912503"/>
              <a:gd name="connsiteX2784" fmla="*/ 5725793 w 12192528"/>
              <a:gd name="connsiteY2784" fmla="*/ 1248204 h 3912503"/>
              <a:gd name="connsiteX2785" fmla="*/ 5716966 w 12192528"/>
              <a:gd name="connsiteY2785" fmla="*/ 1239379 h 3912503"/>
              <a:gd name="connsiteX2786" fmla="*/ 5690487 w 12192528"/>
              <a:gd name="connsiteY2786" fmla="*/ 1239379 h 3912503"/>
              <a:gd name="connsiteX2787" fmla="*/ 5699311 w 12192528"/>
              <a:gd name="connsiteY2787" fmla="*/ 1239379 h 3912503"/>
              <a:gd name="connsiteX2788" fmla="*/ 5672833 w 12192528"/>
              <a:gd name="connsiteY2788" fmla="*/ 1230551 h 3912503"/>
              <a:gd name="connsiteX2789" fmla="*/ 5677245 w 12192528"/>
              <a:gd name="connsiteY2789" fmla="*/ 1226137 h 3912503"/>
              <a:gd name="connsiteX2790" fmla="*/ 5672832 w 12192528"/>
              <a:gd name="connsiteY2790" fmla="*/ 1226137 h 3912503"/>
              <a:gd name="connsiteX2791" fmla="*/ 5672833 w 12192528"/>
              <a:gd name="connsiteY2791" fmla="*/ 1221725 h 3912503"/>
              <a:gd name="connsiteX2792" fmla="*/ 5677245 w 12192528"/>
              <a:gd name="connsiteY2792" fmla="*/ 1217312 h 3912503"/>
              <a:gd name="connsiteX2793" fmla="*/ 5716966 w 12192528"/>
              <a:gd name="connsiteY2793" fmla="*/ 1226137 h 3912503"/>
              <a:gd name="connsiteX2794" fmla="*/ 5716966 w 12192528"/>
              <a:gd name="connsiteY2794" fmla="*/ 1230551 h 3912503"/>
              <a:gd name="connsiteX2795" fmla="*/ 5734619 w 12192528"/>
              <a:gd name="connsiteY2795" fmla="*/ 1234965 h 3912503"/>
              <a:gd name="connsiteX2796" fmla="*/ 5721376 w 12192528"/>
              <a:gd name="connsiteY2796" fmla="*/ 1226137 h 3912503"/>
              <a:gd name="connsiteX2797" fmla="*/ 5743445 w 12192528"/>
              <a:gd name="connsiteY2797" fmla="*/ 1230551 h 3912503"/>
              <a:gd name="connsiteX2798" fmla="*/ 5747859 w 12192528"/>
              <a:gd name="connsiteY2798" fmla="*/ 1234965 h 3912503"/>
              <a:gd name="connsiteX2799" fmla="*/ 5752269 w 12192528"/>
              <a:gd name="connsiteY2799" fmla="*/ 1234965 h 3912503"/>
              <a:gd name="connsiteX2800" fmla="*/ 5756684 w 12192528"/>
              <a:gd name="connsiteY2800" fmla="*/ 1230551 h 3912503"/>
              <a:gd name="connsiteX2801" fmla="*/ 5752271 w 12192528"/>
              <a:gd name="connsiteY2801" fmla="*/ 1226137 h 3912503"/>
              <a:gd name="connsiteX2802" fmla="*/ 5743445 w 12192528"/>
              <a:gd name="connsiteY2802" fmla="*/ 1221725 h 3912503"/>
              <a:gd name="connsiteX2803" fmla="*/ 5739030 w 12192528"/>
              <a:gd name="connsiteY2803" fmla="*/ 1221725 h 3912503"/>
              <a:gd name="connsiteX2804" fmla="*/ 5739030 w 12192528"/>
              <a:gd name="connsiteY2804" fmla="*/ 1226137 h 3912503"/>
              <a:gd name="connsiteX2805" fmla="*/ 5677245 w 12192528"/>
              <a:gd name="connsiteY2805" fmla="*/ 1212897 h 3912503"/>
              <a:gd name="connsiteX2806" fmla="*/ 5672832 w 12192528"/>
              <a:gd name="connsiteY2806" fmla="*/ 1208485 h 3912503"/>
              <a:gd name="connsiteX2807" fmla="*/ 5668419 w 12192528"/>
              <a:gd name="connsiteY2807" fmla="*/ 1208486 h 3912503"/>
              <a:gd name="connsiteX2808" fmla="*/ 5664006 w 12192528"/>
              <a:gd name="connsiteY2808" fmla="*/ 1208485 h 3912503"/>
              <a:gd name="connsiteX2809" fmla="*/ 5637526 w 12192528"/>
              <a:gd name="connsiteY2809" fmla="*/ 1199658 h 3912503"/>
              <a:gd name="connsiteX2810" fmla="*/ 5637524 w 12192528"/>
              <a:gd name="connsiteY2810" fmla="*/ 1204071 h 3912503"/>
              <a:gd name="connsiteX2811" fmla="*/ 5633113 w 12192528"/>
              <a:gd name="connsiteY2811" fmla="*/ 1199658 h 3912503"/>
              <a:gd name="connsiteX2812" fmla="*/ 5624284 w 12192528"/>
              <a:gd name="connsiteY2812" fmla="*/ 1195245 h 3912503"/>
              <a:gd name="connsiteX2813" fmla="*/ 5619871 w 12192528"/>
              <a:gd name="connsiteY2813" fmla="*/ 1199658 h 3912503"/>
              <a:gd name="connsiteX2814" fmla="*/ 5522778 w 12192528"/>
              <a:gd name="connsiteY2814" fmla="*/ 1186418 h 3912503"/>
              <a:gd name="connsiteX2815" fmla="*/ 5513954 w 12192528"/>
              <a:gd name="connsiteY2815" fmla="*/ 1182004 h 3912503"/>
              <a:gd name="connsiteX2816" fmla="*/ 5509539 w 12192528"/>
              <a:gd name="connsiteY2816" fmla="*/ 1182004 h 3912503"/>
              <a:gd name="connsiteX2817" fmla="*/ 5509539 w 12192528"/>
              <a:gd name="connsiteY2817" fmla="*/ 1186418 h 3912503"/>
              <a:gd name="connsiteX2818" fmla="*/ 5483059 w 12192528"/>
              <a:gd name="connsiteY2818" fmla="*/ 1177592 h 3912503"/>
              <a:gd name="connsiteX2819" fmla="*/ 5478645 w 12192528"/>
              <a:gd name="connsiteY2819" fmla="*/ 1177592 h 3912503"/>
              <a:gd name="connsiteX2820" fmla="*/ 5469821 w 12192528"/>
              <a:gd name="connsiteY2820" fmla="*/ 1177592 h 3912503"/>
              <a:gd name="connsiteX2821" fmla="*/ 5465407 w 12192528"/>
              <a:gd name="connsiteY2821" fmla="*/ 1177592 h 3912503"/>
              <a:gd name="connsiteX2822" fmla="*/ 5460994 w 12192528"/>
              <a:gd name="connsiteY2822" fmla="*/ 1173177 h 3912503"/>
              <a:gd name="connsiteX2823" fmla="*/ 5456580 w 12192528"/>
              <a:gd name="connsiteY2823" fmla="*/ 1173179 h 3912503"/>
              <a:gd name="connsiteX2824" fmla="*/ 5430102 w 12192528"/>
              <a:gd name="connsiteY2824" fmla="*/ 1173177 h 3912503"/>
              <a:gd name="connsiteX2825" fmla="*/ 5425686 w 12192528"/>
              <a:gd name="connsiteY2825" fmla="*/ 1173177 h 3912503"/>
              <a:gd name="connsiteX2826" fmla="*/ 5416862 w 12192528"/>
              <a:gd name="connsiteY2826" fmla="*/ 1173177 h 3912503"/>
              <a:gd name="connsiteX2827" fmla="*/ 5412447 w 12192528"/>
              <a:gd name="connsiteY2827" fmla="*/ 1173177 h 3912503"/>
              <a:gd name="connsiteX2828" fmla="*/ 5381553 w 12192528"/>
              <a:gd name="connsiteY2828" fmla="*/ 1173177 h 3912503"/>
              <a:gd name="connsiteX2829" fmla="*/ 5363899 w 12192528"/>
              <a:gd name="connsiteY2829" fmla="*/ 1164352 h 3912503"/>
              <a:gd name="connsiteX2830" fmla="*/ 5359489 w 12192528"/>
              <a:gd name="connsiteY2830" fmla="*/ 1159938 h 3912503"/>
              <a:gd name="connsiteX2831" fmla="*/ 5355074 w 12192528"/>
              <a:gd name="connsiteY2831" fmla="*/ 1159938 h 3912503"/>
              <a:gd name="connsiteX2832" fmla="*/ 5355074 w 12192528"/>
              <a:gd name="connsiteY2832" fmla="*/ 1164351 h 3912503"/>
              <a:gd name="connsiteX2833" fmla="*/ 5359487 w 12192528"/>
              <a:gd name="connsiteY2833" fmla="*/ 1164351 h 3912503"/>
              <a:gd name="connsiteX2834" fmla="*/ 5341835 w 12192528"/>
              <a:gd name="connsiteY2834" fmla="*/ 1168764 h 3912503"/>
              <a:gd name="connsiteX2835" fmla="*/ 5341835 w 12192528"/>
              <a:gd name="connsiteY2835" fmla="*/ 1159938 h 3912503"/>
              <a:gd name="connsiteX2836" fmla="*/ 5345978 w 12192528"/>
              <a:gd name="connsiteY2836" fmla="*/ 1155793 h 3912503"/>
              <a:gd name="connsiteX2837" fmla="*/ 5370589 w 12192528"/>
              <a:gd name="connsiteY2837" fmla="*/ 1157387 h 3912503"/>
              <a:gd name="connsiteX2838" fmla="*/ 5434512 w 12192528"/>
              <a:gd name="connsiteY2838" fmla="*/ 1155525 h 3912503"/>
              <a:gd name="connsiteX2839" fmla="*/ 5438926 w 12192528"/>
              <a:gd name="connsiteY2839" fmla="*/ 1159939 h 3912503"/>
              <a:gd name="connsiteX2840" fmla="*/ 5443341 w 12192528"/>
              <a:gd name="connsiteY2840" fmla="*/ 1159938 h 3912503"/>
              <a:gd name="connsiteX2841" fmla="*/ 5465405 w 12192528"/>
              <a:gd name="connsiteY2841" fmla="*/ 1155525 h 3912503"/>
              <a:gd name="connsiteX2842" fmla="*/ 5447752 w 12192528"/>
              <a:gd name="connsiteY2842" fmla="*/ 1155525 h 3912503"/>
              <a:gd name="connsiteX2843" fmla="*/ 5452166 w 12192528"/>
              <a:gd name="connsiteY2843" fmla="*/ 1151110 h 3912503"/>
              <a:gd name="connsiteX2844" fmla="*/ 5447752 w 12192528"/>
              <a:gd name="connsiteY2844" fmla="*/ 1151110 h 3912503"/>
              <a:gd name="connsiteX2845" fmla="*/ 5443339 w 12192528"/>
              <a:gd name="connsiteY2845" fmla="*/ 1151110 h 3912503"/>
              <a:gd name="connsiteX2846" fmla="*/ 5438926 w 12192528"/>
              <a:gd name="connsiteY2846" fmla="*/ 1151110 h 3912503"/>
              <a:gd name="connsiteX2847" fmla="*/ 5394794 w 12192528"/>
              <a:gd name="connsiteY2847" fmla="*/ 1129045 h 3912503"/>
              <a:gd name="connsiteX2848" fmla="*/ 5297701 w 12192528"/>
              <a:gd name="connsiteY2848" fmla="*/ 1089325 h 3912503"/>
              <a:gd name="connsiteX2849" fmla="*/ 5293288 w 12192528"/>
              <a:gd name="connsiteY2849" fmla="*/ 1084912 h 3912503"/>
              <a:gd name="connsiteX2850" fmla="*/ 5288875 w 12192528"/>
              <a:gd name="connsiteY2850" fmla="*/ 1080498 h 3912503"/>
              <a:gd name="connsiteX2851" fmla="*/ 5293288 w 12192528"/>
              <a:gd name="connsiteY2851" fmla="*/ 1076085 h 3912503"/>
              <a:gd name="connsiteX2852" fmla="*/ 5280046 w 12192528"/>
              <a:gd name="connsiteY2852" fmla="*/ 1076085 h 3912503"/>
              <a:gd name="connsiteX2853" fmla="*/ 5196195 w 12192528"/>
              <a:gd name="connsiteY2853" fmla="*/ 1058431 h 3912503"/>
              <a:gd name="connsiteX2854" fmla="*/ 5205019 w 12192528"/>
              <a:gd name="connsiteY2854" fmla="*/ 1054018 h 3912503"/>
              <a:gd name="connsiteX2855" fmla="*/ 5152061 w 12192528"/>
              <a:gd name="connsiteY2855" fmla="*/ 1027537 h 3912503"/>
              <a:gd name="connsiteX2856" fmla="*/ 5160887 w 12192528"/>
              <a:gd name="connsiteY2856" fmla="*/ 1027537 h 3912503"/>
              <a:gd name="connsiteX2857" fmla="*/ 5165300 w 12192528"/>
              <a:gd name="connsiteY2857" fmla="*/ 1027537 h 3912503"/>
              <a:gd name="connsiteX2858" fmla="*/ 5160887 w 12192528"/>
              <a:gd name="connsiteY2858" fmla="*/ 1023126 h 3912503"/>
              <a:gd name="connsiteX2859" fmla="*/ 5152061 w 12192528"/>
              <a:gd name="connsiteY2859" fmla="*/ 1023125 h 3912503"/>
              <a:gd name="connsiteX2860" fmla="*/ 5222673 w 12192528"/>
              <a:gd name="connsiteY2860" fmla="*/ 1023125 h 3912503"/>
              <a:gd name="connsiteX2861" fmla="*/ 5107927 w 12192528"/>
              <a:gd name="connsiteY2861" fmla="*/ 978991 h 3912503"/>
              <a:gd name="connsiteX2862" fmla="*/ 5094688 w 12192528"/>
              <a:gd name="connsiteY2862" fmla="*/ 961339 h 3912503"/>
              <a:gd name="connsiteX2863" fmla="*/ 5107927 w 12192528"/>
              <a:gd name="connsiteY2863" fmla="*/ 956925 h 3912503"/>
              <a:gd name="connsiteX2864" fmla="*/ 5213849 w 12192528"/>
              <a:gd name="connsiteY2864" fmla="*/ 961338 h 3912503"/>
              <a:gd name="connsiteX2865" fmla="*/ 5231500 w 12192528"/>
              <a:gd name="connsiteY2865" fmla="*/ 943684 h 3912503"/>
              <a:gd name="connsiteX2866" fmla="*/ 5288875 w 12192528"/>
              <a:gd name="connsiteY2866" fmla="*/ 948097 h 3912503"/>
              <a:gd name="connsiteX2867" fmla="*/ 5262391 w 12192528"/>
              <a:gd name="connsiteY2867" fmla="*/ 939270 h 3912503"/>
              <a:gd name="connsiteX2868" fmla="*/ 5297699 w 12192528"/>
              <a:gd name="connsiteY2868" fmla="*/ 939270 h 3912503"/>
              <a:gd name="connsiteX2869" fmla="*/ 5280046 w 12192528"/>
              <a:gd name="connsiteY2869" fmla="*/ 926031 h 3912503"/>
              <a:gd name="connsiteX2870" fmla="*/ 5505125 w 12192528"/>
              <a:gd name="connsiteY2870" fmla="*/ 956925 h 3912503"/>
              <a:gd name="connsiteX2871" fmla="*/ 5527193 w 12192528"/>
              <a:gd name="connsiteY2871" fmla="*/ 961338 h 3912503"/>
              <a:gd name="connsiteX2872" fmla="*/ 6950266 w 12192528"/>
              <a:gd name="connsiteY2872" fmla="*/ 1731604 h 3912503"/>
              <a:gd name="connsiteX2873" fmla="*/ 7005077 w 12192528"/>
              <a:gd name="connsiteY2873" fmla="*/ 1797325 h 3912503"/>
              <a:gd name="connsiteX2874" fmla="*/ 7035558 w 12192528"/>
              <a:gd name="connsiteY2874" fmla="*/ 1754456 h 3912503"/>
              <a:gd name="connsiteX2875" fmla="*/ 7040425 w 12192528"/>
              <a:gd name="connsiteY2875" fmla="*/ 1748894 h 3912503"/>
              <a:gd name="connsiteX2876" fmla="*/ 6944966 w 12192528"/>
              <a:gd name="connsiteY2876" fmla="*/ 1643060 h 3912503"/>
              <a:gd name="connsiteX2877" fmla="*/ 5346247 w 12192528"/>
              <a:gd name="connsiteY2877" fmla="*/ 899551 h 3912503"/>
              <a:gd name="connsiteX2878" fmla="*/ 5178541 w 12192528"/>
              <a:gd name="connsiteY2878" fmla="*/ 890724 h 3912503"/>
              <a:gd name="connsiteX2879" fmla="*/ 5174127 w 12192528"/>
              <a:gd name="connsiteY2879" fmla="*/ 886310 h 3912503"/>
              <a:gd name="connsiteX2880" fmla="*/ 5160887 w 12192528"/>
              <a:gd name="connsiteY2880" fmla="*/ 886310 h 3912503"/>
              <a:gd name="connsiteX2881" fmla="*/ 3392143 w 12192528"/>
              <a:gd name="connsiteY2881" fmla="*/ 884238 h 3912503"/>
              <a:gd name="connsiteX2882" fmla="*/ 3400193 w 12192528"/>
              <a:gd name="connsiteY2882" fmla="*/ 888225 h 3912503"/>
              <a:gd name="connsiteX2883" fmla="*/ 3404755 w 12192528"/>
              <a:gd name="connsiteY2883" fmla="*/ 890638 h 3912503"/>
              <a:gd name="connsiteX2884" fmla="*/ 3409854 w 12192528"/>
              <a:gd name="connsiteY2884" fmla="*/ 894925 h 3912503"/>
              <a:gd name="connsiteX2885" fmla="*/ 3413074 w 12192528"/>
              <a:gd name="connsiteY2885" fmla="*/ 899214 h 3912503"/>
              <a:gd name="connsiteX2886" fmla="*/ 3416832 w 12192528"/>
              <a:gd name="connsiteY2886" fmla="*/ 911007 h 3912503"/>
              <a:gd name="connsiteX2887" fmla="*/ 3419516 w 12192528"/>
              <a:gd name="connsiteY2887" fmla="*/ 918244 h 3912503"/>
              <a:gd name="connsiteX2888" fmla="*/ 3419516 w 12192528"/>
              <a:gd name="connsiteY2888" fmla="*/ 921460 h 3912503"/>
              <a:gd name="connsiteX2889" fmla="*/ 3416295 w 12192528"/>
              <a:gd name="connsiteY2889" fmla="*/ 927893 h 3912503"/>
              <a:gd name="connsiteX2890" fmla="*/ 3409049 w 12192528"/>
              <a:gd name="connsiteY2890" fmla="*/ 937542 h 3912503"/>
              <a:gd name="connsiteX2891" fmla="*/ 3407171 w 12192528"/>
              <a:gd name="connsiteY2891" fmla="*/ 941294 h 3912503"/>
              <a:gd name="connsiteX2892" fmla="*/ 3403950 w 12192528"/>
              <a:gd name="connsiteY2892" fmla="*/ 942634 h 3912503"/>
              <a:gd name="connsiteX2893" fmla="*/ 3397778 w 12192528"/>
              <a:gd name="connsiteY2893" fmla="*/ 944510 h 3912503"/>
              <a:gd name="connsiteX2894" fmla="*/ 3395631 w 12192528"/>
              <a:gd name="connsiteY2894" fmla="*/ 945583 h 3912503"/>
              <a:gd name="connsiteX2895" fmla="*/ 3387043 w 12192528"/>
              <a:gd name="connsiteY2895" fmla="*/ 946655 h 3912503"/>
              <a:gd name="connsiteX2896" fmla="*/ 3385164 w 12192528"/>
              <a:gd name="connsiteY2896" fmla="*/ 947191 h 3912503"/>
              <a:gd name="connsiteX2897" fmla="*/ 3366110 w 12192528"/>
              <a:gd name="connsiteY2897" fmla="*/ 935130 h 3912503"/>
              <a:gd name="connsiteX2898" fmla="*/ 3360205 w 12192528"/>
              <a:gd name="connsiteY2898" fmla="*/ 924141 h 3912503"/>
              <a:gd name="connsiteX2899" fmla="*/ 3358327 w 12192528"/>
              <a:gd name="connsiteY2899" fmla="*/ 919584 h 3912503"/>
              <a:gd name="connsiteX2900" fmla="*/ 3358059 w 12192528"/>
              <a:gd name="connsiteY2900" fmla="*/ 915028 h 3912503"/>
              <a:gd name="connsiteX2901" fmla="*/ 3358864 w 12192528"/>
              <a:gd name="connsiteY2901" fmla="*/ 911544 h 3912503"/>
              <a:gd name="connsiteX2902" fmla="*/ 3360205 w 12192528"/>
              <a:gd name="connsiteY2902" fmla="*/ 904306 h 3912503"/>
              <a:gd name="connsiteX2903" fmla="*/ 3360474 w 12192528"/>
              <a:gd name="connsiteY2903" fmla="*/ 901627 h 3912503"/>
              <a:gd name="connsiteX2904" fmla="*/ 3361279 w 12192528"/>
              <a:gd name="connsiteY2904" fmla="*/ 895194 h 3912503"/>
              <a:gd name="connsiteX2905" fmla="*/ 3374697 w 12192528"/>
              <a:gd name="connsiteY2905" fmla="*/ 884741 h 3912503"/>
              <a:gd name="connsiteX2906" fmla="*/ 3383286 w 12192528"/>
              <a:gd name="connsiteY2906" fmla="*/ 884473 h 3912503"/>
              <a:gd name="connsiteX2907" fmla="*/ 3392143 w 12192528"/>
              <a:gd name="connsiteY2907" fmla="*/ 884238 h 3912503"/>
              <a:gd name="connsiteX2908" fmla="*/ 1910634 w 12192528"/>
              <a:gd name="connsiteY2908" fmla="*/ 866913 h 3912503"/>
              <a:gd name="connsiteX2909" fmla="*/ 1911132 w 12192528"/>
              <a:gd name="connsiteY2909" fmla="*/ 867030 h 3912503"/>
              <a:gd name="connsiteX2910" fmla="*/ 1910865 w 12192528"/>
              <a:gd name="connsiteY2910" fmla="*/ 867297 h 3912503"/>
              <a:gd name="connsiteX2911" fmla="*/ 9115444 w 12192528"/>
              <a:gd name="connsiteY2911" fmla="*/ 772706 h 3912503"/>
              <a:gd name="connsiteX2912" fmla="*/ 8077569 w 12192528"/>
              <a:gd name="connsiteY2912" fmla="*/ 1027604 h 3912503"/>
              <a:gd name="connsiteX2913" fmla="*/ 7251775 w 12192528"/>
              <a:gd name="connsiteY2913" fmla="*/ 1671704 h 3912503"/>
              <a:gd name="connsiteX2914" fmla="*/ 7205815 w 12192528"/>
              <a:gd name="connsiteY2914" fmla="*/ 1733750 h 3912503"/>
              <a:gd name="connsiteX2915" fmla="*/ 7242727 w 12192528"/>
              <a:gd name="connsiteY2915" fmla="*/ 1783425 h 3912503"/>
              <a:gd name="connsiteX2916" fmla="*/ 7382865 w 12192528"/>
              <a:gd name="connsiteY2916" fmla="*/ 1612347 h 3912503"/>
              <a:gd name="connsiteX2917" fmla="*/ 7613795 w 12192528"/>
              <a:gd name="connsiteY2917" fmla="*/ 1393033 h 3912503"/>
              <a:gd name="connsiteX2918" fmla="*/ 7617848 w 12192528"/>
              <a:gd name="connsiteY2918" fmla="*/ 1391717 h 3912503"/>
              <a:gd name="connsiteX2919" fmla="*/ 7621901 w 12192528"/>
              <a:gd name="connsiteY2919" fmla="*/ 1390403 h 3912503"/>
              <a:gd name="connsiteX2920" fmla="*/ 7627267 w 12192528"/>
              <a:gd name="connsiteY2920" fmla="*/ 1393140 h 3912503"/>
              <a:gd name="connsiteX2921" fmla="*/ 7620475 w 12192528"/>
              <a:gd name="connsiteY2921" fmla="*/ 1399822 h 3912503"/>
              <a:gd name="connsiteX2922" fmla="*/ 7623104 w 12192528"/>
              <a:gd name="connsiteY2922" fmla="*/ 1407929 h 3912503"/>
              <a:gd name="connsiteX2923" fmla="*/ 7629895 w 12192528"/>
              <a:gd name="connsiteY2923" fmla="*/ 1401247 h 3912503"/>
              <a:gd name="connsiteX2924" fmla="*/ 7632633 w 12192528"/>
              <a:gd name="connsiteY2924" fmla="*/ 1395880 h 3912503"/>
              <a:gd name="connsiteX2925" fmla="*/ 7636688 w 12192528"/>
              <a:gd name="connsiteY2925" fmla="*/ 1394565 h 3912503"/>
              <a:gd name="connsiteX2926" fmla="*/ 7650160 w 12192528"/>
              <a:gd name="connsiteY2926" fmla="*/ 1394674 h 3912503"/>
              <a:gd name="connsiteX2927" fmla="*/ 7650272 w 12192528"/>
              <a:gd name="connsiteY2927" fmla="*/ 1381201 h 3912503"/>
              <a:gd name="connsiteX2928" fmla="*/ 7643478 w 12192528"/>
              <a:gd name="connsiteY2928" fmla="*/ 1387882 h 3912503"/>
              <a:gd name="connsiteX2929" fmla="*/ 7644902 w 12192528"/>
              <a:gd name="connsiteY2929" fmla="*/ 1378463 h 3912503"/>
              <a:gd name="connsiteX2930" fmla="*/ 7634061 w 12192528"/>
              <a:gd name="connsiteY2930" fmla="*/ 1386459 h 3912503"/>
              <a:gd name="connsiteX2931" fmla="*/ 7631320 w 12192528"/>
              <a:gd name="connsiteY2931" fmla="*/ 1391825 h 3912503"/>
              <a:gd name="connsiteX2932" fmla="*/ 7632745 w 12192528"/>
              <a:gd name="connsiteY2932" fmla="*/ 1382406 h 3912503"/>
              <a:gd name="connsiteX2933" fmla="*/ 7636797 w 12192528"/>
              <a:gd name="connsiteY2933" fmla="*/ 1381092 h 3912503"/>
              <a:gd name="connsiteX2934" fmla="*/ 7639534 w 12192528"/>
              <a:gd name="connsiteY2934" fmla="*/ 1375724 h 3912503"/>
              <a:gd name="connsiteX2935" fmla="*/ 7638222 w 12192528"/>
              <a:gd name="connsiteY2935" fmla="*/ 1371671 h 3912503"/>
              <a:gd name="connsiteX2936" fmla="*/ 7807676 w 12192528"/>
              <a:gd name="connsiteY2936" fmla="*/ 1245043 h 3912503"/>
              <a:gd name="connsiteX2937" fmla="*/ 7821147 w 12192528"/>
              <a:gd name="connsiteY2937" fmla="*/ 1245151 h 3912503"/>
              <a:gd name="connsiteX2938" fmla="*/ 7819835 w 12192528"/>
              <a:gd name="connsiteY2938" fmla="*/ 1241098 h 3912503"/>
              <a:gd name="connsiteX2939" fmla="*/ 8446164 w 12192528"/>
              <a:gd name="connsiteY2939" fmla="*/ 934926 h 3912503"/>
              <a:gd name="connsiteX2940" fmla="*/ 9051144 w 12192528"/>
              <a:gd name="connsiteY2940" fmla="*/ 817119 h 3912503"/>
              <a:gd name="connsiteX2941" fmla="*/ 9238369 w 12192528"/>
              <a:gd name="connsiteY2941" fmla="*/ 811665 h 3912503"/>
              <a:gd name="connsiteX2942" fmla="*/ 9243782 w 12192528"/>
              <a:gd name="connsiteY2942" fmla="*/ 808270 h 3912503"/>
              <a:gd name="connsiteX2943" fmla="*/ 9253012 w 12192528"/>
              <a:gd name="connsiteY2943" fmla="*/ 807982 h 3912503"/>
              <a:gd name="connsiteX2944" fmla="*/ 9271179 w 12192528"/>
              <a:gd name="connsiteY2944" fmla="*/ 812014 h 3912503"/>
              <a:gd name="connsiteX2945" fmla="*/ 9271671 w 12192528"/>
              <a:gd name="connsiteY2945" fmla="*/ 812274 h 3912503"/>
              <a:gd name="connsiteX2946" fmla="*/ 9451272 w 12192528"/>
              <a:gd name="connsiteY2946" fmla="*/ 821504 h 3912503"/>
              <a:gd name="connsiteX2947" fmla="*/ 9590974 w 12192528"/>
              <a:gd name="connsiteY2947" fmla="*/ 838534 h 3912503"/>
              <a:gd name="connsiteX2948" fmla="*/ 9591470 w 12192528"/>
              <a:gd name="connsiteY2948" fmla="*/ 836596 h 3912503"/>
              <a:gd name="connsiteX2949" fmla="*/ 9596753 w 12192528"/>
              <a:gd name="connsiteY2949" fmla="*/ 810527 h 3912503"/>
              <a:gd name="connsiteX2950" fmla="*/ 9463346 w 12192528"/>
              <a:gd name="connsiteY2950" fmla="*/ 787951 h 3912503"/>
              <a:gd name="connsiteX2951" fmla="*/ 9115444 w 12192528"/>
              <a:gd name="connsiteY2951" fmla="*/ 772706 h 3912503"/>
              <a:gd name="connsiteX2952" fmla="*/ 6242071 w 12192528"/>
              <a:gd name="connsiteY2952" fmla="*/ 762265 h 3912503"/>
              <a:gd name="connsiteX2953" fmla="*/ 6241886 w 12192528"/>
              <a:gd name="connsiteY2953" fmla="*/ 762573 h 3912503"/>
              <a:gd name="connsiteX2954" fmla="*/ 6241671 w 12192528"/>
              <a:gd name="connsiteY2954" fmla="*/ 762360 h 3912503"/>
              <a:gd name="connsiteX2955" fmla="*/ 10401737 w 12192528"/>
              <a:gd name="connsiteY2955" fmla="*/ 760139 h 3912503"/>
              <a:gd name="connsiteX2956" fmla="*/ 10401520 w 12192528"/>
              <a:gd name="connsiteY2956" fmla="*/ 760500 h 3912503"/>
              <a:gd name="connsiteX2957" fmla="*/ 10401269 w 12192528"/>
              <a:gd name="connsiteY2957" fmla="*/ 760249 h 3912503"/>
              <a:gd name="connsiteX2958" fmla="*/ 7328010 w 12192528"/>
              <a:gd name="connsiteY2958" fmla="*/ 760139 h 3912503"/>
              <a:gd name="connsiteX2959" fmla="*/ 7327792 w 12192528"/>
              <a:gd name="connsiteY2959" fmla="*/ 760499 h 3912503"/>
              <a:gd name="connsiteX2960" fmla="*/ 7327541 w 12192528"/>
              <a:gd name="connsiteY2960" fmla="*/ 760249 h 3912503"/>
              <a:gd name="connsiteX2961" fmla="*/ 2045919 w 12192528"/>
              <a:gd name="connsiteY2961" fmla="*/ 751404 h 3912503"/>
              <a:gd name="connsiteX2962" fmla="*/ 2051732 w 12192528"/>
              <a:gd name="connsiteY2962" fmla="*/ 752842 h 3912503"/>
              <a:gd name="connsiteX2963" fmla="*/ 2072306 w 12192528"/>
              <a:gd name="connsiteY2963" fmla="*/ 768869 h 3912503"/>
              <a:gd name="connsiteX2964" fmla="*/ 2073541 w 12192528"/>
              <a:gd name="connsiteY2964" fmla="*/ 778732 h 3912503"/>
              <a:gd name="connsiteX2965" fmla="*/ 2073951 w 12192528"/>
              <a:gd name="connsiteY2965" fmla="*/ 782841 h 3912503"/>
              <a:gd name="connsiteX2966" fmla="*/ 2076008 w 12192528"/>
              <a:gd name="connsiteY2966" fmla="*/ 793936 h 3912503"/>
              <a:gd name="connsiteX2967" fmla="*/ 2077244 w 12192528"/>
              <a:gd name="connsiteY2967" fmla="*/ 799279 h 3912503"/>
              <a:gd name="connsiteX2968" fmla="*/ 2076831 w 12192528"/>
              <a:gd name="connsiteY2968" fmla="*/ 806266 h 3912503"/>
              <a:gd name="connsiteX2969" fmla="*/ 2073951 w 12192528"/>
              <a:gd name="connsiteY2969" fmla="*/ 813251 h 3912503"/>
              <a:gd name="connsiteX2970" fmla="*/ 2064899 w 12192528"/>
              <a:gd name="connsiteY2970" fmla="*/ 830101 h 3912503"/>
              <a:gd name="connsiteX2971" fmla="*/ 2035684 w 12192528"/>
              <a:gd name="connsiteY2971" fmla="*/ 848594 h 3912503"/>
              <a:gd name="connsiteX2972" fmla="*/ 2032804 w 12192528"/>
              <a:gd name="connsiteY2972" fmla="*/ 847771 h 3912503"/>
              <a:gd name="connsiteX2973" fmla="*/ 2019637 w 12192528"/>
              <a:gd name="connsiteY2973" fmla="*/ 846127 h 3912503"/>
              <a:gd name="connsiteX2974" fmla="*/ 2016345 w 12192528"/>
              <a:gd name="connsiteY2974" fmla="*/ 844483 h 3912503"/>
              <a:gd name="connsiteX2975" fmla="*/ 2006881 w 12192528"/>
              <a:gd name="connsiteY2975" fmla="*/ 841607 h 3912503"/>
              <a:gd name="connsiteX2976" fmla="*/ 2001944 w 12192528"/>
              <a:gd name="connsiteY2976" fmla="*/ 839553 h 3912503"/>
              <a:gd name="connsiteX2977" fmla="*/ 1999063 w 12192528"/>
              <a:gd name="connsiteY2977" fmla="*/ 833799 h 3912503"/>
              <a:gd name="connsiteX2978" fmla="*/ 1987953 w 12192528"/>
              <a:gd name="connsiteY2978" fmla="*/ 819004 h 3912503"/>
              <a:gd name="connsiteX2979" fmla="*/ 1983016 w 12192528"/>
              <a:gd name="connsiteY2979" fmla="*/ 809142 h 3912503"/>
              <a:gd name="connsiteX2980" fmla="*/ 1983016 w 12192528"/>
              <a:gd name="connsiteY2980" fmla="*/ 804211 h 3912503"/>
              <a:gd name="connsiteX2981" fmla="*/ 1987130 w 12192528"/>
              <a:gd name="connsiteY2981" fmla="*/ 793116 h 3912503"/>
              <a:gd name="connsiteX2982" fmla="*/ 1992891 w 12192528"/>
              <a:gd name="connsiteY2982" fmla="*/ 775034 h 3912503"/>
              <a:gd name="connsiteX2983" fmla="*/ 1997829 w 12192528"/>
              <a:gd name="connsiteY2983" fmla="*/ 768459 h 3912503"/>
              <a:gd name="connsiteX2984" fmla="*/ 2005647 w 12192528"/>
              <a:gd name="connsiteY2984" fmla="*/ 761882 h 3912503"/>
              <a:gd name="connsiteX2985" fmla="*/ 2012642 w 12192528"/>
              <a:gd name="connsiteY2985" fmla="*/ 758184 h 3912503"/>
              <a:gd name="connsiteX2986" fmla="*/ 2024986 w 12192528"/>
              <a:gd name="connsiteY2986" fmla="*/ 752072 h 3912503"/>
              <a:gd name="connsiteX2987" fmla="*/ 2038565 w 12192528"/>
              <a:gd name="connsiteY2987" fmla="*/ 752432 h 3912503"/>
              <a:gd name="connsiteX2988" fmla="*/ 2045919 w 12192528"/>
              <a:gd name="connsiteY2988" fmla="*/ 751404 h 3912503"/>
              <a:gd name="connsiteX2989" fmla="*/ 1797831 w 12192528"/>
              <a:gd name="connsiteY2989" fmla="*/ 733924 h 3912503"/>
              <a:gd name="connsiteX2990" fmla="*/ 1814380 w 12192528"/>
              <a:gd name="connsiteY2990" fmla="*/ 735013 h 3912503"/>
              <a:gd name="connsiteX2991" fmla="*/ 1827665 w 12192528"/>
              <a:gd name="connsiteY2991" fmla="*/ 738495 h 3912503"/>
              <a:gd name="connsiteX2992" fmla="*/ 1832021 w 12192528"/>
              <a:gd name="connsiteY2992" fmla="*/ 737842 h 3912503"/>
              <a:gd name="connsiteX2993" fmla="*/ 1834198 w 12192528"/>
              <a:gd name="connsiteY2993" fmla="*/ 735013 h 3912503"/>
              <a:gd name="connsiteX2994" fmla="*/ 1837682 w 12192528"/>
              <a:gd name="connsiteY2994" fmla="*/ 734142 h 3912503"/>
              <a:gd name="connsiteX2995" fmla="*/ 1837900 w 12192528"/>
              <a:gd name="connsiteY2995" fmla="*/ 738060 h 3912503"/>
              <a:gd name="connsiteX2996" fmla="*/ 1836811 w 12192528"/>
              <a:gd name="connsiteY2996" fmla="*/ 739800 h 3912503"/>
              <a:gd name="connsiteX2997" fmla="*/ 1840513 w 12192528"/>
              <a:gd name="connsiteY2997" fmla="*/ 748725 h 3912503"/>
              <a:gd name="connsiteX2998" fmla="*/ 1843562 w 12192528"/>
              <a:gd name="connsiteY2998" fmla="*/ 749160 h 3912503"/>
              <a:gd name="connsiteX2999" fmla="*/ 1847265 w 12192528"/>
              <a:gd name="connsiteY2999" fmla="*/ 751554 h 3912503"/>
              <a:gd name="connsiteX3000" fmla="*/ 1845521 w 12192528"/>
              <a:gd name="connsiteY3000" fmla="*/ 755037 h 3912503"/>
              <a:gd name="connsiteX3001" fmla="*/ 1845739 w 12192528"/>
              <a:gd name="connsiteY3001" fmla="*/ 760259 h 3912503"/>
              <a:gd name="connsiteX3002" fmla="*/ 1851402 w 12192528"/>
              <a:gd name="connsiteY3002" fmla="*/ 770055 h 3912503"/>
              <a:gd name="connsiteX3003" fmla="*/ 1855974 w 12192528"/>
              <a:gd name="connsiteY3003" fmla="*/ 774409 h 3912503"/>
              <a:gd name="connsiteX3004" fmla="*/ 1858370 w 12192528"/>
              <a:gd name="connsiteY3004" fmla="*/ 775714 h 3912503"/>
              <a:gd name="connsiteX3005" fmla="*/ 1857064 w 12192528"/>
              <a:gd name="connsiteY3005" fmla="*/ 778108 h 3912503"/>
              <a:gd name="connsiteX3006" fmla="*/ 1852708 w 12192528"/>
              <a:gd name="connsiteY3006" fmla="*/ 782896 h 3912503"/>
              <a:gd name="connsiteX3007" fmla="*/ 1852708 w 12192528"/>
              <a:gd name="connsiteY3007" fmla="*/ 794868 h 3912503"/>
              <a:gd name="connsiteX3008" fmla="*/ 1857499 w 12192528"/>
              <a:gd name="connsiteY3008" fmla="*/ 807275 h 3912503"/>
              <a:gd name="connsiteX3009" fmla="*/ 1853143 w 12192528"/>
              <a:gd name="connsiteY3009" fmla="*/ 810103 h 3912503"/>
              <a:gd name="connsiteX3010" fmla="*/ 1848570 w 12192528"/>
              <a:gd name="connsiteY3010" fmla="*/ 806404 h 3912503"/>
              <a:gd name="connsiteX3011" fmla="*/ 1842691 w 12192528"/>
              <a:gd name="connsiteY3011" fmla="*/ 805098 h 3912503"/>
              <a:gd name="connsiteX3012" fmla="*/ 1843779 w 12192528"/>
              <a:gd name="connsiteY3012" fmla="*/ 811846 h 3912503"/>
              <a:gd name="connsiteX3013" fmla="*/ 1846829 w 12192528"/>
              <a:gd name="connsiteY3013" fmla="*/ 814674 h 3912503"/>
              <a:gd name="connsiteX3014" fmla="*/ 1847482 w 12192528"/>
              <a:gd name="connsiteY3014" fmla="*/ 818592 h 3912503"/>
              <a:gd name="connsiteX3015" fmla="*/ 1843779 w 12192528"/>
              <a:gd name="connsiteY3015" fmla="*/ 818158 h 3912503"/>
              <a:gd name="connsiteX3016" fmla="*/ 1839860 w 12192528"/>
              <a:gd name="connsiteY3016" fmla="*/ 815545 h 3912503"/>
              <a:gd name="connsiteX3017" fmla="*/ 1834198 w 12192528"/>
              <a:gd name="connsiteY3017" fmla="*/ 816198 h 3912503"/>
              <a:gd name="connsiteX3018" fmla="*/ 1834198 w 12192528"/>
              <a:gd name="connsiteY3018" fmla="*/ 820987 h 3912503"/>
              <a:gd name="connsiteX3019" fmla="*/ 1855757 w 12192528"/>
              <a:gd name="connsiteY3019" fmla="*/ 827298 h 3912503"/>
              <a:gd name="connsiteX3020" fmla="*/ 1860983 w 12192528"/>
              <a:gd name="connsiteY3020" fmla="*/ 829258 h 3912503"/>
              <a:gd name="connsiteX3021" fmla="*/ 1869911 w 12192528"/>
              <a:gd name="connsiteY3021" fmla="*/ 840575 h 3912503"/>
              <a:gd name="connsiteX3022" fmla="*/ 1873179 w 12192528"/>
              <a:gd name="connsiteY3022" fmla="*/ 844493 h 3912503"/>
              <a:gd name="connsiteX3023" fmla="*/ 1876880 w 12192528"/>
              <a:gd name="connsiteY3023" fmla="*/ 858860 h 3912503"/>
              <a:gd name="connsiteX3024" fmla="*/ 1877316 w 12192528"/>
              <a:gd name="connsiteY3024" fmla="*/ 869089 h 3912503"/>
              <a:gd name="connsiteX3025" fmla="*/ 1881452 w 12192528"/>
              <a:gd name="connsiteY3025" fmla="*/ 876490 h 3912503"/>
              <a:gd name="connsiteX3026" fmla="*/ 1882107 w 12192528"/>
              <a:gd name="connsiteY3026" fmla="*/ 876490 h 3912503"/>
              <a:gd name="connsiteX3027" fmla="*/ 1886244 w 12192528"/>
              <a:gd name="connsiteY3027" fmla="*/ 879102 h 3912503"/>
              <a:gd name="connsiteX3028" fmla="*/ 1883196 w 12192528"/>
              <a:gd name="connsiteY3028" fmla="*/ 881495 h 3912503"/>
              <a:gd name="connsiteX3029" fmla="*/ 1874703 w 12192528"/>
              <a:gd name="connsiteY3029" fmla="*/ 898255 h 3912503"/>
              <a:gd name="connsiteX3030" fmla="*/ 1872090 w 12192528"/>
              <a:gd name="connsiteY3030" fmla="*/ 903479 h 3912503"/>
              <a:gd name="connsiteX3031" fmla="*/ 1868170 w 12192528"/>
              <a:gd name="connsiteY3031" fmla="*/ 905220 h 3912503"/>
              <a:gd name="connsiteX3032" fmla="*/ 1866209 w 12192528"/>
              <a:gd name="connsiteY3032" fmla="*/ 909357 h 3912503"/>
              <a:gd name="connsiteX3033" fmla="*/ 1867184 w 12192528"/>
              <a:gd name="connsiteY3033" fmla="*/ 910738 h 3912503"/>
              <a:gd name="connsiteX3034" fmla="*/ 1850164 w 12192528"/>
              <a:gd name="connsiteY3034" fmla="*/ 927666 h 3912503"/>
              <a:gd name="connsiteX3035" fmla="*/ 1850530 w 12192528"/>
              <a:gd name="connsiteY3035" fmla="*/ 924374 h 3912503"/>
              <a:gd name="connsiteX3036" fmla="*/ 1849006 w 12192528"/>
              <a:gd name="connsiteY3036" fmla="*/ 920674 h 3912503"/>
              <a:gd name="connsiteX3037" fmla="*/ 1845086 w 12192528"/>
              <a:gd name="connsiteY3037" fmla="*/ 922197 h 3912503"/>
              <a:gd name="connsiteX3038" fmla="*/ 1843779 w 12192528"/>
              <a:gd name="connsiteY3038" fmla="*/ 925028 h 3912503"/>
              <a:gd name="connsiteX3039" fmla="*/ 1837247 w 12192528"/>
              <a:gd name="connsiteY3039" fmla="*/ 926115 h 3912503"/>
              <a:gd name="connsiteX3040" fmla="*/ 1834416 w 12192528"/>
              <a:gd name="connsiteY3040" fmla="*/ 924157 h 3912503"/>
              <a:gd name="connsiteX3041" fmla="*/ 1832456 w 12192528"/>
              <a:gd name="connsiteY3041" fmla="*/ 927204 h 3912503"/>
              <a:gd name="connsiteX3042" fmla="*/ 1831802 w 12192528"/>
              <a:gd name="connsiteY3042" fmla="*/ 929816 h 3912503"/>
              <a:gd name="connsiteX3043" fmla="*/ 1829842 w 12192528"/>
              <a:gd name="connsiteY3043" fmla="*/ 932727 h 3912503"/>
              <a:gd name="connsiteX3044" fmla="*/ 1826576 w 12192528"/>
              <a:gd name="connsiteY3044" fmla="*/ 931557 h 3912503"/>
              <a:gd name="connsiteX3045" fmla="*/ 1819389 w 12192528"/>
              <a:gd name="connsiteY3045" fmla="*/ 925245 h 3912503"/>
              <a:gd name="connsiteX3046" fmla="*/ 1809808 w 12192528"/>
              <a:gd name="connsiteY3046" fmla="*/ 923068 h 3912503"/>
              <a:gd name="connsiteX3047" fmla="*/ 1804145 w 12192528"/>
              <a:gd name="connsiteY3047" fmla="*/ 921327 h 3912503"/>
              <a:gd name="connsiteX3048" fmla="*/ 1790863 w 12192528"/>
              <a:gd name="connsiteY3048" fmla="*/ 915015 h 3912503"/>
              <a:gd name="connsiteX3049" fmla="*/ 1788684 w 12192528"/>
              <a:gd name="connsiteY3049" fmla="*/ 913274 h 3912503"/>
              <a:gd name="connsiteX3050" fmla="*/ 1777143 w 12192528"/>
              <a:gd name="connsiteY3050" fmla="*/ 885196 h 3912503"/>
              <a:gd name="connsiteX3051" fmla="*/ 1776924 w 12192528"/>
              <a:gd name="connsiteY3051" fmla="*/ 879972 h 3912503"/>
              <a:gd name="connsiteX3052" fmla="*/ 1779974 w 12192528"/>
              <a:gd name="connsiteY3052" fmla="*/ 867349 h 3912503"/>
              <a:gd name="connsiteX3053" fmla="*/ 1781716 w 12192528"/>
              <a:gd name="connsiteY3053" fmla="*/ 856465 h 3912503"/>
              <a:gd name="connsiteX3054" fmla="*/ 1783458 w 12192528"/>
              <a:gd name="connsiteY3054" fmla="*/ 852982 h 3912503"/>
              <a:gd name="connsiteX3055" fmla="*/ 1796307 w 12192528"/>
              <a:gd name="connsiteY3055" fmla="*/ 837747 h 3912503"/>
              <a:gd name="connsiteX3056" fmla="*/ 1797612 w 12192528"/>
              <a:gd name="connsiteY3056" fmla="*/ 835352 h 3912503"/>
              <a:gd name="connsiteX3057" fmla="*/ 1788466 w 12192528"/>
              <a:gd name="connsiteY3057" fmla="*/ 823380 h 3912503"/>
              <a:gd name="connsiteX3058" fmla="*/ 1776272 w 12192528"/>
              <a:gd name="connsiteY3058" fmla="*/ 816198 h 3912503"/>
              <a:gd name="connsiteX3059" fmla="*/ 1763422 w 12192528"/>
              <a:gd name="connsiteY3059" fmla="*/ 801398 h 3912503"/>
              <a:gd name="connsiteX3060" fmla="*/ 1763641 w 12192528"/>
              <a:gd name="connsiteY3060" fmla="*/ 798132 h 3912503"/>
              <a:gd name="connsiteX3061" fmla="*/ 1762770 w 12192528"/>
              <a:gd name="connsiteY3061" fmla="*/ 790080 h 3912503"/>
              <a:gd name="connsiteX3062" fmla="*/ 1762117 w 12192528"/>
              <a:gd name="connsiteY3062" fmla="*/ 780503 h 3912503"/>
              <a:gd name="connsiteX3063" fmla="*/ 1764948 w 12192528"/>
              <a:gd name="connsiteY3063" fmla="*/ 773755 h 3912503"/>
              <a:gd name="connsiteX3064" fmla="*/ 1770827 w 12192528"/>
              <a:gd name="connsiteY3064" fmla="*/ 754166 h 3912503"/>
              <a:gd name="connsiteX3065" fmla="*/ 1780410 w 12192528"/>
              <a:gd name="connsiteY3065" fmla="*/ 742631 h 3912503"/>
              <a:gd name="connsiteX3066" fmla="*/ 1782587 w 12192528"/>
              <a:gd name="connsiteY3066" fmla="*/ 741107 h 3912503"/>
              <a:gd name="connsiteX3067" fmla="*/ 1793911 w 12192528"/>
              <a:gd name="connsiteY3067" fmla="*/ 735882 h 3912503"/>
              <a:gd name="connsiteX3068" fmla="*/ 1797831 w 12192528"/>
              <a:gd name="connsiteY3068" fmla="*/ 733924 h 3912503"/>
              <a:gd name="connsiteX3069" fmla="*/ 3697078 w 12192528"/>
              <a:gd name="connsiteY3069" fmla="*/ 730896 h 3912503"/>
              <a:gd name="connsiteX3070" fmla="*/ 3707231 w 12192528"/>
              <a:gd name="connsiteY3070" fmla="*/ 732450 h 3912503"/>
              <a:gd name="connsiteX3071" fmla="*/ 3715822 w 12192528"/>
              <a:gd name="connsiteY3071" fmla="*/ 737892 h 3912503"/>
              <a:gd name="connsiteX3072" fmla="*/ 3720507 w 12192528"/>
              <a:gd name="connsiteY3072" fmla="*/ 743335 h 3912503"/>
              <a:gd name="connsiteX3073" fmla="*/ 3720507 w 12192528"/>
              <a:gd name="connsiteY3073" fmla="*/ 757329 h 3912503"/>
              <a:gd name="connsiteX3074" fmla="*/ 3711917 w 12192528"/>
              <a:gd name="connsiteY3074" fmla="*/ 765880 h 3912503"/>
              <a:gd name="connsiteX3075" fmla="*/ 3706451 w 12192528"/>
              <a:gd name="connsiteY3075" fmla="*/ 775987 h 3912503"/>
              <a:gd name="connsiteX3076" fmla="*/ 3702155 w 12192528"/>
              <a:gd name="connsiteY3076" fmla="*/ 786484 h 3912503"/>
              <a:gd name="connsiteX3077" fmla="*/ 3696298 w 12192528"/>
              <a:gd name="connsiteY3077" fmla="*/ 793480 h 3912503"/>
              <a:gd name="connsiteX3078" fmla="*/ 3687707 w 12192528"/>
              <a:gd name="connsiteY3078" fmla="*/ 797756 h 3912503"/>
              <a:gd name="connsiteX3079" fmla="*/ 3679898 w 12192528"/>
              <a:gd name="connsiteY3079" fmla="*/ 797756 h 3912503"/>
              <a:gd name="connsiteX3080" fmla="*/ 3678726 w 12192528"/>
              <a:gd name="connsiteY3080" fmla="*/ 796201 h 3912503"/>
              <a:gd name="connsiteX3081" fmla="*/ 3667794 w 12192528"/>
              <a:gd name="connsiteY3081" fmla="*/ 787649 h 3912503"/>
              <a:gd name="connsiteX3082" fmla="*/ 3664279 w 12192528"/>
              <a:gd name="connsiteY3082" fmla="*/ 774433 h 3912503"/>
              <a:gd name="connsiteX3083" fmla="*/ 3669745 w 12192528"/>
              <a:gd name="connsiteY3083" fmla="*/ 758884 h 3912503"/>
              <a:gd name="connsiteX3084" fmla="*/ 3675603 w 12192528"/>
              <a:gd name="connsiteY3084" fmla="*/ 755385 h 3912503"/>
              <a:gd name="connsiteX3085" fmla="*/ 3683021 w 12192528"/>
              <a:gd name="connsiteY3085" fmla="*/ 746056 h 3912503"/>
              <a:gd name="connsiteX3086" fmla="*/ 3685364 w 12192528"/>
              <a:gd name="connsiteY3086" fmla="*/ 741780 h 3912503"/>
              <a:gd name="connsiteX3087" fmla="*/ 3697078 w 12192528"/>
              <a:gd name="connsiteY3087" fmla="*/ 730896 h 3912503"/>
              <a:gd name="connsiteX3088" fmla="*/ 2342912 w 12192528"/>
              <a:gd name="connsiteY3088" fmla="*/ 728298 h 3912503"/>
              <a:gd name="connsiteX3089" fmla="*/ 2351485 w 12192528"/>
              <a:gd name="connsiteY3089" fmla="*/ 732545 h 3912503"/>
              <a:gd name="connsiteX3090" fmla="*/ 2356345 w 12192528"/>
              <a:gd name="connsiteY3090" fmla="*/ 735114 h 3912503"/>
              <a:gd name="connsiteX3091" fmla="*/ 2361775 w 12192528"/>
              <a:gd name="connsiteY3091" fmla="*/ 739680 h 3912503"/>
              <a:gd name="connsiteX3092" fmla="*/ 2365204 w 12192528"/>
              <a:gd name="connsiteY3092" fmla="*/ 744248 h 3912503"/>
              <a:gd name="connsiteX3093" fmla="*/ 2369205 w 12192528"/>
              <a:gd name="connsiteY3093" fmla="*/ 756807 h 3912503"/>
              <a:gd name="connsiteX3094" fmla="*/ 2372063 w 12192528"/>
              <a:gd name="connsiteY3094" fmla="*/ 764514 h 3912503"/>
              <a:gd name="connsiteX3095" fmla="*/ 2372063 w 12192528"/>
              <a:gd name="connsiteY3095" fmla="*/ 767939 h 3912503"/>
              <a:gd name="connsiteX3096" fmla="*/ 2368634 w 12192528"/>
              <a:gd name="connsiteY3096" fmla="*/ 774790 h 3912503"/>
              <a:gd name="connsiteX3097" fmla="*/ 2360917 w 12192528"/>
              <a:gd name="connsiteY3097" fmla="*/ 785066 h 3912503"/>
              <a:gd name="connsiteX3098" fmla="*/ 2358916 w 12192528"/>
              <a:gd name="connsiteY3098" fmla="*/ 789062 h 3912503"/>
              <a:gd name="connsiteX3099" fmla="*/ 2355487 w 12192528"/>
              <a:gd name="connsiteY3099" fmla="*/ 790489 h 3912503"/>
              <a:gd name="connsiteX3100" fmla="*/ 2348913 w 12192528"/>
              <a:gd name="connsiteY3100" fmla="*/ 792487 h 3912503"/>
              <a:gd name="connsiteX3101" fmla="*/ 2346627 w 12192528"/>
              <a:gd name="connsiteY3101" fmla="*/ 793629 h 3912503"/>
              <a:gd name="connsiteX3102" fmla="*/ 2337482 w 12192528"/>
              <a:gd name="connsiteY3102" fmla="*/ 794771 h 3912503"/>
              <a:gd name="connsiteX3103" fmla="*/ 2335481 w 12192528"/>
              <a:gd name="connsiteY3103" fmla="*/ 795342 h 3912503"/>
              <a:gd name="connsiteX3104" fmla="*/ 2315189 w 12192528"/>
              <a:gd name="connsiteY3104" fmla="*/ 782497 h 3912503"/>
              <a:gd name="connsiteX3105" fmla="*/ 2308901 w 12192528"/>
              <a:gd name="connsiteY3105" fmla="*/ 770794 h 3912503"/>
              <a:gd name="connsiteX3106" fmla="*/ 2306900 w 12192528"/>
              <a:gd name="connsiteY3106" fmla="*/ 765941 h 3912503"/>
              <a:gd name="connsiteX3107" fmla="*/ 2306614 w 12192528"/>
              <a:gd name="connsiteY3107" fmla="*/ 761089 h 3912503"/>
              <a:gd name="connsiteX3108" fmla="*/ 2307472 w 12192528"/>
              <a:gd name="connsiteY3108" fmla="*/ 757379 h 3912503"/>
              <a:gd name="connsiteX3109" fmla="*/ 2308901 w 12192528"/>
              <a:gd name="connsiteY3109" fmla="*/ 749670 h 3912503"/>
              <a:gd name="connsiteX3110" fmla="*/ 2309186 w 12192528"/>
              <a:gd name="connsiteY3110" fmla="*/ 746817 h 3912503"/>
              <a:gd name="connsiteX3111" fmla="*/ 2310045 w 12192528"/>
              <a:gd name="connsiteY3111" fmla="*/ 739966 h 3912503"/>
              <a:gd name="connsiteX3112" fmla="*/ 2324335 w 12192528"/>
              <a:gd name="connsiteY3112" fmla="*/ 728834 h 3912503"/>
              <a:gd name="connsiteX3113" fmla="*/ 2333479 w 12192528"/>
              <a:gd name="connsiteY3113" fmla="*/ 728549 h 3912503"/>
              <a:gd name="connsiteX3114" fmla="*/ 2342912 w 12192528"/>
              <a:gd name="connsiteY3114" fmla="*/ 728298 h 3912503"/>
              <a:gd name="connsiteX3115" fmla="*/ 6822928 w 12192528"/>
              <a:gd name="connsiteY3115" fmla="*/ 696735 h 3912503"/>
              <a:gd name="connsiteX3116" fmla="*/ 6835677 w 12192528"/>
              <a:gd name="connsiteY3116" fmla="*/ 697073 h 3912503"/>
              <a:gd name="connsiteX3117" fmla="*/ 6848042 w 12192528"/>
              <a:gd name="connsiteY3117" fmla="*/ 697459 h 3912503"/>
              <a:gd name="connsiteX3118" fmla="*/ 6867357 w 12192528"/>
              <a:gd name="connsiteY3118" fmla="*/ 712507 h 3912503"/>
              <a:gd name="connsiteX3119" fmla="*/ 6868516 w 12192528"/>
              <a:gd name="connsiteY3119" fmla="*/ 721769 h 3912503"/>
              <a:gd name="connsiteX3120" fmla="*/ 6868714 w 12192528"/>
              <a:gd name="connsiteY3120" fmla="*/ 723723 h 3912503"/>
              <a:gd name="connsiteX3121" fmla="*/ 6880103 w 12192528"/>
              <a:gd name="connsiteY3121" fmla="*/ 729759 h 3912503"/>
              <a:gd name="connsiteX3122" fmla="*/ 6889972 w 12192528"/>
              <a:gd name="connsiteY3122" fmla="*/ 745688 h 3912503"/>
              <a:gd name="connsiteX3123" fmla="*/ 6893233 w 12192528"/>
              <a:gd name="connsiteY3123" fmla="*/ 771746 h 3912503"/>
              <a:gd name="connsiteX3124" fmla="*/ 6894319 w 12192528"/>
              <a:gd name="connsiteY3124" fmla="*/ 782603 h 3912503"/>
              <a:gd name="connsiteX3125" fmla="*/ 6899754 w 12192528"/>
              <a:gd name="connsiteY3125" fmla="*/ 811918 h 3912503"/>
              <a:gd name="connsiteX3126" fmla="*/ 6903015 w 12192528"/>
              <a:gd name="connsiteY3126" fmla="*/ 826031 h 3912503"/>
              <a:gd name="connsiteX3127" fmla="*/ 6901932 w 12192528"/>
              <a:gd name="connsiteY3127" fmla="*/ 844490 h 3912503"/>
              <a:gd name="connsiteX3128" fmla="*/ 6894319 w 12192528"/>
              <a:gd name="connsiteY3128" fmla="*/ 862947 h 3912503"/>
              <a:gd name="connsiteX3129" fmla="*/ 6870401 w 12192528"/>
              <a:gd name="connsiteY3129" fmla="*/ 907461 h 3912503"/>
              <a:gd name="connsiteX3130" fmla="*/ 6793218 w 12192528"/>
              <a:gd name="connsiteY3130" fmla="*/ 956319 h 3912503"/>
              <a:gd name="connsiteX3131" fmla="*/ 6785610 w 12192528"/>
              <a:gd name="connsiteY3131" fmla="*/ 954148 h 3912503"/>
              <a:gd name="connsiteX3132" fmla="*/ 6750821 w 12192528"/>
              <a:gd name="connsiteY3132" fmla="*/ 949805 h 3912503"/>
              <a:gd name="connsiteX3133" fmla="*/ 6742123 w 12192528"/>
              <a:gd name="connsiteY3133" fmla="*/ 945462 h 3912503"/>
              <a:gd name="connsiteX3134" fmla="*/ 6717122 w 12192528"/>
              <a:gd name="connsiteY3134" fmla="*/ 937862 h 3912503"/>
              <a:gd name="connsiteX3135" fmla="*/ 6704075 w 12192528"/>
              <a:gd name="connsiteY3135" fmla="*/ 932433 h 3912503"/>
              <a:gd name="connsiteX3136" fmla="*/ 6696466 w 12192528"/>
              <a:gd name="connsiteY3136" fmla="*/ 917233 h 3912503"/>
              <a:gd name="connsiteX3137" fmla="*/ 6667115 w 12192528"/>
              <a:gd name="connsiteY3137" fmla="*/ 878147 h 3912503"/>
              <a:gd name="connsiteX3138" fmla="*/ 6654068 w 12192528"/>
              <a:gd name="connsiteY3138" fmla="*/ 852090 h 3912503"/>
              <a:gd name="connsiteX3139" fmla="*/ 6654068 w 12192528"/>
              <a:gd name="connsiteY3139" fmla="*/ 839061 h 3912503"/>
              <a:gd name="connsiteX3140" fmla="*/ 6664939 w 12192528"/>
              <a:gd name="connsiteY3140" fmla="*/ 809745 h 3912503"/>
              <a:gd name="connsiteX3141" fmla="*/ 6680161 w 12192528"/>
              <a:gd name="connsiteY3141" fmla="*/ 761974 h 3912503"/>
              <a:gd name="connsiteX3142" fmla="*/ 6693202 w 12192528"/>
              <a:gd name="connsiteY3142" fmla="*/ 744603 h 3912503"/>
              <a:gd name="connsiteX3143" fmla="*/ 6713856 w 12192528"/>
              <a:gd name="connsiteY3143" fmla="*/ 727230 h 3912503"/>
              <a:gd name="connsiteX3144" fmla="*/ 6732341 w 12192528"/>
              <a:gd name="connsiteY3144" fmla="*/ 717459 h 3912503"/>
              <a:gd name="connsiteX3145" fmla="*/ 6800829 w 12192528"/>
              <a:gd name="connsiteY3145" fmla="*/ 702258 h 3912503"/>
              <a:gd name="connsiteX3146" fmla="*/ 6816077 w 12192528"/>
              <a:gd name="connsiteY3146" fmla="*/ 700129 h 3912503"/>
              <a:gd name="connsiteX3147" fmla="*/ 3895000 w 12192528"/>
              <a:gd name="connsiteY3147" fmla="*/ 684176 h 3912503"/>
              <a:gd name="connsiteX3148" fmla="*/ 3903652 w 12192528"/>
              <a:gd name="connsiteY3148" fmla="*/ 688460 h 3912503"/>
              <a:gd name="connsiteX3149" fmla="*/ 3908554 w 12192528"/>
              <a:gd name="connsiteY3149" fmla="*/ 691053 h 3912503"/>
              <a:gd name="connsiteX3150" fmla="*/ 3914034 w 12192528"/>
              <a:gd name="connsiteY3150" fmla="*/ 695662 h 3912503"/>
              <a:gd name="connsiteX3151" fmla="*/ 3917495 w 12192528"/>
              <a:gd name="connsiteY3151" fmla="*/ 700270 h 3912503"/>
              <a:gd name="connsiteX3152" fmla="*/ 3921532 w 12192528"/>
              <a:gd name="connsiteY3152" fmla="*/ 712942 h 3912503"/>
              <a:gd name="connsiteX3153" fmla="*/ 3924416 w 12192528"/>
              <a:gd name="connsiteY3153" fmla="*/ 720720 h 3912503"/>
              <a:gd name="connsiteX3154" fmla="*/ 3924416 w 12192528"/>
              <a:gd name="connsiteY3154" fmla="*/ 724175 h 3912503"/>
              <a:gd name="connsiteX3155" fmla="*/ 3920955 w 12192528"/>
              <a:gd name="connsiteY3155" fmla="*/ 731088 h 3912503"/>
              <a:gd name="connsiteX3156" fmla="*/ 3913169 w 12192528"/>
              <a:gd name="connsiteY3156" fmla="*/ 741457 h 3912503"/>
              <a:gd name="connsiteX3157" fmla="*/ 3911150 w 12192528"/>
              <a:gd name="connsiteY3157" fmla="*/ 745489 h 3912503"/>
              <a:gd name="connsiteX3158" fmla="*/ 3907690 w 12192528"/>
              <a:gd name="connsiteY3158" fmla="*/ 746929 h 3912503"/>
              <a:gd name="connsiteX3159" fmla="*/ 3901056 w 12192528"/>
              <a:gd name="connsiteY3159" fmla="*/ 748946 h 3912503"/>
              <a:gd name="connsiteX3160" fmla="*/ 3898749 w 12192528"/>
              <a:gd name="connsiteY3160" fmla="*/ 750097 h 3912503"/>
              <a:gd name="connsiteX3161" fmla="*/ 3889521 w 12192528"/>
              <a:gd name="connsiteY3161" fmla="*/ 751250 h 3912503"/>
              <a:gd name="connsiteX3162" fmla="*/ 3887502 w 12192528"/>
              <a:gd name="connsiteY3162" fmla="*/ 751826 h 3912503"/>
              <a:gd name="connsiteX3163" fmla="*/ 3867027 w 12192528"/>
              <a:gd name="connsiteY3163" fmla="*/ 738864 h 3912503"/>
              <a:gd name="connsiteX3164" fmla="*/ 3860681 w 12192528"/>
              <a:gd name="connsiteY3164" fmla="*/ 727056 h 3912503"/>
              <a:gd name="connsiteX3165" fmla="*/ 3858663 w 12192528"/>
              <a:gd name="connsiteY3165" fmla="*/ 722160 h 3912503"/>
              <a:gd name="connsiteX3166" fmla="*/ 3858375 w 12192528"/>
              <a:gd name="connsiteY3166" fmla="*/ 717263 h 3912503"/>
              <a:gd name="connsiteX3167" fmla="*/ 3859239 w 12192528"/>
              <a:gd name="connsiteY3167" fmla="*/ 713519 h 3912503"/>
              <a:gd name="connsiteX3168" fmla="*/ 3860681 w 12192528"/>
              <a:gd name="connsiteY3168" fmla="*/ 705742 h 3912503"/>
              <a:gd name="connsiteX3169" fmla="*/ 3860970 w 12192528"/>
              <a:gd name="connsiteY3169" fmla="*/ 702862 h 3912503"/>
              <a:gd name="connsiteX3170" fmla="*/ 3861836 w 12192528"/>
              <a:gd name="connsiteY3170" fmla="*/ 695949 h 3912503"/>
              <a:gd name="connsiteX3171" fmla="*/ 3876255 w 12192528"/>
              <a:gd name="connsiteY3171" fmla="*/ 684716 h 3912503"/>
              <a:gd name="connsiteX3172" fmla="*/ 3885484 w 12192528"/>
              <a:gd name="connsiteY3172" fmla="*/ 684429 h 3912503"/>
              <a:gd name="connsiteX3173" fmla="*/ 3895000 w 12192528"/>
              <a:gd name="connsiteY3173" fmla="*/ 684176 h 3912503"/>
              <a:gd name="connsiteX3174" fmla="*/ 3616613 w 12192528"/>
              <a:gd name="connsiteY3174" fmla="*/ 678508 h 3912503"/>
              <a:gd name="connsiteX3175" fmla="*/ 3620595 w 12192528"/>
              <a:gd name="connsiteY3175" fmla="*/ 680330 h 3912503"/>
              <a:gd name="connsiteX3176" fmla="*/ 3611238 w 12192528"/>
              <a:gd name="connsiteY3176" fmla="*/ 683189 h 3912503"/>
              <a:gd name="connsiteX3177" fmla="*/ 3608649 w 12192528"/>
              <a:gd name="connsiteY3177" fmla="*/ 681665 h 3912503"/>
              <a:gd name="connsiteX3178" fmla="*/ 3616613 w 12192528"/>
              <a:gd name="connsiteY3178" fmla="*/ 678508 h 3912503"/>
              <a:gd name="connsiteX3179" fmla="*/ 3586537 w 12192528"/>
              <a:gd name="connsiteY3179" fmla="*/ 674876 h 3912503"/>
              <a:gd name="connsiteX3180" fmla="*/ 3569890 w 12192528"/>
              <a:gd name="connsiteY3180" fmla="*/ 681157 h 3912503"/>
              <a:gd name="connsiteX3181" fmla="*/ 3551050 w 12192528"/>
              <a:gd name="connsiteY3181" fmla="*/ 696561 h 3912503"/>
              <a:gd name="connsiteX3182" fmla="*/ 3378830 w 12192528"/>
              <a:gd name="connsiteY3182" fmla="*/ 811329 h 3912503"/>
              <a:gd name="connsiteX3183" fmla="*/ 3350969 w 12192528"/>
              <a:gd name="connsiteY3183" fmla="*/ 832579 h 3912503"/>
              <a:gd name="connsiteX3184" fmla="*/ 3309574 w 12192528"/>
              <a:gd name="connsiteY3184" fmla="*/ 862596 h 3912503"/>
              <a:gd name="connsiteX3185" fmla="*/ 3307987 w 12192528"/>
              <a:gd name="connsiteY3185" fmla="*/ 870029 h 3912503"/>
              <a:gd name="connsiteX3186" fmla="*/ 3241652 w 12192528"/>
              <a:gd name="connsiteY3186" fmla="*/ 925809 h 3912503"/>
              <a:gd name="connsiteX3187" fmla="*/ 3181419 w 12192528"/>
              <a:gd name="connsiteY3187" fmla="*/ 971233 h 3912503"/>
              <a:gd name="connsiteX3188" fmla="*/ 3195494 w 12192528"/>
              <a:gd name="connsiteY3188" fmla="*/ 978125 h 3912503"/>
              <a:gd name="connsiteX3189" fmla="*/ 3189394 w 12192528"/>
              <a:gd name="connsiteY3189" fmla="*/ 988481 h 3912503"/>
              <a:gd name="connsiteX3190" fmla="*/ 3141901 w 12192528"/>
              <a:gd name="connsiteY3190" fmla="*/ 1028854 h 3912503"/>
              <a:gd name="connsiteX3191" fmla="*/ 3134466 w 12192528"/>
              <a:gd name="connsiteY3191" fmla="*/ 1027266 h 3912503"/>
              <a:gd name="connsiteX3192" fmla="*/ 3146664 w 12192528"/>
              <a:gd name="connsiteY3192" fmla="*/ 1006555 h 3912503"/>
              <a:gd name="connsiteX3193" fmla="*/ 3117592 w 12192528"/>
              <a:gd name="connsiteY3193" fmla="*/ 1029227 h 3912503"/>
              <a:gd name="connsiteX3194" fmla="*/ 3145894 w 12192528"/>
              <a:gd name="connsiteY3194" fmla="*/ 1050894 h 3912503"/>
              <a:gd name="connsiteX3195" fmla="*/ 3178041 w 12192528"/>
              <a:gd name="connsiteY3195" fmla="*/ 1076696 h 3912503"/>
              <a:gd name="connsiteX3196" fmla="*/ 3255840 w 12192528"/>
              <a:gd name="connsiteY3196" fmla="*/ 1110770 h 3912503"/>
              <a:gd name="connsiteX3197" fmla="*/ 3285698 w 12192528"/>
              <a:gd name="connsiteY3197" fmla="*/ 1103619 h 3912503"/>
              <a:gd name="connsiteX3198" fmla="*/ 3289132 w 12192528"/>
              <a:gd name="connsiteY3198" fmla="*/ 1100387 h 3912503"/>
              <a:gd name="connsiteX3199" fmla="*/ 3288029 w 12192528"/>
              <a:gd name="connsiteY3199" fmla="*/ 1099174 h 3912503"/>
              <a:gd name="connsiteX3200" fmla="*/ 3286613 w 12192528"/>
              <a:gd name="connsiteY3200" fmla="*/ 1096580 h 3912503"/>
              <a:gd name="connsiteX3201" fmla="*/ 3289208 w 12192528"/>
              <a:gd name="connsiteY3201" fmla="*/ 1095165 h 3912503"/>
              <a:gd name="connsiteX3202" fmla="*/ 3294163 w 12192528"/>
              <a:gd name="connsiteY3202" fmla="*/ 1090449 h 3912503"/>
              <a:gd name="connsiteX3203" fmla="*/ 3300298 w 12192528"/>
              <a:gd name="connsiteY3203" fmla="*/ 1079837 h 3912503"/>
              <a:gd name="connsiteX3204" fmla="*/ 3300534 w 12192528"/>
              <a:gd name="connsiteY3204" fmla="*/ 1074176 h 3912503"/>
              <a:gd name="connsiteX3205" fmla="*/ 3298646 w 12192528"/>
              <a:gd name="connsiteY3205" fmla="*/ 1070403 h 3912503"/>
              <a:gd name="connsiteX3206" fmla="*/ 3302657 w 12192528"/>
              <a:gd name="connsiteY3206" fmla="*/ 1067809 h 3912503"/>
              <a:gd name="connsiteX3207" fmla="*/ 3305961 w 12192528"/>
              <a:gd name="connsiteY3207" fmla="*/ 1067337 h 3912503"/>
              <a:gd name="connsiteX3208" fmla="*/ 3309972 w 12192528"/>
              <a:gd name="connsiteY3208" fmla="*/ 1057668 h 3912503"/>
              <a:gd name="connsiteX3209" fmla="*/ 3308793 w 12192528"/>
              <a:gd name="connsiteY3209" fmla="*/ 1055781 h 3912503"/>
              <a:gd name="connsiteX3210" fmla="*/ 3309029 w 12192528"/>
              <a:gd name="connsiteY3210" fmla="*/ 1051536 h 3912503"/>
              <a:gd name="connsiteX3211" fmla="*/ 3312804 w 12192528"/>
              <a:gd name="connsiteY3211" fmla="*/ 1052480 h 3912503"/>
              <a:gd name="connsiteX3212" fmla="*/ 3315163 w 12192528"/>
              <a:gd name="connsiteY3212" fmla="*/ 1055546 h 3912503"/>
              <a:gd name="connsiteX3213" fmla="*/ 3319882 w 12192528"/>
              <a:gd name="connsiteY3213" fmla="*/ 1056253 h 3912503"/>
              <a:gd name="connsiteX3214" fmla="*/ 3326949 w 12192528"/>
              <a:gd name="connsiteY3214" fmla="*/ 1054400 h 3912503"/>
              <a:gd name="connsiteX3215" fmla="*/ 3336535 w 12192528"/>
              <a:gd name="connsiteY3215" fmla="*/ 1016867 h 3912503"/>
              <a:gd name="connsiteX3216" fmla="*/ 3411296 w 12192528"/>
              <a:gd name="connsiteY3216" fmla="*/ 971995 h 3912503"/>
              <a:gd name="connsiteX3217" fmla="*/ 3462134 w 12192528"/>
              <a:gd name="connsiteY3217" fmla="*/ 954046 h 3912503"/>
              <a:gd name="connsiteX3218" fmla="*/ 3545866 w 12192528"/>
              <a:gd name="connsiteY3218" fmla="*/ 903192 h 3912503"/>
              <a:gd name="connsiteX3219" fmla="*/ 3572780 w 12192528"/>
              <a:gd name="connsiteY3219" fmla="*/ 879260 h 3912503"/>
              <a:gd name="connsiteX3220" fmla="*/ 3560818 w 12192528"/>
              <a:gd name="connsiteY3220" fmla="*/ 804474 h 3912503"/>
              <a:gd name="connsiteX3221" fmla="*/ 3563808 w 12192528"/>
              <a:gd name="connsiteY3221" fmla="*/ 702765 h 3912503"/>
              <a:gd name="connsiteX3222" fmla="*/ 3569555 w 12192528"/>
              <a:gd name="connsiteY3222" fmla="*/ 702765 h 3912503"/>
              <a:gd name="connsiteX3223" fmla="*/ 3574974 w 12192528"/>
              <a:gd name="connsiteY3223" fmla="*/ 691471 h 3912503"/>
              <a:gd name="connsiteX3224" fmla="*/ 3590064 w 12192528"/>
              <a:gd name="connsiteY3224" fmla="*/ 677694 h 3912503"/>
              <a:gd name="connsiteX3225" fmla="*/ 3586537 w 12192528"/>
              <a:gd name="connsiteY3225" fmla="*/ 674876 h 3912503"/>
              <a:gd name="connsiteX3226" fmla="*/ 11047096 w 12192528"/>
              <a:gd name="connsiteY3226" fmla="*/ 644639 h 3912503"/>
              <a:gd name="connsiteX3227" fmla="*/ 11046879 w 12192528"/>
              <a:gd name="connsiteY3227" fmla="*/ 645000 h 3912503"/>
              <a:gd name="connsiteX3228" fmla="*/ 11046628 w 12192528"/>
              <a:gd name="connsiteY3228" fmla="*/ 644750 h 3912503"/>
              <a:gd name="connsiteX3229" fmla="*/ 7433933 w 12192528"/>
              <a:gd name="connsiteY3229" fmla="*/ 635263 h 3912503"/>
              <a:gd name="connsiteX3230" fmla="*/ 7437611 w 12192528"/>
              <a:gd name="connsiteY3230" fmla="*/ 637102 h 3912503"/>
              <a:gd name="connsiteX3231" fmla="*/ 7448248 w 12192528"/>
              <a:gd name="connsiteY3231" fmla="*/ 642008 h 3912503"/>
              <a:gd name="connsiteX3232" fmla="*/ 7450290 w 12192528"/>
              <a:gd name="connsiteY3232" fmla="*/ 643439 h 3912503"/>
              <a:gd name="connsiteX3233" fmla="*/ 7459293 w 12192528"/>
              <a:gd name="connsiteY3233" fmla="*/ 654271 h 3912503"/>
              <a:gd name="connsiteX3234" fmla="*/ 7464809 w 12192528"/>
              <a:gd name="connsiteY3234" fmla="*/ 672664 h 3912503"/>
              <a:gd name="connsiteX3235" fmla="*/ 7467469 w 12192528"/>
              <a:gd name="connsiteY3235" fmla="*/ 679001 h 3912503"/>
              <a:gd name="connsiteX3236" fmla="*/ 7466852 w 12192528"/>
              <a:gd name="connsiteY3236" fmla="*/ 687993 h 3912503"/>
              <a:gd name="connsiteX3237" fmla="*/ 7466035 w 12192528"/>
              <a:gd name="connsiteY3237" fmla="*/ 695554 h 3912503"/>
              <a:gd name="connsiteX3238" fmla="*/ 7466247 w 12192528"/>
              <a:gd name="connsiteY3238" fmla="*/ 698621 h 3912503"/>
              <a:gd name="connsiteX3239" fmla="*/ 7454175 w 12192528"/>
              <a:gd name="connsiteY3239" fmla="*/ 712518 h 3912503"/>
              <a:gd name="connsiteX3240" fmla="*/ 7442728 w 12192528"/>
              <a:gd name="connsiteY3240" fmla="*/ 719262 h 3912503"/>
              <a:gd name="connsiteX3241" fmla="*/ 7434137 w 12192528"/>
              <a:gd name="connsiteY3241" fmla="*/ 730503 h 3912503"/>
              <a:gd name="connsiteX3242" fmla="*/ 7435364 w 12192528"/>
              <a:gd name="connsiteY3242" fmla="*/ 732752 h 3912503"/>
              <a:gd name="connsiteX3243" fmla="*/ 7447431 w 12192528"/>
              <a:gd name="connsiteY3243" fmla="*/ 747058 h 3912503"/>
              <a:gd name="connsiteX3244" fmla="*/ 7449066 w 12192528"/>
              <a:gd name="connsiteY3244" fmla="*/ 750328 h 3912503"/>
              <a:gd name="connsiteX3245" fmla="*/ 7450700 w 12192528"/>
              <a:gd name="connsiteY3245" fmla="*/ 760548 h 3912503"/>
              <a:gd name="connsiteX3246" fmla="*/ 7453567 w 12192528"/>
              <a:gd name="connsiteY3246" fmla="*/ 772402 h 3912503"/>
              <a:gd name="connsiteX3247" fmla="*/ 7453356 w 12192528"/>
              <a:gd name="connsiteY3247" fmla="*/ 777306 h 3912503"/>
              <a:gd name="connsiteX3248" fmla="*/ 7442522 w 12192528"/>
              <a:gd name="connsiteY3248" fmla="*/ 803671 h 3912503"/>
              <a:gd name="connsiteX3249" fmla="*/ 7440478 w 12192528"/>
              <a:gd name="connsiteY3249" fmla="*/ 805306 h 3912503"/>
              <a:gd name="connsiteX3250" fmla="*/ 7428002 w 12192528"/>
              <a:gd name="connsiteY3250" fmla="*/ 811233 h 3912503"/>
              <a:gd name="connsiteX3251" fmla="*/ 7422685 w 12192528"/>
              <a:gd name="connsiteY3251" fmla="*/ 812868 h 3912503"/>
              <a:gd name="connsiteX3252" fmla="*/ 7413689 w 12192528"/>
              <a:gd name="connsiteY3252" fmla="*/ 814912 h 3912503"/>
              <a:gd name="connsiteX3253" fmla="*/ 7406938 w 12192528"/>
              <a:gd name="connsiteY3253" fmla="*/ 820839 h 3912503"/>
              <a:gd name="connsiteX3254" fmla="*/ 7403871 w 12192528"/>
              <a:gd name="connsiteY3254" fmla="*/ 821937 h 3912503"/>
              <a:gd name="connsiteX3255" fmla="*/ 7402033 w 12192528"/>
              <a:gd name="connsiteY3255" fmla="*/ 819204 h 3912503"/>
              <a:gd name="connsiteX3256" fmla="*/ 7401417 w 12192528"/>
              <a:gd name="connsiteY3256" fmla="*/ 816751 h 3912503"/>
              <a:gd name="connsiteX3257" fmla="*/ 7399578 w 12192528"/>
              <a:gd name="connsiteY3257" fmla="*/ 813890 h 3912503"/>
              <a:gd name="connsiteX3258" fmla="*/ 7396924 w 12192528"/>
              <a:gd name="connsiteY3258" fmla="*/ 815729 h 3912503"/>
              <a:gd name="connsiteX3259" fmla="*/ 7390786 w 12192528"/>
              <a:gd name="connsiteY3259" fmla="*/ 814708 h 3912503"/>
              <a:gd name="connsiteX3260" fmla="*/ 7389560 w 12192528"/>
              <a:gd name="connsiteY3260" fmla="*/ 812050 h 3912503"/>
              <a:gd name="connsiteX3261" fmla="*/ 7385881 w 12192528"/>
              <a:gd name="connsiteY3261" fmla="*/ 810620 h 3912503"/>
              <a:gd name="connsiteX3262" fmla="*/ 7384448 w 12192528"/>
              <a:gd name="connsiteY3262" fmla="*/ 814094 h 3912503"/>
              <a:gd name="connsiteX3263" fmla="*/ 7384794 w 12192528"/>
              <a:gd name="connsiteY3263" fmla="*/ 817185 h 3912503"/>
              <a:gd name="connsiteX3264" fmla="*/ 7368810 w 12192528"/>
              <a:gd name="connsiteY3264" fmla="*/ 801290 h 3912503"/>
              <a:gd name="connsiteX3265" fmla="*/ 7369727 w 12192528"/>
              <a:gd name="connsiteY3265" fmla="*/ 799993 h 3912503"/>
              <a:gd name="connsiteX3266" fmla="*/ 7367884 w 12192528"/>
              <a:gd name="connsiteY3266" fmla="*/ 796110 h 3912503"/>
              <a:gd name="connsiteX3267" fmla="*/ 7364200 w 12192528"/>
              <a:gd name="connsiteY3267" fmla="*/ 794474 h 3912503"/>
              <a:gd name="connsiteX3268" fmla="*/ 7361755 w 12192528"/>
              <a:gd name="connsiteY3268" fmla="*/ 789569 h 3912503"/>
              <a:gd name="connsiteX3269" fmla="*/ 7353775 w 12192528"/>
              <a:gd name="connsiteY3269" fmla="*/ 773831 h 3912503"/>
              <a:gd name="connsiteX3270" fmla="*/ 7350907 w 12192528"/>
              <a:gd name="connsiteY3270" fmla="*/ 771584 h 3912503"/>
              <a:gd name="connsiteX3271" fmla="*/ 7354796 w 12192528"/>
              <a:gd name="connsiteY3271" fmla="*/ 769131 h 3912503"/>
              <a:gd name="connsiteX3272" fmla="*/ 7355410 w 12192528"/>
              <a:gd name="connsiteY3272" fmla="*/ 769131 h 3912503"/>
              <a:gd name="connsiteX3273" fmla="*/ 7359298 w 12192528"/>
              <a:gd name="connsiteY3273" fmla="*/ 762182 h 3912503"/>
              <a:gd name="connsiteX3274" fmla="*/ 7359708 w 12192528"/>
              <a:gd name="connsiteY3274" fmla="*/ 752577 h 3912503"/>
              <a:gd name="connsiteX3275" fmla="*/ 7363182 w 12192528"/>
              <a:gd name="connsiteY3275" fmla="*/ 739087 h 3912503"/>
              <a:gd name="connsiteX3276" fmla="*/ 7366247 w 12192528"/>
              <a:gd name="connsiteY3276" fmla="*/ 735409 h 3912503"/>
              <a:gd name="connsiteX3277" fmla="*/ 7374630 w 12192528"/>
              <a:gd name="connsiteY3277" fmla="*/ 724781 h 3912503"/>
              <a:gd name="connsiteX3278" fmla="*/ 7379541 w 12192528"/>
              <a:gd name="connsiteY3278" fmla="*/ 722941 h 3912503"/>
              <a:gd name="connsiteX3279" fmla="*/ 7399785 w 12192528"/>
              <a:gd name="connsiteY3279" fmla="*/ 717015 h 3912503"/>
              <a:gd name="connsiteX3280" fmla="*/ 7399785 w 12192528"/>
              <a:gd name="connsiteY3280" fmla="*/ 712518 h 3912503"/>
              <a:gd name="connsiteX3281" fmla="*/ 7394466 w 12192528"/>
              <a:gd name="connsiteY3281" fmla="*/ 711905 h 3912503"/>
              <a:gd name="connsiteX3282" fmla="*/ 7390786 w 12192528"/>
              <a:gd name="connsiteY3282" fmla="*/ 714358 h 3912503"/>
              <a:gd name="connsiteX3283" fmla="*/ 7387313 w 12192528"/>
              <a:gd name="connsiteY3283" fmla="*/ 714766 h 3912503"/>
              <a:gd name="connsiteX3284" fmla="*/ 7387921 w 12192528"/>
              <a:gd name="connsiteY3284" fmla="*/ 711087 h 3912503"/>
              <a:gd name="connsiteX3285" fmla="*/ 7390786 w 12192528"/>
              <a:gd name="connsiteY3285" fmla="*/ 708431 h 3912503"/>
              <a:gd name="connsiteX3286" fmla="*/ 7391808 w 12192528"/>
              <a:gd name="connsiteY3286" fmla="*/ 702095 h 3912503"/>
              <a:gd name="connsiteX3287" fmla="*/ 7386290 w 12192528"/>
              <a:gd name="connsiteY3287" fmla="*/ 703321 h 3912503"/>
              <a:gd name="connsiteX3288" fmla="*/ 7381992 w 12192528"/>
              <a:gd name="connsiteY3288" fmla="*/ 706795 h 3912503"/>
              <a:gd name="connsiteX3289" fmla="*/ 7377902 w 12192528"/>
              <a:gd name="connsiteY3289" fmla="*/ 704139 h 3912503"/>
              <a:gd name="connsiteX3290" fmla="*/ 7382409 w 12192528"/>
              <a:gd name="connsiteY3290" fmla="*/ 692489 h 3912503"/>
              <a:gd name="connsiteX3291" fmla="*/ 7382409 w 12192528"/>
              <a:gd name="connsiteY3291" fmla="*/ 681248 h 3912503"/>
              <a:gd name="connsiteX3292" fmla="*/ 7378314 w 12192528"/>
              <a:gd name="connsiteY3292" fmla="*/ 676752 h 3912503"/>
              <a:gd name="connsiteX3293" fmla="*/ 7377086 w 12192528"/>
              <a:gd name="connsiteY3293" fmla="*/ 674504 h 3912503"/>
              <a:gd name="connsiteX3294" fmla="*/ 7379335 w 12192528"/>
              <a:gd name="connsiteY3294" fmla="*/ 673278 h 3912503"/>
              <a:gd name="connsiteX3295" fmla="*/ 7383635 w 12192528"/>
              <a:gd name="connsiteY3295" fmla="*/ 669190 h 3912503"/>
              <a:gd name="connsiteX3296" fmla="*/ 7388950 w 12192528"/>
              <a:gd name="connsiteY3296" fmla="*/ 659993 h 3912503"/>
              <a:gd name="connsiteX3297" fmla="*/ 7389153 w 12192528"/>
              <a:gd name="connsiteY3297" fmla="*/ 655088 h 3912503"/>
              <a:gd name="connsiteX3298" fmla="*/ 7387520 w 12192528"/>
              <a:gd name="connsiteY3298" fmla="*/ 651818 h 3912503"/>
              <a:gd name="connsiteX3299" fmla="*/ 7390990 w 12192528"/>
              <a:gd name="connsiteY3299" fmla="*/ 649570 h 3912503"/>
              <a:gd name="connsiteX3300" fmla="*/ 7393854 w 12192528"/>
              <a:gd name="connsiteY3300" fmla="*/ 649161 h 3912503"/>
              <a:gd name="connsiteX3301" fmla="*/ 7397332 w 12192528"/>
              <a:gd name="connsiteY3301" fmla="*/ 640781 h 3912503"/>
              <a:gd name="connsiteX3302" fmla="*/ 7396311 w 12192528"/>
              <a:gd name="connsiteY3302" fmla="*/ 639147 h 3912503"/>
              <a:gd name="connsiteX3303" fmla="*/ 7396509 w 12192528"/>
              <a:gd name="connsiteY3303" fmla="*/ 635468 h 3912503"/>
              <a:gd name="connsiteX3304" fmla="*/ 7399785 w 12192528"/>
              <a:gd name="connsiteY3304" fmla="*/ 636286 h 3912503"/>
              <a:gd name="connsiteX3305" fmla="*/ 7401824 w 12192528"/>
              <a:gd name="connsiteY3305" fmla="*/ 638942 h 3912503"/>
              <a:gd name="connsiteX3306" fmla="*/ 7405913 w 12192528"/>
              <a:gd name="connsiteY3306" fmla="*/ 639556 h 3912503"/>
              <a:gd name="connsiteX3307" fmla="*/ 7418389 w 12192528"/>
              <a:gd name="connsiteY3307" fmla="*/ 636286 h 3912503"/>
              <a:gd name="connsiteX3308" fmla="*/ 7433933 w 12192528"/>
              <a:gd name="connsiteY3308" fmla="*/ 635263 h 3912503"/>
              <a:gd name="connsiteX3309" fmla="*/ 3394788 w 12192528"/>
              <a:gd name="connsiteY3309" fmla="*/ 627624 h 3912503"/>
              <a:gd name="connsiteX3310" fmla="*/ 3395256 w 12192528"/>
              <a:gd name="connsiteY3310" fmla="*/ 627734 h 3912503"/>
              <a:gd name="connsiteX3311" fmla="*/ 3395003 w 12192528"/>
              <a:gd name="connsiteY3311" fmla="*/ 627985 h 3912503"/>
              <a:gd name="connsiteX3312" fmla="*/ 8029108 w 12192528"/>
              <a:gd name="connsiteY3312" fmla="*/ 625311 h 3912503"/>
              <a:gd name="connsiteX3313" fmla="*/ 8044465 w 12192528"/>
              <a:gd name="connsiteY3313" fmla="*/ 629112 h 3912503"/>
              <a:gd name="connsiteX3314" fmla="*/ 8098818 w 12192528"/>
              <a:gd name="connsiteY3314" fmla="*/ 671455 h 3912503"/>
              <a:gd name="connsiteX3315" fmla="*/ 8102081 w 12192528"/>
              <a:gd name="connsiteY3315" fmla="*/ 697512 h 3912503"/>
              <a:gd name="connsiteX3316" fmla="*/ 8103167 w 12192528"/>
              <a:gd name="connsiteY3316" fmla="*/ 708369 h 3912503"/>
              <a:gd name="connsiteX3317" fmla="*/ 8108604 w 12192528"/>
              <a:gd name="connsiteY3317" fmla="*/ 737685 h 3912503"/>
              <a:gd name="connsiteX3318" fmla="*/ 8111866 w 12192528"/>
              <a:gd name="connsiteY3318" fmla="*/ 751798 h 3912503"/>
              <a:gd name="connsiteX3319" fmla="*/ 8110778 w 12192528"/>
              <a:gd name="connsiteY3319" fmla="*/ 770257 h 3912503"/>
              <a:gd name="connsiteX3320" fmla="*/ 8103167 w 12192528"/>
              <a:gd name="connsiteY3320" fmla="*/ 788714 h 3912503"/>
              <a:gd name="connsiteX3321" fmla="*/ 8079252 w 12192528"/>
              <a:gd name="connsiteY3321" fmla="*/ 833228 h 3912503"/>
              <a:gd name="connsiteX3322" fmla="*/ 8002067 w 12192528"/>
              <a:gd name="connsiteY3322" fmla="*/ 882086 h 3912503"/>
              <a:gd name="connsiteX3323" fmla="*/ 7994453 w 12192528"/>
              <a:gd name="connsiteY3323" fmla="*/ 879915 h 3912503"/>
              <a:gd name="connsiteX3324" fmla="*/ 7959670 w 12192528"/>
              <a:gd name="connsiteY3324" fmla="*/ 875572 h 3912503"/>
              <a:gd name="connsiteX3325" fmla="*/ 7950973 w 12192528"/>
              <a:gd name="connsiteY3325" fmla="*/ 871229 h 3912503"/>
              <a:gd name="connsiteX3326" fmla="*/ 7925967 w 12192528"/>
              <a:gd name="connsiteY3326" fmla="*/ 863629 h 3912503"/>
              <a:gd name="connsiteX3327" fmla="*/ 7912920 w 12192528"/>
              <a:gd name="connsiteY3327" fmla="*/ 858200 h 3912503"/>
              <a:gd name="connsiteX3328" fmla="*/ 7905311 w 12192528"/>
              <a:gd name="connsiteY3328" fmla="*/ 843000 h 3912503"/>
              <a:gd name="connsiteX3329" fmla="*/ 7875957 w 12192528"/>
              <a:gd name="connsiteY3329" fmla="*/ 803914 h 3912503"/>
              <a:gd name="connsiteX3330" fmla="*/ 7862914 w 12192528"/>
              <a:gd name="connsiteY3330" fmla="*/ 777857 h 3912503"/>
              <a:gd name="connsiteX3331" fmla="*/ 7862914 w 12192528"/>
              <a:gd name="connsiteY3331" fmla="*/ 764828 h 3912503"/>
              <a:gd name="connsiteX3332" fmla="*/ 7873787 w 12192528"/>
              <a:gd name="connsiteY3332" fmla="*/ 735512 h 3912503"/>
              <a:gd name="connsiteX3333" fmla="*/ 7889004 w 12192528"/>
              <a:gd name="connsiteY3333" fmla="*/ 687741 h 3912503"/>
              <a:gd name="connsiteX3334" fmla="*/ 7902049 w 12192528"/>
              <a:gd name="connsiteY3334" fmla="*/ 670370 h 3912503"/>
              <a:gd name="connsiteX3335" fmla="*/ 7922706 w 12192528"/>
              <a:gd name="connsiteY3335" fmla="*/ 652997 h 3912503"/>
              <a:gd name="connsiteX3336" fmla="*/ 7941186 w 12192528"/>
              <a:gd name="connsiteY3336" fmla="*/ 643226 h 3912503"/>
              <a:gd name="connsiteX3337" fmla="*/ 8009675 w 12192528"/>
              <a:gd name="connsiteY3337" fmla="*/ 628025 h 3912503"/>
              <a:gd name="connsiteX3338" fmla="*/ 8029108 w 12192528"/>
              <a:gd name="connsiteY3338" fmla="*/ 625311 h 3912503"/>
              <a:gd name="connsiteX3339" fmla="*/ 6059638 w 12192528"/>
              <a:gd name="connsiteY3339" fmla="*/ 614178 h 3912503"/>
              <a:gd name="connsiteX3340" fmla="*/ 6068290 w 12192528"/>
              <a:gd name="connsiteY3340" fmla="*/ 618463 h 3912503"/>
              <a:gd name="connsiteX3341" fmla="*/ 6073191 w 12192528"/>
              <a:gd name="connsiteY3341" fmla="*/ 621055 h 3912503"/>
              <a:gd name="connsiteX3342" fmla="*/ 6078671 w 12192528"/>
              <a:gd name="connsiteY3342" fmla="*/ 625664 h 3912503"/>
              <a:gd name="connsiteX3343" fmla="*/ 6082131 w 12192528"/>
              <a:gd name="connsiteY3343" fmla="*/ 630272 h 3912503"/>
              <a:gd name="connsiteX3344" fmla="*/ 6086168 w 12192528"/>
              <a:gd name="connsiteY3344" fmla="*/ 642945 h 3912503"/>
              <a:gd name="connsiteX3345" fmla="*/ 6089054 w 12192528"/>
              <a:gd name="connsiteY3345" fmla="*/ 650722 h 3912503"/>
              <a:gd name="connsiteX3346" fmla="*/ 6089054 w 12192528"/>
              <a:gd name="connsiteY3346" fmla="*/ 654178 h 3912503"/>
              <a:gd name="connsiteX3347" fmla="*/ 6085593 w 12192528"/>
              <a:gd name="connsiteY3347" fmla="*/ 661090 h 3912503"/>
              <a:gd name="connsiteX3348" fmla="*/ 6077806 w 12192528"/>
              <a:gd name="connsiteY3348" fmla="*/ 671460 h 3912503"/>
              <a:gd name="connsiteX3349" fmla="*/ 6075788 w 12192528"/>
              <a:gd name="connsiteY3349" fmla="*/ 675491 h 3912503"/>
              <a:gd name="connsiteX3350" fmla="*/ 6072329 w 12192528"/>
              <a:gd name="connsiteY3350" fmla="*/ 676931 h 3912503"/>
              <a:gd name="connsiteX3351" fmla="*/ 6065693 w 12192528"/>
              <a:gd name="connsiteY3351" fmla="*/ 678948 h 3912503"/>
              <a:gd name="connsiteX3352" fmla="*/ 6063388 w 12192528"/>
              <a:gd name="connsiteY3352" fmla="*/ 680099 h 3912503"/>
              <a:gd name="connsiteX3353" fmla="*/ 6054160 w 12192528"/>
              <a:gd name="connsiteY3353" fmla="*/ 681252 h 3912503"/>
              <a:gd name="connsiteX3354" fmla="*/ 6052141 w 12192528"/>
              <a:gd name="connsiteY3354" fmla="*/ 681828 h 3912503"/>
              <a:gd name="connsiteX3355" fmla="*/ 6031663 w 12192528"/>
              <a:gd name="connsiteY3355" fmla="*/ 668866 h 3912503"/>
              <a:gd name="connsiteX3356" fmla="*/ 6025319 w 12192528"/>
              <a:gd name="connsiteY3356" fmla="*/ 657058 h 3912503"/>
              <a:gd name="connsiteX3357" fmla="*/ 6023301 w 12192528"/>
              <a:gd name="connsiteY3357" fmla="*/ 652162 h 3912503"/>
              <a:gd name="connsiteX3358" fmla="*/ 6023013 w 12192528"/>
              <a:gd name="connsiteY3358" fmla="*/ 647265 h 3912503"/>
              <a:gd name="connsiteX3359" fmla="*/ 6023879 w 12192528"/>
              <a:gd name="connsiteY3359" fmla="*/ 643521 h 3912503"/>
              <a:gd name="connsiteX3360" fmla="*/ 6025319 w 12192528"/>
              <a:gd name="connsiteY3360" fmla="*/ 635744 h 3912503"/>
              <a:gd name="connsiteX3361" fmla="*/ 6025608 w 12192528"/>
              <a:gd name="connsiteY3361" fmla="*/ 632864 h 3912503"/>
              <a:gd name="connsiteX3362" fmla="*/ 6026474 w 12192528"/>
              <a:gd name="connsiteY3362" fmla="*/ 625951 h 3912503"/>
              <a:gd name="connsiteX3363" fmla="*/ 6040894 w 12192528"/>
              <a:gd name="connsiteY3363" fmla="*/ 614718 h 3912503"/>
              <a:gd name="connsiteX3364" fmla="*/ 6050121 w 12192528"/>
              <a:gd name="connsiteY3364" fmla="*/ 614431 h 3912503"/>
              <a:gd name="connsiteX3365" fmla="*/ 6059638 w 12192528"/>
              <a:gd name="connsiteY3365" fmla="*/ 614178 h 3912503"/>
              <a:gd name="connsiteX3366" fmla="*/ 4648105 w 12192528"/>
              <a:gd name="connsiteY3366" fmla="*/ 595669 h 3912503"/>
              <a:gd name="connsiteX3367" fmla="*/ 4647445 w 12192528"/>
              <a:gd name="connsiteY3367" fmla="*/ 596769 h 3912503"/>
              <a:gd name="connsiteX3368" fmla="*/ 4646681 w 12192528"/>
              <a:gd name="connsiteY3368" fmla="*/ 596006 h 3912503"/>
              <a:gd name="connsiteX3369" fmla="*/ 10264008 w 12192528"/>
              <a:gd name="connsiteY3369" fmla="*/ 590978 h 3912503"/>
              <a:gd name="connsiteX3370" fmla="*/ 10275725 w 12192528"/>
              <a:gd name="connsiteY3370" fmla="*/ 601862 h 3912503"/>
              <a:gd name="connsiteX3371" fmla="*/ 10278066 w 12192528"/>
              <a:gd name="connsiteY3371" fmla="*/ 606138 h 3912503"/>
              <a:gd name="connsiteX3372" fmla="*/ 10285487 w 12192528"/>
              <a:gd name="connsiteY3372" fmla="*/ 615467 h 3912503"/>
              <a:gd name="connsiteX3373" fmla="*/ 10291344 w 12192528"/>
              <a:gd name="connsiteY3373" fmla="*/ 618966 h 3912503"/>
              <a:gd name="connsiteX3374" fmla="*/ 10296809 w 12192528"/>
              <a:gd name="connsiteY3374" fmla="*/ 634515 h 3912503"/>
              <a:gd name="connsiteX3375" fmla="*/ 10293296 w 12192528"/>
              <a:gd name="connsiteY3375" fmla="*/ 647731 h 3912503"/>
              <a:gd name="connsiteX3376" fmla="*/ 10282363 w 12192528"/>
              <a:gd name="connsiteY3376" fmla="*/ 656283 h 3912503"/>
              <a:gd name="connsiteX3377" fmla="*/ 10281190 w 12192528"/>
              <a:gd name="connsiteY3377" fmla="*/ 657838 h 3912503"/>
              <a:gd name="connsiteX3378" fmla="*/ 10273382 w 12192528"/>
              <a:gd name="connsiteY3378" fmla="*/ 657838 h 3912503"/>
              <a:gd name="connsiteX3379" fmla="*/ 10264788 w 12192528"/>
              <a:gd name="connsiteY3379" fmla="*/ 653562 h 3912503"/>
              <a:gd name="connsiteX3380" fmla="*/ 10258932 w 12192528"/>
              <a:gd name="connsiteY3380" fmla="*/ 646566 h 3912503"/>
              <a:gd name="connsiteX3381" fmla="*/ 10254637 w 12192528"/>
              <a:gd name="connsiteY3381" fmla="*/ 636069 h 3912503"/>
              <a:gd name="connsiteX3382" fmla="*/ 10249171 w 12192528"/>
              <a:gd name="connsiteY3382" fmla="*/ 625962 h 3912503"/>
              <a:gd name="connsiteX3383" fmla="*/ 10240582 w 12192528"/>
              <a:gd name="connsiteY3383" fmla="*/ 617411 h 3912503"/>
              <a:gd name="connsiteX3384" fmla="*/ 10240582 w 12192528"/>
              <a:gd name="connsiteY3384" fmla="*/ 603417 h 3912503"/>
              <a:gd name="connsiteX3385" fmla="*/ 10245266 w 12192528"/>
              <a:gd name="connsiteY3385" fmla="*/ 597974 h 3912503"/>
              <a:gd name="connsiteX3386" fmla="*/ 10253859 w 12192528"/>
              <a:gd name="connsiteY3386" fmla="*/ 592532 h 3912503"/>
              <a:gd name="connsiteX3387" fmla="*/ 10264008 w 12192528"/>
              <a:gd name="connsiteY3387" fmla="*/ 590978 h 3912503"/>
              <a:gd name="connsiteX3388" fmla="*/ 7190286 w 12192528"/>
              <a:gd name="connsiteY3388" fmla="*/ 590977 h 3912503"/>
              <a:gd name="connsiteX3389" fmla="*/ 7201999 w 12192528"/>
              <a:gd name="connsiteY3389" fmla="*/ 601862 h 3912503"/>
              <a:gd name="connsiteX3390" fmla="*/ 7204343 w 12192528"/>
              <a:gd name="connsiteY3390" fmla="*/ 606137 h 3912503"/>
              <a:gd name="connsiteX3391" fmla="*/ 7211760 w 12192528"/>
              <a:gd name="connsiteY3391" fmla="*/ 615467 h 3912503"/>
              <a:gd name="connsiteX3392" fmla="*/ 7217621 w 12192528"/>
              <a:gd name="connsiteY3392" fmla="*/ 618965 h 3912503"/>
              <a:gd name="connsiteX3393" fmla="*/ 7223084 w 12192528"/>
              <a:gd name="connsiteY3393" fmla="*/ 634515 h 3912503"/>
              <a:gd name="connsiteX3394" fmla="*/ 7219572 w 12192528"/>
              <a:gd name="connsiteY3394" fmla="*/ 647731 h 3912503"/>
              <a:gd name="connsiteX3395" fmla="*/ 7208637 w 12192528"/>
              <a:gd name="connsiteY3395" fmla="*/ 656283 h 3912503"/>
              <a:gd name="connsiteX3396" fmla="*/ 7207467 w 12192528"/>
              <a:gd name="connsiteY3396" fmla="*/ 657838 h 3912503"/>
              <a:gd name="connsiteX3397" fmla="*/ 7199654 w 12192528"/>
              <a:gd name="connsiteY3397" fmla="*/ 657838 h 3912503"/>
              <a:gd name="connsiteX3398" fmla="*/ 7191067 w 12192528"/>
              <a:gd name="connsiteY3398" fmla="*/ 653562 h 3912503"/>
              <a:gd name="connsiteX3399" fmla="*/ 7185209 w 12192528"/>
              <a:gd name="connsiteY3399" fmla="*/ 646565 h 3912503"/>
              <a:gd name="connsiteX3400" fmla="*/ 7180915 w 12192528"/>
              <a:gd name="connsiteY3400" fmla="*/ 636069 h 3912503"/>
              <a:gd name="connsiteX3401" fmla="*/ 7175448 w 12192528"/>
              <a:gd name="connsiteY3401" fmla="*/ 625962 h 3912503"/>
              <a:gd name="connsiteX3402" fmla="*/ 7166858 w 12192528"/>
              <a:gd name="connsiteY3402" fmla="*/ 617411 h 3912503"/>
              <a:gd name="connsiteX3403" fmla="*/ 7166858 w 12192528"/>
              <a:gd name="connsiteY3403" fmla="*/ 603416 h 3912503"/>
              <a:gd name="connsiteX3404" fmla="*/ 7171546 w 12192528"/>
              <a:gd name="connsiteY3404" fmla="*/ 597974 h 3912503"/>
              <a:gd name="connsiteX3405" fmla="*/ 7180131 w 12192528"/>
              <a:gd name="connsiteY3405" fmla="*/ 592532 h 3912503"/>
              <a:gd name="connsiteX3406" fmla="*/ 7190286 w 12192528"/>
              <a:gd name="connsiteY3406" fmla="*/ 590977 h 3912503"/>
              <a:gd name="connsiteX3407" fmla="*/ 5629011 w 12192528"/>
              <a:gd name="connsiteY3407" fmla="*/ 588863 h 3912503"/>
              <a:gd name="connsiteX3408" fmla="*/ 5639165 w 12192528"/>
              <a:gd name="connsiteY3408" fmla="*/ 590418 h 3912503"/>
              <a:gd name="connsiteX3409" fmla="*/ 5647755 w 12192528"/>
              <a:gd name="connsiteY3409" fmla="*/ 595860 h 3912503"/>
              <a:gd name="connsiteX3410" fmla="*/ 5652441 w 12192528"/>
              <a:gd name="connsiteY3410" fmla="*/ 601302 h 3912503"/>
              <a:gd name="connsiteX3411" fmla="*/ 5652441 w 12192528"/>
              <a:gd name="connsiteY3411" fmla="*/ 615297 h 3912503"/>
              <a:gd name="connsiteX3412" fmla="*/ 5643849 w 12192528"/>
              <a:gd name="connsiteY3412" fmla="*/ 623848 h 3912503"/>
              <a:gd name="connsiteX3413" fmla="*/ 5638384 w 12192528"/>
              <a:gd name="connsiteY3413" fmla="*/ 633955 h 3912503"/>
              <a:gd name="connsiteX3414" fmla="*/ 5634090 w 12192528"/>
              <a:gd name="connsiteY3414" fmla="*/ 644451 h 3912503"/>
              <a:gd name="connsiteX3415" fmla="*/ 5628233 w 12192528"/>
              <a:gd name="connsiteY3415" fmla="*/ 651448 h 3912503"/>
              <a:gd name="connsiteX3416" fmla="*/ 5619641 w 12192528"/>
              <a:gd name="connsiteY3416" fmla="*/ 655723 h 3912503"/>
              <a:gd name="connsiteX3417" fmla="*/ 5611833 w 12192528"/>
              <a:gd name="connsiteY3417" fmla="*/ 655723 h 3912503"/>
              <a:gd name="connsiteX3418" fmla="*/ 5610661 w 12192528"/>
              <a:gd name="connsiteY3418" fmla="*/ 654169 h 3912503"/>
              <a:gd name="connsiteX3419" fmla="*/ 5599727 w 12192528"/>
              <a:gd name="connsiteY3419" fmla="*/ 645616 h 3912503"/>
              <a:gd name="connsiteX3420" fmla="*/ 5596214 w 12192528"/>
              <a:gd name="connsiteY3420" fmla="*/ 632400 h 3912503"/>
              <a:gd name="connsiteX3421" fmla="*/ 5601680 w 12192528"/>
              <a:gd name="connsiteY3421" fmla="*/ 616851 h 3912503"/>
              <a:gd name="connsiteX3422" fmla="*/ 5607536 w 12192528"/>
              <a:gd name="connsiteY3422" fmla="*/ 613353 h 3912503"/>
              <a:gd name="connsiteX3423" fmla="*/ 5614955 w 12192528"/>
              <a:gd name="connsiteY3423" fmla="*/ 604023 h 3912503"/>
              <a:gd name="connsiteX3424" fmla="*/ 5617299 w 12192528"/>
              <a:gd name="connsiteY3424" fmla="*/ 599747 h 3912503"/>
              <a:gd name="connsiteX3425" fmla="*/ 5629011 w 12192528"/>
              <a:gd name="connsiteY3425" fmla="*/ 588863 h 3912503"/>
              <a:gd name="connsiteX3426" fmla="*/ 1938863 w 12192528"/>
              <a:gd name="connsiteY3426" fmla="*/ 586191 h 3912503"/>
              <a:gd name="connsiteX3427" fmla="*/ 1949675 w 12192528"/>
              <a:gd name="connsiteY3427" fmla="*/ 587847 h 3912503"/>
              <a:gd name="connsiteX3428" fmla="*/ 1958824 w 12192528"/>
              <a:gd name="connsiteY3428" fmla="*/ 593642 h 3912503"/>
              <a:gd name="connsiteX3429" fmla="*/ 1963813 w 12192528"/>
              <a:gd name="connsiteY3429" fmla="*/ 599438 h 3912503"/>
              <a:gd name="connsiteX3430" fmla="*/ 1963813 w 12192528"/>
              <a:gd name="connsiteY3430" fmla="*/ 614342 h 3912503"/>
              <a:gd name="connsiteX3431" fmla="*/ 1954665 w 12192528"/>
              <a:gd name="connsiteY3431" fmla="*/ 623449 h 3912503"/>
              <a:gd name="connsiteX3432" fmla="*/ 1948843 w 12192528"/>
              <a:gd name="connsiteY3432" fmla="*/ 634212 h 3912503"/>
              <a:gd name="connsiteX3433" fmla="*/ 1944269 w 12192528"/>
              <a:gd name="connsiteY3433" fmla="*/ 645390 h 3912503"/>
              <a:gd name="connsiteX3434" fmla="*/ 1938030 w 12192528"/>
              <a:gd name="connsiteY3434" fmla="*/ 652842 h 3912503"/>
              <a:gd name="connsiteX3435" fmla="*/ 1928883 w 12192528"/>
              <a:gd name="connsiteY3435" fmla="*/ 657396 h 3912503"/>
              <a:gd name="connsiteX3436" fmla="*/ 1920566 w 12192528"/>
              <a:gd name="connsiteY3436" fmla="*/ 657396 h 3912503"/>
              <a:gd name="connsiteX3437" fmla="*/ 1919319 w 12192528"/>
              <a:gd name="connsiteY3437" fmla="*/ 655740 h 3912503"/>
              <a:gd name="connsiteX3438" fmla="*/ 1907674 w 12192528"/>
              <a:gd name="connsiteY3438" fmla="*/ 646632 h 3912503"/>
              <a:gd name="connsiteX3439" fmla="*/ 1903932 w 12192528"/>
              <a:gd name="connsiteY3439" fmla="*/ 632557 h 3912503"/>
              <a:gd name="connsiteX3440" fmla="*/ 1909754 w 12192528"/>
              <a:gd name="connsiteY3440" fmla="*/ 615997 h 3912503"/>
              <a:gd name="connsiteX3441" fmla="*/ 1915991 w 12192528"/>
              <a:gd name="connsiteY3441" fmla="*/ 612272 h 3912503"/>
              <a:gd name="connsiteX3442" fmla="*/ 1923893 w 12192528"/>
              <a:gd name="connsiteY3442" fmla="*/ 602336 h 3912503"/>
              <a:gd name="connsiteX3443" fmla="*/ 1926388 w 12192528"/>
              <a:gd name="connsiteY3443" fmla="*/ 597783 h 3912503"/>
              <a:gd name="connsiteX3444" fmla="*/ 1938863 w 12192528"/>
              <a:gd name="connsiteY3444" fmla="*/ 586191 h 3912503"/>
              <a:gd name="connsiteX3445" fmla="*/ 10542006 w 12192528"/>
              <a:gd name="connsiteY3445" fmla="*/ 581236 h 3912503"/>
              <a:gd name="connsiteX3446" fmla="*/ 10554756 w 12192528"/>
              <a:gd name="connsiteY3446" fmla="*/ 581574 h 3912503"/>
              <a:gd name="connsiteX3447" fmla="*/ 10567119 w 12192528"/>
              <a:gd name="connsiteY3447" fmla="*/ 581960 h 3912503"/>
              <a:gd name="connsiteX3448" fmla="*/ 10586438 w 12192528"/>
              <a:gd name="connsiteY3448" fmla="*/ 597008 h 3912503"/>
              <a:gd name="connsiteX3449" fmla="*/ 10587598 w 12192528"/>
              <a:gd name="connsiteY3449" fmla="*/ 606270 h 3912503"/>
              <a:gd name="connsiteX3450" fmla="*/ 10587983 w 12192528"/>
              <a:gd name="connsiteY3450" fmla="*/ 610128 h 3912503"/>
              <a:gd name="connsiteX3451" fmla="*/ 10589915 w 12192528"/>
              <a:gd name="connsiteY3451" fmla="*/ 620547 h 3912503"/>
              <a:gd name="connsiteX3452" fmla="*/ 10591074 w 12192528"/>
              <a:gd name="connsiteY3452" fmla="*/ 625563 h 3912503"/>
              <a:gd name="connsiteX3453" fmla="*/ 10590688 w 12192528"/>
              <a:gd name="connsiteY3453" fmla="*/ 632124 h 3912503"/>
              <a:gd name="connsiteX3454" fmla="*/ 10587983 w 12192528"/>
              <a:gd name="connsiteY3454" fmla="*/ 638683 h 3912503"/>
              <a:gd name="connsiteX3455" fmla="*/ 10579484 w 12192528"/>
              <a:gd name="connsiteY3455" fmla="*/ 654505 h 3912503"/>
              <a:gd name="connsiteX3456" fmla="*/ 10552052 w 12192528"/>
              <a:gd name="connsiteY3456" fmla="*/ 671869 h 3912503"/>
              <a:gd name="connsiteX3457" fmla="*/ 10549347 w 12192528"/>
              <a:gd name="connsiteY3457" fmla="*/ 671097 h 3912503"/>
              <a:gd name="connsiteX3458" fmla="*/ 10543599 w 12192528"/>
              <a:gd name="connsiteY3458" fmla="*/ 667141 h 3912503"/>
              <a:gd name="connsiteX3459" fmla="*/ 10537539 w 12192528"/>
              <a:gd name="connsiteY3459" fmla="*/ 669351 h 3912503"/>
              <a:gd name="connsiteX3460" fmla="*/ 10538535 w 12192528"/>
              <a:gd name="connsiteY3460" fmla="*/ 672665 h 3912503"/>
              <a:gd name="connsiteX3461" fmla="*/ 10541192 w 12192528"/>
              <a:gd name="connsiteY3461" fmla="*/ 679001 h 3912503"/>
              <a:gd name="connsiteX3462" fmla="*/ 10540578 w 12192528"/>
              <a:gd name="connsiteY3462" fmla="*/ 687993 h 3912503"/>
              <a:gd name="connsiteX3463" fmla="*/ 10539760 w 12192528"/>
              <a:gd name="connsiteY3463" fmla="*/ 695555 h 3912503"/>
              <a:gd name="connsiteX3464" fmla="*/ 10539965 w 12192528"/>
              <a:gd name="connsiteY3464" fmla="*/ 698621 h 3912503"/>
              <a:gd name="connsiteX3465" fmla="*/ 10527901 w 12192528"/>
              <a:gd name="connsiteY3465" fmla="*/ 712519 h 3912503"/>
              <a:gd name="connsiteX3466" fmla="*/ 10516450 w 12192528"/>
              <a:gd name="connsiteY3466" fmla="*/ 719263 h 3912503"/>
              <a:gd name="connsiteX3467" fmla="*/ 10507861 w 12192528"/>
              <a:gd name="connsiteY3467" fmla="*/ 730503 h 3912503"/>
              <a:gd name="connsiteX3468" fmla="*/ 10509090 w 12192528"/>
              <a:gd name="connsiteY3468" fmla="*/ 732752 h 3912503"/>
              <a:gd name="connsiteX3469" fmla="*/ 10521155 w 12192528"/>
              <a:gd name="connsiteY3469" fmla="*/ 747058 h 3912503"/>
              <a:gd name="connsiteX3470" fmla="*/ 10522790 w 12192528"/>
              <a:gd name="connsiteY3470" fmla="*/ 750328 h 3912503"/>
              <a:gd name="connsiteX3471" fmla="*/ 10524424 w 12192528"/>
              <a:gd name="connsiteY3471" fmla="*/ 760548 h 3912503"/>
              <a:gd name="connsiteX3472" fmla="*/ 10527288 w 12192528"/>
              <a:gd name="connsiteY3472" fmla="*/ 772402 h 3912503"/>
              <a:gd name="connsiteX3473" fmla="*/ 10527082 w 12192528"/>
              <a:gd name="connsiteY3473" fmla="*/ 777306 h 3912503"/>
              <a:gd name="connsiteX3474" fmla="*/ 10516246 w 12192528"/>
              <a:gd name="connsiteY3474" fmla="*/ 803672 h 3912503"/>
              <a:gd name="connsiteX3475" fmla="*/ 10514202 w 12192528"/>
              <a:gd name="connsiteY3475" fmla="*/ 805306 h 3912503"/>
              <a:gd name="connsiteX3476" fmla="*/ 10501728 w 12192528"/>
              <a:gd name="connsiteY3476" fmla="*/ 811234 h 3912503"/>
              <a:gd name="connsiteX3477" fmla="*/ 10496410 w 12192528"/>
              <a:gd name="connsiteY3477" fmla="*/ 812868 h 3912503"/>
              <a:gd name="connsiteX3478" fmla="*/ 10487414 w 12192528"/>
              <a:gd name="connsiteY3478" fmla="*/ 814912 h 3912503"/>
              <a:gd name="connsiteX3479" fmla="*/ 10480666 w 12192528"/>
              <a:gd name="connsiteY3479" fmla="*/ 820839 h 3912503"/>
              <a:gd name="connsiteX3480" fmla="*/ 10477599 w 12192528"/>
              <a:gd name="connsiteY3480" fmla="*/ 821938 h 3912503"/>
              <a:gd name="connsiteX3481" fmla="*/ 10475759 w 12192528"/>
              <a:gd name="connsiteY3481" fmla="*/ 819204 h 3912503"/>
              <a:gd name="connsiteX3482" fmla="*/ 10475146 w 12192528"/>
              <a:gd name="connsiteY3482" fmla="*/ 816751 h 3912503"/>
              <a:gd name="connsiteX3483" fmla="*/ 10473306 w 12192528"/>
              <a:gd name="connsiteY3483" fmla="*/ 813890 h 3912503"/>
              <a:gd name="connsiteX3484" fmla="*/ 10470647 w 12192528"/>
              <a:gd name="connsiteY3484" fmla="*/ 815729 h 3912503"/>
              <a:gd name="connsiteX3485" fmla="*/ 10464512 w 12192528"/>
              <a:gd name="connsiteY3485" fmla="*/ 814708 h 3912503"/>
              <a:gd name="connsiteX3486" fmla="*/ 10463286 w 12192528"/>
              <a:gd name="connsiteY3486" fmla="*/ 812050 h 3912503"/>
              <a:gd name="connsiteX3487" fmla="*/ 10459604 w 12192528"/>
              <a:gd name="connsiteY3487" fmla="*/ 810620 h 3912503"/>
              <a:gd name="connsiteX3488" fmla="*/ 10458173 w 12192528"/>
              <a:gd name="connsiteY3488" fmla="*/ 814095 h 3912503"/>
              <a:gd name="connsiteX3489" fmla="*/ 10458518 w 12192528"/>
              <a:gd name="connsiteY3489" fmla="*/ 817185 h 3912503"/>
              <a:gd name="connsiteX3490" fmla="*/ 10442536 w 12192528"/>
              <a:gd name="connsiteY3490" fmla="*/ 801291 h 3912503"/>
              <a:gd name="connsiteX3491" fmla="*/ 10443450 w 12192528"/>
              <a:gd name="connsiteY3491" fmla="*/ 799993 h 3912503"/>
              <a:gd name="connsiteX3492" fmla="*/ 10441611 w 12192528"/>
              <a:gd name="connsiteY3492" fmla="*/ 796110 h 3912503"/>
              <a:gd name="connsiteX3493" fmla="*/ 10437930 w 12192528"/>
              <a:gd name="connsiteY3493" fmla="*/ 794474 h 3912503"/>
              <a:gd name="connsiteX3494" fmla="*/ 10435476 w 12192528"/>
              <a:gd name="connsiteY3494" fmla="*/ 789569 h 3912503"/>
              <a:gd name="connsiteX3495" fmla="*/ 10427501 w 12192528"/>
              <a:gd name="connsiteY3495" fmla="*/ 773832 h 3912503"/>
              <a:gd name="connsiteX3496" fmla="*/ 10424638 w 12192528"/>
              <a:gd name="connsiteY3496" fmla="*/ 771584 h 3912503"/>
              <a:gd name="connsiteX3497" fmla="*/ 10428522 w 12192528"/>
              <a:gd name="connsiteY3497" fmla="*/ 769131 h 3912503"/>
              <a:gd name="connsiteX3498" fmla="*/ 10429137 w 12192528"/>
              <a:gd name="connsiteY3498" fmla="*/ 769131 h 3912503"/>
              <a:gd name="connsiteX3499" fmla="*/ 10433022 w 12192528"/>
              <a:gd name="connsiteY3499" fmla="*/ 762182 h 3912503"/>
              <a:gd name="connsiteX3500" fmla="*/ 10433431 w 12192528"/>
              <a:gd name="connsiteY3500" fmla="*/ 752577 h 3912503"/>
              <a:gd name="connsiteX3501" fmla="*/ 10436908 w 12192528"/>
              <a:gd name="connsiteY3501" fmla="*/ 739088 h 3912503"/>
              <a:gd name="connsiteX3502" fmla="*/ 10439975 w 12192528"/>
              <a:gd name="connsiteY3502" fmla="*/ 735409 h 3912503"/>
              <a:gd name="connsiteX3503" fmla="*/ 10448358 w 12192528"/>
              <a:gd name="connsiteY3503" fmla="*/ 724781 h 3912503"/>
              <a:gd name="connsiteX3504" fmla="*/ 10453266 w 12192528"/>
              <a:gd name="connsiteY3504" fmla="*/ 722941 h 3912503"/>
              <a:gd name="connsiteX3505" fmla="*/ 10473509 w 12192528"/>
              <a:gd name="connsiteY3505" fmla="*/ 717015 h 3912503"/>
              <a:gd name="connsiteX3506" fmla="*/ 10473509 w 12192528"/>
              <a:gd name="connsiteY3506" fmla="*/ 712519 h 3912503"/>
              <a:gd name="connsiteX3507" fmla="*/ 10468193 w 12192528"/>
              <a:gd name="connsiteY3507" fmla="*/ 711905 h 3912503"/>
              <a:gd name="connsiteX3508" fmla="*/ 10464512 w 12192528"/>
              <a:gd name="connsiteY3508" fmla="*/ 714358 h 3912503"/>
              <a:gd name="connsiteX3509" fmla="*/ 10461036 w 12192528"/>
              <a:gd name="connsiteY3509" fmla="*/ 714766 h 3912503"/>
              <a:gd name="connsiteX3510" fmla="*/ 10461650 w 12192528"/>
              <a:gd name="connsiteY3510" fmla="*/ 711087 h 3912503"/>
              <a:gd name="connsiteX3511" fmla="*/ 10464512 w 12192528"/>
              <a:gd name="connsiteY3511" fmla="*/ 708431 h 3912503"/>
              <a:gd name="connsiteX3512" fmla="*/ 10465534 w 12192528"/>
              <a:gd name="connsiteY3512" fmla="*/ 702096 h 3912503"/>
              <a:gd name="connsiteX3513" fmla="*/ 10460014 w 12192528"/>
              <a:gd name="connsiteY3513" fmla="*/ 703321 h 3912503"/>
              <a:gd name="connsiteX3514" fmla="*/ 10455719 w 12192528"/>
              <a:gd name="connsiteY3514" fmla="*/ 706795 h 3912503"/>
              <a:gd name="connsiteX3515" fmla="*/ 10451630 w 12192528"/>
              <a:gd name="connsiteY3515" fmla="*/ 704139 h 3912503"/>
              <a:gd name="connsiteX3516" fmla="*/ 10456130 w 12192528"/>
              <a:gd name="connsiteY3516" fmla="*/ 692489 h 3912503"/>
              <a:gd name="connsiteX3517" fmla="*/ 10456130 w 12192528"/>
              <a:gd name="connsiteY3517" fmla="*/ 681249 h 3912503"/>
              <a:gd name="connsiteX3518" fmla="*/ 10452039 w 12192528"/>
              <a:gd name="connsiteY3518" fmla="*/ 676752 h 3912503"/>
              <a:gd name="connsiteX3519" fmla="*/ 10450812 w 12192528"/>
              <a:gd name="connsiteY3519" fmla="*/ 674504 h 3912503"/>
              <a:gd name="connsiteX3520" fmla="*/ 10453061 w 12192528"/>
              <a:gd name="connsiteY3520" fmla="*/ 673278 h 3912503"/>
              <a:gd name="connsiteX3521" fmla="*/ 10457356 w 12192528"/>
              <a:gd name="connsiteY3521" fmla="*/ 669190 h 3912503"/>
              <a:gd name="connsiteX3522" fmla="*/ 10462672 w 12192528"/>
              <a:gd name="connsiteY3522" fmla="*/ 659993 h 3912503"/>
              <a:gd name="connsiteX3523" fmla="*/ 10462876 w 12192528"/>
              <a:gd name="connsiteY3523" fmla="*/ 655089 h 3912503"/>
              <a:gd name="connsiteX3524" fmla="*/ 10461241 w 12192528"/>
              <a:gd name="connsiteY3524" fmla="*/ 651819 h 3912503"/>
              <a:gd name="connsiteX3525" fmla="*/ 10464717 w 12192528"/>
              <a:gd name="connsiteY3525" fmla="*/ 649570 h 3912503"/>
              <a:gd name="connsiteX3526" fmla="*/ 10467580 w 12192528"/>
              <a:gd name="connsiteY3526" fmla="*/ 649161 h 3912503"/>
              <a:gd name="connsiteX3527" fmla="*/ 10471056 w 12192528"/>
              <a:gd name="connsiteY3527" fmla="*/ 640781 h 3912503"/>
              <a:gd name="connsiteX3528" fmla="*/ 10470033 w 12192528"/>
              <a:gd name="connsiteY3528" fmla="*/ 639147 h 3912503"/>
              <a:gd name="connsiteX3529" fmla="*/ 10470238 w 12192528"/>
              <a:gd name="connsiteY3529" fmla="*/ 635468 h 3912503"/>
              <a:gd name="connsiteX3530" fmla="*/ 10473509 w 12192528"/>
              <a:gd name="connsiteY3530" fmla="*/ 636286 h 3912503"/>
              <a:gd name="connsiteX3531" fmla="*/ 10475554 w 12192528"/>
              <a:gd name="connsiteY3531" fmla="*/ 638942 h 3912503"/>
              <a:gd name="connsiteX3532" fmla="*/ 10479643 w 12192528"/>
              <a:gd name="connsiteY3532" fmla="*/ 639556 h 3912503"/>
              <a:gd name="connsiteX3533" fmla="*/ 10492117 w 12192528"/>
              <a:gd name="connsiteY3533" fmla="*/ 636286 h 3912503"/>
              <a:gd name="connsiteX3534" fmla="*/ 10502970 w 12192528"/>
              <a:gd name="connsiteY3534" fmla="*/ 635572 h 3912503"/>
              <a:gd name="connsiteX3535" fmla="*/ 10502596 w 12192528"/>
              <a:gd name="connsiteY3535" fmla="*/ 634824 h 3912503"/>
              <a:gd name="connsiteX3536" fmla="*/ 10502596 w 12192528"/>
              <a:gd name="connsiteY3536" fmla="*/ 630194 h 3912503"/>
              <a:gd name="connsiteX3537" fmla="*/ 10506460 w 12192528"/>
              <a:gd name="connsiteY3537" fmla="*/ 619776 h 3912503"/>
              <a:gd name="connsiteX3538" fmla="*/ 10511869 w 12192528"/>
              <a:gd name="connsiteY3538" fmla="*/ 602797 h 3912503"/>
              <a:gd name="connsiteX3539" fmla="*/ 10516505 w 12192528"/>
              <a:gd name="connsiteY3539" fmla="*/ 596623 h 3912503"/>
              <a:gd name="connsiteX3540" fmla="*/ 10523846 w 12192528"/>
              <a:gd name="connsiteY3540" fmla="*/ 590449 h 3912503"/>
              <a:gd name="connsiteX3541" fmla="*/ 10530414 w 12192528"/>
              <a:gd name="connsiteY3541" fmla="*/ 586975 h 3912503"/>
              <a:gd name="connsiteX3542" fmla="*/ 10542006 w 12192528"/>
              <a:gd name="connsiteY3542" fmla="*/ 581236 h 3912503"/>
              <a:gd name="connsiteX3543" fmla="*/ 5826933 w 12192528"/>
              <a:gd name="connsiteY3543" fmla="*/ 542144 h 3912503"/>
              <a:gd name="connsiteX3544" fmla="*/ 5835583 w 12192528"/>
              <a:gd name="connsiteY3544" fmla="*/ 546428 h 3912503"/>
              <a:gd name="connsiteX3545" fmla="*/ 5840487 w 12192528"/>
              <a:gd name="connsiteY3545" fmla="*/ 549020 h 3912503"/>
              <a:gd name="connsiteX3546" fmla="*/ 5845967 w 12192528"/>
              <a:gd name="connsiteY3546" fmla="*/ 553628 h 3912503"/>
              <a:gd name="connsiteX3547" fmla="*/ 5849428 w 12192528"/>
              <a:gd name="connsiteY3547" fmla="*/ 558237 h 3912503"/>
              <a:gd name="connsiteX3548" fmla="*/ 5853463 w 12192528"/>
              <a:gd name="connsiteY3548" fmla="*/ 570910 h 3912503"/>
              <a:gd name="connsiteX3549" fmla="*/ 5856350 w 12192528"/>
              <a:gd name="connsiteY3549" fmla="*/ 578687 h 3912503"/>
              <a:gd name="connsiteX3550" fmla="*/ 5856350 w 12192528"/>
              <a:gd name="connsiteY3550" fmla="*/ 582143 h 3912503"/>
              <a:gd name="connsiteX3551" fmla="*/ 5852888 w 12192528"/>
              <a:gd name="connsiteY3551" fmla="*/ 589056 h 3912503"/>
              <a:gd name="connsiteX3552" fmla="*/ 5845102 w 12192528"/>
              <a:gd name="connsiteY3552" fmla="*/ 599425 h 3912503"/>
              <a:gd name="connsiteX3553" fmla="*/ 5843083 w 12192528"/>
              <a:gd name="connsiteY3553" fmla="*/ 603457 h 3912503"/>
              <a:gd name="connsiteX3554" fmla="*/ 5839620 w 12192528"/>
              <a:gd name="connsiteY3554" fmla="*/ 604897 h 3912503"/>
              <a:gd name="connsiteX3555" fmla="*/ 5832990 w 12192528"/>
              <a:gd name="connsiteY3555" fmla="*/ 606914 h 3912503"/>
              <a:gd name="connsiteX3556" fmla="*/ 5830682 w 12192528"/>
              <a:gd name="connsiteY3556" fmla="*/ 608065 h 3912503"/>
              <a:gd name="connsiteX3557" fmla="*/ 5821454 w 12192528"/>
              <a:gd name="connsiteY3557" fmla="*/ 609217 h 3912503"/>
              <a:gd name="connsiteX3558" fmla="*/ 5819436 w 12192528"/>
              <a:gd name="connsiteY3558" fmla="*/ 609793 h 3912503"/>
              <a:gd name="connsiteX3559" fmla="*/ 5798959 w 12192528"/>
              <a:gd name="connsiteY3559" fmla="*/ 596832 h 3912503"/>
              <a:gd name="connsiteX3560" fmla="*/ 5792616 w 12192528"/>
              <a:gd name="connsiteY3560" fmla="*/ 585024 h 3912503"/>
              <a:gd name="connsiteX3561" fmla="*/ 5790598 w 12192528"/>
              <a:gd name="connsiteY3561" fmla="*/ 580127 h 3912503"/>
              <a:gd name="connsiteX3562" fmla="*/ 5790309 w 12192528"/>
              <a:gd name="connsiteY3562" fmla="*/ 575230 h 3912503"/>
              <a:gd name="connsiteX3563" fmla="*/ 5791173 w 12192528"/>
              <a:gd name="connsiteY3563" fmla="*/ 571486 h 3912503"/>
              <a:gd name="connsiteX3564" fmla="*/ 5792616 w 12192528"/>
              <a:gd name="connsiteY3564" fmla="*/ 563710 h 3912503"/>
              <a:gd name="connsiteX3565" fmla="*/ 5792904 w 12192528"/>
              <a:gd name="connsiteY3565" fmla="*/ 560829 h 3912503"/>
              <a:gd name="connsiteX3566" fmla="*/ 5793768 w 12192528"/>
              <a:gd name="connsiteY3566" fmla="*/ 553917 h 3912503"/>
              <a:gd name="connsiteX3567" fmla="*/ 5808187 w 12192528"/>
              <a:gd name="connsiteY3567" fmla="*/ 542683 h 3912503"/>
              <a:gd name="connsiteX3568" fmla="*/ 5817414 w 12192528"/>
              <a:gd name="connsiteY3568" fmla="*/ 542395 h 3912503"/>
              <a:gd name="connsiteX3569" fmla="*/ 5826933 w 12192528"/>
              <a:gd name="connsiteY3569" fmla="*/ 542144 h 3912503"/>
              <a:gd name="connsiteX3570" fmla="*/ 8173635 w 12192528"/>
              <a:gd name="connsiteY3570" fmla="*/ 529140 h 3912503"/>
              <a:gd name="connsiteX3571" fmla="*/ 8173419 w 12192528"/>
              <a:gd name="connsiteY3571" fmla="*/ 529501 h 3912503"/>
              <a:gd name="connsiteX3572" fmla="*/ 8173165 w 12192528"/>
              <a:gd name="connsiteY3572" fmla="*/ 529251 h 3912503"/>
              <a:gd name="connsiteX3573" fmla="*/ 6676874 w 12192528"/>
              <a:gd name="connsiteY3573" fmla="*/ 520917 h 3912503"/>
              <a:gd name="connsiteX3574" fmla="*/ 6689630 w 12192528"/>
              <a:gd name="connsiteY3574" fmla="*/ 521255 h 3912503"/>
              <a:gd name="connsiteX3575" fmla="*/ 6701990 w 12192528"/>
              <a:gd name="connsiteY3575" fmla="*/ 521641 h 3912503"/>
              <a:gd name="connsiteX3576" fmla="*/ 6721310 w 12192528"/>
              <a:gd name="connsiteY3576" fmla="*/ 536689 h 3912503"/>
              <a:gd name="connsiteX3577" fmla="*/ 6722468 w 12192528"/>
              <a:gd name="connsiteY3577" fmla="*/ 545950 h 3912503"/>
              <a:gd name="connsiteX3578" fmla="*/ 6722853 w 12192528"/>
              <a:gd name="connsiteY3578" fmla="*/ 549809 h 3912503"/>
              <a:gd name="connsiteX3579" fmla="*/ 6724785 w 12192528"/>
              <a:gd name="connsiteY3579" fmla="*/ 560228 h 3912503"/>
              <a:gd name="connsiteX3580" fmla="*/ 6725945 w 12192528"/>
              <a:gd name="connsiteY3580" fmla="*/ 565245 h 3912503"/>
              <a:gd name="connsiteX3581" fmla="*/ 6725557 w 12192528"/>
              <a:gd name="connsiteY3581" fmla="*/ 571805 h 3912503"/>
              <a:gd name="connsiteX3582" fmla="*/ 6722853 w 12192528"/>
              <a:gd name="connsiteY3582" fmla="*/ 578365 h 3912503"/>
              <a:gd name="connsiteX3583" fmla="*/ 6714354 w 12192528"/>
              <a:gd name="connsiteY3583" fmla="*/ 594186 h 3912503"/>
              <a:gd name="connsiteX3584" fmla="*/ 6686925 w 12192528"/>
              <a:gd name="connsiteY3584" fmla="*/ 611550 h 3912503"/>
              <a:gd name="connsiteX3585" fmla="*/ 6684222 w 12192528"/>
              <a:gd name="connsiteY3585" fmla="*/ 610778 h 3912503"/>
              <a:gd name="connsiteX3586" fmla="*/ 6671855 w 12192528"/>
              <a:gd name="connsiteY3586" fmla="*/ 609235 h 3912503"/>
              <a:gd name="connsiteX3587" fmla="*/ 6668759 w 12192528"/>
              <a:gd name="connsiteY3587" fmla="*/ 607691 h 3912503"/>
              <a:gd name="connsiteX3588" fmla="*/ 6659873 w 12192528"/>
              <a:gd name="connsiteY3588" fmla="*/ 604991 h 3912503"/>
              <a:gd name="connsiteX3589" fmla="*/ 6655234 w 12192528"/>
              <a:gd name="connsiteY3589" fmla="*/ 603061 h 3912503"/>
              <a:gd name="connsiteX3590" fmla="*/ 6652530 w 12192528"/>
              <a:gd name="connsiteY3590" fmla="*/ 597658 h 3912503"/>
              <a:gd name="connsiteX3591" fmla="*/ 6642102 w 12192528"/>
              <a:gd name="connsiteY3591" fmla="*/ 583766 h 3912503"/>
              <a:gd name="connsiteX3592" fmla="*/ 6637462 w 12192528"/>
              <a:gd name="connsiteY3592" fmla="*/ 574505 h 3912503"/>
              <a:gd name="connsiteX3593" fmla="*/ 6637462 w 12192528"/>
              <a:gd name="connsiteY3593" fmla="*/ 569876 h 3912503"/>
              <a:gd name="connsiteX3594" fmla="*/ 6641328 w 12192528"/>
              <a:gd name="connsiteY3594" fmla="*/ 559456 h 3912503"/>
              <a:gd name="connsiteX3595" fmla="*/ 6646738 w 12192528"/>
              <a:gd name="connsiteY3595" fmla="*/ 542478 h 3912503"/>
              <a:gd name="connsiteX3596" fmla="*/ 6651370 w 12192528"/>
              <a:gd name="connsiteY3596" fmla="*/ 536303 h 3912503"/>
              <a:gd name="connsiteX3597" fmla="*/ 6658713 w 12192528"/>
              <a:gd name="connsiteY3597" fmla="*/ 530130 h 3912503"/>
              <a:gd name="connsiteX3598" fmla="*/ 6665280 w 12192528"/>
              <a:gd name="connsiteY3598" fmla="*/ 526657 h 3912503"/>
              <a:gd name="connsiteX3599" fmla="*/ 6676874 w 12192528"/>
              <a:gd name="connsiteY3599" fmla="*/ 520917 h 3912503"/>
              <a:gd name="connsiteX3600" fmla="*/ 3502163 w 12192528"/>
              <a:gd name="connsiteY3600" fmla="*/ 519789 h 3912503"/>
              <a:gd name="connsiteX3601" fmla="*/ 3514913 w 12192528"/>
              <a:gd name="connsiteY3601" fmla="*/ 520127 h 3912503"/>
              <a:gd name="connsiteX3602" fmla="*/ 3527277 w 12192528"/>
              <a:gd name="connsiteY3602" fmla="*/ 520513 h 3912503"/>
              <a:gd name="connsiteX3603" fmla="*/ 3546595 w 12192528"/>
              <a:gd name="connsiteY3603" fmla="*/ 535561 h 3912503"/>
              <a:gd name="connsiteX3604" fmla="*/ 3547755 w 12192528"/>
              <a:gd name="connsiteY3604" fmla="*/ 544822 h 3912503"/>
              <a:gd name="connsiteX3605" fmla="*/ 3548141 w 12192528"/>
              <a:gd name="connsiteY3605" fmla="*/ 548681 h 3912503"/>
              <a:gd name="connsiteX3606" fmla="*/ 3550073 w 12192528"/>
              <a:gd name="connsiteY3606" fmla="*/ 559100 h 3912503"/>
              <a:gd name="connsiteX3607" fmla="*/ 3551231 w 12192528"/>
              <a:gd name="connsiteY3607" fmla="*/ 564116 h 3912503"/>
              <a:gd name="connsiteX3608" fmla="*/ 3550846 w 12192528"/>
              <a:gd name="connsiteY3608" fmla="*/ 570677 h 3912503"/>
              <a:gd name="connsiteX3609" fmla="*/ 3548141 w 12192528"/>
              <a:gd name="connsiteY3609" fmla="*/ 577236 h 3912503"/>
              <a:gd name="connsiteX3610" fmla="*/ 3539641 w 12192528"/>
              <a:gd name="connsiteY3610" fmla="*/ 593058 h 3912503"/>
              <a:gd name="connsiteX3611" fmla="*/ 3512208 w 12192528"/>
              <a:gd name="connsiteY3611" fmla="*/ 610422 h 3912503"/>
              <a:gd name="connsiteX3612" fmla="*/ 3509504 w 12192528"/>
              <a:gd name="connsiteY3612" fmla="*/ 609650 h 3912503"/>
              <a:gd name="connsiteX3613" fmla="*/ 3497140 w 12192528"/>
              <a:gd name="connsiteY3613" fmla="*/ 608106 h 3912503"/>
              <a:gd name="connsiteX3614" fmla="*/ 3494050 w 12192528"/>
              <a:gd name="connsiteY3614" fmla="*/ 606563 h 3912503"/>
              <a:gd name="connsiteX3615" fmla="*/ 3485163 w 12192528"/>
              <a:gd name="connsiteY3615" fmla="*/ 603862 h 3912503"/>
              <a:gd name="connsiteX3616" fmla="*/ 3480526 w 12192528"/>
              <a:gd name="connsiteY3616" fmla="*/ 601933 h 3912503"/>
              <a:gd name="connsiteX3617" fmla="*/ 3477822 w 12192528"/>
              <a:gd name="connsiteY3617" fmla="*/ 596530 h 3912503"/>
              <a:gd name="connsiteX3618" fmla="*/ 3467390 w 12192528"/>
              <a:gd name="connsiteY3618" fmla="*/ 582638 h 3912503"/>
              <a:gd name="connsiteX3619" fmla="*/ 3462753 w 12192528"/>
              <a:gd name="connsiteY3619" fmla="*/ 573377 h 3912503"/>
              <a:gd name="connsiteX3620" fmla="*/ 3462753 w 12192528"/>
              <a:gd name="connsiteY3620" fmla="*/ 568747 h 3912503"/>
              <a:gd name="connsiteX3621" fmla="*/ 3466617 w 12192528"/>
              <a:gd name="connsiteY3621" fmla="*/ 558328 h 3912503"/>
              <a:gd name="connsiteX3622" fmla="*/ 3472026 w 12192528"/>
              <a:gd name="connsiteY3622" fmla="*/ 541350 h 3912503"/>
              <a:gd name="connsiteX3623" fmla="*/ 3476663 w 12192528"/>
              <a:gd name="connsiteY3623" fmla="*/ 535175 h 3912503"/>
              <a:gd name="connsiteX3624" fmla="*/ 3484004 w 12192528"/>
              <a:gd name="connsiteY3624" fmla="*/ 529002 h 3912503"/>
              <a:gd name="connsiteX3625" fmla="*/ 3490572 w 12192528"/>
              <a:gd name="connsiteY3625" fmla="*/ 525528 h 3912503"/>
              <a:gd name="connsiteX3626" fmla="*/ 3502163 w 12192528"/>
              <a:gd name="connsiteY3626" fmla="*/ 519789 h 3912503"/>
              <a:gd name="connsiteX3627" fmla="*/ 11153016 w 12192528"/>
              <a:gd name="connsiteY3627" fmla="*/ 519764 h 3912503"/>
              <a:gd name="connsiteX3628" fmla="*/ 11156697 w 12192528"/>
              <a:gd name="connsiteY3628" fmla="*/ 521603 h 3912503"/>
              <a:gd name="connsiteX3629" fmla="*/ 11167330 w 12192528"/>
              <a:gd name="connsiteY3629" fmla="*/ 526508 h 3912503"/>
              <a:gd name="connsiteX3630" fmla="*/ 11169376 w 12192528"/>
              <a:gd name="connsiteY3630" fmla="*/ 527939 h 3912503"/>
              <a:gd name="connsiteX3631" fmla="*/ 11178374 w 12192528"/>
              <a:gd name="connsiteY3631" fmla="*/ 538771 h 3912503"/>
              <a:gd name="connsiteX3632" fmla="*/ 11183894 w 12192528"/>
              <a:gd name="connsiteY3632" fmla="*/ 557165 h 3912503"/>
              <a:gd name="connsiteX3633" fmla="*/ 11186551 w 12192528"/>
              <a:gd name="connsiteY3633" fmla="*/ 563501 h 3912503"/>
              <a:gd name="connsiteX3634" fmla="*/ 11185938 w 12192528"/>
              <a:gd name="connsiteY3634" fmla="*/ 572493 h 3912503"/>
              <a:gd name="connsiteX3635" fmla="*/ 11185120 w 12192528"/>
              <a:gd name="connsiteY3635" fmla="*/ 580055 h 3912503"/>
              <a:gd name="connsiteX3636" fmla="*/ 11185325 w 12192528"/>
              <a:gd name="connsiteY3636" fmla="*/ 583122 h 3912503"/>
              <a:gd name="connsiteX3637" fmla="*/ 11173260 w 12192528"/>
              <a:gd name="connsiteY3637" fmla="*/ 597019 h 3912503"/>
              <a:gd name="connsiteX3638" fmla="*/ 11161809 w 12192528"/>
              <a:gd name="connsiteY3638" fmla="*/ 603763 h 3912503"/>
              <a:gd name="connsiteX3639" fmla="*/ 11153221 w 12192528"/>
              <a:gd name="connsiteY3639" fmla="*/ 615004 h 3912503"/>
              <a:gd name="connsiteX3640" fmla="*/ 11154447 w 12192528"/>
              <a:gd name="connsiteY3640" fmla="*/ 617253 h 3912503"/>
              <a:gd name="connsiteX3641" fmla="*/ 11166512 w 12192528"/>
              <a:gd name="connsiteY3641" fmla="*/ 631559 h 3912503"/>
              <a:gd name="connsiteX3642" fmla="*/ 11168149 w 12192528"/>
              <a:gd name="connsiteY3642" fmla="*/ 634829 h 3912503"/>
              <a:gd name="connsiteX3643" fmla="*/ 11169784 w 12192528"/>
              <a:gd name="connsiteY3643" fmla="*/ 645048 h 3912503"/>
              <a:gd name="connsiteX3644" fmla="*/ 11172646 w 12192528"/>
              <a:gd name="connsiteY3644" fmla="*/ 656902 h 3912503"/>
              <a:gd name="connsiteX3645" fmla="*/ 11172442 w 12192528"/>
              <a:gd name="connsiteY3645" fmla="*/ 661806 h 3912503"/>
              <a:gd name="connsiteX3646" fmla="*/ 11161605 w 12192528"/>
              <a:gd name="connsiteY3646" fmla="*/ 688172 h 3912503"/>
              <a:gd name="connsiteX3647" fmla="*/ 11159560 w 12192528"/>
              <a:gd name="connsiteY3647" fmla="*/ 689806 h 3912503"/>
              <a:gd name="connsiteX3648" fmla="*/ 11147088 w 12192528"/>
              <a:gd name="connsiteY3648" fmla="*/ 695734 h 3912503"/>
              <a:gd name="connsiteX3649" fmla="*/ 11141770 w 12192528"/>
              <a:gd name="connsiteY3649" fmla="*/ 697368 h 3912503"/>
              <a:gd name="connsiteX3650" fmla="*/ 11132773 w 12192528"/>
              <a:gd name="connsiteY3650" fmla="*/ 699413 h 3912503"/>
              <a:gd name="connsiteX3651" fmla="*/ 11126025 w 12192528"/>
              <a:gd name="connsiteY3651" fmla="*/ 705339 h 3912503"/>
              <a:gd name="connsiteX3652" fmla="*/ 11122959 w 12192528"/>
              <a:gd name="connsiteY3652" fmla="*/ 706438 h 3912503"/>
              <a:gd name="connsiteX3653" fmla="*/ 11121118 w 12192528"/>
              <a:gd name="connsiteY3653" fmla="*/ 703705 h 3912503"/>
              <a:gd name="connsiteX3654" fmla="*/ 11120504 w 12192528"/>
              <a:gd name="connsiteY3654" fmla="*/ 701252 h 3912503"/>
              <a:gd name="connsiteX3655" fmla="*/ 11118663 w 12192528"/>
              <a:gd name="connsiteY3655" fmla="*/ 698391 h 3912503"/>
              <a:gd name="connsiteX3656" fmla="*/ 11116006 w 12192528"/>
              <a:gd name="connsiteY3656" fmla="*/ 700229 h 3912503"/>
              <a:gd name="connsiteX3657" fmla="*/ 11109873 w 12192528"/>
              <a:gd name="connsiteY3657" fmla="*/ 699208 h 3912503"/>
              <a:gd name="connsiteX3658" fmla="*/ 11108644 w 12192528"/>
              <a:gd name="connsiteY3658" fmla="*/ 696551 h 3912503"/>
              <a:gd name="connsiteX3659" fmla="*/ 11104963 w 12192528"/>
              <a:gd name="connsiteY3659" fmla="*/ 695121 h 3912503"/>
              <a:gd name="connsiteX3660" fmla="*/ 11103532 w 12192528"/>
              <a:gd name="connsiteY3660" fmla="*/ 698595 h 3912503"/>
              <a:gd name="connsiteX3661" fmla="*/ 11103876 w 12192528"/>
              <a:gd name="connsiteY3661" fmla="*/ 701686 h 3912503"/>
              <a:gd name="connsiteX3662" fmla="*/ 11087894 w 12192528"/>
              <a:gd name="connsiteY3662" fmla="*/ 685791 h 3912503"/>
              <a:gd name="connsiteX3663" fmla="*/ 11088809 w 12192528"/>
              <a:gd name="connsiteY3663" fmla="*/ 684493 h 3912503"/>
              <a:gd name="connsiteX3664" fmla="*/ 11086969 w 12192528"/>
              <a:gd name="connsiteY3664" fmla="*/ 680610 h 3912503"/>
              <a:gd name="connsiteX3665" fmla="*/ 11083288 w 12192528"/>
              <a:gd name="connsiteY3665" fmla="*/ 678975 h 3912503"/>
              <a:gd name="connsiteX3666" fmla="*/ 11080835 w 12192528"/>
              <a:gd name="connsiteY3666" fmla="*/ 674069 h 3912503"/>
              <a:gd name="connsiteX3667" fmla="*/ 11072860 w 12192528"/>
              <a:gd name="connsiteY3667" fmla="*/ 658332 h 3912503"/>
              <a:gd name="connsiteX3668" fmla="*/ 11069997 w 12192528"/>
              <a:gd name="connsiteY3668" fmla="*/ 656084 h 3912503"/>
              <a:gd name="connsiteX3669" fmla="*/ 11073882 w 12192528"/>
              <a:gd name="connsiteY3669" fmla="*/ 653631 h 3912503"/>
              <a:gd name="connsiteX3670" fmla="*/ 11074495 w 12192528"/>
              <a:gd name="connsiteY3670" fmla="*/ 653631 h 3912503"/>
              <a:gd name="connsiteX3671" fmla="*/ 11078382 w 12192528"/>
              <a:gd name="connsiteY3671" fmla="*/ 646683 h 3912503"/>
              <a:gd name="connsiteX3672" fmla="*/ 11078791 w 12192528"/>
              <a:gd name="connsiteY3672" fmla="*/ 637077 h 3912503"/>
              <a:gd name="connsiteX3673" fmla="*/ 11082267 w 12192528"/>
              <a:gd name="connsiteY3673" fmla="*/ 623588 h 3912503"/>
              <a:gd name="connsiteX3674" fmla="*/ 11085333 w 12192528"/>
              <a:gd name="connsiteY3674" fmla="*/ 619909 h 3912503"/>
              <a:gd name="connsiteX3675" fmla="*/ 11093717 w 12192528"/>
              <a:gd name="connsiteY3675" fmla="*/ 609282 h 3912503"/>
              <a:gd name="connsiteX3676" fmla="*/ 11098624 w 12192528"/>
              <a:gd name="connsiteY3676" fmla="*/ 607442 h 3912503"/>
              <a:gd name="connsiteX3677" fmla="*/ 11118868 w 12192528"/>
              <a:gd name="connsiteY3677" fmla="*/ 601515 h 3912503"/>
              <a:gd name="connsiteX3678" fmla="*/ 11118868 w 12192528"/>
              <a:gd name="connsiteY3678" fmla="*/ 597019 h 3912503"/>
              <a:gd name="connsiteX3679" fmla="*/ 11113551 w 12192528"/>
              <a:gd name="connsiteY3679" fmla="*/ 596406 h 3912503"/>
              <a:gd name="connsiteX3680" fmla="*/ 11109873 w 12192528"/>
              <a:gd name="connsiteY3680" fmla="*/ 598859 h 3912503"/>
              <a:gd name="connsiteX3681" fmla="*/ 11106394 w 12192528"/>
              <a:gd name="connsiteY3681" fmla="*/ 599267 h 3912503"/>
              <a:gd name="connsiteX3682" fmla="*/ 11107008 w 12192528"/>
              <a:gd name="connsiteY3682" fmla="*/ 595588 h 3912503"/>
              <a:gd name="connsiteX3683" fmla="*/ 11109873 w 12192528"/>
              <a:gd name="connsiteY3683" fmla="*/ 592931 h 3912503"/>
              <a:gd name="connsiteX3684" fmla="*/ 11110894 w 12192528"/>
              <a:gd name="connsiteY3684" fmla="*/ 586596 h 3912503"/>
              <a:gd name="connsiteX3685" fmla="*/ 11105372 w 12192528"/>
              <a:gd name="connsiteY3685" fmla="*/ 587822 h 3912503"/>
              <a:gd name="connsiteX3686" fmla="*/ 11101079 w 12192528"/>
              <a:gd name="connsiteY3686" fmla="*/ 591296 h 3912503"/>
              <a:gd name="connsiteX3687" fmla="*/ 11096989 w 12192528"/>
              <a:gd name="connsiteY3687" fmla="*/ 588639 h 3912503"/>
              <a:gd name="connsiteX3688" fmla="*/ 11101486 w 12192528"/>
              <a:gd name="connsiteY3688" fmla="*/ 576989 h 3912503"/>
              <a:gd name="connsiteX3689" fmla="*/ 11101486 w 12192528"/>
              <a:gd name="connsiteY3689" fmla="*/ 565749 h 3912503"/>
              <a:gd name="connsiteX3690" fmla="*/ 11097398 w 12192528"/>
              <a:gd name="connsiteY3690" fmla="*/ 561252 h 3912503"/>
              <a:gd name="connsiteX3691" fmla="*/ 11096171 w 12192528"/>
              <a:gd name="connsiteY3691" fmla="*/ 559004 h 3912503"/>
              <a:gd name="connsiteX3692" fmla="*/ 11098420 w 12192528"/>
              <a:gd name="connsiteY3692" fmla="*/ 557778 h 3912503"/>
              <a:gd name="connsiteX3693" fmla="*/ 11102715 w 12192528"/>
              <a:gd name="connsiteY3693" fmla="*/ 553690 h 3912503"/>
              <a:gd name="connsiteX3694" fmla="*/ 11108030 w 12192528"/>
              <a:gd name="connsiteY3694" fmla="*/ 544493 h 3912503"/>
              <a:gd name="connsiteX3695" fmla="*/ 11108235 w 12192528"/>
              <a:gd name="connsiteY3695" fmla="*/ 539587 h 3912503"/>
              <a:gd name="connsiteX3696" fmla="*/ 11106600 w 12192528"/>
              <a:gd name="connsiteY3696" fmla="*/ 536318 h 3912503"/>
              <a:gd name="connsiteX3697" fmla="*/ 11110075 w 12192528"/>
              <a:gd name="connsiteY3697" fmla="*/ 534070 h 3912503"/>
              <a:gd name="connsiteX3698" fmla="*/ 11112938 w 12192528"/>
              <a:gd name="connsiteY3698" fmla="*/ 533661 h 3912503"/>
              <a:gd name="connsiteX3699" fmla="*/ 11116415 w 12192528"/>
              <a:gd name="connsiteY3699" fmla="*/ 525281 h 3912503"/>
              <a:gd name="connsiteX3700" fmla="*/ 11115392 w 12192528"/>
              <a:gd name="connsiteY3700" fmla="*/ 523647 h 3912503"/>
              <a:gd name="connsiteX3701" fmla="*/ 11115597 w 12192528"/>
              <a:gd name="connsiteY3701" fmla="*/ 519968 h 3912503"/>
              <a:gd name="connsiteX3702" fmla="*/ 11118868 w 12192528"/>
              <a:gd name="connsiteY3702" fmla="*/ 520785 h 3912503"/>
              <a:gd name="connsiteX3703" fmla="*/ 11120913 w 12192528"/>
              <a:gd name="connsiteY3703" fmla="*/ 523442 h 3912503"/>
              <a:gd name="connsiteX3704" fmla="*/ 11125003 w 12192528"/>
              <a:gd name="connsiteY3704" fmla="*/ 524056 h 3912503"/>
              <a:gd name="connsiteX3705" fmla="*/ 11137476 w 12192528"/>
              <a:gd name="connsiteY3705" fmla="*/ 520785 h 3912503"/>
              <a:gd name="connsiteX3706" fmla="*/ 11153016 w 12192528"/>
              <a:gd name="connsiteY3706" fmla="*/ 519764 h 3912503"/>
              <a:gd name="connsiteX3707" fmla="*/ 4280330 w 12192528"/>
              <a:gd name="connsiteY3707" fmla="*/ 518896 h 3912503"/>
              <a:gd name="connsiteX3708" fmla="*/ 4288982 w 12192528"/>
              <a:gd name="connsiteY3708" fmla="*/ 523180 h 3912503"/>
              <a:gd name="connsiteX3709" fmla="*/ 4293883 w 12192528"/>
              <a:gd name="connsiteY3709" fmla="*/ 525772 h 3912503"/>
              <a:gd name="connsiteX3710" fmla="*/ 4299362 w 12192528"/>
              <a:gd name="connsiteY3710" fmla="*/ 530380 h 3912503"/>
              <a:gd name="connsiteX3711" fmla="*/ 4302822 w 12192528"/>
              <a:gd name="connsiteY3711" fmla="*/ 534989 h 3912503"/>
              <a:gd name="connsiteX3712" fmla="*/ 4306861 w 12192528"/>
              <a:gd name="connsiteY3712" fmla="*/ 547662 h 3912503"/>
              <a:gd name="connsiteX3713" fmla="*/ 4309745 w 12192528"/>
              <a:gd name="connsiteY3713" fmla="*/ 555438 h 3912503"/>
              <a:gd name="connsiteX3714" fmla="*/ 4309745 w 12192528"/>
              <a:gd name="connsiteY3714" fmla="*/ 558895 h 3912503"/>
              <a:gd name="connsiteX3715" fmla="*/ 4306283 w 12192528"/>
              <a:gd name="connsiteY3715" fmla="*/ 565808 h 3912503"/>
              <a:gd name="connsiteX3716" fmla="*/ 4298499 w 12192528"/>
              <a:gd name="connsiteY3716" fmla="*/ 576177 h 3912503"/>
              <a:gd name="connsiteX3717" fmla="*/ 4296479 w 12192528"/>
              <a:gd name="connsiteY3717" fmla="*/ 580209 h 3912503"/>
              <a:gd name="connsiteX3718" fmla="*/ 4293018 w 12192528"/>
              <a:gd name="connsiteY3718" fmla="*/ 581649 h 3912503"/>
              <a:gd name="connsiteX3719" fmla="*/ 4286384 w 12192528"/>
              <a:gd name="connsiteY3719" fmla="*/ 583666 h 3912503"/>
              <a:gd name="connsiteX3720" fmla="*/ 4284078 w 12192528"/>
              <a:gd name="connsiteY3720" fmla="*/ 584817 h 3912503"/>
              <a:gd name="connsiteX3721" fmla="*/ 4274851 w 12192528"/>
              <a:gd name="connsiteY3721" fmla="*/ 585969 h 3912503"/>
              <a:gd name="connsiteX3722" fmla="*/ 4272831 w 12192528"/>
              <a:gd name="connsiteY3722" fmla="*/ 586545 h 3912503"/>
              <a:gd name="connsiteX3723" fmla="*/ 4252354 w 12192528"/>
              <a:gd name="connsiteY3723" fmla="*/ 573584 h 3912503"/>
              <a:gd name="connsiteX3724" fmla="*/ 4246010 w 12192528"/>
              <a:gd name="connsiteY3724" fmla="*/ 561775 h 3912503"/>
              <a:gd name="connsiteX3725" fmla="*/ 4243992 w 12192528"/>
              <a:gd name="connsiteY3725" fmla="*/ 556879 h 3912503"/>
              <a:gd name="connsiteX3726" fmla="*/ 4243704 w 12192528"/>
              <a:gd name="connsiteY3726" fmla="*/ 551983 h 3912503"/>
              <a:gd name="connsiteX3727" fmla="*/ 4244568 w 12192528"/>
              <a:gd name="connsiteY3727" fmla="*/ 548238 h 3912503"/>
              <a:gd name="connsiteX3728" fmla="*/ 4246010 w 12192528"/>
              <a:gd name="connsiteY3728" fmla="*/ 540461 h 3912503"/>
              <a:gd name="connsiteX3729" fmla="*/ 4246297 w 12192528"/>
              <a:gd name="connsiteY3729" fmla="*/ 537581 h 3912503"/>
              <a:gd name="connsiteX3730" fmla="*/ 4247164 w 12192528"/>
              <a:gd name="connsiteY3730" fmla="*/ 530669 h 3912503"/>
              <a:gd name="connsiteX3731" fmla="*/ 4261585 w 12192528"/>
              <a:gd name="connsiteY3731" fmla="*/ 519436 h 3912503"/>
              <a:gd name="connsiteX3732" fmla="*/ 4270813 w 12192528"/>
              <a:gd name="connsiteY3732" fmla="*/ 519147 h 3912503"/>
              <a:gd name="connsiteX3733" fmla="*/ 4280330 w 12192528"/>
              <a:gd name="connsiteY3733" fmla="*/ 518896 h 3912503"/>
              <a:gd name="connsiteX3734" fmla="*/ 10198237 w 12192528"/>
              <a:gd name="connsiteY3734" fmla="*/ 513586 h 3912503"/>
              <a:gd name="connsiteX3735" fmla="*/ 10197988 w 12192528"/>
              <a:gd name="connsiteY3735" fmla="*/ 514002 h 3912503"/>
              <a:gd name="connsiteX3736" fmla="*/ 10197698 w 12192528"/>
              <a:gd name="connsiteY3736" fmla="*/ 513714 h 3912503"/>
              <a:gd name="connsiteX3737" fmla="*/ 3288866 w 12192528"/>
              <a:gd name="connsiteY3737" fmla="*/ 502749 h 3912503"/>
              <a:gd name="connsiteX3738" fmla="*/ 3304406 w 12192528"/>
              <a:gd name="connsiteY3738" fmla="*/ 503770 h 3912503"/>
              <a:gd name="connsiteX3739" fmla="*/ 3316880 w 12192528"/>
              <a:gd name="connsiteY3739" fmla="*/ 507041 h 3912503"/>
              <a:gd name="connsiteX3740" fmla="*/ 3320970 w 12192528"/>
              <a:gd name="connsiteY3740" fmla="*/ 506427 h 3912503"/>
              <a:gd name="connsiteX3741" fmla="*/ 3323015 w 12192528"/>
              <a:gd name="connsiteY3741" fmla="*/ 503770 h 3912503"/>
              <a:gd name="connsiteX3742" fmla="*/ 3326287 w 12192528"/>
              <a:gd name="connsiteY3742" fmla="*/ 502953 h 3912503"/>
              <a:gd name="connsiteX3743" fmla="*/ 3326491 w 12192528"/>
              <a:gd name="connsiteY3743" fmla="*/ 506632 h 3912503"/>
              <a:gd name="connsiteX3744" fmla="*/ 3325468 w 12192528"/>
              <a:gd name="connsiteY3744" fmla="*/ 508266 h 3912503"/>
              <a:gd name="connsiteX3745" fmla="*/ 3328944 w 12192528"/>
              <a:gd name="connsiteY3745" fmla="*/ 516646 h 3912503"/>
              <a:gd name="connsiteX3746" fmla="*/ 3331807 w 12192528"/>
              <a:gd name="connsiteY3746" fmla="*/ 517055 h 3912503"/>
              <a:gd name="connsiteX3747" fmla="*/ 3335284 w 12192528"/>
              <a:gd name="connsiteY3747" fmla="*/ 519302 h 3912503"/>
              <a:gd name="connsiteX3748" fmla="*/ 3333647 w 12192528"/>
              <a:gd name="connsiteY3748" fmla="*/ 522572 h 3912503"/>
              <a:gd name="connsiteX3749" fmla="*/ 3333852 w 12192528"/>
              <a:gd name="connsiteY3749" fmla="*/ 527478 h 3912503"/>
              <a:gd name="connsiteX3750" fmla="*/ 3339168 w 12192528"/>
              <a:gd name="connsiteY3750" fmla="*/ 536675 h 3912503"/>
              <a:gd name="connsiteX3751" fmla="*/ 3343462 w 12192528"/>
              <a:gd name="connsiteY3751" fmla="*/ 540763 h 3912503"/>
              <a:gd name="connsiteX3752" fmla="*/ 3345712 w 12192528"/>
              <a:gd name="connsiteY3752" fmla="*/ 541989 h 3912503"/>
              <a:gd name="connsiteX3753" fmla="*/ 3344485 w 12192528"/>
              <a:gd name="connsiteY3753" fmla="*/ 544237 h 3912503"/>
              <a:gd name="connsiteX3754" fmla="*/ 3340396 w 12192528"/>
              <a:gd name="connsiteY3754" fmla="*/ 548733 h 3912503"/>
              <a:gd name="connsiteX3755" fmla="*/ 3340396 w 12192528"/>
              <a:gd name="connsiteY3755" fmla="*/ 559974 h 3912503"/>
              <a:gd name="connsiteX3756" fmla="*/ 3344895 w 12192528"/>
              <a:gd name="connsiteY3756" fmla="*/ 571624 h 3912503"/>
              <a:gd name="connsiteX3757" fmla="*/ 3340805 w 12192528"/>
              <a:gd name="connsiteY3757" fmla="*/ 574280 h 3912503"/>
              <a:gd name="connsiteX3758" fmla="*/ 3336511 w 12192528"/>
              <a:gd name="connsiteY3758" fmla="*/ 570806 h 3912503"/>
              <a:gd name="connsiteX3759" fmla="*/ 3330990 w 12192528"/>
              <a:gd name="connsiteY3759" fmla="*/ 569580 h 3912503"/>
              <a:gd name="connsiteX3760" fmla="*/ 3332012 w 12192528"/>
              <a:gd name="connsiteY3760" fmla="*/ 575916 h 3912503"/>
              <a:gd name="connsiteX3761" fmla="*/ 3334874 w 12192528"/>
              <a:gd name="connsiteY3761" fmla="*/ 578572 h 3912503"/>
              <a:gd name="connsiteX3762" fmla="*/ 3335488 w 12192528"/>
              <a:gd name="connsiteY3762" fmla="*/ 582251 h 3912503"/>
              <a:gd name="connsiteX3763" fmla="*/ 3332012 w 12192528"/>
              <a:gd name="connsiteY3763" fmla="*/ 581843 h 3912503"/>
              <a:gd name="connsiteX3764" fmla="*/ 3328331 w 12192528"/>
              <a:gd name="connsiteY3764" fmla="*/ 579390 h 3912503"/>
              <a:gd name="connsiteX3765" fmla="*/ 3323015 w 12192528"/>
              <a:gd name="connsiteY3765" fmla="*/ 580004 h 3912503"/>
              <a:gd name="connsiteX3766" fmla="*/ 3323015 w 12192528"/>
              <a:gd name="connsiteY3766" fmla="*/ 584500 h 3912503"/>
              <a:gd name="connsiteX3767" fmla="*/ 3343258 w 12192528"/>
              <a:gd name="connsiteY3767" fmla="*/ 590426 h 3912503"/>
              <a:gd name="connsiteX3768" fmla="*/ 3348166 w 12192528"/>
              <a:gd name="connsiteY3768" fmla="*/ 592266 h 3912503"/>
              <a:gd name="connsiteX3769" fmla="*/ 3356550 w 12192528"/>
              <a:gd name="connsiteY3769" fmla="*/ 602894 h 3912503"/>
              <a:gd name="connsiteX3770" fmla="*/ 3359617 w 12192528"/>
              <a:gd name="connsiteY3770" fmla="*/ 606572 h 3912503"/>
              <a:gd name="connsiteX3771" fmla="*/ 3363093 w 12192528"/>
              <a:gd name="connsiteY3771" fmla="*/ 620062 h 3912503"/>
              <a:gd name="connsiteX3772" fmla="*/ 3363502 w 12192528"/>
              <a:gd name="connsiteY3772" fmla="*/ 629667 h 3912503"/>
              <a:gd name="connsiteX3773" fmla="*/ 3367387 w 12192528"/>
              <a:gd name="connsiteY3773" fmla="*/ 636616 h 3912503"/>
              <a:gd name="connsiteX3774" fmla="*/ 3368000 w 12192528"/>
              <a:gd name="connsiteY3774" fmla="*/ 636616 h 3912503"/>
              <a:gd name="connsiteX3775" fmla="*/ 3371886 w 12192528"/>
              <a:gd name="connsiteY3775" fmla="*/ 639069 h 3912503"/>
              <a:gd name="connsiteX3776" fmla="*/ 3369022 w 12192528"/>
              <a:gd name="connsiteY3776" fmla="*/ 641317 h 3912503"/>
              <a:gd name="connsiteX3777" fmla="*/ 3361048 w 12192528"/>
              <a:gd name="connsiteY3777" fmla="*/ 657054 h 3912503"/>
              <a:gd name="connsiteX3778" fmla="*/ 3358594 w 12192528"/>
              <a:gd name="connsiteY3778" fmla="*/ 661959 h 3912503"/>
              <a:gd name="connsiteX3779" fmla="*/ 3354914 w 12192528"/>
              <a:gd name="connsiteY3779" fmla="*/ 663595 h 3912503"/>
              <a:gd name="connsiteX3780" fmla="*/ 3353073 w 12192528"/>
              <a:gd name="connsiteY3780" fmla="*/ 667478 h 3912503"/>
              <a:gd name="connsiteX3781" fmla="*/ 3353988 w 12192528"/>
              <a:gd name="connsiteY3781" fmla="*/ 668776 h 3912503"/>
              <a:gd name="connsiteX3782" fmla="*/ 3338006 w 12192528"/>
              <a:gd name="connsiteY3782" fmla="*/ 684670 h 3912503"/>
              <a:gd name="connsiteX3783" fmla="*/ 3338350 w 12192528"/>
              <a:gd name="connsiteY3783" fmla="*/ 681580 h 3912503"/>
              <a:gd name="connsiteX3784" fmla="*/ 3336919 w 12192528"/>
              <a:gd name="connsiteY3784" fmla="*/ 678105 h 3912503"/>
              <a:gd name="connsiteX3785" fmla="*/ 3333238 w 12192528"/>
              <a:gd name="connsiteY3785" fmla="*/ 679535 h 3912503"/>
              <a:gd name="connsiteX3786" fmla="*/ 3332012 w 12192528"/>
              <a:gd name="connsiteY3786" fmla="*/ 682193 h 3912503"/>
              <a:gd name="connsiteX3787" fmla="*/ 3325878 w 12192528"/>
              <a:gd name="connsiteY3787" fmla="*/ 683214 h 3912503"/>
              <a:gd name="connsiteX3788" fmla="*/ 3323219 w 12192528"/>
              <a:gd name="connsiteY3788" fmla="*/ 681375 h 3912503"/>
              <a:gd name="connsiteX3789" fmla="*/ 3321379 w 12192528"/>
              <a:gd name="connsiteY3789" fmla="*/ 684236 h 3912503"/>
              <a:gd name="connsiteX3790" fmla="*/ 3320765 w 12192528"/>
              <a:gd name="connsiteY3790" fmla="*/ 686689 h 3912503"/>
              <a:gd name="connsiteX3791" fmla="*/ 3318925 w 12192528"/>
              <a:gd name="connsiteY3791" fmla="*/ 689423 h 3912503"/>
              <a:gd name="connsiteX3792" fmla="*/ 3315857 w 12192528"/>
              <a:gd name="connsiteY3792" fmla="*/ 688324 h 3912503"/>
              <a:gd name="connsiteX3793" fmla="*/ 3309110 w 12192528"/>
              <a:gd name="connsiteY3793" fmla="*/ 682397 h 3912503"/>
              <a:gd name="connsiteX3794" fmla="*/ 3300112 w 12192528"/>
              <a:gd name="connsiteY3794" fmla="*/ 680353 h 3912503"/>
              <a:gd name="connsiteX3795" fmla="*/ 3294796 w 12192528"/>
              <a:gd name="connsiteY3795" fmla="*/ 678719 h 3912503"/>
              <a:gd name="connsiteX3796" fmla="*/ 3282323 w 12192528"/>
              <a:gd name="connsiteY3796" fmla="*/ 672791 h 3912503"/>
              <a:gd name="connsiteX3797" fmla="*/ 3280278 w 12192528"/>
              <a:gd name="connsiteY3797" fmla="*/ 671157 h 3912503"/>
              <a:gd name="connsiteX3798" fmla="*/ 3269440 w 12192528"/>
              <a:gd name="connsiteY3798" fmla="*/ 644791 h 3912503"/>
              <a:gd name="connsiteX3799" fmla="*/ 3269236 w 12192528"/>
              <a:gd name="connsiteY3799" fmla="*/ 639887 h 3912503"/>
              <a:gd name="connsiteX3800" fmla="*/ 3272098 w 12192528"/>
              <a:gd name="connsiteY3800" fmla="*/ 628033 h 3912503"/>
              <a:gd name="connsiteX3801" fmla="*/ 3273735 w 12192528"/>
              <a:gd name="connsiteY3801" fmla="*/ 617813 h 3912503"/>
              <a:gd name="connsiteX3802" fmla="*/ 3275370 w 12192528"/>
              <a:gd name="connsiteY3802" fmla="*/ 614543 h 3912503"/>
              <a:gd name="connsiteX3803" fmla="*/ 3287435 w 12192528"/>
              <a:gd name="connsiteY3803" fmla="*/ 600237 h 3912503"/>
              <a:gd name="connsiteX3804" fmla="*/ 3288662 w 12192528"/>
              <a:gd name="connsiteY3804" fmla="*/ 597988 h 3912503"/>
              <a:gd name="connsiteX3805" fmla="*/ 3280073 w 12192528"/>
              <a:gd name="connsiteY3805" fmla="*/ 586748 h 3912503"/>
              <a:gd name="connsiteX3806" fmla="*/ 3268623 w 12192528"/>
              <a:gd name="connsiteY3806" fmla="*/ 580004 h 3912503"/>
              <a:gd name="connsiteX3807" fmla="*/ 3256558 w 12192528"/>
              <a:gd name="connsiteY3807" fmla="*/ 566106 h 3912503"/>
              <a:gd name="connsiteX3808" fmla="*/ 3256762 w 12192528"/>
              <a:gd name="connsiteY3808" fmla="*/ 563040 h 3912503"/>
              <a:gd name="connsiteX3809" fmla="*/ 3255944 w 12192528"/>
              <a:gd name="connsiteY3809" fmla="*/ 555478 h 3912503"/>
              <a:gd name="connsiteX3810" fmla="*/ 3255331 w 12192528"/>
              <a:gd name="connsiteY3810" fmla="*/ 546485 h 3912503"/>
              <a:gd name="connsiteX3811" fmla="*/ 3257989 w 12192528"/>
              <a:gd name="connsiteY3811" fmla="*/ 540149 h 3912503"/>
              <a:gd name="connsiteX3812" fmla="*/ 3263511 w 12192528"/>
              <a:gd name="connsiteY3812" fmla="*/ 521756 h 3912503"/>
              <a:gd name="connsiteX3813" fmla="*/ 3272507 w 12192528"/>
              <a:gd name="connsiteY3813" fmla="*/ 510924 h 3912503"/>
              <a:gd name="connsiteX3814" fmla="*/ 3274552 w 12192528"/>
              <a:gd name="connsiteY3814" fmla="*/ 509493 h 3912503"/>
              <a:gd name="connsiteX3815" fmla="*/ 3285185 w 12192528"/>
              <a:gd name="connsiteY3815" fmla="*/ 504587 h 3912503"/>
              <a:gd name="connsiteX3816" fmla="*/ 3288866 w 12192528"/>
              <a:gd name="connsiteY3816" fmla="*/ 502749 h 3912503"/>
              <a:gd name="connsiteX3817" fmla="*/ 6433558 w 12192528"/>
              <a:gd name="connsiteY3817" fmla="*/ 499121 h 3912503"/>
              <a:gd name="connsiteX3818" fmla="*/ 6441612 w 12192528"/>
              <a:gd name="connsiteY3818" fmla="*/ 503107 h 3912503"/>
              <a:gd name="connsiteX3819" fmla="*/ 6446170 w 12192528"/>
              <a:gd name="connsiteY3819" fmla="*/ 505519 h 3912503"/>
              <a:gd name="connsiteX3820" fmla="*/ 6451270 w 12192528"/>
              <a:gd name="connsiteY3820" fmla="*/ 509808 h 3912503"/>
              <a:gd name="connsiteX3821" fmla="*/ 6454491 w 12192528"/>
              <a:gd name="connsiteY3821" fmla="*/ 514096 h 3912503"/>
              <a:gd name="connsiteX3822" fmla="*/ 6458246 w 12192528"/>
              <a:gd name="connsiteY3822" fmla="*/ 525889 h 3912503"/>
              <a:gd name="connsiteX3823" fmla="*/ 6460931 w 12192528"/>
              <a:gd name="connsiteY3823" fmla="*/ 533126 h 3912503"/>
              <a:gd name="connsiteX3824" fmla="*/ 6460931 w 12192528"/>
              <a:gd name="connsiteY3824" fmla="*/ 536343 h 3912503"/>
              <a:gd name="connsiteX3825" fmla="*/ 6457713 w 12192528"/>
              <a:gd name="connsiteY3825" fmla="*/ 542775 h 3912503"/>
              <a:gd name="connsiteX3826" fmla="*/ 6450468 w 12192528"/>
              <a:gd name="connsiteY3826" fmla="*/ 552424 h 3912503"/>
              <a:gd name="connsiteX3827" fmla="*/ 6448586 w 12192528"/>
              <a:gd name="connsiteY3827" fmla="*/ 556176 h 3912503"/>
              <a:gd name="connsiteX3828" fmla="*/ 6445369 w 12192528"/>
              <a:gd name="connsiteY3828" fmla="*/ 557517 h 3912503"/>
              <a:gd name="connsiteX3829" fmla="*/ 6439194 w 12192528"/>
              <a:gd name="connsiteY3829" fmla="*/ 559393 h 3912503"/>
              <a:gd name="connsiteX3830" fmla="*/ 6437048 w 12192528"/>
              <a:gd name="connsiteY3830" fmla="*/ 560465 h 3912503"/>
              <a:gd name="connsiteX3831" fmla="*/ 6428461 w 12192528"/>
              <a:gd name="connsiteY3831" fmla="*/ 561537 h 3912503"/>
              <a:gd name="connsiteX3832" fmla="*/ 6426583 w 12192528"/>
              <a:gd name="connsiteY3832" fmla="*/ 562073 h 3912503"/>
              <a:gd name="connsiteX3833" fmla="*/ 6407529 w 12192528"/>
              <a:gd name="connsiteY3833" fmla="*/ 550011 h 3912503"/>
              <a:gd name="connsiteX3834" fmla="*/ 6401624 w 12192528"/>
              <a:gd name="connsiteY3834" fmla="*/ 539022 h 3912503"/>
              <a:gd name="connsiteX3835" fmla="*/ 6399744 w 12192528"/>
              <a:gd name="connsiteY3835" fmla="*/ 534467 h 3912503"/>
              <a:gd name="connsiteX3836" fmla="*/ 6399477 w 12192528"/>
              <a:gd name="connsiteY3836" fmla="*/ 529910 h 3912503"/>
              <a:gd name="connsiteX3837" fmla="*/ 6400283 w 12192528"/>
              <a:gd name="connsiteY3837" fmla="*/ 526426 h 3912503"/>
              <a:gd name="connsiteX3838" fmla="*/ 6401624 w 12192528"/>
              <a:gd name="connsiteY3838" fmla="*/ 519189 h 3912503"/>
              <a:gd name="connsiteX3839" fmla="*/ 6401892 w 12192528"/>
              <a:gd name="connsiteY3839" fmla="*/ 516508 h 3912503"/>
              <a:gd name="connsiteX3840" fmla="*/ 6402698 w 12192528"/>
              <a:gd name="connsiteY3840" fmla="*/ 510075 h 3912503"/>
              <a:gd name="connsiteX3841" fmla="*/ 6416114 w 12192528"/>
              <a:gd name="connsiteY3841" fmla="*/ 499623 h 3912503"/>
              <a:gd name="connsiteX3842" fmla="*/ 6424702 w 12192528"/>
              <a:gd name="connsiteY3842" fmla="*/ 499355 h 3912503"/>
              <a:gd name="connsiteX3843" fmla="*/ 6433558 w 12192528"/>
              <a:gd name="connsiteY3843" fmla="*/ 499121 h 3912503"/>
              <a:gd name="connsiteX3844" fmla="*/ 8788828 w 12192528"/>
              <a:gd name="connsiteY3844" fmla="*/ 487582 h 3912503"/>
              <a:gd name="connsiteX3845" fmla="*/ 8798980 w 12192528"/>
              <a:gd name="connsiteY3845" fmla="*/ 489137 h 3912503"/>
              <a:gd name="connsiteX3846" fmla="*/ 8807572 w 12192528"/>
              <a:gd name="connsiteY3846" fmla="*/ 494579 h 3912503"/>
              <a:gd name="connsiteX3847" fmla="*/ 8812256 w 12192528"/>
              <a:gd name="connsiteY3847" fmla="*/ 500021 h 3912503"/>
              <a:gd name="connsiteX3848" fmla="*/ 8812256 w 12192528"/>
              <a:gd name="connsiteY3848" fmla="*/ 514015 h 3912503"/>
              <a:gd name="connsiteX3849" fmla="*/ 8803666 w 12192528"/>
              <a:gd name="connsiteY3849" fmla="*/ 522567 h 3912503"/>
              <a:gd name="connsiteX3850" fmla="*/ 8798199 w 12192528"/>
              <a:gd name="connsiteY3850" fmla="*/ 532674 h 3912503"/>
              <a:gd name="connsiteX3851" fmla="*/ 8793904 w 12192528"/>
              <a:gd name="connsiteY3851" fmla="*/ 543169 h 3912503"/>
              <a:gd name="connsiteX3852" fmla="*/ 8788048 w 12192528"/>
              <a:gd name="connsiteY3852" fmla="*/ 550167 h 3912503"/>
              <a:gd name="connsiteX3853" fmla="*/ 8779456 w 12192528"/>
              <a:gd name="connsiteY3853" fmla="*/ 554442 h 3912503"/>
              <a:gd name="connsiteX3854" fmla="*/ 8771646 w 12192528"/>
              <a:gd name="connsiteY3854" fmla="*/ 554442 h 3912503"/>
              <a:gd name="connsiteX3855" fmla="*/ 8770476 w 12192528"/>
              <a:gd name="connsiteY3855" fmla="*/ 552888 h 3912503"/>
              <a:gd name="connsiteX3856" fmla="*/ 8759542 w 12192528"/>
              <a:gd name="connsiteY3856" fmla="*/ 544335 h 3912503"/>
              <a:gd name="connsiteX3857" fmla="*/ 8756028 w 12192528"/>
              <a:gd name="connsiteY3857" fmla="*/ 531119 h 3912503"/>
              <a:gd name="connsiteX3858" fmla="*/ 8761494 w 12192528"/>
              <a:gd name="connsiteY3858" fmla="*/ 515570 h 3912503"/>
              <a:gd name="connsiteX3859" fmla="*/ 8767352 w 12192528"/>
              <a:gd name="connsiteY3859" fmla="*/ 512072 h 3912503"/>
              <a:gd name="connsiteX3860" fmla="*/ 8774770 w 12192528"/>
              <a:gd name="connsiteY3860" fmla="*/ 502742 h 3912503"/>
              <a:gd name="connsiteX3861" fmla="*/ 8777115 w 12192528"/>
              <a:gd name="connsiteY3861" fmla="*/ 498466 h 3912503"/>
              <a:gd name="connsiteX3862" fmla="*/ 8788828 w 12192528"/>
              <a:gd name="connsiteY3862" fmla="*/ 487582 h 3912503"/>
              <a:gd name="connsiteX3863" fmla="*/ 5326723 w 12192528"/>
              <a:gd name="connsiteY3863" fmla="*/ 485591 h 3912503"/>
              <a:gd name="connsiteX3864" fmla="*/ 5327190 w 12192528"/>
              <a:gd name="connsiteY3864" fmla="*/ 485702 h 3912503"/>
              <a:gd name="connsiteX3865" fmla="*/ 5326938 w 12192528"/>
              <a:gd name="connsiteY3865" fmla="*/ 485952 h 3912503"/>
              <a:gd name="connsiteX3866" fmla="*/ 7668546 w 12192528"/>
              <a:gd name="connsiteY3866" fmla="*/ 465737 h 3912503"/>
              <a:gd name="connsiteX3867" fmla="*/ 7681293 w 12192528"/>
              <a:gd name="connsiteY3867" fmla="*/ 466075 h 3912503"/>
              <a:gd name="connsiteX3868" fmla="*/ 7693660 w 12192528"/>
              <a:gd name="connsiteY3868" fmla="*/ 466461 h 3912503"/>
              <a:gd name="connsiteX3869" fmla="*/ 7712977 w 12192528"/>
              <a:gd name="connsiteY3869" fmla="*/ 481509 h 3912503"/>
              <a:gd name="connsiteX3870" fmla="*/ 7714136 w 12192528"/>
              <a:gd name="connsiteY3870" fmla="*/ 490770 h 3912503"/>
              <a:gd name="connsiteX3871" fmla="*/ 7714523 w 12192528"/>
              <a:gd name="connsiteY3871" fmla="*/ 494629 h 3912503"/>
              <a:gd name="connsiteX3872" fmla="*/ 7716454 w 12192528"/>
              <a:gd name="connsiteY3872" fmla="*/ 505048 h 3912503"/>
              <a:gd name="connsiteX3873" fmla="*/ 7717613 w 12192528"/>
              <a:gd name="connsiteY3873" fmla="*/ 510065 h 3912503"/>
              <a:gd name="connsiteX3874" fmla="*/ 7717228 w 12192528"/>
              <a:gd name="connsiteY3874" fmla="*/ 516624 h 3912503"/>
              <a:gd name="connsiteX3875" fmla="*/ 7714523 w 12192528"/>
              <a:gd name="connsiteY3875" fmla="*/ 523184 h 3912503"/>
              <a:gd name="connsiteX3876" fmla="*/ 7706024 w 12192528"/>
              <a:gd name="connsiteY3876" fmla="*/ 539005 h 3912503"/>
              <a:gd name="connsiteX3877" fmla="*/ 7678590 w 12192528"/>
              <a:gd name="connsiteY3877" fmla="*/ 556370 h 3912503"/>
              <a:gd name="connsiteX3878" fmla="*/ 7675888 w 12192528"/>
              <a:gd name="connsiteY3878" fmla="*/ 555598 h 3912503"/>
              <a:gd name="connsiteX3879" fmla="*/ 7663524 w 12192528"/>
              <a:gd name="connsiteY3879" fmla="*/ 554054 h 3912503"/>
              <a:gd name="connsiteX3880" fmla="*/ 7660440 w 12192528"/>
              <a:gd name="connsiteY3880" fmla="*/ 552511 h 3912503"/>
              <a:gd name="connsiteX3881" fmla="*/ 7651544 w 12192528"/>
              <a:gd name="connsiteY3881" fmla="*/ 549809 h 3912503"/>
              <a:gd name="connsiteX3882" fmla="*/ 7646913 w 12192528"/>
              <a:gd name="connsiteY3882" fmla="*/ 547881 h 3912503"/>
              <a:gd name="connsiteX3883" fmla="*/ 7644217 w 12192528"/>
              <a:gd name="connsiteY3883" fmla="*/ 542478 h 3912503"/>
              <a:gd name="connsiteX3884" fmla="*/ 7633787 w 12192528"/>
              <a:gd name="connsiteY3884" fmla="*/ 528586 h 3912503"/>
              <a:gd name="connsiteX3885" fmla="*/ 7629147 w 12192528"/>
              <a:gd name="connsiteY3885" fmla="*/ 519325 h 3912503"/>
              <a:gd name="connsiteX3886" fmla="*/ 7629147 w 12192528"/>
              <a:gd name="connsiteY3886" fmla="*/ 514694 h 3912503"/>
              <a:gd name="connsiteX3887" fmla="*/ 7633018 w 12192528"/>
              <a:gd name="connsiteY3887" fmla="*/ 504276 h 3912503"/>
              <a:gd name="connsiteX3888" fmla="*/ 7638423 w 12192528"/>
              <a:gd name="connsiteY3888" fmla="*/ 487298 h 3912503"/>
              <a:gd name="connsiteX3889" fmla="*/ 7643060 w 12192528"/>
              <a:gd name="connsiteY3889" fmla="*/ 481123 h 3912503"/>
              <a:gd name="connsiteX3890" fmla="*/ 7650388 w 12192528"/>
              <a:gd name="connsiteY3890" fmla="*/ 474950 h 3912503"/>
              <a:gd name="connsiteX3891" fmla="*/ 7656964 w 12192528"/>
              <a:gd name="connsiteY3891" fmla="*/ 471476 h 3912503"/>
              <a:gd name="connsiteX3892" fmla="*/ 7668546 w 12192528"/>
              <a:gd name="connsiteY3892" fmla="*/ 465737 h 3912503"/>
              <a:gd name="connsiteX3893" fmla="*/ 10118432 w 12192528"/>
              <a:gd name="connsiteY3893" fmla="*/ 433327 h 3912503"/>
              <a:gd name="connsiteX3894" fmla="*/ 10134928 w 12192528"/>
              <a:gd name="connsiteY3894" fmla="*/ 448654 h 3912503"/>
              <a:gd name="connsiteX3895" fmla="*/ 10138226 w 12192528"/>
              <a:gd name="connsiteY3895" fmla="*/ 454676 h 3912503"/>
              <a:gd name="connsiteX3896" fmla="*/ 10148675 w 12192528"/>
              <a:gd name="connsiteY3896" fmla="*/ 467813 h 3912503"/>
              <a:gd name="connsiteX3897" fmla="*/ 10156921 w 12192528"/>
              <a:gd name="connsiteY3897" fmla="*/ 472740 h 3912503"/>
              <a:gd name="connsiteX3898" fmla="*/ 10164620 w 12192528"/>
              <a:gd name="connsiteY3898" fmla="*/ 494637 h 3912503"/>
              <a:gd name="connsiteX3899" fmla="*/ 10159672 w 12192528"/>
              <a:gd name="connsiteY3899" fmla="*/ 513248 h 3912503"/>
              <a:gd name="connsiteX3900" fmla="*/ 10144275 w 12192528"/>
              <a:gd name="connsiteY3900" fmla="*/ 525291 h 3912503"/>
              <a:gd name="connsiteX3901" fmla="*/ 10142625 w 12192528"/>
              <a:gd name="connsiteY3901" fmla="*/ 527481 h 3912503"/>
              <a:gd name="connsiteX3902" fmla="*/ 10131628 w 12192528"/>
              <a:gd name="connsiteY3902" fmla="*/ 527481 h 3912503"/>
              <a:gd name="connsiteX3903" fmla="*/ 10119530 w 12192528"/>
              <a:gd name="connsiteY3903" fmla="*/ 521459 h 3912503"/>
              <a:gd name="connsiteX3904" fmla="*/ 10111283 w 12192528"/>
              <a:gd name="connsiteY3904" fmla="*/ 511606 h 3912503"/>
              <a:gd name="connsiteX3905" fmla="*/ 10105235 w 12192528"/>
              <a:gd name="connsiteY3905" fmla="*/ 496826 h 3912503"/>
              <a:gd name="connsiteX3906" fmla="*/ 10097534 w 12192528"/>
              <a:gd name="connsiteY3906" fmla="*/ 482594 h 3912503"/>
              <a:gd name="connsiteX3907" fmla="*/ 10085437 w 12192528"/>
              <a:gd name="connsiteY3907" fmla="*/ 470550 h 3912503"/>
              <a:gd name="connsiteX3908" fmla="*/ 10085437 w 12192528"/>
              <a:gd name="connsiteY3908" fmla="*/ 450844 h 3912503"/>
              <a:gd name="connsiteX3909" fmla="*/ 10092036 w 12192528"/>
              <a:gd name="connsiteY3909" fmla="*/ 443180 h 3912503"/>
              <a:gd name="connsiteX3910" fmla="*/ 10104134 w 12192528"/>
              <a:gd name="connsiteY3910" fmla="*/ 435517 h 3912503"/>
              <a:gd name="connsiteX3911" fmla="*/ 10118432 w 12192528"/>
              <a:gd name="connsiteY3911" fmla="*/ 433327 h 3912503"/>
              <a:gd name="connsiteX3912" fmla="*/ 9450766 w 12192528"/>
              <a:gd name="connsiteY3912" fmla="*/ 431533 h 3912503"/>
              <a:gd name="connsiteX3913" fmla="*/ 9465064 w 12192528"/>
              <a:gd name="connsiteY3913" fmla="*/ 433723 h 3912503"/>
              <a:gd name="connsiteX3914" fmla="*/ 9477162 w 12192528"/>
              <a:gd name="connsiteY3914" fmla="*/ 441386 h 3912503"/>
              <a:gd name="connsiteX3915" fmla="*/ 9483757 w 12192528"/>
              <a:gd name="connsiteY3915" fmla="*/ 449050 h 3912503"/>
              <a:gd name="connsiteX3916" fmla="*/ 9483757 w 12192528"/>
              <a:gd name="connsiteY3916" fmla="*/ 468756 h 3912503"/>
              <a:gd name="connsiteX3917" fmla="*/ 9471663 w 12192528"/>
              <a:gd name="connsiteY3917" fmla="*/ 480800 h 3912503"/>
              <a:gd name="connsiteX3918" fmla="*/ 9463963 w 12192528"/>
              <a:gd name="connsiteY3918" fmla="*/ 495032 h 3912503"/>
              <a:gd name="connsiteX3919" fmla="*/ 9457913 w 12192528"/>
              <a:gd name="connsiteY3919" fmla="*/ 509812 h 3912503"/>
              <a:gd name="connsiteX3920" fmla="*/ 9449667 w 12192528"/>
              <a:gd name="connsiteY3920" fmla="*/ 519665 h 3912503"/>
              <a:gd name="connsiteX3921" fmla="*/ 9437569 w 12192528"/>
              <a:gd name="connsiteY3921" fmla="*/ 525687 h 3912503"/>
              <a:gd name="connsiteX3922" fmla="*/ 9426572 w 12192528"/>
              <a:gd name="connsiteY3922" fmla="*/ 525687 h 3912503"/>
              <a:gd name="connsiteX3923" fmla="*/ 9424922 w 12192528"/>
              <a:gd name="connsiteY3923" fmla="*/ 523497 h 3912503"/>
              <a:gd name="connsiteX3924" fmla="*/ 9409526 w 12192528"/>
              <a:gd name="connsiteY3924" fmla="*/ 511454 h 3912503"/>
              <a:gd name="connsiteX3925" fmla="*/ 9404576 w 12192528"/>
              <a:gd name="connsiteY3925" fmla="*/ 492843 h 3912503"/>
              <a:gd name="connsiteX3926" fmla="*/ 9412275 w 12192528"/>
              <a:gd name="connsiteY3926" fmla="*/ 470946 h 3912503"/>
              <a:gd name="connsiteX3927" fmla="*/ 9420523 w 12192528"/>
              <a:gd name="connsiteY3927" fmla="*/ 466019 h 3912503"/>
              <a:gd name="connsiteX3928" fmla="*/ 9430969 w 12192528"/>
              <a:gd name="connsiteY3928" fmla="*/ 452882 h 3912503"/>
              <a:gd name="connsiteX3929" fmla="*/ 9434268 w 12192528"/>
              <a:gd name="connsiteY3929" fmla="*/ 446860 h 3912503"/>
              <a:gd name="connsiteX3930" fmla="*/ 9450766 w 12192528"/>
              <a:gd name="connsiteY3930" fmla="*/ 431533 h 3912503"/>
              <a:gd name="connsiteX3931" fmla="*/ 8279557 w 12192528"/>
              <a:gd name="connsiteY3931" fmla="*/ 404265 h 3912503"/>
              <a:gd name="connsiteX3932" fmla="*/ 8283237 w 12192528"/>
              <a:gd name="connsiteY3932" fmla="*/ 406104 h 3912503"/>
              <a:gd name="connsiteX3933" fmla="*/ 8293871 w 12192528"/>
              <a:gd name="connsiteY3933" fmla="*/ 411009 h 3912503"/>
              <a:gd name="connsiteX3934" fmla="*/ 8295912 w 12192528"/>
              <a:gd name="connsiteY3934" fmla="*/ 412440 h 3912503"/>
              <a:gd name="connsiteX3935" fmla="*/ 8304910 w 12192528"/>
              <a:gd name="connsiteY3935" fmla="*/ 423272 h 3912503"/>
              <a:gd name="connsiteX3936" fmla="*/ 8310432 w 12192528"/>
              <a:gd name="connsiteY3936" fmla="*/ 441666 h 3912503"/>
              <a:gd name="connsiteX3937" fmla="*/ 8313088 w 12192528"/>
              <a:gd name="connsiteY3937" fmla="*/ 448001 h 3912503"/>
              <a:gd name="connsiteX3938" fmla="*/ 8312478 w 12192528"/>
              <a:gd name="connsiteY3938" fmla="*/ 456994 h 3912503"/>
              <a:gd name="connsiteX3939" fmla="*/ 8311659 w 12192528"/>
              <a:gd name="connsiteY3939" fmla="*/ 464556 h 3912503"/>
              <a:gd name="connsiteX3940" fmla="*/ 8311863 w 12192528"/>
              <a:gd name="connsiteY3940" fmla="*/ 467622 h 3912503"/>
              <a:gd name="connsiteX3941" fmla="*/ 8299802 w 12192528"/>
              <a:gd name="connsiteY3941" fmla="*/ 481520 h 3912503"/>
              <a:gd name="connsiteX3942" fmla="*/ 8288349 w 12192528"/>
              <a:gd name="connsiteY3942" fmla="*/ 488264 h 3912503"/>
              <a:gd name="connsiteX3943" fmla="*/ 8279763 w 12192528"/>
              <a:gd name="connsiteY3943" fmla="*/ 499505 h 3912503"/>
              <a:gd name="connsiteX3944" fmla="*/ 8280988 w 12192528"/>
              <a:gd name="connsiteY3944" fmla="*/ 501754 h 3912503"/>
              <a:gd name="connsiteX3945" fmla="*/ 8293054 w 12192528"/>
              <a:gd name="connsiteY3945" fmla="*/ 516060 h 3912503"/>
              <a:gd name="connsiteX3946" fmla="*/ 8294687 w 12192528"/>
              <a:gd name="connsiteY3946" fmla="*/ 519330 h 3912503"/>
              <a:gd name="connsiteX3947" fmla="*/ 8296321 w 12192528"/>
              <a:gd name="connsiteY3947" fmla="*/ 529548 h 3912503"/>
              <a:gd name="connsiteX3948" fmla="*/ 8299184 w 12192528"/>
              <a:gd name="connsiteY3948" fmla="*/ 541402 h 3912503"/>
              <a:gd name="connsiteX3949" fmla="*/ 8298983 w 12192528"/>
              <a:gd name="connsiteY3949" fmla="*/ 546308 h 3912503"/>
              <a:gd name="connsiteX3950" fmla="*/ 8289215 w 12192528"/>
              <a:gd name="connsiteY3950" fmla="*/ 570066 h 3912503"/>
              <a:gd name="connsiteX3951" fmla="*/ 8297712 w 12192528"/>
              <a:gd name="connsiteY3951" fmla="*/ 565573 h 3912503"/>
              <a:gd name="connsiteX3952" fmla="*/ 8366204 w 12192528"/>
              <a:gd name="connsiteY3952" fmla="*/ 550372 h 3912503"/>
              <a:gd name="connsiteX3953" fmla="*/ 8400990 w 12192528"/>
              <a:gd name="connsiteY3953" fmla="*/ 551458 h 3912503"/>
              <a:gd name="connsiteX3954" fmla="*/ 8455344 w 12192528"/>
              <a:gd name="connsiteY3954" fmla="*/ 593802 h 3912503"/>
              <a:gd name="connsiteX3955" fmla="*/ 8458606 w 12192528"/>
              <a:gd name="connsiteY3955" fmla="*/ 619860 h 3912503"/>
              <a:gd name="connsiteX3956" fmla="*/ 8459693 w 12192528"/>
              <a:gd name="connsiteY3956" fmla="*/ 630717 h 3912503"/>
              <a:gd name="connsiteX3957" fmla="*/ 8465128 w 12192528"/>
              <a:gd name="connsiteY3957" fmla="*/ 660032 h 3912503"/>
              <a:gd name="connsiteX3958" fmla="*/ 8468392 w 12192528"/>
              <a:gd name="connsiteY3958" fmla="*/ 674146 h 3912503"/>
              <a:gd name="connsiteX3959" fmla="*/ 8467305 w 12192528"/>
              <a:gd name="connsiteY3959" fmla="*/ 692604 h 3912503"/>
              <a:gd name="connsiteX3960" fmla="*/ 8459693 w 12192528"/>
              <a:gd name="connsiteY3960" fmla="*/ 711061 h 3912503"/>
              <a:gd name="connsiteX3961" fmla="*/ 8435778 w 12192528"/>
              <a:gd name="connsiteY3961" fmla="*/ 755575 h 3912503"/>
              <a:gd name="connsiteX3962" fmla="*/ 8358590 w 12192528"/>
              <a:gd name="connsiteY3962" fmla="*/ 804433 h 3912503"/>
              <a:gd name="connsiteX3963" fmla="*/ 8350980 w 12192528"/>
              <a:gd name="connsiteY3963" fmla="*/ 802262 h 3912503"/>
              <a:gd name="connsiteX3964" fmla="*/ 8316193 w 12192528"/>
              <a:gd name="connsiteY3964" fmla="*/ 797919 h 3912503"/>
              <a:gd name="connsiteX3965" fmla="*/ 8307494 w 12192528"/>
              <a:gd name="connsiteY3965" fmla="*/ 793576 h 3912503"/>
              <a:gd name="connsiteX3966" fmla="*/ 8282496 w 12192528"/>
              <a:gd name="connsiteY3966" fmla="*/ 785976 h 3912503"/>
              <a:gd name="connsiteX3967" fmla="*/ 8269447 w 12192528"/>
              <a:gd name="connsiteY3967" fmla="*/ 780547 h 3912503"/>
              <a:gd name="connsiteX3968" fmla="*/ 8261838 w 12192528"/>
              <a:gd name="connsiteY3968" fmla="*/ 765347 h 3912503"/>
              <a:gd name="connsiteX3969" fmla="*/ 8232485 w 12192528"/>
              <a:gd name="connsiteY3969" fmla="*/ 726261 h 3912503"/>
              <a:gd name="connsiteX3970" fmla="*/ 8219438 w 12192528"/>
              <a:gd name="connsiteY3970" fmla="*/ 700204 h 3912503"/>
              <a:gd name="connsiteX3971" fmla="*/ 8219438 w 12192528"/>
              <a:gd name="connsiteY3971" fmla="*/ 687175 h 3912503"/>
              <a:gd name="connsiteX3972" fmla="*/ 8230309 w 12192528"/>
              <a:gd name="connsiteY3972" fmla="*/ 657860 h 3912503"/>
              <a:gd name="connsiteX3973" fmla="*/ 8245530 w 12192528"/>
              <a:gd name="connsiteY3973" fmla="*/ 610088 h 3912503"/>
              <a:gd name="connsiteX3974" fmla="*/ 8258577 w 12192528"/>
              <a:gd name="connsiteY3974" fmla="*/ 592717 h 3912503"/>
              <a:gd name="connsiteX3975" fmla="*/ 8263346 w 12192528"/>
              <a:gd name="connsiteY3975" fmla="*/ 582998 h 3912503"/>
              <a:gd name="connsiteX3976" fmla="*/ 8259312 w 12192528"/>
              <a:gd name="connsiteY3976" fmla="*/ 583914 h 3912503"/>
              <a:gd name="connsiteX3977" fmla="*/ 8252564 w 12192528"/>
              <a:gd name="connsiteY3977" fmla="*/ 589840 h 3912503"/>
              <a:gd name="connsiteX3978" fmla="*/ 8249498 w 12192528"/>
              <a:gd name="connsiteY3978" fmla="*/ 590939 h 3912503"/>
              <a:gd name="connsiteX3979" fmla="*/ 8247654 w 12192528"/>
              <a:gd name="connsiteY3979" fmla="*/ 588206 h 3912503"/>
              <a:gd name="connsiteX3980" fmla="*/ 8247044 w 12192528"/>
              <a:gd name="connsiteY3980" fmla="*/ 585753 h 3912503"/>
              <a:gd name="connsiteX3981" fmla="*/ 8245203 w 12192528"/>
              <a:gd name="connsiteY3981" fmla="*/ 582892 h 3912503"/>
              <a:gd name="connsiteX3982" fmla="*/ 8242546 w 12192528"/>
              <a:gd name="connsiteY3982" fmla="*/ 584731 h 3912503"/>
              <a:gd name="connsiteX3983" fmla="*/ 8236409 w 12192528"/>
              <a:gd name="connsiteY3983" fmla="*/ 583710 h 3912503"/>
              <a:gd name="connsiteX3984" fmla="*/ 8235182 w 12192528"/>
              <a:gd name="connsiteY3984" fmla="*/ 581052 h 3912503"/>
              <a:gd name="connsiteX3985" fmla="*/ 8231501 w 12192528"/>
              <a:gd name="connsiteY3985" fmla="*/ 579622 h 3912503"/>
              <a:gd name="connsiteX3986" fmla="*/ 8230070 w 12192528"/>
              <a:gd name="connsiteY3986" fmla="*/ 583096 h 3912503"/>
              <a:gd name="connsiteX3987" fmla="*/ 8230415 w 12192528"/>
              <a:gd name="connsiteY3987" fmla="*/ 586187 h 3912503"/>
              <a:gd name="connsiteX3988" fmla="*/ 8214432 w 12192528"/>
              <a:gd name="connsiteY3988" fmla="*/ 570292 h 3912503"/>
              <a:gd name="connsiteX3989" fmla="*/ 8215348 w 12192528"/>
              <a:gd name="connsiteY3989" fmla="*/ 568994 h 3912503"/>
              <a:gd name="connsiteX3990" fmla="*/ 8213506 w 12192528"/>
              <a:gd name="connsiteY3990" fmla="*/ 565111 h 3912503"/>
              <a:gd name="connsiteX3991" fmla="*/ 8209824 w 12192528"/>
              <a:gd name="connsiteY3991" fmla="*/ 563476 h 3912503"/>
              <a:gd name="connsiteX3992" fmla="*/ 8207373 w 12192528"/>
              <a:gd name="connsiteY3992" fmla="*/ 558570 h 3912503"/>
              <a:gd name="connsiteX3993" fmla="*/ 8199396 w 12192528"/>
              <a:gd name="connsiteY3993" fmla="*/ 542833 h 3912503"/>
              <a:gd name="connsiteX3994" fmla="*/ 8196535 w 12192528"/>
              <a:gd name="connsiteY3994" fmla="*/ 540586 h 3912503"/>
              <a:gd name="connsiteX3995" fmla="*/ 8200422 w 12192528"/>
              <a:gd name="connsiteY3995" fmla="*/ 538132 h 3912503"/>
              <a:gd name="connsiteX3996" fmla="*/ 8201035 w 12192528"/>
              <a:gd name="connsiteY3996" fmla="*/ 538132 h 3912503"/>
              <a:gd name="connsiteX3997" fmla="*/ 8204920 w 12192528"/>
              <a:gd name="connsiteY3997" fmla="*/ 531184 h 3912503"/>
              <a:gd name="connsiteX3998" fmla="*/ 8205329 w 12192528"/>
              <a:gd name="connsiteY3998" fmla="*/ 521577 h 3912503"/>
              <a:gd name="connsiteX3999" fmla="*/ 8208804 w 12192528"/>
              <a:gd name="connsiteY3999" fmla="*/ 508089 h 3912503"/>
              <a:gd name="connsiteX4000" fmla="*/ 8211871 w 12192528"/>
              <a:gd name="connsiteY4000" fmla="*/ 504410 h 3912503"/>
              <a:gd name="connsiteX4001" fmla="*/ 8220253 w 12192528"/>
              <a:gd name="connsiteY4001" fmla="*/ 493783 h 3912503"/>
              <a:gd name="connsiteX4002" fmla="*/ 8225165 w 12192528"/>
              <a:gd name="connsiteY4002" fmla="*/ 491943 h 3912503"/>
              <a:gd name="connsiteX4003" fmla="*/ 8245407 w 12192528"/>
              <a:gd name="connsiteY4003" fmla="*/ 486017 h 3912503"/>
              <a:gd name="connsiteX4004" fmla="*/ 8245407 w 12192528"/>
              <a:gd name="connsiteY4004" fmla="*/ 481520 h 3912503"/>
              <a:gd name="connsiteX4005" fmla="*/ 8240090 w 12192528"/>
              <a:gd name="connsiteY4005" fmla="*/ 480907 h 3912503"/>
              <a:gd name="connsiteX4006" fmla="*/ 8236409 w 12192528"/>
              <a:gd name="connsiteY4006" fmla="*/ 483359 h 3912503"/>
              <a:gd name="connsiteX4007" fmla="*/ 8232935 w 12192528"/>
              <a:gd name="connsiteY4007" fmla="*/ 483768 h 3912503"/>
              <a:gd name="connsiteX4008" fmla="*/ 8233545 w 12192528"/>
              <a:gd name="connsiteY4008" fmla="*/ 480089 h 3912503"/>
              <a:gd name="connsiteX4009" fmla="*/ 8236409 w 12192528"/>
              <a:gd name="connsiteY4009" fmla="*/ 477432 h 3912503"/>
              <a:gd name="connsiteX4010" fmla="*/ 8237431 w 12192528"/>
              <a:gd name="connsiteY4010" fmla="*/ 471096 h 3912503"/>
              <a:gd name="connsiteX4011" fmla="*/ 8231911 w 12192528"/>
              <a:gd name="connsiteY4011" fmla="*/ 472323 h 3912503"/>
              <a:gd name="connsiteX4012" fmla="*/ 8227617 w 12192528"/>
              <a:gd name="connsiteY4012" fmla="*/ 475797 h 3912503"/>
              <a:gd name="connsiteX4013" fmla="*/ 8223523 w 12192528"/>
              <a:gd name="connsiteY4013" fmla="*/ 473140 h 3912503"/>
              <a:gd name="connsiteX4014" fmla="*/ 8228027 w 12192528"/>
              <a:gd name="connsiteY4014" fmla="*/ 461491 h 3912503"/>
              <a:gd name="connsiteX4015" fmla="*/ 8228027 w 12192528"/>
              <a:gd name="connsiteY4015" fmla="*/ 450250 h 3912503"/>
              <a:gd name="connsiteX4016" fmla="*/ 8223932 w 12192528"/>
              <a:gd name="connsiteY4016" fmla="*/ 445754 h 3912503"/>
              <a:gd name="connsiteX4017" fmla="*/ 8222710 w 12192528"/>
              <a:gd name="connsiteY4017" fmla="*/ 443506 h 3912503"/>
              <a:gd name="connsiteX4018" fmla="*/ 8224957 w 12192528"/>
              <a:gd name="connsiteY4018" fmla="*/ 442279 h 3912503"/>
              <a:gd name="connsiteX4019" fmla="*/ 8229252 w 12192528"/>
              <a:gd name="connsiteY4019" fmla="*/ 438192 h 3912503"/>
              <a:gd name="connsiteX4020" fmla="*/ 8234571 w 12192528"/>
              <a:gd name="connsiteY4020" fmla="*/ 428994 h 3912503"/>
              <a:gd name="connsiteX4021" fmla="*/ 8234774 w 12192528"/>
              <a:gd name="connsiteY4021" fmla="*/ 424089 h 3912503"/>
              <a:gd name="connsiteX4022" fmla="*/ 8233137 w 12192528"/>
              <a:gd name="connsiteY4022" fmla="*/ 420819 h 3912503"/>
              <a:gd name="connsiteX4023" fmla="*/ 8236613 w 12192528"/>
              <a:gd name="connsiteY4023" fmla="*/ 418571 h 3912503"/>
              <a:gd name="connsiteX4024" fmla="*/ 8239477 w 12192528"/>
              <a:gd name="connsiteY4024" fmla="*/ 418162 h 3912503"/>
              <a:gd name="connsiteX4025" fmla="*/ 8242953 w 12192528"/>
              <a:gd name="connsiteY4025" fmla="*/ 409783 h 3912503"/>
              <a:gd name="connsiteX4026" fmla="*/ 8241931 w 12192528"/>
              <a:gd name="connsiteY4026" fmla="*/ 408148 h 3912503"/>
              <a:gd name="connsiteX4027" fmla="*/ 8242138 w 12192528"/>
              <a:gd name="connsiteY4027" fmla="*/ 404470 h 3912503"/>
              <a:gd name="connsiteX4028" fmla="*/ 8245407 w 12192528"/>
              <a:gd name="connsiteY4028" fmla="*/ 405286 h 3912503"/>
              <a:gd name="connsiteX4029" fmla="*/ 8247451 w 12192528"/>
              <a:gd name="connsiteY4029" fmla="*/ 407944 h 3912503"/>
              <a:gd name="connsiteX4030" fmla="*/ 8251542 w 12192528"/>
              <a:gd name="connsiteY4030" fmla="*/ 408557 h 3912503"/>
              <a:gd name="connsiteX4031" fmla="*/ 8264017 w 12192528"/>
              <a:gd name="connsiteY4031" fmla="*/ 405286 h 3912503"/>
              <a:gd name="connsiteX4032" fmla="*/ 8279557 w 12192528"/>
              <a:gd name="connsiteY4032" fmla="*/ 404265 h 3912503"/>
              <a:gd name="connsiteX4033" fmla="*/ 5434097 w 12192528"/>
              <a:gd name="connsiteY4033" fmla="*/ 377756 h 3912503"/>
              <a:gd name="connsiteX4034" fmla="*/ 5446849 w 12192528"/>
              <a:gd name="connsiteY4034" fmla="*/ 378094 h 3912503"/>
              <a:gd name="connsiteX4035" fmla="*/ 5459212 w 12192528"/>
              <a:gd name="connsiteY4035" fmla="*/ 378480 h 3912503"/>
              <a:gd name="connsiteX4036" fmla="*/ 5478530 w 12192528"/>
              <a:gd name="connsiteY4036" fmla="*/ 393529 h 3912503"/>
              <a:gd name="connsiteX4037" fmla="*/ 5479690 w 12192528"/>
              <a:gd name="connsiteY4037" fmla="*/ 402789 h 3912503"/>
              <a:gd name="connsiteX4038" fmla="*/ 5480075 w 12192528"/>
              <a:gd name="connsiteY4038" fmla="*/ 406648 h 3912503"/>
              <a:gd name="connsiteX4039" fmla="*/ 5482008 w 12192528"/>
              <a:gd name="connsiteY4039" fmla="*/ 417067 h 3912503"/>
              <a:gd name="connsiteX4040" fmla="*/ 5483166 w 12192528"/>
              <a:gd name="connsiteY4040" fmla="*/ 422084 h 3912503"/>
              <a:gd name="connsiteX4041" fmla="*/ 5482780 w 12192528"/>
              <a:gd name="connsiteY4041" fmla="*/ 428643 h 3912503"/>
              <a:gd name="connsiteX4042" fmla="*/ 5480075 w 12192528"/>
              <a:gd name="connsiteY4042" fmla="*/ 435204 h 3912503"/>
              <a:gd name="connsiteX4043" fmla="*/ 5471575 w 12192528"/>
              <a:gd name="connsiteY4043" fmla="*/ 451024 h 3912503"/>
              <a:gd name="connsiteX4044" fmla="*/ 5444142 w 12192528"/>
              <a:gd name="connsiteY4044" fmla="*/ 468389 h 3912503"/>
              <a:gd name="connsiteX4045" fmla="*/ 5441439 w 12192528"/>
              <a:gd name="connsiteY4045" fmla="*/ 467617 h 3912503"/>
              <a:gd name="connsiteX4046" fmla="*/ 5429074 w 12192528"/>
              <a:gd name="connsiteY4046" fmla="*/ 466074 h 3912503"/>
              <a:gd name="connsiteX4047" fmla="*/ 5425985 w 12192528"/>
              <a:gd name="connsiteY4047" fmla="*/ 464530 h 3912503"/>
              <a:gd name="connsiteX4048" fmla="*/ 5417098 w 12192528"/>
              <a:gd name="connsiteY4048" fmla="*/ 461829 h 3912503"/>
              <a:gd name="connsiteX4049" fmla="*/ 5412461 w 12192528"/>
              <a:gd name="connsiteY4049" fmla="*/ 459900 h 3912503"/>
              <a:gd name="connsiteX4050" fmla="*/ 5409756 w 12192528"/>
              <a:gd name="connsiteY4050" fmla="*/ 454497 h 3912503"/>
              <a:gd name="connsiteX4051" fmla="*/ 5399325 w 12192528"/>
              <a:gd name="connsiteY4051" fmla="*/ 440606 h 3912503"/>
              <a:gd name="connsiteX4052" fmla="*/ 5394689 w 12192528"/>
              <a:gd name="connsiteY4052" fmla="*/ 431345 h 3912503"/>
              <a:gd name="connsiteX4053" fmla="*/ 5394689 w 12192528"/>
              <a:gd name="connsiteY4053" fmla="*/ 426714 h 3912503"/>
              <a:gd name="connsiteX4054" fmla="*/ 5398552 w 12192528"/>
              <a:gd name="connsiteY4054" fmla="*/ 416295 h 3912503"/>
              <a:gd name="connsiteX4055" fmla="*/ 5403961 w 12192528"/>
              <a:gd name="connsiteY4055" fmla="*/ 399317 h 3912503"/>
              <a:gd name="connsiteX4056" fmla="*/ 5408596 w 12192528"/>
              <a:gd name="connsiteY4056" fmla="*/ 393143 h 3912503"/>
              <a:gd name="connsiteX4057" fmla="*/ 5415940 w 12192528"/>
              <a:gd name="connsiteY4057" fmla="*/ 386969 h 3912503"/>
              <a:gd name="connsiteX4058" fmla="*/ 5422507 w 12192528"/>
              <a:gd name="connsiteY4058" fmla="*/ 383496 h 3912503"/>
              <a:gd name="connsiteX4059" fmla="*/ 5434097 w 12192528"/>
              <a:gd name="connsiteY4059" fmla="*/ 377756 h 3912503"/>
              <a:gd name="connsiteX4060" fmla="*/ 6212256 w 12192528"/>
              <a:gd name="connsiteY4060" fmla="*/ 376863 h 3912503"/>
              <a:gd name="connsiteX4061" fmla="*/ 6220907 w 12192528"/>
              <a:gd name="connsiteY4061" fmla="*/ 381148 h 3912503"/>
              <a:gd name="connsiteX4062" fmla="*/ 6225813 w 12192528"/>
              <a:gd name="connsiteY4062" fmla="*/ 383740 h 3912503"/>
              <a:gd name="connsiteX4063" fmla="*/ 6231291 w 12192528"/>
              <a:gd name="connsiteY4063" fmla="*/ 388348 h 3912503"/>
              <a:gd name="connsiteX4064" fmla="*/ 6234751 w 12192528"/>
              <a:gd name="connsiteY4064" fmla="*/ 392957 h 3912503"/>
              <a:gd name="connsiteX4065" fmla="*/ 6238787 w 12192528"/>
              <a:gd name="connsiteY4065" fmla="*/ 405630 h 3912503"/>
              <a:gd name="connsiteX4066" fmla="*/ 6241671 w 12192528"/>
              <a:gd name="connsiteY4066" fmla="*/ 413406 h 3912503"/>
              <a:gd name="connsiteX4067" fmla="*/ 6241671 w 12192528"/>
              <a:gd name="connsiteY4067" fmla="*/ 416863 h 3912503"/>
              <a:gd name="connsiteX4068" fmla="*/ 6238210 w 12192528"/>
              <a:gd name="connsiteY4068" fmla="*/ 423775 h 3912503"/>
              <a:gd name="connsiteX4069" fmla="*/ 6230425 w 12192528"/>
              <a:gd name="connsiteY4069" fmla="*/ 434143 h 3912503"/>
              <a:gd name="connsiteX4070" fmla="*/ 6228406 w 12192528"/>
              <a:gd name="connsiteY4070" fmla="*/ 438176 h 3912503"/>
              <a:gd name="connsiteX4071" fmla="*/ 6224946 w 12192528"/>
              <a:gd name="connsiteY4071" fmla="*/ 439616 h 3912503"/>
              <a:gd name="connsiteX4072" fmla="*/ 6218313 w 12192528"/>
              <a:gd name="connsiteY4072" fmla="*/ 441632 h 3912503"/>
              <a:gd name="connsiteX4073" fmla="*/ 6216005 w 12192528"/>
              <a:gd name="connsiteY4073" fmla="*/ 442784 h 3912503"/>
              <a:gd name="connsiteX4074" fmla="*/ 6206777 w 12192528"/>
              <a:gd name="connsiteY4074" fmla="*/ 443937 h 3912503"/>
              <a:gd name="connsiteX4075" fmla="*/ 6204758 w 12192528"/>
              <a:gd name="connsiteY4075" fmla="*/ 444513 h 3912503"/>
              <a:gd name="connsiteX4076" fmla="*/ 6184282 w 12192528"/>
              <a:gd name="connsiteY4076" fmla="*/ 431551 h 3912503"/>
              <a:gd name="connsiteX4077" fmla="*/ 6177939 w 12192528"/>
              <a:gd name="connsiteY4077" fmla="*/ 419742 h 3912503"/>
              <a:gd name="connsiteX4078" fmla="*/ 6175922 w 12192528"/>
              <a:gd name="connsiteY4078" fmla="*/ 414847 h 3912503"/>
              <a:gd name="connsiteX4079" fmla="*/ 6175631 w 12192528"/>
              <a:gd name="connsiteY4079" fmla="*/ 409950 h 3912503"/>
              <a:gd name="connsiteX4080" fmla="*/ 6176498 w 12192528"/>
              <a:gd name="connsiteY4080" fmla="*/ 406206 h 3912503"/>
              <a:gd name="connsiteX4081" fmla="*/ 6177939 w 12192528"/>
              <a:gd name="connsiteY4081" fmla="*/ 398428 h 3912503"/>
              <a:gd name="connsiteX4082" fmla="*/ 6178227 w 12192528"/>
              <a:gd name="connsiteY4082" fmla="*/ 395549 h 3912503"/>
              <a:gd name="connsiteX4083" fmla="*/ 6179092 w 12192528"/>
              <a:gd name="connsiteY4083" fmla="*/ 388636 h 3912503"/>
              <a:gd name="connsiteX4084" fmla="*/ 6193512 w 12192528"/>
              <a:gd name="connsiteY4084" fmla="*/ 377403 h 3912503"/>
              <a:gd name="connsiteX4085" fmla="*/ 6202740 w 12192528"/>
              <a:gd name="connsiteY4085" fmla="*/ 377115 h 3912503"/>
              <a:gd name="connsiteX4086" fmla="*/ 6212256 w 12192528"/>
              <a:gd name="connsiteY4086" fmla="*/ 376863 h 3912503"/>
              <a:gd name="connsiteX4087" fmla="*/ 10320459 w 12192528"/>
              <a:gd name="connsiteY4087" fmla="*/ 369493 h 3912503"/>
              <a:gd name="connsiteX4088" fmla="*/ 10324706 w 12192528"/>
              <a:gd name="connsiteY4088" fmla="*/ 371616 h 3912503"/>
              <a:gd name="connsiteX4089" fmla="*/ 10336976 w 12192528"/>
              <a:gd name="connsiteY4089" fmla="*/ 377275 h 3912503"/>
              <a:gd name="connsiteX4090" fmla="*/ 10339336 w 12192528"/>
              <a:gd name="connsiteY4090" fmla="*/ 378926 h 3912503"/>
              <a:gd name="connsiteX4091" fmla="*/ 10349717 w 12192528"/>
              <a:gd name="connsiteY4091" fmla="*/ 391425 h 3912503"/>
              <a:gd name="connsiteX4092" fmla="*/ 10356089 w 12192528"/>
              <a:gd name="connsiteY4092" fmla="*/ 412650 h 3912503"/>
              <a:gd name="connsiteX4093" fmla="*/ 10359156 w 12192528"/>
              <a:gd name="connsiteY4093" fmla="*/ 419961 h 3912503"/>
              <a:gd name="connsiteX4094" fmla="*/ 10358449 w 12192528"/>
              <a:gd name="connsiteY4094" fmla="*/ 430338 h 3912503"/>
              <a:gd name="connsiteX4095" fmla="*/ 10357506 w 12192528"/>
              <a:gd name="connsiteY4095" fmla="*/ 439063 h 3912503"/>
              <a:gd name="connsiteX4096" fmla="*/ 10357740 w 12192528"/>
              <a:gd name="connsiteY4096" fmla="*/ 442601 h 3912503"/>
              <a:gd name="connsiteX4097" fmla="*/ 10343818 w 12192528"/>
              <a:gd name="connsiteY4097" fmla="*/ 458637 h 3912503"/>
              <a:gd name="connsiteX4098" fmla="*/ 10330605 w 12192528"/>
              <a:gd name="connsiteY4098" fmla="*/ 466419 h 3912503"/>
              <a:gd name="connsiteX4099" fmla="*/ 10320694 w 12192528"/>
              <a:gd name="connsiteY4099" fmla="*/ 479390 h 3912503"/>
              <a:gd name="connsiteX4100" fmla="*/ 10322111 w 12192528"/>
              <a:gd name="connsiteY4100" fmla="*/ 481985 h 3912503"/>
              <a:gd name="connsiteX4101" fmla="*/ 10336032 w 12192528"/>
              <a:gd name="connsiteY4101" fmla="*/ 498493 h 3912503"/>
              <a:gd name="connsiteX4102" fmla="*/ 10337920 w 12192528"/>
              <a:gd name="connsiteY4102" fmla="*/ 502265 h 3912503"/>
              <a:gd name="connsiteX4103" fmla="*/ 10339807 w 12192528"/>
              <a:gd name="connsiteY4103" fmla="*/ 514057 h 3912503"/>
              <a:gd name="connsiteX4104" fmla="*/ 10343111 w 12192528"/>
              <a:gd name="connsiteY4104" fmla="*/ 527736 h 3912503"/>
              <a:gd name="connsiteX4105" fmla="*/ 10342875 w 12192528"/>
              <a:gd name="connsiteY4105" fmla="*/ 533395 h 3912503"/>
              <a:gd name="connsiteX4106" fmla="*/ 10330369 w 12192528"/>
              <a:gd name="connsiteY4106" fmla="*/ 563818 h 3912503"/>
              <a:gd name="connsiteX4107" fmla="*/ 10328010 w 12192528"/>
              <a:gd name="connsiteY4107" fmla="*/ 565705 h 3912503"/>
              <a:gd name="connsiteX4108" fmla="*/ 10313616 w 12192528"/>
              <a:gd name="connsiteY4108" fmla="*/ 572543 h 3912503"/>
              <a:gd name="connsiteX4109" fmla="*/ 10307482 w 12192528"/>
              <a:gd name="connsiteY4109" fmla="*/ 574430 h 3912503"/>
              <a:gd name="connsiteX4110" fmla="*/ 10297100 w 12192528"/>
              <a:gd name="connsiteY4110" fmla="*/ 576788 h 3912503"/>
              <a:gd name="connsiteX4111" fmla="*/ 10289314 w 12192528"/>
              <a:gd name="connsiteY4111" fmla="*/ 583628 h 3912503"/>
              <a:gd name="connsiteX4112" fmla="*/ 10285775 w 12192528"/>
              <a:gd name="connsiteY4112" fmla="*/ 584896 h 3912503"/>
              <a:gd name="connsiteX4113" fmla="*/ 10283651 w 12192528"/>
              <a:gd name="connsiteY4113" fmla="*/ 581741 h 3912503"/>
              <a:gd name="connsiteX4114" fmla="*/ 10282944 w 12192528"/>
              <a:gd name="connsiteY4114" fmla="*/ 578912 h 3912503"/>
              <a:gd name="connsiteX4115" fmla="*/ 10280819 w 12192528"/>
              <a:gd name="connsiteY4115" fmla="*/ 575610 h 3912503"/>
              <a:gd name="connsiteX4116" fmla="*/ 10277753 w 12192528"/>
              <a:gd name="connsiteY4116" fmla="*/ 577732 h 3912503"/>
              <a:gd name="connsiteX4117" fmla="*/ 10270673 w 12192528"/>
              <a:gd name="connsiteY4117" fmla="*/ 576553 h 3912503"/>
              <a:gd name="connsiteX4118" fmla="*/ 10269258 w 12192528"/>
              <a:gd name="connsiteY4118" fmla="*/ 573487 h 3912503"/>
              <a:gd name="connsiteX4119" fmla="*/ 10265012 w 12192528"/>
              <a:gd name="connsiteY4119" fmla="*/ 571836 h 3912503"/>
              <a:gd name="connsiteX4120" fmla="*/ 10263358 w 12192528"/>
              <a:gd name="connsiteY4120" fmla="*/ 575845 h 3912503"/>
              <a:gd name="connsiteX4121" fmla="*/ 10263756 w 12192528"/>
              <a:gd name="connsiteY4121" fmla="*/ 579412 h 3912503"/>
              <a:gd name="connsiteX4122" fmla="*/ 10245315 w 12192528"/>
              <a:gd name="connsiteY4122" fmla="*/ 561071 h 3912503"/>
              <a:gd name="connsiteX4123" fmla="*/ 10246370 w 12192528"/>
              <a:gd name="connsiteY4123" fmla="*/ 559573 h 3912503"/>
              <a:gd name="connsiteX4124" fmla="*/ 10244247 w 12192528"/>
              <a:gd name="connsiteY4124" fmla="*/ 555092 h 3912503"/>
              <a:gd name="connsiteX4125" fmla="*/ 10240001 w 12192528"/>
              <a:gd name="connsiteY4125" fmla="*/ 553205 h 3912503"/>
              <a:gd name="connsiteX4126" fmla="*/ 10237170 w 12192528"/>
              <a:gd name="connsiteY4126" fmla="*/ 547545 h 3912503"/>
              <a:gd name="connsiteX4127" fmla="*/ 10227968 w 12192528"/>
              <a:gd name="connsiteY4127" fmla="*/ 529386 h 3912503"/>
              <a:gd name="connsiteX4128" fmla="*/ 10224664 w 12192528"/>
              <a:gd name="connsiteY4128" fmla="*/ 526792 h 3912503"/>
              <a:gd name="connsiteX4129" fmla="*/ 10229147 w 12192528"/>
              <a:gd name="connsiteY4129" fmla="*/ 523962 h 3912503"/>
              <a:gd name="connsiteX4130" fmla="*/ 10229856 w 12192528"/>
              <a:gd name="connsiteY4130" fmla="*/ 523962 h 3912503"/>
              <a:gd name="connsiteX4131" fmla="*/ 10234338 w 12192528"/>
              <a:gd name="connsiteY4131" fmla="*/ 515944 h 3912503"/>
              <a:gd name="connsiteX4132" fmla="*/ 10234809 w 12192528"/>
              <a:gd name="connsiteY4132" fmla="*/ 504860 h 3912503"/>
              <a:gd name="connsiteX4133" fmla="*/ 10238820 w 12192528"/>
              <a:gd name="connsiteY4133" fmla="*/ 489295 h 3912503"/>
              <a:gd name="connsiteX4134" fmla="*/ 10242359 w 12192528"/>
              <a:gd name="connsiteY4134" fmla="*/ 485050 h 3912503"/>
              <a:gd name="connsiteX4135" fmla="*/ 10252033 w 12192528"/>
              <a:gd name="connsiteY4135" fmla="*/ 472787 h 3912503"/>
              <a:gd name="connsiteX4136" fmla="*/ 10257696 w 12192528"/>
              <a:gd name="connsiteY4136" fmla="*/ 470664 h 3912503"/>
              <a:gd name="connsiteX4137" fmla="*/ 10281055 w 12192528"/>
              <a:gd name="connsiteY4137" fmla="*/ 463825 h 3912503"/>
              <a:gd name="connsiteX4138" fmla="*/ 10281055 w 12192528"/>
              <a:gd name="connsiteY4138" fmla="*/ 458637 h 3912503"/>
              <a:gd name="connsiteX4139" fmla="*/ 10274921 w 12192528"/>
              <a:gd name="connsiteY4139" fmla="*/ 457930 h 3912503"/>
              <a:gd name="connsiteX4140" fmla="*/ 10270673 w 12192528"/>
              <a:gd name="connsiteY4140" fmla="*/ 460759 h 3912503"/>
              <a:gd name="connsiteX4141" fmla="*/ 10266662 w 12192528"/>
              <a:gd name="connsiteY4141" fmla="*/ 461232 h 3912503"/>
              <a:gd name="connsiteX4142" fmla="*/ 10267369 w 12192528"/>
              <a:gd name="connsiteY4142" fmla="*/ 456987 h 3912503"/>
              <a:gd name="connsiteX4143" fmla="*/ 10270673 w 12192528"/>
              <a:gd name="connsiteY4143" fmla="*/ 453920 h 3912503"/>
              <a:gd name="connsiteX4144" fmla="*/ 10271852 w 12192528"/>
              <a:gd name="connsiteY4144" fmla="*/ 446610 h 3912503"/>
              <a:gd name="connsiteX4145" fmla="*/ 10265483 w 12192528"/>
              <a:gd name="connsiteY4145" fmla="*/ 448024 h 3912503"/>
              <a:gd name="connsiteX4146" fmla="*/ 10260526 w 12192528"/>
              <a:gd name="connsiteY4146" fmla="*/ 452034 h 3912503"/>
              <a:gd name="connsiteX4147" fmla="*/ 10255809 w 12192528"/>
              <a:gd name="connsiteY4147" fmla="*/ 448968 h 3912503"/>
              <a:gd name="connsiteX4148" fmla="*/ 10260999 w 12192528"/>
              <a:gd name="connsiteY4148" fmla="*/ 435525 h 3912503"/>
              <a:gd name="connsiteX4149" fmla="*/ 10260999 w 12192528"/>
              <a:gd name="connsiteY4149" fmla="*/ 422555 h 3912503"/>
              <a:gd name="connsiteX4150" fmla="*/ 10256279 w 12192528"/>
              <a:gd name="connsiteY4150" fmla="*/ 417367 h 3912503"/>
              <a:gd name="connsiteX4151" fmla="*/ 10254866 w 12192528"/>
              <a:gd name="connsiteY4151" fmla="*/ 414772 h 3912503"/>
              <a:gd name="connsiteX4152" fmla="*/ 10257460 w 12192528"/>
              <a:gd name="connsiteY4152" fmla="*/ 413358 h 3912503"/>
              <a:gd name="connsiteX4153" fmla="*/ 10262414 w 12192528"/>
              <a:gd name="connsiteY4153" fmla="*/ 408641 h 3912503"/>
              <a:gd name="connsiteX4154" fmla="*/ 10268551 w 12192528"/>
              <a:gd name="connsiteY4154" fmla="*/ 398028 h 3912503"/>
              <a:gd name="connsiteX4155" fmla="*/ 10268787 w 12192528"/>
              <a:gd name="connsiteY4155" fmla="*/ 392369 h 3912503"/>
              <a:gd name="connsiteX4156" fmla="*/ 10266898 w 12192528"/>
              <a:gd name="connsiteY4156" fmla="*/ 388596 h 3912503"/>
              <a:gd name="connsiteX4157" fmla="*/ 10270909 w 12192528"/>
              <a:gd name="connsiteY4157" fmla="*/ 386002 h 3912503"/>
              <a:gd name="connsiteX4158" fmla="*/ 10274213 w 12192528"/>
              <a:gd name="connsiteY4158" fmla="*/ 385529 h 3912503"/>
              <a:gd name="connsiteX4159" fmla="*/ 10278224 w 12192528"/>
              <a:gd name="connsiteY4159" fmla="*/ 375861 h 3912503"/>
              <a:gd name="connsiteX4160" fmla="*/ 10277044 w 12192528"/>
              <a:gd name="connsiteY4160" fmla="*/ 373974 h 3912503"/>
              <a:gd name="connsiteX4161" fmla="*/ 10277280 w 12192528"/>
              <a:gd name="connsiteY4161" fmla="*/ 369729 h 3912503"/>
              <a:gd name="connsiteX4162" fmla="*/ 10281055 w 12192528"/>
              <a:gd name="connsiteY4162" fmla="*/ 370672 h 3912503"/>
              <a:gd name="connsiteX4163" fmla="*/ 10283414 w 12192528"/>
              <a:gd name="connsiteY4163" fmla="*/ 373738 h 3912503"/>
              <a:gd name="connsiteX4164" fmla="*/ 10288134 w 12192528"/>
              <a:gd name="connsiteY4164" fmla="*/ 374446 h 3912503"/>
              <a:gd name="connsiteX4165" fmla="*/ 10302528 w 12192528"/>
              <a:gd name="connsiteY4165" fmla="*/ 370672 h 3912503"/>
              <a:gd name="connsiteX4166" fmla="*/ 10320459 w 12192528"/>
              <a:gd name="connsiteY4166" fmla="*/ 369493 h 3912503"/>
              <a:gd name="connsiteX4167" fmla="*/ 3421293 w 12192528"/>
              <a:gd name="connsiteY4167" fmla="*/ 364029 h 3912503"/>
              <a:gd name="connsiteX4168" fmla="*/ 3431446 w 12192528"/>
              <a:gd name="connsiteY4168" fmla="*/ 365583 h 3912503"/>
              <a:gd name="connsiteX4169" fmla="*/ 3440037 w 12192528"/>
              <a:gd name="connsiteY4169" fmla="*/ 371025 h 3912503"/>
              <a:gd name="connsiteX4170" fmla="*/ 3444723 w 12192528"/>
              <a:gd name="connsiteY4170" fmla="*/ 376467 h 3912503"/>
              <a:gd name="connsiteX4171" fmla="*/ 3444723 w 12192528"/>
              <a:gd name="connsiteY4171" fmla="*/ 390462 h 3912503"/>
              <a:gd name="connsiteX4172" fmla="*/ 3436132 w 12192528"/>
              <a:gd name="connsiteY4172" fmla="*/ 399013 h 3912503"/>
              <a:gd name="connsiteX4173" fmla="*/ 3430666 w 12192528"/>
              <a:gd name="connsiteY4173" fmla="*/ 409120 h 3912503"/>
              <a:gd name="connsiteX4174" fmla="*/ 3426370 w 12192528"/>
              <a:gd name="connsiteY4174" fmla="*/ 419615 h 3912503"/>
              <a:gd name="connsiteX4175" fmla="*/ 3420513 w 12192528"/>
              <a:gd name="connsiteY4175" fmla="*/ 426613 h 3912503"/>
              <a:gd name="connsiteX4176" fmla="*/ 3411922 w 12192528"/>
              <a:gd name="connsiteY4176" fmla="*/ 430889 h 3912503"/>
              <a:gd name="connsiteX4177" fmla="*/ 3404113 w 12192528"/>
              <a:gd name="connsiteY4177" fmla="*/ 430889 h 3912503"/>
              <a:gd name="connsiteX4178" fmla="*/ 3402941 w 12192528"/>
              <a:gd name="connsiteY4178" fmla="*/ 429334 h 3912503"/>
              <a:gd name="connsiteX4179" fmla="*/ 3392009 w 12192528"/>
              <a:gd name="connsiteY4179" fmla="*/ 420782 h 3912503"/>
              <a:gd name="connsiteX4180" fmla="*/ 3388494 w 12192528"/>
              <a:gd name="connsiteY4180" fmla="*/ 407566 h 3912503"/>
              <a:gd name="connsiteX4181" fmla="*/ 3393960 w 12192528"/>
              <a:gd name="connsiteY4181" fmla="*/ 392017 h 3912503"/>
              <a:gd name="connsiteX4182" fmla="*/ 3399818 w 12192528"/>
              <a:gd name="connsiteY4182" fmla="*/ 388518 h 3912503"/>
              <a:gd name="connsiteX4183" fmla="*/ 3407237 w 12192528"/>
              <a:gd name="connsiteY4183" fmla="*/ 379189 h 3912503"/>
              <a:gd name="connsiteX4184" fmla="*/ 3409579 w 12192528"/>
              <a:gd name="connsiteY4184" fmla="*/ 374913 h 3912503"/>
              <a:gd name="connsiteX4185" fmla="*/ 3421293 w 12192528"/>
              <a:gd name="connsiteY4185" fmla="*/ 364029 h 3912503"/>
              <a:gd name="connsiteX4186" fmla="*/ 5220801 w 12192528"/>
              <a:gd name="connsiteY4186" fmla="*/ 360716 h 3912503"/>
              <a:gd name="connsiteX4187" fmla="*/ 5236342 w 12192528"/>
              <a:gd name="connsiteY4187" fmla="*/ 361737 h 3912503"/>
              <a:gd name="connsiteX4188" fmla="*/ 5248816 w 12192528"/>
              <a:gd name="connsiteY4188" fmla="*/ 365008 h 3912503"/>
              <a:gd name="connsiteX4189" fmla="*/ 5252907 w 12192528"/>
              <a:gd name="connsiteY4189" fmla="*/ 364395 h 3912503"/>
              <a:gd name="connsiteX4190" fmla="*/ 5254951 w 12192528"/>
              <a:gd name="connsiteY4190" fmla="*/ 361737 h 3912503"/>
              <a:gd name="connsiteX4191" fmla="*/ 5258223 w 12192528"/>
              <a:gd name="connsiteY4191" fmla="*/ 360920 h 3912503"/>
              <a:gd name="connsiteX4192" fmla="*/ 5258426 w 12192528"/>
              <a:gd name="connsiteY4192" fmla="*/ 364599 h 3912503"/>
              <a:gd name="connsiteX4193" fmla="*/ 5257403 w 12192528"/>
              <a:gd name="connsiteY4193" fmla="*/ 366234 h 3912503"/>
              <a:gd name="connsiteX4194" fmla="*/ 5260878 w 12192528"/>
              <a:gd name="connsiteY4194" fmla="*/ 374613 h 3912503"/>
              <a:gd name="connsiteX4195" fmla="*/ 5263742 w 12192528"/>
              <a:gd name="connsiteY4195" fmla="*/ 375022 h 3912503"/>
              <a:gd name="connsiteX4196" fmla="*/ 5267219 w 12192528"/>
              <a:gd name="connsiteY4196" fmla="*/ 377270 h 3912503"/>
              <a:gd name="connsiteX4197" fmla="*/ 5265584 w 12192528"/>
              <a:gd name="connsiteY4197" fmla="*/ 380540 h 3912503"/>
              <a:gd name="connsiteX4198" fmla="*/ 5265788 w 12192528"/>
              <a:gd name="connsiteY4198" fmla="*/ 385445 h 3912503"/>
              <a:gd name="connsiteX4199" fmla="*/ 5271104 w 12192528"/>
              <a:gd name="connsiteY4199" fmla="*/ 394643 h 3912503"/>
              <a:gd name="connsiteX4200" fmla="*/ 5275399 w 12192528"/>
              <a:gd name="connsiteY4200" fmla="*/ 398730 h 3912503"/>
              <a:gd name="connsiteX4201" fmla="*/ 5277648 w 12192528"/>
              <a:gd name="connsiteY4201" fmla="*/ 399957 h 3912503"/>
              <a:gd name="connsiteX4202" fmla="*/ 5276421 w 12192528"/>
              <a:gd name="connsiteY4202" fmla="*/ 402204 h 3912503"/>
              <a:gd name="connsiteX4203" fmla="*/ 5272331 w 12192528"/>
              <a:gd name="connsiteY4203" fmla="*/ 406701 h 3912503"/>
              <a:gd name="connsiteX4204" fmla="*/ 5272331 w 12192528"/>
              <a:gd name="connsiteY4204" fmla="*/ 417942 h 3912503"/>
              <a:gd name="connsiteX4205" fmla="*/ 5276831 w 12192528"/>
              <a:gd name="connsiteY4205" fmla="*/ 429591 h 3912503"/>
              <a:gd name="connsiteX4206" fmla="*/ 5272740 w 12192528"/>
              <a:gd name="connsiteY4206" fmla="*/ 432248 h 3912503"/>
              <a:gd name="connsiteX4207" fmla="*/ 5268445 w 12192528"/>
              <a:gd name="connsiteY4207" fmla="*/ 428773 h 3912503"/>
              <a:gd name="connsiteX4208" fmla="*/ 5262926 w 12192528"/>
              <a:gd name="connsiteY4208" fmla="*/ 427547 h 3912503"/>
              <a:gd name="connsiteX4209" fmla="*/ 5263946 w 12192528"/>
              <a:gd name="connsiteY4209" fmla="*/ 433883 h 3912503"/>
              <a:gd name="connsiteX4210" fmla="*/ 5266810 w 12192528"/>
              <a:gd name="connsiteY4210" fmla="*/ 436540 h 3912503"/>
              <a:gd name="connsiteX4211" fmla="*/ 5267423 w 12192528"/>
              <a:gd name="connsiteY4211" fmla="*/ 440219 h 3912503"/>
              <a:gd name="connsiteX4212" fmla="*/ 5263946 w 12192528"/>
              <a:gd name="connsiteY4212" fmla="*/ 439810 h 3912503"/>
              <a:gd name="connsiteX4213" fmla="*/ 5260265 w 12192528"/>
              <a:gd name="connsiteY4213" fmla="*/ 437358 h 3912503"/>
              <a:gd name="connsiteX4214" fmla="*/ 5254951 w 12192528"/>
              <a:gd name="connsiteY4214" fmla="*/ 437971 h 3912503"/>
              <a:gd name="connsiteX4215" fmla="*/ 5254951 w 12192528"/>
              <a:gd name="connsiteY4215" fmla="*/ 442467 h 3912503"/>
              <a:gd name="connsiteX4216" fmla="*/ 5275195 w 12192528"/>
              <a:gd name="connsiteY4216" fmla="*/ 448394 h 3912503"/>
              <a:gd name="connsiteX4217" fmla="*/ 5280102 w 12192528"/>
              <a:gd name="connsiteY4217" fmla="*/ 450234 h 3912503"/>
              <a:gd name="connsiteX4218" fmla="*/ 5288485 w 12192528"/>
              <a:gd name="connsiteY4218" fmla="*/ 460861 h 3912503"/>
              <a:gd name="connsiteX4219" fmla="*/ 5291553 w 12192528"/>
              <a:gd name="connsiteY4219" fmla="*/ 464540 h 3912503"/>
              <a:gd name="connsiteX4220" fmla="*/ 5295028 w 12192528"/>
              <a:gd name="connsiteY4220" fmla="*/ 478028 h 3912503"/>
              <a:gd name="connsiteX4221" fmla="*/ 5295437 w 12192528"/>
              <a:gd name="connsiteY4221" fmla="*/ 487635 h 3912503"/>
              <a:gd name="connsiteX4222" fmla="*/ 5299323 w 12192528"/>
              <a:gd name="connsiteY4222" fmla="*/ 494583 h 3912503"/>
              <a:gd name="connsiteX4223" fmla="*/ 5299936 w 12192528"/>
              <a:gd name="connsiteY4223" fmla="*/ 494583 h 3912503"/>
              <a:gd name="connsiteX4224" fmla="*/ 5303822 w 12192528"/>
              <a:gd name="connsiteY4224" fmla="*/ 497036 h 3912503"/>
              <a:gd name="connsiteX4225" fmla="*/ 5300959 w 12192528"/>
              <a:gd name="connsiteY4225" fmla="*/ 499284 h 3912503"/>
              <a:gd name="connsiteX4226" fmla="*/ 5292984 w 12192528"/>
              <a:gd name="connsiteY4226" fmla="*/ 515021 h 3912503"/>
              <a:gd name="connsiteX4227" fmla="*/ 5290529 w 12192528"/>
              <a:gd name="connsiteY4227" fmla="*/ 519927 h 3912503"/>
              <a:gd name="connsiteX4228" fmla="*/ 5286851 w 12192528"/>
              <a:gd name="connsiteY4228" fmla="*/ 521561 h 3912503"/>
              <a:gd name="connsiteX4229" fmla="*/ 5285010 w 12192528"/>
              <a:gd name="connsiteY4229" fmla="*/ 525444 h 3912503"/>
              <a:gd name="connsiteX4230" fmla="*/ 5285924 w 12192528"/>
              <a:gd name="connsiteY4230" fmla="*/ 526743 h 3912503"/>
              <a:gd name="connsiteX4231" fmla="*/ 5269943 w 12192528"/>
              <a:gd name="connsiteY4231" fmla="*/ 542638 h 3912503"/>
              <a:gd name="connsiteX4232" fmla="*/ 5270287 w 12192528"/>
              <a:gd name="connsiteY4232" fmla="*/ 539547 h 3912503"/>
              <a:gd name="connsiteX4233" fmla="*/ 5268853 w 12192528"/>
              <a:gd name="connsiteY4233" fmla="*/ 536072 h 3912503"/>
              <a:gd name="connsiteX4234" fmla="*/ 5265175 w 12192528"/>
              <a:gd name="connsiteY4234" fmla="*/ 537503 h 3912503"/>
              <a:gd name="connsiteX4235" fmla="*/ 5263946 w 12192528"/>
              <a:gd name="connsiteY4235" fmla="*/ 540159 h 3912503"/>
              <a:gd name="connsiteX4236" fmla="*/ 5257815 w 12192528"/>
              <a:gd name="connsiteY4236" fmla="*/ 541181 h 3912503"/>
              <a:gd name="connsiteX4237" fmla="*/ 5255155 w 12192528"/>
              <a:gd name="connsiteY4237" fmla="*/ 539343 h 3912503"/>
              <a:gd name="connsiteX4238" fmla="*/ 5253315 w 12192528"/>
              <a:gd name="connsiteY4238" fmla="*/ 542204 h 3912503"/>
              <a:gd name="connsiteX4239" fmla="*/ 5252700 w 12192528"/>
              <a:gd name="connsiteY4239" fmla="*/ 544656 h 3912503"/>
              <a:gd name="connsiteX4240" fmla="*/ 5250860 w 12192528"/>
              <a:gd name="connsiteY4240" fmla="*/ 547390 h 3912503"/>
              <a:gd name="connsiteX4241" fmla="*/ 5247793 w 12192528"/>
              <a:gd name="connsiteY4241" fmla="*/ 546291 h 3912503"/>
              <a:gd name="connsiteX4242" fmla="*/ 5241045 w 12192528"/>
              <a:gd name="connsiteY4242" fmla="*/ 540364 h 3912503"/>
              <a:gd name="connsiteX4243" fmla="*/ 5232047 w 12192528"/>
              <a:gd name="connsiteY4243" fmla="*/ 538320 h 3912503"/>
              <a:gd name="connsiteX4244" fmla="*/ 5226731 w 12192528"/>
              <a:gd name="connsiteY4244" fmla="*/ 536685 h 3912503"/>
              <a:gd name="connsiteX4245" fmla="*/ 5214259 w 12192528"/>
              <a:gd name="connsiteY4245" fmla="*/ 530758 h 3912503"/>
              <a:gd name="connsiteX4246" fmla="*/ 5212214 w 12192528"/>
              <a:gd name="connsiteY4246" fmla="*/ 529123 h 3912503"/>
              <a:gd name="connsiteX4247" fmla="*/ 5201377 w 12192528"/>
              <a:gd name="connsiteY4247" fmla="*/ 502758 h 3912503"/>
              <a:gd name="connsiteX4248" fmla="*/ 5201172 w 12192528"/>
              <a:gd name="connsiteY4248" fmla="*/ 497853 h 3912503"/>
              <a:gd name="connsiteX4249" fmla="*/ 5204034 w 12192528"/>
              <a:gd name="connsiteY4249" fmla="*/ 485999 h 3912503"/>
              <a:gd name="connsiteX4250" fmla="*/ 5205671 w 12192528"/>
              <a:gd name="connsiteY4250" fmla="*/ 475781 h 3912503"/>
              <a:gd name="connsiteX4251" fmla="*/ 5207307 w 12192528"/>
              <a:gd name="connsiteY4251" fmla="*/ 472511 h 3912503"/>
              <a:gd name="connsiteX4252" fmla="*/ 5219370 w 12192528"/>
              <a:gd name="connsiteY4252" fmla="*/ 458205 h 3912503"/>
              <a:gd name="connsiteX4253" fmla="*/ 5220597 w 12192528"/>
              <a:gd name="connsiteY4253" fmla="*/ 455956 h 3912503"/>
              <a:gd name="connsiteX4254" fmla="*/ 5212010 w 12192528"/>
              <a:gd name="connsiteY4254" fmla="*/ 444715 h 3912503"/>
              <a:gd name="connsiteX4255" fmla="*/ 5200559 w 12192528"/>
              <a:gd name="connsiteY4255" fmla="*/ 437971 h 3912503"/>
              <a:gd name="connsiteX4256" fmla="*/ 5188495 w 12192528"/>
              <a:gd name="connsiteY4256" fmla="*/ 424073 h 3912503"/>
              <a:gd name="connsiteX4257" fmla="*/ 5188698 w 12192528"/>
              <a:gd name="connsiteY4257" fmla="*/ 421007 h 3912503"/>
              <a:gd name="connsiteX4258" fmla="*/ 5187879 w 12192528"/>
              <a:gd name="connsiteY4258" fmla="*/ 413445 h 3912503"/>
              <a:gd name="connsiteX4259" fmla="*/ 5187267 w 12192528"/>
              <a:gd name="connsiteY4259" fmla="*/ 404452 h 3912503"/>
              <a:gd name="connsiteX4260" fmla="*/ 5189925 w 12192528"/>
              <a:gd name="connsiteY4260" fmla="*/ 398117 h 3912503"/>
              <a:gd name="connsiteX4261" fmla="*/ 5195447 w 12192528"/>
              <a:gd name="connsiteY4261" fmla="*/ 379723 h 3912503"/>
              <a:gd name="connsiteX4262" fmla="*/ 5204444 w 12192528"/>
              <a:gd name="connsiteY4262" fmla="*/ 368891 h 3912503"/>
              <a:gd name="connsiteX4263" fmla="*/ 5206487 w 12192528"/>
              <a:gd name="connsiteY4263" fmla="*/ 367460 h 3912503"/>
              <a:gd name="connsiteX4264" fmla="*/ 5217121 w 12192528"/>
              <a:gd name="connsiteY4264" fmla="*/ 362555 h 3912503"/>
              <a:gd name="connsiteX4265" fmla="*/ 5220801 w 12192528"/>
              <a:gd name="connsiteY4265" fmla="*/ 360716 h 3912503"/>
              <a:gd name="connsiteX4266" fmla="*/ 8035907 w 12192528"/>
              <a:gd name="connsiteY4266" fmla="*/ 359979 h 3912503"/>
              <a:gd name="connsiteX4267" fmla="*/ 8047622 w 12192528"/>
              <a:gd name="connsiteY4267" fmla="*/ 370863 h 3912503"/>
              <a:gd name="connsiteX4268" fmla="*/ 8049964 w 12192528"/>
              <a:gd name="connsiteY4268" fmla="*/ 375139 h 3912503"/>
              <a:gd name="connsiteX4269" fmla="*/ 8057382 w 12192528"/>
              <a:gd name="connsiteY4269" fmla="*/ 384469 h 3912503"/>
              <a:gd name="connsiteX4270" fmla="*/ 8063241 w 12192528"/>
              <a:gd name="connsiteY4270" fmla="*/ 387967 h 3912503"/>
              <a:gd name="connsiteX4271" fmla="*/ 8068708 w 12192528"/>
              <a:gd name="connsiteY4271" fmla="*/ 403516 h 3912503"/>
              <a:gd name="connsiteX4272" fmla="*/ 8065194 w 12192528"/>
              <a:gd name="connsiteY4272" fmla="*/ 416733 h 3912503"/>
              <a:gd name="connsiteX4273" fmla="*/ 8054258 w 12192528"/>
              <a:gd name="connsiteY4273" fmla="*/ 425285 h 3912503"/>
              <a:gd name="connsiteX4274" fmla="*/ 8053089 w 12192528"/>
              <a:gd name="connsiteY4274" fmla="*/ 426840 h 3912503"/>
              <a:gd name="connsiteX4275" fmla="*/ 8045280 w 12192528"/>
              <a:gd name="connsiteY4275" fmla="*/ 426840 h 3912503"/>
              <a:gd name="connsiteX4276" fmla="*/ 8036690 w 12192528"/>
              <a:gd name="connsiteY4276" fmla="*/ 422564 h 3912503"/>
              <a:gd name="connsiteX4277" fmla="*/ 8030831 w 12192528"/>
              <a:gd name="connsiteY4277" fmla="*/ 415566 h 3912503"/>
              <a:gd name="connsiteX4278" fmla="*/ 8026537 w 12192528"/>
              <a:gd name="connsiteY4278" fmla="*/ 405071 h 3912503"/>
              <a:gd name="connsiteX4279" fmla="*/ 8021067 w 12192528"/>
              <a:gd name="connsiteY4279" fmla="*/ 394964 h 3912503"/>
              <a:gd name="connsiteX4280" fmla="*/ 8012479 w 12192528"/>
              <a:gd name="connsiteY4280" fmla="*/ 386413 h 3912503"/>
              <a:gd name="connsiteX4281" fmla="*/ 8012479 w 12192528"/>
              <a:gd name="connsiteY4281" fmla="*/ 372418 h 3912503"/>
              <a:gd name="connsiteX4282" fmla="*/ 8017162 w 12192528"/>
              <a:gd name="connsiteY4282" fmla="*/ 366976 h 3912503"/>
              <a:gd name="connsiteX4283" fmla="*/ 8025756 w 12192528"/>
              <a:gd name="connsiteY4283" fmla="*/ 361534 h 3912503"/>
              <a:gd name="connsiteX4284" fmla="*/ 8035907 w 12192528"/>
              <a:gd name="connsiteY4284" fmla="*/ 359979 h 3912503"/>
              <a:gd name="connsiteX4285" fmla="*/ 4470161 w 12192528"/>
              <a:gd name="connsiteY4285" fmla="*/ 359479 h 3912503"/>
              <a:gd name="connsiteX4286" fmla="*/ 4478815 w 12192528"/>
              <a:gd name="connsiteY4286" fmla="*/ 363763 h 3912503"/>
              <a:gd name="connsiteX4287" fmla="*/ 4483716 w 12192528"/>
              <a:gd name="connsiteY4287" fmla="*/ 366355 h 3912503"/>
              <a:gd name="connsiteX4288" fmla="*/ 4489194 w 12192528"/>
              <a:gd name="connsiteY4288" fmla="*/ 370963 h 3912503"/>
              <a:gd name="connsiteX4289" fmla="*/ 4492655 w 12192528"/>
              <a:gd name="connsiteY4289" fmla="*/ 375572 h 3912503"/>
              <a:gd name="connsiteX4290" fmla="*/ 4496693 w 12192528"/>
              <a:gd name="connsiteY4290" fmla="*/ 388245 h 3912503"/>
              <a:gd name="connsiteX4291" fmla="*/ 4499578 w 12192528"/>
              <a:gd name="connsiteY4291" fmla="*/ 396021 h 3912503"/>
              <a:gd name="connsiteX4292" fmla="*/ 4499578 w 12192528"/>
              <a:gd name="connsiteY4292" fmla="*/ 399478 h 3912503"/>
              <a:gd name="connsiteX4293" fmla="*/ 4496116 w 12192528"/>
              <a:gd name="connsiteY4293" fmla="*/ 406390 h 3912503"/>
              <a:gd name="connsiteX4294" fmla="*/ 4488332 w 12192528"/>
              <a:gd name="connsiteY4294" fmla="*/ 416759 h 3912503"/>
              <a:gd name="connsiteX4295" fmla="*/ 4486310 w 12192528"/>
              <a:gd name="connsiteY4295" fmla="*/ 420792 h 3912503"/>
              <a:gd name="connsiteX4296" fmla="*/ 4482851 w 12192528"/>
              <a:gd name="connsiteY4296" fmla="*/ 422232 h 3912503"/>
              <a:gd name="connsiteX4297" fmla="*/ 4476216 w 12192528"/>
              <a:gd name="connsiteY4297" fmla="*/ 424247 h 3912503"/>
              <a:gd name="connsiteX4298" fmla="*/ 4473910 w 12192528"/>
              <a:gd name="connsiteY4298" fmla="*/ 425400 h 3912503"/>
              <a:gd name="connsiteX4299" fmla="*/ 4464683 w 12192528"/>
              <a:gd name="connsiteY4299" fmla="*/ 426552 h 3912503"/>
              <a:gd name="connsiteX4300" fmla="*/ 4462661 w 12192528"/>
              <a:gd name="connsiteY4300" fmla="*/ 427128 h 3912503"/>
              <a:gd name="connsiteX4301" fmla="*/ 4442187 w 12192528"/>
              <a:gd name="connsiteY4301" fmla="*/ 414167 h 3912503"/>
              <a:gd name="connsiteX4302" fmla="*/ 4435842 w 12192528"/>
              <a:gd name="connsiteY4302" fmla="*/ 402358 h 3912503"/>
              <a:gd name="connsiteX4303" fmla="*/ 4433825 w 12192528"/>
              <a:gd name="connsiteY4303" fmla="*/ 397462 h 3912503"/>
              <a:gd name="connsiteX4304" fmla="*/ 4433536 w 12192528"/>
              <a:gd name="connsiteY4304" fmla="*/ 392565 h 3912503"/>
              <a:gd name="connsiteX4305" fmla="*/ 4434399 w 12192528"/>
              <a:gd name="connsiteY4305" fmla="*/ 388821 h 3912503"/>
              <a:gd name="connsiteX4306" fmla="*/ 4435842 w 12192528"/>
              <a:gd name="connsiteY4306" fmla="*/ 381044 h 3912503"/>
              <a:gd name="connsiteX4307" fmla="*/ 4436130 w 12192528"/>
              <a:gd name="connsiteY4307" fmla="*/ 378164 h 3912503"/>
              <a:gd name="connsiteX4308" fmla="*/ 4436997 w 12192528"/>
              <a:gd name="connsiteY4308" fmla="*/ 371252 h 3912503"/>
              <a:gd name="connsiteX4309" fmla="*/ 4451414 w 12192528"/>
              <a:gd name="connsiteY4309" fmla="*/ 360019 h 3912503"/>
              <a:gd name="connsiteX4310" fmla="*/ 4460643 w 12192528"/>
              <a:gd name="connsiteY4310" fmla="*/ 359730 h 3912503"/>
              <a:gd name="connsiteX4311" fmla="*/ 4470161 w 12192528"/>
              <a:gd name="connsiteY4311" fmla="*/ 359479 h 3912503"/>
              <a:gd name="connsiteX4312" fmla="*/ 5732626 w 12192528"/>
              <a:gd name="connsiteY4312" fmla="*/ 355434 h 3912503"/>
              <a:gd name="connsiteX4313" fmla="*/ 5740676 w 12192528"/>
              <a:gd name="connsiteY4313" fmla="*/ 359421 h 3912503"/>
              <a:gd name="connsiteX4314" fmla="*/ 5745238 w 12192528"/>
              <a:gd name="connsiteY4314" fmla="*/ 361832 h 3912503"/>
              <a:gd name="connsiteX4315" fmla="*/ 5750337 w 12192528"/>
              <a:gd name="connsiteY4315" fmla="*/ 366121 h 3912503"/>
              <a:gd name="connsiteX4316" fmla="*/ 5753559 w 12192528"/>
              <a:gd name="connsiteY4316" fmla="*/ 370410 h 3912503"/>
              <a:gd name="connsiteX4317" fmla="*/ 5757316 w 12192528"/>
              <a:gd name="connsiteY4317" fmla="*/ 382203 h 3912503"/>
              <a:gd name="connsiteX4318" fmla="*/ 5760000 w 12192528"/>
              <a:gd name="connsiteY4318" fmla="*/ 389440 h 3912503"/>
              <a:gd name="connsiteX4319" fmla="*/ 5760000 w 12192528"/>
              <a:gd name="connsiteY4319" fmla="*/ 392656 h 3912503"/>
              <a:gd name="connsiteX4320" fmla="*/ 5756778 w 12192528"/>
              <a:gd name="connsiteY4320" fmla="*/ 399089 h 3912503"/>
              <a:gd name="connsiteX4321" fmla="*/ 5749532 w 12192528"/>
              <a:gd name="connsiteY4321" fmla="*/ 408738 h 3912503"/>
              <a:gd name="connsiteX4322" fmla="*/ 5747654 w 12192528"/>
              <a:gd name="connsiteY4322" fmla="*/ 412490 h 3912503"/>
              <a:gd name="connsiteX4323" fmla="*/ 5744435 w 12192528"/>
              <a:gd name="connsiteY4323" fmla="*/ 413830 h 3912503"/>
              <a:gd name="connsiteX4324" fmla="*/ 5738261 w 12192528"/>
              <a:gd name="connsiteY4324" fmla="*/ 415706 h 3912503"/>
              <a:gd name="connsiteX4325" fmla="*/ 5736113 w 12192528"/>
              <a:gd name="connsiteY4325" fmla="*/ 416778 h 3912503"/>
              <a:gd name="connsiteX4326" fmla="*/ 5727528 w 12192528"/>
              <a:gd name="connsiteY4326" fmla="*/ 417851 h 3912503"/>
              <a:gd name="connsiteX4327" fmla="*/ 5725646 w 12192528"/>
              <a:gd name="connsiteY4327" fmla="*/ 418387 h 3912503"/>
              <a:gd name="connsiteX4328" fmla="*/ 5706593 w 12192528"/>
              <a:gd name="connsiteY4328" fmla="*/ 406325 h 3912503"/>
              <a:gd name="connsiteX4329" fmla="*/ 5700688 w 12192528"/>
              <a:gd name="connsiteY4329" fmla="*/ 395336 h 3912503"/>
              <a:gd name="connsiteX4330" fmla="*/ 5698810 w 12192528"/>
              <a:gd name="connsiteY4330" fmla="*/ 390780 h 3912503"/>
              <a:gd name="connsiteX4331" fmla="*/ 5698543 w 12192528"/>
              <a:gd name="connsiteY4331" fmla="*/ 386223 h 3912503"/>
              <a:gd name="connsiteX4332" fmla="*/ 5699347 w 12192528"/>
              <a:gd name="connsiteY4332" fmla="*/ 382739 h 3912503"/>
              <a:gd name="connsiteX4333" fmla="*/ 5700688 w 12192528"/>
              <a:gd name="connsiteY4333" fmla="*/ 375502 h 3912503"/>
              <a:gd name="connsiteX4334" fmla="*/ 5700958 w 12192528"/>
              <a:gd name="connsiteY4334" fmla="*/ 372821 h 3912503"/>
              <a:gd name="connsiteX4335" fmla="*/ 5701762 w 12192528"/>
              <a:gd name="connsiteY4335" fmla="*/ 366389 h 3912503"/>
              <a:gd name="connsiteX4336" fmla="*/ 5715181 w 12192528"/>
              <a:gd name="connsiteY4336" fmla="*/ 355936 h 3912503"/>
              <a:gd name="connsiteX4337" fmla="*/ 5723770 w 12192528"/>
              <a:gd name="connsiteY4337" fmla="*/ 355669 h 3912503"/>
              <a:gd name="connsiteX4338" fmla="*/ 5732626 w 12192528"/>
              <a:gd name="connsiteY4338" fmla="*/ 355434 h 3912503"/>
              <a:gd name="connsiteX4339" fmla="*/ 2269712 w 12192528"/>
              <a:gd name="connsiteY4339" fmla="*/ 349840 h 3912503"/>
              <a:gd name="connsiteX4340" fmla="*/ 2275524 w 12192528"/>
              <a:gd name="connsiteY4340" fmla="*/ 351279 h 3912503"/>
              <a:gd name="connsiteX4341" fmla="*/ 2296099 w 12192528"/>
              <a:gd name="connsiteY4341" fmla="*/ 367304 h 3912503"/>
              <a:gd name="connsiteX4342" fmla="*/ 2297333 w 12192528"/>
              <a:gd name="connsiteY4342" fmla="*/ 377168 h 3912503"/>
              <a:gd name="connsiteX4343" fmla="*/ 2297744 w 12192528"/>
              <a:gd name="connsiteY4343" fmla="*/ 381277 h 3912503"/>
              <a:gd name="connsiteX4344" fmla="*/ 2299801 w 12192528"/>
              <a:gd name="connsiteY4344" fmla="*/ 392373 h 3912503"/>
              <a:gd name="connsiteX4345" fmla="*/ 2301036 w 12192528"/>
              <a:gd name="connsiteY4345" fmla="*/ 397716 h 3912503"/>
              <a:gd name="connsiteX4346" fmla="*/ 2300624 w 12192528"/>
              <a:gd name="connsiteY4346" fmla="*/ 404702 h 3912503"/>
              <a:gd name="connsiteX4347" fmla="*/ 2297744 w 12192528"/>
              <a:gd name="connsiteY4347" fmla="*/ 411688 h 3912503"/>
              <a:gd name="connsiteX4348" fmla="*/ 2288692 w 12192528"/>
              <a:gd name="connsiteY4348" fmla="*/ 428537 h 3912503"/>
              <a:gd name="connsiteX4349" fmla="*/ 2259477 w 12192528"/>
              <a:gd name="connsiteY4349" fmla="*/ 447029 h 3912503"/>
              <a:gd name="connsiteX4350" fmla="*/ 2256597 w 12192528"/>
              <a:gd name="connsiteY4350" fmla="*/ 446207 h 3912503"/>
              <a:gd name="connsiteX4351" fmla="*/ 2243429 w 12192528"/>
              <a:gd name="connsiteY4351" fmla="*/ 444563 h 3912503"/>
              <a:gd name="connsiteX4352" fmla="*/ 2240138 w 12192528"/>
              <a:gd name="connsiteY4352" fmla="*/ 442920 h 3912503"/>
              <a:gd name="connsiteX4353" fmla="*/ 2230673 w 12192528"/>
              <a:gd name="connsiteY4353" fmla="*/ 440043 h 3912503"/>
              <a:gd name="connsiteX4354" fmla="*/ 2225736 w 12192528"/>
              <a:gd name="connsiteY4354" fmla="*/ 437989 h 3912503"/>
              <a:gd name="connsiteX4355" fmla="*/ 2222855 w 12192528"/>
              <a:gd name="connsiteY4355" fmla="*/ 432235 h 3912503"/>
              <a:gd name="connsiteX4356" fmla="*/ 2211747 w 12192528"/>
              <a:gd name="connsiteY4356" fmla="*/ 417440 h 3912503"/>
              <a:gd name="connsiteX4357" fmla="*/ 2206808 w 12192528"/>
              <a:gd name="connsiteY4357" fmla="*/ 407577 h 3912503"/>
              <a:gd name="connsiteX4358" fmla="*/ 2206808 w 12192528"/>
              <a:gd name="connsiteY4358" fmla="*/ 402648 h 3912503"/>
              <a:gd name="connsiteX4359" fmla="*/ 2210923 w 12192528"/>
              <a:gd name="connsiteY4359" fmla="*/ 391552 h 3912503"/>
              <a:gd name="connsiteX4360" fmla="*/ 2216684 w 12192528"/>
              <a:gd name="connsiteY4360" fmla="*/ 373470 h 3912503"/>
              <a:gd name="connsiteX4361" fmla="*/ 2221621 w 12192528"/>
              <a:gd name="connsiteY4361" fmla="*/ 366894 h 3912503"/>
              <a:gd name="connsiteX4362" fmla="*/ 2229439 w 12192528"/>
              <a:gd name="connsiteY4362" fmla="*/ 360319 h 3912503"/>
              <a:gd name="connsiteX4363" fmla="*/ 2236435 w 12192528"/>
              <a:gd name="connsiteY4363" fmla="*/ 356621 h 3912503"/>
              <a:gd name="connsiteX4364" fmla="*/ 2248779 w 12192528"/>
              <a:gd name="connsiteY4364" fmla="*/ 350508 h 3912503"/>
              <a:gd name="connsiteX4365" fmla="*/ 2262357 w 12192528"/>
              <a:gd name="connsiteY4365" fmla="*/ 350868 h 3912503"/>
              <a:gd name="connsiteX4366" fmla="*/ 2269712 w 12192528"/>
              <a:gd name="connsiteY4366" fmla="*/ 349840 h 3912503"/>
              <a:gd name="connsiteX4367" fmla="*/ 4750901 w 12192528"/>
              <a:gd name="connsiteY4367" fmla="*/ 309773 h 3912503"/>
              <a:gd name="connsiteX4368" fmla="*/ 4767396 w 12192528"/>
              <a:gd name="connsiteY4368" fmla="*/ 325101 h 3912503"/>
              <a:gd name="connsiteX4369" fmla="*/ 4770696 w 12192528"/>
              <a:gd name="connsiteY4369" fmla="*/ 331122 h 3912503"/>
              <a:gd name="connsiteX4370" fmla="*/ 4781143 w 12192528"/>
              <a:gd name="connsiteY4370" fmla="*/ 344260 h 3912503"/>
              <a:gd name="connsiteX4371" fmla="*/ 4789392 w 12192528"/>
              <a:gd name="connsiteY4371" fmla="*/ 349187 h 3912503"/>
              <a:gd name="connsiteX4372" fmla="*/ 4797092 w 12192528"/>
              <a:gd name="connsiteY4372" fmla="*/ 371083 h 3912503"/>
              <a:gd name="connsiteX4373" fmla="*/ 4792140 w 12192528"/>
              <a:gd name="connsiteY4373" fmla="*/ 389695 h 3912503"/>
              <a:gd name="connsiteX4374" fmla="*/ 4776745 w 12192528"/>
              <a:gd name="connsiteY4374" fmla="*/ 401738 h 3912503"/>
              <a:gd name="connsiteX4375" fmla="*/ 4775094 w 12192528"/>
              <a:gd name="connsiteY4375" fmla="*/ 403927 h 3912503"/>
              <a:gd name="connsiteX4376" fmla="*/ 4764096 w 12192528"/>
              <a:gd name="connsiteY4376" fmla="*/ 403927 h 3912503"/>
              <a:gd name="connsiteX4377" fmla="*/ 4751999 w 12192528"/>
              <a:gd name="connsiteY4377" fmla="*/ 397906 h 3912503"/>
              <a:gd name="connsiteX4378" fmla="*/ 4743752 w 12192528"/>
              <a:gd name="connsiteY4378" fmla="*/ 388052 h 3912503"/>
              <a:gd name="connsiteX4379" fmla="*/ 4737703 w 12192528"/>
              <a:gd name="connsiteY4379" fmla="*/ 373273 h 3912503"/>
              <a:gd name="connsiteX4380" fmla="*/ 4730004 w 12192528"/>
              <a:gd name="connsiteY4380" fmla="*/ 359040 h 3912503"/>
              <a:gd name="connsiteX4381" fmla="*/ 4717908 w 12192528"/>
              <a:gd name="connsiteY4381" fmla="*/ 346997 h 3912503"/>
              <a:gd name="connsiteX4382" fmla="*/ 4717908 w 12192528"/>
              <a:gd name="connsiteY4382" fmla="*/ 327290 h 3912503"/>
              <a:gd name="connsiteX4383" fmla="*/ 4724508 w 12192528"/>
              <a:gd name="connsiteY4383" fmla="*/ 319627 h 3912503"/>
              <a:gd name="connsiteX4384" fmla="*/ 4736603 w 12192528"/>
              <a:gd name="connsiteY4384" fmla="*/ 311963 h 3912503"/>
              <a:gd name="connsiteX4385" fmla="*/ 4750901 w 12192528"/>
              <a:gd name="connsiteY4385" fmla="*/ 309773 h 3912503"/>
              <a:gd name="connsiteX4386" fmla="*/ 4083241 w 12192528"/>
              <a:gd name="connsiteY4386" fmla="*/ 307979 h 3912503"/>
              <a:gd name="connsiteX4387" fmla="*/ 4097537 w 12192528"/>
              <a:gd name="connsiteY4387" fmla="*/ 310169 h 3912503"/>
              <a:gd name="connsiteX4388" fmla="*/ 4109635 w 12192528"/>
              <a:gd name="connsiteY4388" fmla="*/ 317833 h 3912503"/>
              <a:gd name="connsiteX4389" fmla="*/ 4116234 w 12192528"/>
              <a:gd name="connsiteY4389" fmla="*/ 325496 h 3912503"/>
              <a:gd name="connsiteX4390" fmla="*/ 4116234 w 12192528"/>
              <a:gd name="connsiteY4390" fmla="*/ 345203 h 3912503"/>
              <a:gd name="connsiteX4391" fmla="*/ 4104136 w 12192528"/>
              <a:gd name="connsiteY4391" fmla="*/ 357246 h 3912503"/>
              <a:gd name="connsiteX4392" fmla="*/ 4096437 w 12192528"/>
              <a:gd name="connsiteY4392" fmla="*/ 371479 h 3912503"/>
              <a:gd name="connsiteX4393" fmla="*/ 4090390 w 12192528"/>
              <a:gd name="connsiteY4393" fmla="*/ 386258 h 3912503"/>
              <a:gd name="connsiteX4394" fmla="*/ 4082141 w 12192528"/>
              <a:gd name="connsiteY4394" fmla="*/ 396112 h 3912503"/>
              <a:gd name="connsiteX4395" fmla="*/ 4070043 w 12192528"/>
              <a:gd name="connsiteY4395" fmla="*/ 402133 h 3912503"/>
              <a:gd name="connsiteX4396" fmla="*/ 4059046 w 12192528"/>
              <a:gd name="connsiteY4396" fmla="*/ 402133 h 3912503"/>
              <a:gd name="connsiteX4397" fmla="*/ 4057397 w 12192528"/>
              <a:gd name="connsiteY4397" fmla="*/ 399944 h 3912503"/>
              <a:gd name="connsiteX4398" fmla="*/ 4042001 w 12192528"/>
              <a:gd name="connsiteY4398" fmla="*/ 387901 h 3912503"/>
              <a:gd name="connsiteX4399" fmla="*/ 4037052 w 12192528"/>
              <a:gd name="connsiteY4399" fmla="*/ 369289 h 3912503"/>
              <a:gd name="connsiteX4400" fmla="*/ 4044749 w 12192528"/>
              <a:gd name="connsiteY4400" fmla="*/ 347393 h 3912503"/>
              <a:gd name="connsiteX4401" fmla="*/ 4052998 w 12192528"/>
              <a:gd name="connsiteY4401" fmla="*/ 342466 h 3912503"/>
              <a:gd name="connsiteX4402" fmla="*/ 4063446 w 12192528"/>
              <a:gd name="connsiteY4402" fmla="*/ 329328 h 3912503"/>
              <a:gd name="connsiteX4403" fmla="*/ 4066745 w 12192528"/>
              <a:gd name="connsiteY4403" fmla="*/ 323306 h 3912503"/>
              <a:gd name="connsiteX4404" fmla="*/ 4083241 w 12192528"/>
              <a:gd name="connsiteY4404" fmla="*/ 307979 h 3912503"/>
              <a:gd name="connsiteX4405" fmla="*/ 10833001 w 12192528"/>
              <a:gd name="connsiteY4405" fmla="*/ 305092 h 3912503"/>
              <a:gd name="connsiteX4406" fmla="*/ 10848358 w 12192528"/>
              <a:gd name="connsiteY4406" fmla="*/ 308892 h 3912503"/>
              <a:gd name="connsiteX4407" fmla="*/ 10902712 w 12192528"/>
              <a:gd name="connsiteY4407" fmla="*/ 351235 h 3912503"/>
              <a:gd name="connsiteX4408" fmla="*/ 10905974 w 12192528"/>
              <a:gd name="connsiteY4408" fmla="*/ 377294 h 3912503"/>
              <a:gd name="connsiteX4409" fmla="*/ 10907062 w 12192528"/>
              <a:gd name="connsiteY4409" fmla="*/ 388151 h 3912503"/>
              <a:gd name="connsiteX4410" fmla="*/ 10912497 w 12192528"/>
              <a:gd name="connsiteY4410" fmla="*/ 417465 h 3912503"/>
              <a:gd name="connsiteX4411" fmla="*/ 10915758 w 12192528"/>
              <a:gd name="connsiteY4411" fmla="*/ 431580 h 3912503"/>
              <a:gd name="connsiteX4412" fmla="*/ 10914670 w 12192528"/>
              <a:gd name="connsiteY4412" fmla="*/ 450037 h 3912503"/>
              <a:gd name="connsiteX4413" fmla="*/ 10907062 w 12192528"/>
              <a:gd name="connsiteY4413" fmla="*/ 468495 h 3912503"/>
              <a:gd name="connsiteX4414" fmla="*/ 10904160 w 12192528"/>
              <a:gd name="connsiteY4414" fmla="*/ 476276 h 3912503"/>
              <a:gd name="connsiteX4415" fmla="*/ 10909369 w 12192528"/>
              <a:gd name="connsiteY4415" fmla="*/ 475478 h 3912503"/>
              <a:gd name="connsiteX4416" fmla="*/ 10921086 w 12192528"/>
              <a:gd name="connsiteY4416" fmla="*/ 486362 h 3912503"/>
              <a:gd name="connsiteX4417" fmla="*/ 10923427 w 12192528"/>
              <a:gd name="connsiteY4417" fmla="*/ 490638 h 3912503"/>
              <a:gd name="connsiteX4418" fmla="*/ 10930846 w 12192528"/>
              <a:gd name="connsiteY4418" fmla="*/ 499967 h 3912503"/>
              <a:gd name="connsiteX4419" fmla="*/ 10936705 w 12192528"/>
              <a:gd name="connsiteY4419" fmla="*/ 503466 h 3912503"/>
              <a:gd name="connsiteX4420" fmla="*/ 10942170 w 12192528"/>
              <a:gd name="connsiteY4420" fmla="*/ 519015 h 3912503"/>
              <a:gd name="connsiteX4421" fmla="*/ 10938655 w 12192528"/>
              <a:gd name="connsiteY4421" fmla="*/ 532231 h 3912503"/>
              <a:gd name="connsiteX4422" fmla="*/ 10927723 w 12192528"/>
              <a:gd name="connsiteY4422" fmla="*/ 540783 h 3912503"/>
              <a:gd name="connsiteX4423" fmla="*/ 10926551 w 12192528"/>
              <a:gd name="connsiteY4423" fmla="*/ 542338 h 3912503"/>
              <a:gd name="connsiteX4424" fmla="*/ 10918742 w 12192528"/>
              <a:gd name="connsiteY4424" fmla="*/ 542338 h 3912503"/>
              <a:gd name="connsiteX4425" fmla="*/ 10910151 w 12192528"/>
              <a:gd name="connsiteY4425" fmla="*/ 538062 h 3912503"/>
              <a:gd name="connsiteX4426" fmla="*/ 10904294 w 12192528"/>
              <a:gd name="connsiteY4426" fmla="*/ 531065 h 3912503"/>
              <a:gd name="connsiteX4427" fmla="*/ 10899998 w 12192528"/>
              <a:gd name="connsiteY4427" fmla="*/ 520569 h 3912503"/>
              <a:gd name="connsiteX4428" fmla="*/ 10894532 w 12192528"/>
              <a:gd name="connsiteY4428" fmla="*/ 510462 h 3912503"/>
              <a:gd name="connsiteX4429" fmla="*/ 10889142 w 12192528"/>
              <a:gd name="connsiteY4429" fmla="*/ 505098 h 3912503"/>
              <a:gd name="connsiteX4430" fmla="*/ 10883145 w 12192528"/>
              <a:gd name="connsiteY4430" fmla="*/ 513010 h 3912503"/>
              <a:gd name="connsiteX4431" fmla="*/ 10805956 w 12192528"/>
              <a:gd name="connsiteY4431" fmla="*/ 561868 h 3912503"/>
              <a:gd name="connsiteX4432" fmla="*/ 10798346 w 12192528"/>
              <a:gd name="connsiteY4432" fmla="*/ 559696 h 3912503"/>
              <a:gd name="connsiteX4433" fmla="*/ 10763558 w 12192528"/>
              <a:gd name="connsiteY4433" fmla="*/ 555353 h 3912503"/>
              <a:gd name="connsiteX4434" fmla="*/ 10754863 w 12192528"/>
              <a:gd name="connsiteY4434" fmla="*/ 551011 h 3912503"/>
              <a:gd name="connsiteX4435" fmla="*/ 10729857 w 12192528"/>
              <a:gd name="connsiteY4435" fmla="*/ 543410 h 3912503"/>
              <a:gd name="connsiteX4436" fmla="*/ 10716812 w 12192528"/>
              <a:gd name="connsiteY4436" fmla="*/ 537981 h 3912503"/>
              <a:gd name="connsiteX4437" fmla="*/ 10709202 w 12192528"/>
              <a:gd name="connsiteY4437" fmla="*/ 522781 h 3912503"/>
              <a:gd name="connsiteX4438" fmla="*/ 10679850 w 12192528"/>
              <a:gd name="connsiteY4438" fmla="*/ 483694 h 3912503"/>
              <a:gd name="connsiteX4439" fmla="*/ 10666805 w 12192528"/>
              <a:gd name="connsiteY4439" fmla="*/ 457637 h 3912503"/>
              <a:gd name="connsiteX4440" fmla="*/ 10666805 w 12192528"/>
              <a:gd name="connsiteY4440" fmla="*/ 444609 h 3912503"/>
              <a:gd name="connsiteX4441" fmla="*/ 10677677 w 12192528"/>
              <a:gd name="connsiteY4441" fmla="*/ 415294 h 3912503"/>
              <a:gd name="connsiteX4442" fmla="*/ 10692895 w 12192528"/>
              <a:gd name="connsiteY4442" fmla="*/ 367521 h 3912503"/>
              <a:gd name="connsiteX4443" fmla="*/ 10705940 w 12192528"/>
              <a:gd name="connsiteY4443" fmla="*/ 350150 h 3912503"/>
              <a:gd name="connsiteX4444" fmla="*/ 10726596 w 12192528"/>
              <a:gd name="connsiteY4444" fmla="*/ 332778 h 3912503"/>
              <a:gd name="connsiteX4445" fmla="*/ 10745078 w 12192528"/>
              <a:gd name="connsiteY4445" fmla="*/ 323007 h 3912503"/>
              <a:gd name="connsiteX4446" fmla="*/ 10813569 w 12192528"/>
              <a:gd name="connsiteY4446" fmla="*/ 307807 h 3912503"/>
              <a:gd name="connsiteX4447" fmla="*/ 10833001 w 12192528"/>
              <a:gd name="connsiteY4447" fmla="*/ 305092 h 3912503"/>
              <a:gd name="connsiteX4448" fmla="*/ 9079830 w 12192528"/>
              <a:gd name="connsiteY4448" fmla="*/ 266277 h 3912503"/>
              <a:gd name="connsiteX4449" fmla="*/ 9092580 w 12192528"/>
              <a:gd name="connsiteY4449" fmla="*/ 266615 h 3912503"/>
              <a:gd name="connsiteX4450" fmla="*/ 9104944 w 12192528"/>
              <a:gd name="connsiteY4450" fmla="*/ 267001 h 3912503"/>
              <a:gd name="connsiteX4451" fmla="*/ 9124263 w 12192528"/>
              <a:gd name="connsiteY4451" fmla="*/ 282050 h 3912503"/>
              <a:gd name="connsiteX4452" fmla="*/ 9125421 w 12192528"/>
              <a:gd name="connsiteY4452" fmla="*/ 291311 h 3912503"/>
              <a:gd name="connsiteX4453" fmla="*/ 9125807 w 12192528"/>
              <a:gd name="connsiteY4453" fmla="*/ 295170 h 3912503"/>
              <a:gd name="connsiteX4454" fmla="*/ 9127740 w 12192528"/>
              <a:gd name="connsiteY4454" fmla="*/ 305588 h 3912503"/>
              <a:gd name="connsiteX4455" fmla="*/ 9128898 w 12192528"/>
              <a:gd name="connsiteY4455" fmla="*/ 310605 h 3912503"/>
              <a:gd name="connsiteX4456" fmla="*/ 9128509 w 12192528"/>
              <a:gd name="connsiteY4456" fmla="*/ 317165 h 3912503"/>
              <a:gd name="connsiteX4457" fmla="*/ 9125807 w 12192528"/>
              <a:gd name="connsiteY4457" fmla="*/ 323725 h 3912503"/>
              <a:gd name="connsiteX4458" fmla="*/ 9117309 w 12192528"/>
              <a:gd name="connsiteY4458" fmla="*/ 339545 h 3912503"/>
              <a:gd name="connsiteX4459" fmla="*/ 9089875 w 12192528"/>
              <a:gd name="connsiteY4459" fmla="*/ 356910 h 3912503"/>
              <a:gd name="connsiteX4460" fmla="*/ 9087170 w 12192528"/>
              <a:gd name="connsiteY4460" fmla="*/ 356139 h 3912503"/>
              <a:gd name="connsiteX4461" fmla="*/ 9074808 w 12192528"/>
              <a:gd name="connsiteY4461" fmla="*/ 354595 h 3912503"/>
              <a:gd name="connsiteX4462" fmla="*/ 9071716 w 12192528"/>
              <a:gd name="connsiteY4462" fmla="*/ 353051 h 3912503"/>
              <a:gd name="connsiteX4463" fmla="*/ 9062831 w 12192528"/>
              <a:gd name="connsiteY4463" fmla="*/ 350350 h 3912503"/>
              <a:gd name="connsiteX4464" fmla="*/ 9058196 w 12192528"/>
              <a:gd name="connsiteY4464" fmla="*/ 348421 h 3912503"/>
              <a:gd name="connsiteX4465" fmla="*/ 9055488 w 12192528"/>
              <a:gd name="connsiteY4465" fmla="*/ 343019 h 3912503"/>
              <a:gd name="connsiteX4466" fmla="*/ 9045059 w 12192528"/>
              <a:gd name="connsiteY4466" fmla="*/ 329127 h 3912503"/>
              <a:gd name="connsiteX4467" fmla="*/ 9040424 w 12192528"/>
              <a:gd name="connsiteY4467" fmla="*/ 319866 h 3912503"/>
              <a:gd name="connsiteX4468" fmla="*/ 9040424 w 12192528"/>
              <a:gd name="connsiteY4468" fmla="*/ 315235 h 3912503"/>
              <a:gd name="connsiteX4469" fmla="*/ 9044287 w 12192528"/>
              <a:gd name="connsiteY4469" fmla="*/ 304817 h 3912503"/>
              <a:gd name="connsiteX4470" fmla="*/ 9049694 w 12192528"/>
              <a:gd name="connsiteY4470" fmla="*/ 287839 h 3912503"/>
              <a:gd name="connsiteX4471" fmla="*/ 9054332 w 12192528"/>
              <a:gd name="connsiteY4471" fmla="*/ 281664 h 3912503"/>
              <a:gd name="connsiteX4472" fmla="*/ 9061672 w 12192528"/>
              <a:gd name="connsiteY4472" fmla="*/ 275490 h 3912503"/>
              <a:gd name="connsiteX4473" fmla="*/ 9068240 w 12192528"/>
              <a:gd name="connsiteY4473" fmla="*/ 272017 h 3912503"/>
              <a:gd name="connsiteX4474" fmla="*/ 9079830 w 12192528"/>
              <a:gd name="connsiteY4474" fmla="*/ 266277 h 3912503"/>
              <a:gd name="connsiteX4475" fmla="*/ 6762630 w 12192528"/>
              <a:gd name="connsiteY4475" fmla="*/ 248000 h 3912503"/>
              <a:gd name="connsiteX4476" fmla="*/ 6762380 w 12192528"/>
              <a:gd name="connsiteY4476" fmla="*/ 248416 h 3912503"/>
              <a:gd name="connsiteX4477" fmla="*/ 6762093 w 12192528"/>
              <a:gd name="connsiteY4477" fmla="*/ 248128 h 3912503"/>
              <a:gd name="connsiteX4478" fmla="*/ 5353229 w 12192528"/>
              <a:gd name="connsiteY4478" fmla="*/ 221996 h 3912503"/>
              <a:gd name="connsiteX4479" fmla="*/ 5363382 w 12192528"/>
              <a:gd name="connsiteY4479" fmla="*/ 223551 h 3912503"/>
              <a:gd name="connsiteX4480" fmla="*/ 5371975 w 12192528"/>
              <a:gd name="connsiteY4480" fmla="*/ 228993 h 3912503"/>
              <a:gd name="connsiteX4481" fmla="*/ 5376658 w 12192528"/>
              <a:gd name="connsiteY4481" fmla="*/ 234435 h 3912503"/>
              <a:gd name="connsiteX4482" fmla="*/ 5376658 w 12192528"/>
              <a:gd name="connsiteY4482" fmla="*/ 248429 h 3912503"/>
              <a:gd name="connsiteX4483" fmla="*/ 5368067 w 12192528"/>
              <a:gd name="connsiteY4483" fmla="*/ 256981 h 3912503"/>
              <a:gd name="connsiteX4484" fmla="*/ 5362602 w 12192528"/>
              <a:gd name="connsiteY4484" fmla="*/ 267088 h 3912503"/>
              <a:gd name="connsiteX4485" fmla="*/ 5358307 w 12192528"/>
              <a:gd name="connsiteY4485" fmla="*/ 277583 h 3912503"/>
              <a:gd name="connsiteX4486" fmla="*/ 5352449 w 12192528"/>
              <a:gd name="connsiteY4486" fmla="*/ 284581 h 3912503"/>
              <a:gd name="connsiteX4487" fmla="*/ 5343858 w 12192528"/>
              <a:gd name="connsiteY4487" fmla="*/ 288856 h 3912503"/>
              <a:gd name="connsiteX4488" fmla="*/ 5336048 w 12192528"/>
              <a:gd name="connsiteY4488" fmla="*/ 288856 h 3912503"/>
              <a:gd name="connsiteX4489" fmla="*/ 5334878 w 12192528"/>
              <a:gd name="connsiteY4489" fmla="*/ 287302 h 3912503"/>
              <a:gd name="connsiteX4490" fmla="*/ 5323944 w 12192528"/>
              <a:gd name="connsiteY4490" fmla="*/ 278749 h 3912503"/>
              <a:gd name="connsiteX4491" fmla="*/ 5320430 w 12192528"/>
              <a:gd name="connsiteY4491" fmla="*/ 265533 h 3912503"/>
              <a:gd name="connsiteX4492" fmla="*/ 5325897 w 12192528"/>
              <a:gd name="connsiteY4492" fmla="*/ 249984 h 3912503"/>
              <a:gd name="connsiteX4493" fmla="*/ 5331753 w 12192528"/>
              <a:gd name="connsiteY4493" fmla="*/ 246486 h 3912503"/>
              <a:gd name="connsiteX4494" fmla="*/ 5339173 w 12192528"/>
              <a:gd name="connsiteY4494" fmla="*/ 237156 h 3912503"/>
              <a:gd name="connsiteX4495" fmla="*/ 5341514 w 12192528"/>
              <a:gd name="connsiteY4495" fmla="*/ 232880 h 3912503"/>
              <a:gd name="connsiteX4496" fmla="*/ 5353229 w 12192528"/>
              <a:gd name="connsiteY4496" fmla="*/ 221996 h 3912503"/>
              <a:gd name="connsiteX4497" fmla="*/ 6402088 w 12192528"/>
              <a:gd name="connsiteY4497" fmla="*/ 217446 h 3912503"/>
              <a:gd name="connsiteX4498" fmla="*/ 6410741 w 12192528"/>
              <a:gd name="connsiteY4498" fmla="*/ 221730 h 3912503"/>
              <a:gd name="connsiteX4499" fmla="*/ 6415640 w 12192528"/>
              <a:gd name="connsiteY4499" fmla="*/ 224322 h 3912503"/>
              <a:gd name="connsiteX4500" fmla="*/ 6421122 w 12192528"/>
              <a:gd name="connsiteY4500" fmla="*/ 228930 h 3912503"/>
              <a:gd name="connsiteX4501" fmla="*/ 6424584 w 12192528"/>
              <a:gd name="connsiteY4501" fmla="*/ 233540 h 3912503"/>
              <a:gd name="connsiteX4502" fmla="*/ 6428621 w 12192528"/>
              <a:gd name="connsiteY4502" fmla="*/ 246212 h 3912503"/>
              <a:gd name="connsiteX4503" fmla="*/ 6431504 w 12192528"/>
              <a:gd name="connsiteY4503" fmla="*/ 253989 h 3912503"/>
              <a:gd name="connsiteX4504" fmla="*/ 6431504 w 12192528"/>
              <a:gd name="connsiteY4504" fmla="*/ 257445 h 3912503"/>
              <a:gd name="connsiteX4505" fmla="*/ 6428042 w 12192528"/>
              <a:gd name="connsiteY4505" fmla="*/ 264358 h 3912503"/>
              <a:gd name="connsiteX4506" fmla="*/ 6420256 w 12192528"/>
              <a:gd name="connsiteY4506" fmla="*/ 274726 h 3912503"/>
              <a:gd name="connsiteX4507" fmla="*/ 6418238 w 12192528"/>
              <a:gd name="connsiteY4507" fmla="*/ 278759 h 3912503"/>
              <a:gd name="connsiteX4508" fmla="*/ 6414777 w 12192528"/>
              <a:gd name="connsiteY4508" fmla="*/ 280199 h 3912503"/>
              <a:gd name="connsiteX4509" fmla="*/ 6408143 w 12192528"/>
              <a:gd name="connsiteY4509" fmla="*/ 282215 h 3912503"/>
              <a:gd name="connsiteX4510" fmla="*/ 6405836 w 12192528"/>
              <a:gd name="connsiteY4510" fmla="*/ 283367 h 3912503"/>
              <a:gd name="connsiteX4511" fmla="*/ 6396609 w 12192528"/>
              <a:gd name="connsiteY4511" fmla="*/ 284519 h 3912503"/>
              <a:gd name="connsiteX4512" fmla="*/ 6394592 w 12192528"/>
              <a:gd name="connsiteY4512" fmla="*/ 285096 h 3912503"/>
              <a:gd name="connsiteX4513" fmla="*/ 6374113 w 12192528"/>
              <a:gd name="connsiteY4513" fmla="*/ 272134 h 3912503"/>
              <a:gd name="connsiteX4514" fmla="*/ 6367769 w 12192528"/>
              <a:gd name="connsiteY4514" fmla="*/ 260325 h 3912503"/>
              <a:gd name="connsiteX4515" fmla="*/ 6365751 w 12192528"/>
              <a:gd name="connsiteY4515" fmla="*/ 255429 h 3912503"/>
              <a:gd name="connsiteX4516" fmla="*/ 6365462 w 12192528"/>
              <a:gd name="connsiteY4516" fmla="*/ 250533 h 3912503"/>
              <a:gd name="connsiteX4517" fmla="*/ 6366326 w 12192528"/>
              <a:gd name="connsiteY4517" fmla="*/ 246789 h 3912503"/>
              <a:gd name="connsiteX4518" fmla="*/ 6367769 w 12192528"/>
              <a:gd name="connsiteY4518" fmla="*/ 239011 h 3912503"/>
              <a:gd name="connsiteX4519" fmla="*/ 6368057 w 12192528"/>
              <a:gd name="connsiteY4519" fmla="*/ 236132 h 3912503"/>
              <a:gd name="connsiteX4520" fmla="*/ 6368923 w 12192528"/>
              <a:gd name="connsiteY4520" fmla="*/ 229219 h 3912503"/>
              <a:gd name="connsiteX4521" fmla="*/ 6383344 w 12192528"/>
              <a:gd name="connsiteY4521" fmla="*/ 217986 h 3912503"/>
              <a:gd name="connsiteX4522" fmla="*/ 6392572 w 12192528"/>
              <a:gd name="connsiteY4522" fmla="*/ 217697 h 3912503"/>
              <a:gd name="connsiteX4523" fmla="*/ 6402088 w 12192528"/>
              <a:gd name="connsiteY4523" fmla="*/ 217446 h 3912503"/>
              <a:gd name="connsiteX4524" fmla="*/ 4970801 w 12192528"/>
              <a:gd name="connsiteY4524" fmla="*/ 215227 h 3912503"/>
              <a:gd name="connsiteX4525" fmla="*/ 4982015 w 12192528"/>
              <a:gd name="connsiteY4525" fmla="*/ 220831 h 3912503"/>
              <a:gd name="connsiteX4526" fmla="*/ 5014407 w 12192528"/>
              <a:gd name="connsiteY4526" fmla="*/ 235774 h 3912503"/>
              <a:gd name="connsiteX4527" fmla="*/ 5020638 w 12192528"/>
              <a:gd name="connsiteY4527" fmla="*/ 240133 h 3912503"/>
              <a:gd name="connsiteX4528" fmla="*/ 5048047 w 12192528"/>
              <a:gd name="connsiteY4528" fmla="*/ 273133 h 3912503"/>
              <a:gd name="connsiteX4529" fmla="*/ 5064868 w 12192528"/>
              <a:gd name="connsiteY4529" fmla="*/ 329173 h 3912503"/>
              <a:gd name="connsiteX4530" fmla="*/ 5072969 w 12192528"/>
              <a:gd name="connsiteY4530" fmla="*/ 348475 h 3912503"/>
              <a:gd name="connsiteX4531" fmla="*/ 5071098 w 12192528"/>
              <a:gd name="connsiteY4531" fmla="*/ 375872 h 3912503"/>
              <a:gd name="connsiteX4532" fmla="*/ 5068607 w 12192528"/>
              <a:gd name="connsiteY4532" fmla="*/ 398909 h 3912503"/>
              <a:gd name="connsiteX4533" fmla="*/ 5069230 w 12192528"/>
              <a:gd name="connsiteY4533" fmla="*/ 408249 h 3912503"/>
              <a:gd name="connsiteX4534" fmla="*/ 5032474 w 12192528"/>
              <a:gd name="connsiteY4534" fmla="*/ 450590 h 3912503"/>
              <a:gd name="connsiteX4535" fmla="*/ 4997588 w 12192528"/>
              <a:gd name="connsiteY4535" fmla="*/ 471138 h 3912503"/>
              <a:gd name="connsiteX4536" fmla="*/ 4971424 w 12192528"/>
              <a:gd name="connsiteY4536" fmla="*/ 505383 h 3912503"/>
              <a:gd name="connsiteX4537" fmla="*/ 4975163 w 12192528"/>
              <a:gd name="connsiteY4537" fmla="*/ 512232 h 3912503"/>
              <a:gd name="connsiteX4538" fmla="*/ 5011917 w 12192528"/>
              <a:gd name="connsiteY4538" fmla="*/ 555819 h 3912503"/>
              <a:gd name="connsiteX4539" fmla="*/ 5016902 w 12192528"/>
              <a:gd name="connsiteY4539" fmla="*/ 565781 h 3912503"/>
              <a:gd name="connsiteX4540" fmla="*/ 5021883 w 12192528"/>
              <a:gd name="connsiteY4540" fmla="*/ 596915 h 3912503"/>
              <a:gd name="connsiteX4541" fmla="*/ 5030606 w 12192528"/>
              <a:gd name="connsiteY4541" fmla="*/ 633028 h 3912503"/>
              <a:gd name="connsiteX4542" fmla="*/ 5029984 w 12192528"/>
              <a:gd name="connsiteY4542" fmla="*/ 647971 h 3912503"/>
              <a:gd name="connsiteX4543" fmla="*/ 5014537 w 12192528"/>
              <a:gd name="connsiteY4543" fmla="*/ 685550 h 3912503"/>
              <a:gd name="connsiteX4544" fmla="*/ 5084787 w 12192528"/>
              <a:gd name="connsiteY4544" fmla="*/ 676707 h 3912503"/>
              <a:gd name="connsiteX4545" fmla="*/ 5315437 w 12192528"/>
              <a:gd name="connsiteY4545" fmla="*/ 672584 h 3912503"/>
              <a:gd name="connsiteX4546" fmla="*/ 5870643 w 12192528"/>
              <a:gd name="connsiteY4546" fmla="*/ 797194 h 3912503"/>
              <a:gd name="connsiteX4547" fmla="*/ 6737349 w 12192528"/>
              <a:gd name="connsiteY4547" fmla="*/ 1249822 h 3912503"/>
              <a:gd name="connsiteX4548" fmla="*/ 6949760 w 12192528"/>
              <a:gd name="connsiteY4548" fmla="*/ 1437768 h 3912503"/>
              <a:gd name="connsiteX4549" fmla="*/ 7135575 w 12192528"/>
              <a:gd name="connsiteY4549" fmla="*/ 1640186 h 3912503"/>
              <a:gd name="connsiteX4550" fmla="*/ 7155702 w 12192528"/>
              <a:gd name="connsiteY4550" fmla="*/ 1617195 h 3912503"/>
              <a:gd name="connsiteX4551" fmla="*/ 7149127 w 12192528"/>
              <a:gd name="connsiteY4551" fmla="*/ 1606185 h 3912503"/>
              <a:gd name="connsiteX4552" fmla="*/ 7132956 w 12192528"/>
              <a:gd name="connsiteY4552" fmla="*/ 1613378 h 3912503"/>
              <a:gd name="connsiteX4553" fmla="*/ 7119911 w 12192528"/>
              <a:gd name="connsiteY4553" fmla="*/ 1607949 h 3912503"/>
              <a:gd name="connsiteX4554" fmla="*/ 7112301 w 12192528"/>
              <a:gd name="connsiteY4554" fmla="*/ 1592748 h 3912503"/>
              <a:gd name="connsiteX4555" fmla="*/ 7082952 w 12192528"/>
              <a:gd name="connsiteY4555" fmla="*/ 1553663 h 3912503"/>
              <a:gd name="connsiteX4556" fmla="*/ 7069901 w 12192528"/>
              <a:gd name="connsiteY4556" fmla="*/ 1527606 h 3912503"/>
              <a:gd name="connsiteX4557" fmla="*/ 7069901 w 12192528"/>
              <a:gd name="connsiteY4557" fmla="*/ 1514576 h 3912503"/>
              <a:gd name="connsiteX4558" fmla="*/ 7080773 w 12192528"/>
              <a:gd name="connsiteY4558" fmla="*/ 1485261 h 3912503"/>
              <a:gd name="connsiteX4559" fmla="*/ 7095993 w 12192528"/>
              <a:gd name="connsiteY4559" fmla="*/ 1437490 h 3912503"/>
              <a:gd name="connsiteX4560" fmla="*/ 7109038 w 12192528"/>
              <a:gd name="connsiteY4560" fmla="*/ 1420118 h 3912503"/>
              <a:gd name="connsiteX4561" fmla="*/ 7129695 w 12192528"/>
              <a:gd name="connsiteY4561" fmla="*/ 1402746 h 3912503"/>
              <a:gd name="connsiteX4562" fmla="*/ 7132509 w 12192528"/>
              <a:gd name="connsiteY4562" fmla="*/ 1401258 h 3912503"/>
              <a:gd name="connsiteX4563" fmla="*/ 7077965 w 12192528"/>
              <a:gd name="connsiteY4563" fmla="*/ 1343957 h 3912503"/>
              <a:gd name="connsiteX4564" fmla="*/ 7011807 w 12192528"/>
              <a:gd name="connsiteY4564" fmla="*/ 1277298 h 3912503"/>
              <a:gd name="connsiteX4565" fmla="*/ 6990206 w 12192528"/>
              <a:gd name="connsiteY4565" fmla="*/ 1266487 h 3912503"/>
              <a:gd name="connsiteX4566" fmla="*/ 6957804 w 12192528"/>
              <a:gd name="connsiteY4566" fmla="*/ 1226851 h 3912503"/>
              <a:gd name="connsiteX4567" fmla="*/ 6921802 w 12192528"/>
              <a:gd name="connsiteY4567" fmla="*/ 1205231 h 3912503"/>
              <a:gd name="connsiteX4568" fmla="*/ 6889398 w 12192528"/>
              <a:gd name="connsiteY4568" fmla="*/ 1161993 h 3912503"/>
              <a:gd name="connsiteX4569" fmla="*/ 6896598 w 12192528"/>
              <a:gd name="connsiteY4569" fmla="*/ 1154786 h 3912503"/>
              <a:gd name="connsiteX4570" fmla="*/ 6867795 w 12192528"/>
              <a:gd name="connsiteY4570" fmla="*/ 1129563 h 3912503"/>
              <a:gd name="connsiteX4571" fmla="*/ 6867795 w 12192528"/>
              <a:gd name="connsiteY4571" fmla="*/ 1133166 h 3912503"/>
              <a:gd name="connsiteX4572" fmla="*/ 6871396 w 12192528"/>
              <a:gd name="connsiteY4572" fmla="*/ 1136769 h 3912503"/>
              <a:gd name="connsiteX4573" fmla="*/ 6867795 w 12192528"/>
              <a:gd name="connsiteY4573" fmla="*/ 1136769 h 3912503"/>
              <a:gd name="connsiteX4574" fmla="*/ 6871396 w 12192528"/>
              <a:gd name="connsiteY4574" fmla="*/ 1147579 h 3912503"/>
              <a:gd name="connsiteX4575" fmla="*/ 6849795 w 12192528"/>
              <a:gd name="connsiteY4575" fmla="*/ 1129563 h 3912503"/>
              <a:gd name="connsiteX4576" fmla="*/ 6846193 w 12192528"/>
              <a:gd name="connsiteY4576" fmla="*/ 1129563 h 3912503"/>
              <a:gd name="connsiteX4577" fmla="*/ 6846193 w 12192528"/>
              <a:gd name="connsiteY4577" fmla="*/ 1125960 h 3912503"/>
              <a:gd name="connsiteX4578" fmla="*/ 6838994 w 12192528"/>
              <a:gd name="connsiteY4578" fmla="*/ 1122356 h 3912503"/>
              <a:gd name="connsiteX4579" fmla="*/ 6838994 w 12192528"/>
              <a:gd name="connsiteY4579" fmla="*/ 1118753 h 3912503"/>
              <a:gd name="connsiteX4580" fmla="*/ 6795790 w 12192528"/>
              <a:gd name="connsiteY4580" fmla="*/ 1093531 h 3912503"/>
              <a:gd name="connsiteX4581" fmla="*/ 6770588 w 12192528"/>
              <a:gd name="connsiteY4581" fmla="*/ 1061101 h 3912503"/>
              <a:gd name="connsiteX4582" fmla="*/ 6766986 w 12192528"/>
              <a:gd name="connsiteY4582" fmla="*/ 1057497 h 3912503"/>
              <a:gd name="connsiteX4583" fmla="*/ 6759786 w 12192528"/>
              <a:gd name="connsiteY4583" fmla="*/ 1050291 h 3912503"/>
              <a:gd name="connsiteX4584" fmla="*/ 6763386 w 12192528"/>
              <a:gd name="connsiteY4584" fmla="*/ 1050291 h 3912503"/>
              <a:gd name="connsiteX4585" fmla="*/ 6766987 w 12192528"/>
              <a:gd name="connsiteY4585" fmla="*/ 1053894 h 3912503"/>
              <a:gd name="connsiteX4586" fmla="*/ 6770588 w 12192528"/>
              <a:gd name="connsiteY4586" fmla="*/ 1053894 h 3912503"/>
              <a:gd name="connsiteX4587" fmla="*/ 6745385 w 12192528"/>
              <a:gd name="connsiteY4587" fmla="*/ 1039481 h 3912503"/>
              <a:gd name="connsiteX4588" fmla="*/ 6748983 w 12192528"/>
              <a:gd name="connsiteY4588" fmla="*/ 1043084 h 3912503"/>
              <a:gd name="connsiteX4589" fmla="*/ 6745385 w 12192528"/>
              <a:gd name="connsiteY4589" fmla="*/ 1043084 h 3912503"/>
              <a:gd name="connsiteX4590" fmla="*/ 6741784 w 12192528"/>
              <a:gd name="connsiteY4590" fmla="*/ 1043084 h 3912503"/>
              <a:gd name="connsiteX4591" fmla="*/ 6745385 w 12192528"/>
              <a:gd name="connsiteY4591" fmla="*/ 1050291 h 3912503"/>
              <a:gd name="connsiteX4592" fmla="*/ 6727382 w 12192528"/>
              <a:gd name="connsiteY4592" fmla="*/ 1032275 h 3912503"/>
              <a:gd name="connsiteX4593" fmla="*/ 6723785 w 12192528"/>
              <a:gd name="connsiteY4593" fmla="*/ 1028671 h 3912503"/>
              <a:gd name="connsiteX4594" fmla="*/ 6720182 w 12192528"/>
              <a:gd name="connsiteY4594" fmla="*/ 1025068 h 3912503"/>
              <a:gd name="connsiteX4595" fmla="*/ 6719746 w 12192528"/>
              <a:gd name="connsiteY4595" fmla="*/ 1025507 h 3912503"/>
              <a:gd name="connsiteX4596" fmla="*/ 6640974 w 12192528"/>
              <a:gd name="connsiteY4596" fmla="*/ 963812 h 3912503"/>
              <a:gd name="connsiteX4597" fmla="*/ 6637376 w 12192528"/>
              <a:gd name="connsiteY4597" fmla="*/ 960209 h 3912503"/>
              <a:gd name="connsiteX4598" fmla="*/ 6630173 w 12192528"/>
              <a:gd name="connsiteY4598" fmla="*/ 956607 h 3912503"/>
              <a:gd name="connsiteX4599" fmla="*/ 6633772 w 12192528"/>
              <a:gd name="connsiteY4599" fmla="*/ 956607 h 3912503"/>
              <a:gd name="connsiteX4600" fmla="*/ 6597771 w 12192528"/>
              <a:gd name="connsiteY4600" fmla="*/ 945797 h 3912503"/>
              <a:gd name="connsiteX4601" fmla="*/ 6604972 w 12192528"/>
              <a:gd name="connsiteY4601" fmla="*/ 949399 h 3912503"/>
              <a:gd name="connsiteX4602" fmla="*/ 6604972 w 12192528"/>
              <a:gd name="connsiteY4602" fmla="*/ 953002 h 3912503"/>
              <a:gd name="connsiteX4603" fmla="*/ 6597771 w 12192528"/>
              <a:gd name="connsiteY4603" fmla="*/ 949399 h 3912503"/>
              <a:gd name="connsiteX4604" fmla="*/ 6596462 w 12192528"/>
              <a:gd name="connsiteY4604" fmla="*/ 949399 h 3912503"/>
              <a:gd name="connsiteX4605" fmla="*/ 6594621 w 12192528"/>
              <a:gd name="connsiteY4605" fmla="*/ 948048 h 3912503"/>
              <a:gd name="connsiteX4606" fmla="*/ 6590570 w 12192528"/>
              <a:gd name="connsiteY4606" fmla="*/ 945797 h 3912503"/>
              <a:gd name="connsiteX4607" fmla="*/ 6594172 w 12192528"/>
              <a:gd name="connsiteY4607" fmla="*/ 949399 h 3912503"/>
              <a:gd name="connsiteX4608" fmla="*/ 6596462 w 12192528"/>
              <a:gd name="connsiteY4608" fmla="*/ 949399 h 3912503"/>
              <a:gd name="connsiteX4609" fmla="*/ 6601371 w 12192528"/>
              <a:gd name="connsiteY4609" fmla="*/ 953002 h 3912503"/>
              <a:gd name="connsiteX4610" fmla="*/ 6457358 w 12192528"/>
              <a:gd name="connsiteY4610" fmla="*/ 880937 h 3912503"/>
              <a:gd name="connsiteX4611" fmla="*/ 6439357 w 12192528"/>
              <a:gd name="connsiteY4611" fmla="*/ 866524 h 3912503"/>
              <a:gd name="connsiteX4612" fmla="*/ 6432157 w 12192528"/>
              <a:gd name="connsiteY4612" fmla="*/ 870127 h 3912503"/>
              <a:gd name="connsiteX4613" fmla="*/ 6428556 w 12192528"/>
              <a:gd name="connsiteY4613" fmla="*/ 866524 h 3912503"/>
              <a:gd name="connsiteX4614" fmla="*/ 6421355 w 12192528"/>
              <a:gd name="connsiteY4614" fmla="*/ 862922 h 3912503"/>
              <a:gd name="connsiteX4615" fmla="*/ 6360150 w 12192528"/>
              <a:gd name="connsiteY4615" fmla="*/ 826889 h 3912503"/>
              <a:gd name="connsiteX4616" fmla="*/ 6363751 w 12192528"/>
              <a:gd name="connsiteY4616" fmla="*/ 830492 h 3912503"/>
              <a:gd name="connsiteX4617" fmla="*/ 6360149 w 12192528"/>
              <a:gd name="connsiteY4617" fmla="*/ 834095 h 3912503"/>
              <a:gd name="connsiteX4618" fmla="*/ 6356551 w 12192528"/>
              <a:gd name="connsiteY4618" fmla="*/ 830493 h 3912503"/>
              <a:gd name="connsiteX4619" fmla="*/ 6352949 w 12192528"/>
              <a:gd name="connsiteY4619" fmla="*/ 830492 h 3912503"/>
              <a:gd name="connsiteX4620" fmla="*/ 6316047 w 12192528"/>
              <a:gd name="connsiteY4620" fmla="*/ 818331 h 3912503"/>
              <a:gd name="connsiteX4621" fmla="*/ 6310544 w 12192528"/>
              <a:gd name="connsiteY4621" fmla="*/ 812943 h 3912503"/>
              <a:gd name="connsiteX4622" fmla="*/ 6309341 w 12192528"/>
              <a:gd name="connsiteY4622" fmla="*/ 813999 h 3912503"/>
              <a:gd name="connsiteX4623" fmla="*/ 6306727 w 12192528"/>
              <a:gd name="connsiteY4623" fmla="*/ 814935 h 3912503"/>
              <a:gd name="connsiteX4624" fmla="*/ 6305159 w 12192528"/>
              <a:gd name="connsiteY4624" fmla="*/ 812605 h 3912503"/>
              <a:gd name="connsiteX4625" fmla="*/ 6304635 w 12192528"/>
              <a:gd name="connsiteY4625" fmla="*/ 810515 h 3912503"/>
              <a:gd name="connsiteX4626" fmla="*/ 6303065 w 12192528"/>
              <a:gd name="connsiteY4626" fmla="*/ 808076 h 3912503"/>
              <a:gd name="connsiteX4627" fmla="*/ 6300800 w 12192528"/>
              <a:gd name="connsiteY4627" fmla="*/ 809644 h 3912503"/>
              <a:gd name="connsiteX4628" fmla="*/ 6295574 w 12192528"/>
              <a:gd name="connsiteY4628" fmla="*/ 808774 h 3912503"/>
              <a:gd name="connsiteX4629" fmla="*/ 6294527 w 12192528"/>
              <a:gd name="connsiteY4629" fmla="*/ 806508 h 3912503"/>
              <a:gd name="connsiteX4630" fmla="*/ 6291390 w 12192528"/>
              <a:gd name="connsiteY4630" fmla="*/ 805289 h 3912503"/>
              <a:gd name="connsiteX4631" fmla="*/ 6290170 w 12192528"/>
              <a:gd name="connsiteY4631" fmla="*/ 808251 h 3912503"/>
              <a:gd name="connsiteX4632" fmla="*/ 6290462 w 12192528"/>
              <a:gd name="connsiteY4632" fmla="*/ 810886 h 3912503"/>
              <a:gd name="connsiteX4633" fmla="*/ 6276844 w 12192528"/>
              <a:gd name="connsiteY4633" fmla="*/ 797338 h 3912503"/>
              <a:gd name="connsiteX4634" fmla="*/ 6277624 w 12192528"/>
              <a:gd name="connsiteY4634" fmla="*/ 796232 h 3912503"/>
              <a:gd name="connsiteX4635" fmla="*/ 6276056 w 12192528"/>
              <a:gd name="connsiteY4635" fmla="*/ 792923 h 3912503"/>
              <a:gd name="connsiteX4636" fmla="*/ 6272917 w 12192528"/>
              <a:gd name="connsiteY4636" fmla="*/ 791529 h 3912503"/>
              <a:gd name="connsiteX4637" fmla="*/ 6272760 w 12192528"/>
              <a:gd name="connsiteY4637" fmla="*/ 791213 h 3912503"/>
              <a:gd name="connsiteX4638" fmla="*/ 6250789 w 12192528"/>
              <a:gd name="connsiteY4638" fmla="*/ 784550 h 3912503"/>
              <a:gd name="connsiteX4639" fmla="*/ 6208935 w 12192528"/>
              <a:gd name="connsiteY4639" fmla="*/ 765633 h 3912503"/>
              <a:gd name="connsiteX4640" fmla="*/ 6242689 w 12192528"/>
              <a:gd name="connsiteY4640" fmla="*/ 771938 h 3912503"/>
              <a:gd name="connsiteX4641" fmla="*/ 6266377 w 12192528"/>
              <a:gd name="connsiteY4641" fmla="*/ 778566 h 3912503"/>
              <a:gd name="connsiteX4642" fmla="*/ 6264029 w 12192528"/>
              <a:gd name="connsiteY4642" fmla="*/ 773935 h 3912503"/>
              <a:gd name="connsiteX4643" fmla="*/ 6261589 w 12192528"/>
              <a:gd name="connsiteY4643" fmla="*/ 772020 h 3912503"/>
              <a:gd name="connsiteX4644" fmla="*/ 6264902 w 12192528"/>
              <a:gd name="connsiteY4644" fmla="*/ 769930 h 3912503"/>
              <a:gd name="connsiteX4645" fmla="*/ 6265423 w 12192528"/>
              <a:gd name="connsiteY4645" fmla="*/ 769930 h 3912503"/>
              <a:gd name="connsiteX4646" fmla="*/ 6268733 w 12192528"/>
              <a:gd name="connsiteY4646" fmla="*/ 764008 h 3912503"/>
              <a:gd name="connsiteX4647" fmla="*/ 6269085 w 12192528"/>
              <a:gd name="connsiteY4647" fmla="*/ 755820 h 3912503"/>
              <a:gd name="connsiteX4648" fmla="*/ 6272045 w 12192528"/>
              <a:gd name="connsiteY4648" fmla="*/ 744324 h 3912503"/>
              <a:gd name="connsiteX4649" fmla="*/ 6274660 w 12192528"/>
              <a:gd name="connsiteY4649" fmla="*/ 741188 h 3912503"/>
              <a:gd name="connsiteX4650" fmla="*/ 6281805 w 12192528"/>
              <a:gd name="connsiteY4650" fmla="*/ 732131 h 3912503"/>
              <a:gd name="connsiteX4651" fmla="*/ 6285989 w 12192528"/>
              <a:gd name="connsiteY4651" fmla="*/ 730563 h 3912503"/>
              <a:gd name="connsiteX4652" fmla="*/ 6303242 w 12192528"/>
              <a:gd name="connsiteY4652" fmla="*/ 725511 h 3912503"/>
              <a:gd name="connsiteX4653" fmla="*/ 6303242 w 12192528"/>
              <a:gd name="connsiteY4653" fmla="*/ 721680 h 3912503"/>
              <a:gd name="connsiteX4654" fmla="*/ 6298709 w 12192528"/>
              <a:gd name="connsiteY4654" fmla="*/ 721157 h 3912503"/>
              <a:gd name="connsiteX4655" fmla="*/ 6295574 w 12192528"/>
              <a:gd name="connsiteY4655" fmla="*/ 723247 h 3912503"/>
              <a:gd name="connsiteX4656" fmla="*/ 6292608 w 12192528"/>
              <a:gd name="connsiteY4656" fmla="*/ 723596 h 3912503"/>
              <a:gd name="connsiteX4657" fmla="*/ 6293131 w 12192528"/>
              <a:gd name="connsiteY4657" fmla="*/ 720461 h 3912503"/>
              <a:gd name="connsiteX4658" fmla="*/ 6295574 w 12192528"/>
              <a:gd name="connsiteY4658" fmla="*/ 718195 h 3912503"/>
              <a:gd name="connsiteX4659" fmla="*/ 6296444 w 12192528"/>
              <a:gd name="connsiteY4659" fmla="*/ 712796 h 3912503"/>
              <a:gd name="connsiteX4660" fmla="*/ 6291738 w 12192528"/>
              <a:gd name="connsiteY4660" fmla="*/ 713841 h 3912503"/>
              <a:gd name="connsiteX4661" fmla="*/ 6288080 w 12192528"/>
              <a:gd name="connsiteY4661" fmla="*/ 716803 h 3912503"/>
              <a:gd name="connsiteX4662" fmla="*/ 6284594 w 12192528"/>
              <a:gd name="connsiteY4662" fmla="*/ 714537 h 3912503"/>
              <a:gd name="connsiteX4663" fmla="*/ 6288427 w 12192528"/>
              <a:gd name="connsiteY4663" fmla="*/ 704610 h 3912503"/>
              <a:gd name="connsiteX4664" fmla="*/ 6288427 w 12192528"/>
              <a:gd name="connsiteY4664" fmla="*/ 695029 h 3912503"/>
              <a:gd name="connsiteX4665" fmla="*/ 6284943 w 12192528"/>
              <a:gd name="connsiteY4665" fmla="*/ 691197 h 3912503"/>
              <a:gd name="connsiteX4666" fmla="*/ 6283898 w 12192528"/>
              <a:gd name="connsiteY4666" fmla="*/ 689280 h 3912503"/>
              <a:gd name="connsiteX4667" fmla="*/ 6285815 w 12192528"/>
              <a:gd name="connsiteY4667" fmla="*/ 688235 h 3912503"/>
              <a:gd name="connsiteX4668" fmla="*/ 6289475 w 12192528"/>
              <a:gd name="connsiteY4668" fmla="*/ 684752 h 3912503"/>
              <a:gd name="connsiteX4669" fmla="*/ 6294004 w 12192528"/>
              <a:gd name="connsiteY4669" fmla="*/ 676914 h 3912503"/>
              <a:gd name="connsiteX4670" fmla="*/ 6294179 w 12192528"/>
              <a:gd name="connsiteY4670" fmla="*/ 672733 h 3912503"/>
              <a:gd name="connsiteX4671" fmla="*/ 6292785 w 12192528"/>
              <a:gd name="connsiteY4671" fmla="*/ 669946 h 3912503"/>
              <a:gd name="connsiteX4672" fmla="*/ 6295747 w 12192528"/>
              <a:gd name="connsiteY4672" fmla="*/ 668030 h 3912503"/>
              <a:gd name="connsiteX4673" fmla="*/ 6298187 w 12192528"/>
              <a:gd name="connsiteY4673" fmla="*/ 667681 h 3912503"/>
              <a:gd name="connsiteX4674" fmla="*/ 6301149 w 12192528"/>
              <a:gd name="connsiteY4674" fmla="*/ 660540 h 3912503"/>
              <a:gd name="connsiteX4675" fmla="*/ 6300278 w 12192528"/>
              <a:gd name="connsiteY4675" fmla="*/ 659146 h 3912503"/>
              <a:gd name="connsiteX4676" fmla="*/ 6300451 w 12192528"/>
              <a:gd name="connsiteY4676" fmla="*/ 656011 h 3912503"/>
              <a:gd name="connsiteX4677" fmla="*/ 6303242 w 12192528"/>
              <a:gd name="connsiteY4677" fmla="*/ 656707 h 3912503"/>
              <a:gd name="connsiteX4678" fmla="*/ 6304984 w 12192528"/>
              <a:gd name="connsiteY4678" fmla="*/ 658973 h 3912503"/>
              <a:gd name="connsiteX4679" fmla="*/ 6308469 w 12192528"/>
              <a:gd name="connsiteY4679" fmla="*/ 659495 h 3912503"/>
              <a:gd name="connsiteX4680" fmla="*/ 6319100 w 12192528"/>
              <a:gd name="connsiteY4680" fmla="*/ 656707 h 3912503"/>
              <a:gd name="connsiteX4681" fmla="*/ 6332346 w 12192528"/>
              <a:gd name="connsiteY4681" fmla="*/ 655837 h 3912503"/>
              <a:gd name="connsiteX4682" fmla="*/ 6335484 w 12192528"/>
              <a:gd name="connsiteY4682" fmla="*/ 657405 h 3912503"/>
              <a:gd name="connsiteX4683" fmla="*/ 6344544 w 12192528"/>
              <a:gd name="connsiteY4683" fmla="*/ 661585 h 3912503"/>
              <a:gd name="connsiteX4684" fmla="*/ 6346287 w 12192528"/>
              <a:gd name="connsiteY4684" fmla="*/ 662804 h 3912503"/>
              <a:gd name="connsiteX4685" fmla="*/ 6353955 w 12192528"/>
              <a:gd name="connsiteY4685" fmla="*/ 672037 h 3912503"/>
              <a:gd name="connsiteX4686" fmla="*/ 6358662 w 12192528"/>
              <a:gd name="connsiteY4686" fmla="*/ 687713 h 3912503"/>
              <a:gd name="connsiteX4687" fmla="*/ 6360927 w 12192528"/>
              <a:gd name="connsiteY4687" fmla="*/ 693113 h 3912503"/>
              <a:gd name="connsiteX4688" fmla="*/ 6360403 w 12192528"/>
              <a:gd name="connsiteY4688" fmla="*/ 700777 h 3912503"/>
              <a:gd name="connsiteX4689" fmla="*/ 6359706 w 12192528"/>
              <a:gd name="connsiteY4689" fmla="*/ 707223 h 3912503"/>
              <a:gd name="connsiteX4690" fmla="*/ 6359880 w 12192528"/>
              <a:gd name="connsiteY4690" fmla="*/ 709834 h 3912503"/>
              <a:gd name="connsiteX4691" fmla="*/ 6349597 w 12192528"/>
              <a:gd name="connsiteY4691" fmla="*/ 721680 h 3912503"/>
              <a:gd name="connsiteX4692" fmla="*/ 6339838 w 12192528"/>
              <a:gd name="connsiteY4692" fmla="*/ 727428 h 3912503"/>
              <a:gd name="connsiteX4693" fmla="*/ 6332518 w 12192528"/>
              <a:gd name="connsiteY4693" fmla="*/ 737008 h 3912503"/>
              <a:gd name="connsiteX4694" fmla="*/ 6333566 w 12192528"/>
              <a:gd name="connsiteY4694" fmla="*/ 738924 h 3912503"/>
              <a:gd name="connsiteX4695" fmla="*/ 6343847 w 12192528"/>
              <a:gd name="connsiteY4695" fmla="*/ 751117 h 3912503"/>
              <a:gd name="connsiteX4696" fmla="*/ 6345241 w 12192528"/>
              <a:gd name="connsiteY4696" fmla="*/ 753904 h 3912503"/>
              <a:gd name="connsiteX4697" fmla="*/ 6346636 w 12192528"/>
              <a:gd name="connsiteY4697" fmla="*/ 762614 h 3912503"/>
              <a:gd name="connsiteX4698" fmla="*/ 6349076 w 12192528"/>
              <a:gd name="connsiteY4698" fmla="*/ 772716 h 3912503"/>
              <a:gd name="connsiteX4699" fmla="*/ 6348902 w 12192528"/>
              <a:gd name="connsiteY4699" fmla="*/ 776897 h 3912503"/>
              <a:gd name="connsiteX4700" fmla="*/ 6339665 w 12192528"/>
              <a:gd name="connsiteY4700" fmla="*/ 799367 h 3912503"/>
              <a:gd name="connsiteX4701" fmla="*/ 6337921 w 12192528"/>
              <a:gd name="connsiteY4701" fmla="*/ 800761 h 3912503"/>
              <a:gd name="connsiteX4702" fmla="*/ 6327385 w 12192528"/>
              <a:gd name="connsiteY4702" fmla="*/ 805767 h 3912503"/>
              <a:gd name="connsiteX4703" fmla="*/ 6338547 w 12192528"/>
              <a:gd name="connsiteY4703" fmla="*/ 816079 h 3912503"/>
              <a:gd name="connsiteX4704" fmla="*/ 6342149 w 12192528"/>
              <a:gd name="connsiteY4704" fmla="*/ 812475 h 3912503"/>
              <a:gd name="connsiteX4705" fmla="*/ 6352949 w 12192528"/>
              <a:gd name="connsiteY4705" fmla="*/ 819682 h 3912503"/>
              <a:gd name="connsiteX4706" fmla="*/ 6356549 w 12192528"/>
              <a:gd name="connsiteY4706" fmla="*/ 823285 h 3912503"/>
              <a:gd name="connsiteX4707" fmla="*/ 6356551 w 12192528"/>
              <a:gd name="connsiteY4707" fmla="*/ 819683 h 3912503"/>
              <a:gd name="connsiteX4708" fmla="*/ 6410555 w 12192528"/>
              <a:gd name="connsiteY4708" fmla="*/ 841303 h 3912503"/>
              <a:gd name="connsiteX4709" fmla="*/ 6414155 w 12192528"/>
              <a:gd name="connsiteY4709" fmla="*/ 841302 h 3912503"/>
              <a:gd name="connsiteX4710" fmla="*/ 6417757 w 12192528"/>
              <a:gd name="connsiteY4710" fmla="*/ 841302 h 3912503"/>
              <a:gd name="connsiteX4711" fmla="*/ 6421355 w 12192528"/>
              <a:gd name="connsiteY4711" fmla="*/ 841302 h 3912503"/>
              <a:gd name="connsiteX4712" fmla="*/ 6421355 w 12192528"/>
              <a:gd name="connsiteY4712" fmla="*/ 844904 h 3912503"/>
              <a:gd name="connsiteX4713" fmla="*/ 6424958 w 12192528"/>
              <a:gd name="connsiteY4713" fmla="*/ 841302 h 3912503"/>
              <a:gd name="connsiteX4714" fmla="*/ 6453761 w 12192528"/>
              <a:gd name="connsiteY4714" fmla="*/ 848508 h 3912503"/>
              <a:gd name="connsiteX4715" fmla="*/ 6442960 w 12192528"/>
              <a:gd name="connsiteY4715" fmla="*/ 830492 h 3912503"/>
              <a:gd name="connsiteX4716" fmla="*/ 6450159 w 12192528"/>
              <a:gd name="connsiteY4716" fmla="*/ 832294 h 3912503"/>
              <a:gd name="connsiteX4717" fmla="*/ 6453760 w 12192528"/>
              <a:gd name="connsiteY4717" fmla="*/ 833194 h 3912503"/>
              <a:gd name="connsiteX4718" fmla="*/ 6453761 w 12192528"/>
              <a:gd name="connsiteY4718" fmla="*/ 834095 h 3912503"/>
              <a:gd name="connsiteX4719" fmla="*/ 6457356 w 12192528"/>
              <a:gd name="connsiteY4719" fmla="*/ 834095 h 3912503"/>
              <a:gd name="connsiteX4720" fmla="*/ 6453760 w 12192528"/>
              <a:gd name="connsiteY4720" fmla="*/ 833194 h 3912503"/>
              <a:gd name="connsiteX4721" fmla="*/ 6453760 w 12192528"/>
              <a:gd name="connsiteY4721" fmla="*/ 830492 h 3912503"/>
              <a:gd name="connsiteX4722" fmla="*/ 6457358 w 12192528"/>
              <a:gd name="connsiteY4722" fmla="*/ 830492 h 3912503"/>
              <a:gd name="connsiteX4723" fmla="*/ 6460959 w 12192528"/>
              <a:gd name="connsiteY4723" fmla="*/ 830492 h 3912503"/>
              <a:gd name="connsiteX4724" fmla="*/ 6478961 w 12192528"/>
              <a:gd name="connsiteY4724" fmla="*/ 841302 h 3912503"/>
              <a:gd name="connsiteX4725" fmla="*/ 6482560 w 12192528"/>
              <a:gd name="connsiteY4725" fmla="*/ 844904 h 3912503"/>
              <a:gd name="connsiteX4726" fmla="*/ 6489761 w 12192528"/>
              <a:gd name="connsiteY4726" fmla="*/ 848508 h 3912503"/>
              <a:gd name="connsiteX4727" fmla="*/ 6493362 w 12192528"/>
              <a:gd name="connsiteY4727" fmla="*/ 852112 h 3912503"/>
              <a:gd name="connsiteX4728" fmla="*/ 6486162 w 12192528"/>
              <a:gd name="connsiteY4728" fmla="*/ 848508 h 3912503"/>
              <a:gd name="connsiteX4729" fmla="*/ 6478959 w 12192528"/>
              <a:gd name="connsiteY4729" fmla="*/ 844904 h 3912503"/>
              <a:gd name="connsiteX4730" fmla="*/ 6496963 w 12192528"/>
              <a:gd name="connsiteY4730" fmla="*/ 862921 h 3912503"/>
              <a:gd name="connsiteX4731" fmla="*/ 6486164 w 12192528"/>
              <a:gd name="connsiteY4731" fmla="*/ 873731 h 3912503"/>
              <a:gd name="connsiteX4732" fmla="*/ 6633774 w 12192528"/>
              <a:gd name="connsiteY4732" fmla="*/ 953002 h 3912503"/>
              <a:gd name="connsiteX4733" fmla="*/ 6640974 w 12192528"/>
              <a:gd name="connsiteY4733" fmla="*/ 956607 h 3912503"/>
              <a:gd name="connsiteX4734" fmla="*/ 6644573 w 12192528"/>
              <a:gd name="connsiteY4734" fmla="*/ 960209 h 3912503"/>
              <a:gd name="connsiteX4735" fmla="*/ 6702181 w 12192528"/>
              <a:gd name="connsiteY4735" fmla="*/ 996241 h 3912503"/>
              <a:gd name="connsiteX4736" fmla="*/ 6774188 w 12192528"/>
              <a:gd name="connsiteY4736" fmla="*/ 1039481 h 3912503"/>
              <a:gd name="connsiteX4737" fmla="*/ 6842593 w 12192528"/>
              <a:gd name="connsiteY4737" fmla="*/ 1093530 h 3912503"/>
              <a:gd name="connsiteX4738" fmla="*/ 6943402 w 12192528"/>
              <a:gd name="connsiteY4738" fmla="*/ 1172803 h 3912503"/>
              <a:gd name="connsiteX4739" fmla="*/ 6948504 w 12192528"/>
              <a:gd name="connsiteY4739" fmla="*/ 1177734 h 3912503"/>
              <a:gd name="connsiteX4740" fmla="*/ 6951854 w 12192528"/>
              <a:gd name="connsiteY4740" fmla="*/ 1167214 h 3912503"/>
              <a:gd name="connsiteX4741" fmla="*/ 6956495 w 12192528"/>
              <a:gd name="connsiteY4741" fmla="*/ 1161040 h 3912503"/>
              <a:gd name="connsiteX4742" fmla="*/ 6963833 w 12192528"/>
              <a:gd name="connsiteY4742" fmla="*/ 1154866 h 3912503"/>
              <a:gd name="connsiteX4743" fmla="*/ 6970403 w 12192528"/>
              <a:gd name="connsiteY4743" fmla="*/ 1151393 h 3912503"/>
              <a:gd name="connsiteX4744" fmla="*/ 6994748 w 12192528"/>
              <a:gd name="connsiteY4744" fmla="*/ 1145991 h 3912503"/>
              <a:gd name="connsiteX4745" fmla="*/ 7007110 w 12192528"/>
              <a:gd name="connsiteY4745" fmla="*/ 1146377 h 3912503"/>
              <a:gd name="connsiteX4746" fmla="*/ 7026426 w 12192528"/>
              <a:gd name="connsiteY4746" fmla="*/ 1161425 h 3912503"/>
              <a:gd name="connsiteX4747" fmla="*/ 7027586 w 12192528"/>
              <a:gd name="connsiteY4747" fmla="*/ 1170687 h 3912503"/>
              <a:gd name="connsiteX4748" fmla="*/ 7027973 w 12192528"/>
              <a:gd name="connsiteY4748" fmla="*/ 1174545 h 3912503"/>
              <a:gd name="connsiteX4749" fmla="*/ 7029903 w 12192528"/>
              <a:gd name="connsiteY4749" fmla="*/ 1184964 h 3912503"/>
              <a:gd name="connsiteX4750" fmla="*/ 7031062 w 12192528"/>
              <a:gd name="connsiteY4750" fmla="*/ 1189981 h 3912503"/>
              <a:gd name="connsiteX4751" fmla="*/ 7030677 w 12192528"/>
              <a:gd name="connsiteY4751" fmla="*/ 1196541 h 3912503"/>
              <a:gd name="connsiteX4752" fmla="*/ 7027973 w 12192528"/>
              <a:gd name="connsiteY4752" fmla="*/ 1203101 h 3912503"/>
              <a:gd name="connsiteX4753" fmla="*/ 7019470 w 12192528"/>
              <a:gd name="connsiteY4753" fmla="*/ 1218922 h 3912503"/>
              <a:gd name="connsiteX4754" fmla="*/ 6997569 w 12192528"/>
              <a:gd name="connsiteY4754" fmla="*/ 1232784 h 3912503"/>
              <a:gd name="connsiteX4755" fmla="*/ 7008208 w 12192528"/>
              <a:gd name="connsiteY4755" fmla="*/ 1248471 h 3912503"/>
              <a:gd name="connsiteX4756" fmla="*/ 6997405 w 12192528"/>
              <a:gd name="connsiteY4756" fmla="*/ 1237661 h 3912503"/>
              <a:gd name="connsiteX4757" fmla="*/ 7001005 w 12192528"/>
              <a:gd name="connsiteY4757" fmla="*/ 1244867 h 3912503"/>
              <a:gd name="connsiteX4758" fmla="*/ 7004609 w 12192528"/>
              <a:gd name="connsiteY4758" fmla="*/ 1248471 h 3912503"/>
              <a:gd name="connsiteX4759" fmla="*/ 6997406 w 12192528"/>
              <a:gd name="connsiteY4759" fmla="*/ 1244867 h 3912503"/>
              <a:gd name="connsiteX4760" fmla="*/ 6993807 w 12192528"/>
              <a:gd name="connsiteY4760" fmla="*/ 1244867 h 3912503"/>
              <a:gd name="connsiteX4761" fmla="*/ 7076615 w 12192528"/>
              <a:gd name="connsiteY4761" fmla="*/ 1320535 h 3912503"/>
              <a:gd name="connsiteX4762" fmla="*/ 7104966 w 12192528"/>
              <a:gd name="connsiteY4762" fmla="*/ 1362874 h 3912503"/>
              <a:gd name="connsiteX4763" fmla="*/ 7133764 w 12192528"/>
              <a:gd name="connsiteY4763" fmla="*/ 1400593 h 3912503"/>
              <a:gd name="connsiteX4764" fmla="*/ 7148176 w 12192528"/>
              <a:gd name="connsiteY4764" fmla="*/ 1392974 h 3912503"/>
              <a:gd name="connsiteX4765" fmla="*/ 7216664 w 12192528"/>
              <a:gd name="connsiteY4765" fmla="*/ 1377774 h 3912503"/>
              <a:gd name="connsiteX4766" fmla="*/ 7251450 w 12192528"/>
              <a:gd name="connsiteY4766" fmla="*/ 1378861 h 3912503"/>
              <a:gd name="connsiteX4767" fmla="*/ 7305807 w 12192528"/>
              <a:gd name="connsiteY4767" fmla="*/ 1421204 h 3912503"/>
              <a:gd name="connsiteX4768" fmla="*/ 7309068 w 12192528"/>
              <a:gd name="connsiteY4768" fmla="*/ 1447261 h 3912503"/>
              <a:gd name="connsiteX4769" fmla="*/ 7309326 w 12192528"/>
              <a:gd name="connsiteY4769" fmla="*/ 1449835 h 3912503"/>
              <a:gd name="connsiteX4770" fmla="*/ 7350188 w 12192528"/>
              <a:gd name="connsiteY4770" fmla="*/ 1406717 h 3912503"/>
              <a:gd name="connsiteX4771" fmla="*/ 7498986 w 12192528"/>
              <a:gd name="connsiteY4771" fmla="*/ 1279882 h 3912503"/>
              <a:gd name="connsiteX4772" fmla="*/ 7534700 w 12192528"/>
              <a:gd name="connsiteY4772" fmla="*/ 1257005 h 3912503"/>
              <a:gd name="connsiteX4773" fmla="*/ 7527867 w 12192528"/>
              <a:gd name="connsiteY4773" fmla="*/ 1250208 h 3912503"/>
              <a:gd name="connsiteX4774" fmla="*/ 7528782 w 12192528"/>
              <a:gd name="connsiteY4774" fmla="*/ 1248911 h 3912503"/>
              <a:gd name="connsiteX4775" fmla="*/ 7526944 w 12192528"/>
              <a:gd name="connsiteY4775" fmla="*/ 1245027 h 3912503"/>
              <a:gd name="connsiteX4776" fmla="*/ 7523274 w 12192528"/>
              <a:gd name="connsiteY4776" fmla="*/ 1243392 h 3912503"/>
              <a:gd name="connsiteX4777" fmla="*/ 7520810 w 12192528"/>
              <a:gd name="connsiteY4777" fmla="*/ 1238486 h 3912503"/>
              <a:gd name="connsiteX4778" fmla="*/ 7512842 w 12192528"/>
              <a:gd name="connsiteY4778" fmla="*/ 1222749 h 3912503"/>
              <a:gd name="connsiteX4779" fmla="*/ 7509977 w 12192528"/>
              <a:gd name="connsiteY4779" fmla="*/ 1220502 h 3912503"/>
              <a:gd name="connsiteX4780" fmla="*/ 7513857 w 12192528"/>
              <a:gd name="connsiteY4780" fmla="*/ 1218048 h 3912503"/>
              <a:gd name="connsiteX4781" fmla="*/ 7514485 w 12192528"/>
              <a:gd name="connsiteY4781" fmla="*/ 1218048 h 3912503"/>
              <a:gd name="connsiteX4782" fmla="*/ 7518364 w 12192528"/>
              <a:gd name="connsiteY4782" fmla="*/ 1211100 h 3912503"/>
              <a:gd name="connsiteX4783" fmla="*/ 7518766 w 12192528"/>
              <a:gd name="connsiteY4783" fmla="*/ 1201495 h 3912503"/>
              <a:gd name="connsiteX4784" fmla="*/ 7522241 w 12192528"/>
              <a:gd name="connsiteY4784" fmla="*/ 1188005 h 3912503"/>
              <a:gd name="connsiteX4785" fmla="*/ 7525310 w 12192528"/>
              <a:gd name="connsiteY4785" fmla="*/ 1184326 h 3912503"/>
              <a:gd name="connsiteX4786" fmla="*/ 7533699 w 12192528"/>
              <a:gd name="connsiteY4786" fmla="*/ 1173699 h 3912503"/>
              <a:gd name="connsiteX4787" fmla="*/ 7538609 w 12192528"/>
              <a:gd name="connsiteY4787" fmla="*/ 1171859 h 3912503"/>
              <a:gd name="connsiteX4788" fmla="*/ 7558845 w 12192528"/>
              <a:gd name="connsiteY4788" fmla="*/ 1165933 h 3912503"/>
              <a:gd name="connsiteX4789" fmla="*/ 7558845 w 12192528"/>
              <a:gd name="connsiteY4789" fmla="*/ 1161436 h 3912503"/>
              <a:gd name="connsiteX4790" fmla="*/ 7553535 w 12192528"/>
              <a:gd name="connsiteY4790" fmla="*/ 1160823 h 3912503"/>
              <a:gd name="connsiteX4791" fmla="*/ 7549843 w 12192528"/>
              <a:gd name="connsiteY4791" fmla="*/ 1163276 h 3912503"/>
              <a:gd name="connsiteX4792" fmla="*/ 7546376 w 12192528"/>
              <a:gd name="connsiteY4792" fmla="*/ 1163684 h 3912503"/>
              <a:gd name="connsiteX4793" fmla="*/ 7546988 w 12192528"/>
              <a:gd name="connsiteY4793" fmla="*/ 1160005 h 3912503"/>
              <a:gd name="connsiteX4794" fmla="*/ 7549843 w 12192528"/>
              <a:gd name="connsiteY4794" fmla="*/ 1157348 h 3912503"/>
              <a:gd name="connsiteX4795" fmla="*/ 7550877 w 12192528"/>
              <a:gd name="connsiteY4795" fmla="*/ 1151013 h 3912503"/>
              <a:gd name="connsiteX4796" fmla="*/ 7545341 w 12192528"/>
              <a:gd name="connsiteY4796" fmla="*/ 1152239 h 3912503"/>
              <a:gd name="connsiteX4797" fmla="*/ 7541048 w 12192528"/>
              <a:gd name="connsiteY4797" fmla="*/ 1155713 h 3912503"/>
              <a:gd name="connsiteX4798" fmla="*/ 7536967 w 12192528"/>
              <a:gd name="connsiteY4798" fmla="*/ 1153056 h 3912503"/>
              <a:gd name="connsiteX4799" fmla="*/ 7541460 w 12192528"/>
              <a:gd name="connsiteY4799" fmla="*/ 1141407 h 3912503"/>
              <a:gd name="connsiteX4800" fmla="*/ 7541460 w 12192528"/>
              <a:gd name="connsiteY4800" fmla="*/ 1130166 h 3912503"/>
              <a:gd name="connsiteX4801" fmla="*/ 7537376 w 12192528"/>
              <a:gd name="connsiteY4801" fmla="*/ 1125670 h 3912503"/>
              <a:gd name="connsiteX4802" fmla="*/ 7536141 w 12192528"/>
              <a:gd name="connsiteY4802" fmla="*/ 1123422 h 3912503"/>
              <a:gd name="connsiteX4803" fmla="*/ 7538392 w 12192528"/>
              <a:gd name="connsiteY4803" fmla="*/ 1122195 h 3912503"/>
              <a:gd name="connsiteX4804" fmla="*/ 7542687 w 12192528"/>
              <a:gd name="connsiteY4804" fmla="*/ 1118108 h 3912503"/>
              <a:gd name="connsiteX4805" fmla="*/ 7548005 w 12192528"/>
              <a:gd name="connsiteY4805" fmla="*/ 1108910 h 3912503"/>
              <a:gd name="connsiteX4806" fmla="*/ 7548220 w 12192528"/>
              <a:gd name="connsiteY4806" fmla="*/ 1104006 h 3912503"/>
              <a:gd name="connsiteX4807" fmla="*/ 7546575 w 12192528"/>
              <a:gd name="connsiteY4807" fmla="*/ 1100736 h 3912503"/>
              <a:gd name="connsiteX4808" fmla="*/ 7550056 w 12192528"/>
              <a:gd name="connsiteY4808" fmla="*/ 1098487 h 3912503"/>
              <a:gd name="connsiteX4809" fmla="*/ 7552912 w 12192528"/>
              <a:gd name="connsiteY4809" fmla="*/ 1098079 h 3912503"/>
              <a:gd name="connsiteX4810" fmla="*/ 7556386 w 12192528"/>
              <a:gd name="connsiteY4810" fmla="*/ 1089699 h 3912503"/>
              <a:gd name="connsiteX4811" fmla="*/ 7555366 w 12192528"/>
              <a:gd name="connsiteY4811" fmla="*/ 1088064 h 3912503"/>
              <a:gd name="connsiteX4812" fmla="*/ 7555570 w 12192528"/>
              <a:gd name="connsiteY4812" fmla="*/ 1084386 h 3912503"/>
              <a:gd name="connsiteX4813" fmla="*/ 7558845 w 12192528"/>
              <a:gd name="connsiteY4813" fmla="*/ 1085203 h 3912503"/>
              <a:gd name="connsiteX4814" fmla="*/ 7560900 w 12192528"/>
              <a:gd name="connsiteY4814" fmla="*/ 1087860 h 3912503"/>
              <a:gd name="connsiteX4815" fmla="*/ 7564981 w 12192528"/>
              <a:gd name="connsiteY4815" fmla="*/ 1088473 h 3912503"/>
              <a:gd name="connsiteX4816" fmla="*/ 7577466 w 12192528"/>
              <a:gd name="connsiteY4816" fmla="*/ 1085203 h 3912503"/>
              <a:gd name="connsiteX4817" fmla="*/ 7592997 w 12192528"/>
              <a:gd name="connsiteY4817" fmla="*/ 1084181 h 3912503"/>
              <a:gd name="connsiteX4818" fmla="*/ 7596671 w 12192528"/>
              <a:gd name="connsiteY4818" fmla="*/ 1086020 h 3912503"/>
              <a:gd name="connsiteX4819" fmla="*/ 7607318 w 12192528"/>
              <a:gd name="connsiteY4819" fmla="*/ 1090925 h 3912503"/>
              <a:gd name="connsiteX4820" fmla="*/ 7609352 w 12192528"/>
              <a:gd name="connsiteY4820" fmla="*/ 1092357 h 3912503"/>
              <a:gd name="connsiteX4821" fmla="*/ 7618364 w 12192528"/>
              <a:gd name="connsiteY4821" fmla="*/ 1103188 h 3912503"/>
              <a:gd name="connsiteX4822" fmla="*/ 7623885 w 12192528"/>
              <a:gd name="connsiteY4822" fmla="*/ 1121582 h 3912503"/>
              <a:gd name="connsiteX4823" fmla="*/ 7626549 w 12192528"/>
              <a:gd name="connsiteY4823" fmla="*/ 1127918 h 3912503"/>
              <a:gd name="connsiteX4824" fmla="*/ 7625918 w 12192528"/>
              <a:gd name="connsiteY4824" fmla="*/ 1136910 h 3912503"/>
              <a:gd name="connsiteX4825" fmla="*/ 7625103 w 12192528"/>
              <a:gd name="connsiteY4825" fmla="*/ 1144472 h 3912503"/>
              <a:gd name="connsiteX4826" fmla="*/ 7625317 w 12192528"/>
              <a:gd name="connsiteY4826" fmla="*/ 1147539 h 3912503"/>
              <a:gd name="connsiteX4827" fmla="*/ 7613239 w 12192528"/>
              <a:gd name="connsiteY4827" fmla="*/ 1161436 h 3912503"/>
              <a:gd name="connsiteX4828" fmla="*/ 7601786 w 12192528"/>
              <a:gd name="connsiteY4828" fmla="*/ 1168180 h 3912503"/>
              <a:gd name="connsiteX4829" fmla="*/ 7593194 w 12192528"/>
              <a:gd name="connsiteY4829" fmla="*/ 1179421 h 3912503"/>
              <a:gd name="connsiteX4830" fmla="*/ 7594422 w 12192528"/>
              <a:gd name="connsiteY4830" fmla="*/ 1181670 h 3912503"/>
              <a:gd name="connsiteX4831" fmla="*/ 7606502 w 12192528"/>
              <a:gd name="connsiteY4831" fmla="*/ 1195976 h 3912503"/>
              <a:gd name="connsiteX4832" fmla="*/ 7608139 w 12192528"/>
              <a:gd name="connsiteY4832" fmla="*/ 1199246 h 3912503"/>
              <a:gd name="connsiteX4833" fmla="*/ 7609682 w 12192528"/>
              <a:gd name="connsiteY4833" fmla="*/ 1208978 h 3912503"/>
              <a:gd name="connsiteX4834" fmla="*/ 7711936 w 12192528"/>
              <a:gd name="connsiteY4834" fmla="*/ 1143485 h 3912503"/>
              <a:gd name="connsiteX4835" fmla="*/ 8386838 w 12192528"/>
              <a:gd name="connsiteY4835" fmla="*/ 800356 h 3912503"/>
              <a:gd name="connsiteX4836" fmla="*/ 8642502 w 12192528"/>
              <a:gd name="connsiteY4836" fmla="*/ 723473 h 3912503"/>
              <a:gd name="connsiteX4837" fmla="*/ 8655782 w 12192528"/>
              <a:gd name="connsiteY4837" fmla="*/ 720746 h 3912503"/>
              <a:gd name="connsiteX4838" fmla="*/ 8652892 w 12192528"/>
              <a:gd name="connsiteY4838" fmla="*/ 715079 h 3912503"/>
              <a:gd name="connsiteX4839" fmla="*/ 8647600 w 12192528"/>
              <a:gd name="connsiteY4839" fmla="*/ 710301 h 3912503"/>
              <a:gd name="connsiteX4840" fmla="*/ 8636152 w 12192528"/>
              <a:gd name="connsiteY4840" fmla="*/ 703557 h 3912503"/>
              <a:gd name="connsiteX4841" fmla="*/ 8624086 w 12192528"/>
              <a:gd name="connsiteY4841" fmla="*/ 689660 h 3912503"/>
              <a:gd name="connsiteX4842" fmla="*/ 8624289 w 12192528"/>
              <a:gd name="connsiteY4842" fmla="*/ 686593 h 3912503"/>
              <a:gd name="connsiteX4843" fmla="*/ 8623472 w 12192528"/>
              <a:gd name="connsiteY4843" fmla="*/ 679031 h 3912503"/>
              <a:gd name="connsiteX4844" fmla="*/ 8622859 w 12192528"/>
              <a:gd name="connsiteY4844" fmla="*/ 670039 h 3912503"/>
              <a:gd name="connsiteX4845" fmla="*/ 8625520 w 12192528"/>
              <a:gd name="connsiteY4845" fmla="*/ 663703 h 3912503"/>
              <a:gd name="connsiteX4846" fmla="*/ 8631040 w 12192528"/>
              <a:gd name="connsiteY4846" fmla="*/ 645309 h 3912503"/>
              <a:gd name="connsiteX4847" fmla="*/ 8640035 w 12192528"/>
              <a:gd name="connsiteY4847" fmla="*/ 634477 h 3912503"/>
              <a:gd name="connsiteX4848" fmla="*/ 8642079 w 12192528"/>
              <a:gd name="connsiteY4848" fmla="*/ 633046 h 3912503"/>
              <a:gd name="connsiteX4849" fmla="*/ 8652713 w 12192528"/>
              <a:gd name="connsiteY4849" fmla="*/ 628141 h 3912503"/>
              <a:gd name="connsiteX4850" fmla="*/ 8656393 w 12192528"/>
              <a:gd name="connsiteY4850" fmla="*/ 626302 h 3912503"/>
              <a:gd name="connsiteX4851" fmla="*/ 8671936 w 12192528"/>
              <a:gd name="connsiteY4851" fmla="*/ 627324 h 3912503"/>
              <a:gd name="connsiteX4852" fmla="*/ 8684410 w 12192528"/>
              <a:gd name="connsiteY4852" fmla="*/ 630594 h 3912503"/>
              <a:gd name="connsiteX4853" fmla="*/ 8688500 w 12192528"/>
              <a:gd name="connsiteY4853" fmla="*/ 629981 h 3912503"/>
              <a:gd name="connsiteX4854" fmla="*/ 8690544 w 12192528"/>
              <a:gd name="connsiteY4854" fmla="*/ 627324 h 3912503"/>
              <a:gd name="connsiteX4855" fmla="*/ 8693816 w 12192528"/>
              <a:gd name="connsiteY4855" fmla="*/ 626507 h 3912503"/>
              <a:gd name="connsiteX4856" fmla="*/ 8694021 w 12192528"/>
              <a:gd name="connsiteY4856" fmla="*/ 630185 h 3912503"/>
              <a:gd name="connsiteX4857" fmla="*/ 8692999 w 12192528"/>
              <a:gd name="connsiteY4857" fmla="*/ 631820 h 3912503"/>
              <a:gd name="connsiteX4858" fmla="*/ 8696476 w 12192528"/>
              <a:gd name="connsiteY4858" fmla="*/ 640199 h 3912503"/>
              <a:gd name="connsiteX4859" fmla="*/ 8699338 w 12192528"/>
              <a:gd name="connsiteY4859" fmla="*/ 640608 h 3912503"/>
              <a:gd name="connsiteX4860" fmla="*/ 8702815 w 12192528"/>
              <a:gd name="connsiteY4860" fmla="*/ 642857 h 3912503"/>
              <a:gd name="connsiteX4861" fmla="*/ 8701178 w 12192528"/>
              <a:gd name="connsiteY4861" fmla="*/ 646127 h 3912503"/>
              <a:gd name="connsiteX4862" fmla="*/ 8701383 w 12192528"/>
              <a:gd name="connsiteY4862" fmla="*/ 651031 h 3912503"/>
              <a:gd name="connsiteX4863" fmla="*/ 8706698 w 12192528"/>
              <a:gd name="connsiteY4863" fmla="*/ 660229 h 3912503"/>
              <a:gd name="connsiteX4864" fmla="*/ 8710994 w 12192528"/>
              <a:gd name="connsiteY4864" fmla="*/ 664316 h 3912503"/>
              <a:gd name="connsiteX4865" fmla="*/ 8713242 w 12192528"/>
              <a:gd name="connsiteY4865" fmla="*/ 665543 h 3912503"/>
              <a:gd name="connsiteX4866" fmla="*/ 8712016 w 12192528"/>
              <a:gd name="connsiteY4866" fmla="*/ 667791 h 3912503"/>
              <a:gd name="connsiteX4867" fmla="*/ 8707926 w 12192528"/>
              <a:gd name="connsiteY4867" fmla="*/ 672287 h 3912503"/>
              <a:gd name="connsiteX4868" fmla="*/ 8707926 w 12192528"/>
              <a:gd name="connsiteY4868" fmla="*/ 683528 h 3912503"/>
              <a:gd name="connsiteX4869" fmla="*/ 8712426 w 12192528"/>
              <a:gd name="connsiteY4869" fmla="*/ 695177 h 3912503"/>
              <a:gd name="connsiteX4870" fmla="*/ 8708336 w 12192528"/>
              <a:gd name="connsiteY4870" fmla="*/ 697834 h 3912503"/>
              <a:gd name="connsiteX4871" fmla="*/ 8704040 w 12192528"/>
              <a:gd name="connsiteY4871" fmla="*/ 694360 h 3912503"/>
              <a:gd name="connsiteX4872" fmla="*/ 8698520 w 12192528"/>
              <a:gd name="connsiteY4872" fmla="*/ 693134 h 3912503"/>
              <a:gd name="connsiteX4873" fmla="*/ 8699543 w 12192528"/>
              <a:gd name="connsiteY4873" fmla="*/ 699469 h 3912503"/>
              <a:gd name="connsiteX4874" fmla="*/ 8702406 w 12192528"/>
              <a:gd name="connsiteY4874" fmla="*/ 702126 h 3912503"/>
              <a:gd name="connsiteX4875" fmla="*/ 8703020 w 12192528"/>
              <a:gd name="connsiteY4875" fmla="*/ 705805 h 3912503"/>
              <a:gd name="connsiteX4876" fmla="*/ 8699543 w 12192528"/>
              <a:gd name="connsiteY4876" fmla="*/ 705397 h 3912503"/>
              <a:gd name="connsiteX4877" fmla="*/ 8695861 w 12192528"/>
              <a:gd name="connsiteY4877" fmla="*/ 702944 h 3912503"/>
              <a:gd name="connsiteX4878" fmla="*/ 8690544 w 12192528"/>
              <a:gd name="connsiteY4878" fmla="*/ 703557 h 3912503"/>
              <a:gd name="connsiteX4879" fmla="*/ 8690544 w 12192528"/>
              <a:gd name="connsiteY4879" fmla="*/ 708053 h 3912503"/>
              <a:gd name="connsiteX4880" fmla="*/ 8695871 w 12192528"/>
              <a:gd name="connsiteY4880" fmla="*/ 712514 h 3912503"/>
              <a:gd name="connsiteX4881" fmla="*/ 8833254 w 12192528"/>
              <a:gd name="connsiteY4881" fmla="*/ 684302 h 3912503"/>
              <a:gd name="connsiteX4882" fmla="*/ 8834152 w 12192528"/>
              <a:gd name="connsiteY4882" fmla="*/ 681882 h 3912503"/>
              <a:gd name="connsiteX4883" fmla="*/ 8839562 w 12192528"/>
              <a:gd name="connsiteY4883" fmla="*/ 664903 h 3912503"/>
              <a:gd name="connsiteX4884" fmla="*/ 8844197 w 12192528"/>
              <a:gd name="connsiteY4884" fmla="*/ 658730 h 3912503"/>
              <a:gd name="connsiteX4885" fmla="*/ 8851540 w 12192528"/>
              <a:gd name="connsiteY4885" fmla="*/ 652555 h 3912503"/>
              <a:gd name="connsiteX4886" fmla="*/ 8858108 w 12192528"/>
              <a:gd name="connsiteY4886" fmla="*/ 649082 h 3912503"/>
              <a:gd name="connsiteX4887" fmla="*/ 8882448 w 12192528"/>
              <a:gd name="connsiteY4887" fmla="*/ 643680 h 3912503"/>
              <a:gd name="connsiteX4888" fmla="*/ 8894812 w 12192528"/>
              <a:gd name="connsiteY4888" fmla="*/ 644066 h 3912503"/>
              <a:gd name="connsiteX4889" fmla="*/ 8914130 w 12192528"/>
              <a:gd name="connsiteY4889" fmla="*/ 659115 h 3912503"/>
              <a:gd name="connsiteX4890" fmla="*/ 8915251 w 12192528"/>
              <a:gd name="connsiteY4890" fmla="*/ 668076 h 3912503"/>
              <a:gd name="connsiteX4891" fmla="*/ 9085203 w 12192528"/>
              <a:gd name="connsiteY4891" fmla="*/ 642648 h 3912503"/>
              <a:gd name="connsiteX4892" fmla="*/ 9124174 w 12192528"/>
              <a:gd name="connsiteY4892" fmla="*/ 640237 h 3912503"/>
              <a:gd name="connsiteX4893" fmla="*/ 9136268 w 12192528"/>
              <a:gd name="connsiteY4893" fmla="*/ 641172 h 3912503"/>
              <a:gd name="connsiteX4894" fmla="*/ 9136283 w 12192528"/>
              <a:gd name="connsiteY4894" fmla="*/ 641088 h 3912503"/>
              <a:gd name="connsiteX4895" fmla="*/ 9136550 w 12192528"/>
              <a:gd name="connsiteY4895" fmla="*/ 638409 h 3912503"/>
              <a:gd name="connsiteX4896" fmla="*/ 9137356 w 12192528"/>
              <a:gd name="connsiteY4896" fmla="*/ 631976 h 3912503"/>
              <a:gd name="connsiteX4897" fmla="*/ 9150774 w 12192528"/>
              <a:gd name="connsiteY4897" fmla="*/ 621523 h 3912503"/>
              <a:gd name="connsiteX4898" fmla="*/ 9159363 w 12192528"/>
              <a:gd name="connsiteY4898" fmla="*/ 621255 h 3912503"/>
              <a:gd name="connsiteX4899" fmla="*/ 9168217 w 12192528"/>
              <a:gd name="connsiteY4899" fmla="*/ 621020 h 3912503"/>
              <a:gd name="connsiteX4900" fmla="*/ 9168219 w 12192528"/>
              <a:gd name="connsiteY4900" fmla="*/ 621020 h 3912503"/>
              <a:gd name="connsiteX4901" fmla="*/ 9176268 w 12192528"/>
              <a:gd name="connsiteY4901" fmla="*/ 625007 h 3912503"/>
              <a:gd name="connsiteX4902" fmla="*/ 9180830 w 12192528"/>
              <a:gd name="connsiteY4902" fmla="*/ 627419 h 3912503"/>
              <a:gd name="connsiteX4903" fmla="*/ 9185932 w 12192528"/>
              <a:gd name="connsiteY4903" fmla="*/ 631707 h 3912503"/>
              <a:gd name="connsiteX4904" fmla="*/ 9189150 w 12192528"/>
              <a:gd name="connsiteY4904" fmla="*/ 635996 h 3912503"/>
              <a:gd name="connsiteX4905" fmla="*/ 9191804 w 12192528"/>
              <a:gd name="connsiteY4905" fmla="*/ 644325 h 3912503"/>
              <a:gd name="connsiteX4906" fmla="*/ 9216932 w 12192528"/>
              <a:gd name="connsiteY4906" fmla="*/ 645251 h 3912503"/>
              <a:gd name="connsiteX4907" fmla="*/ 9268811 w 12192528"/>
              <a:gd name="connsiteY4907" fmla="*/ 629588 h 3912503"/>
              <a:gd name="connsiteX4908" fmla="*/ 9319660 w 12192528"/>
              <a:gd name="connsiteY4908" fmla="*/ 637272 h 3912503"/>
              <a:gd name="connsiteX4909" fmla="*/ 9384428 w 12192528"/>
              <a:gd name="connsiteY4909" fmla="*/ 653459 h 3912503"/>
              <a:gd name="connsiteX4910" fmla="*/ 9502498 w 12192528"/>
              <a:gd name="connsiteY4910" fmla="*/ 650498 h 3912503"/>
              <a:gd name="connsiteX4911" fmla="*/ 9606748 w 12192528"/>
              <a:gd name="connsiteY4911" fmla="*/ 670152 h 3912503"/>
              <a:gd name="connsiteX4912" fmla="*/ 9612232 w 12192528"/>
              <a:gd name="connsiteY4912" fmla="*/ 671028 h 3912503"/>
              <a:gd name="connsiteX4913" fmla="*/ 9613534 w 12192528"/>
              <a:gd name="connsiteY4913" fmla="*/ 664016 h 3912503"/>
              <a:gd name="connsiteX4914" fmla="*/ 9613823 w 12192528"/>
              <a:gd name="connsiteY4914" fmla="*/ 661135 h 3912503"/>
              <a:gd name="connsiteX4915" fmla="*/ 9614688 w 12192528"/>
              <a:gd name="connsiteY4915" fmla="*/ 654223 h 3912503"/>
              <a:gd name="connsiteX4916" fmla="*/ 9629108 w 12192528"/>
              <a:gd name="connsiteY4916" fmla="*/ 642990 h 3912503"/>
              <a:gd name="connsiteX4917" fmla="*/ 9638335 w 12192528"/>
              <a:gd name="connsiteY4917" fmla="*/ 642702 h 3912503"/>
              <a:gd name="connsiteX4918" fmla="*/ 9656506 w 12192528"/>
              <a:gd name="connsiteY4918" fmla="*/ 646734 h 3912503"/>
              <a:gd name="connsiteX4919" fmla="*/ 9661408 w 12192528"/>
              <a:gd name="connsiteY4919" fmla="*/ 649326 h 3912503"/>
              <a:gd name="connsiteX4920" fmla="*/ 9666888 w 12192528"/>
              <a:gd name="connsiteY4920" fmla="*/ 653935 h 3912503"/>
              <a:gd name="connsiteX4921" fmla="*/ 9670348 w 12192528"/>
              <a:gd name="connsiteY4921" fmla="*/ 658543 h 3912503"/>
              <a:gd name="connsiteX4922" fmla="*/ 9674385 w 12192528"/>
              <a:gd name="connsiteY4922" fmla="*/ 671216 h 3912503"/>
              <a:gd name="connsiteX4923" fmla="*/ 9677270 w 12192528"/>
              <a:gd name="connsiteY4923" fmla="*/ 678993 h 3912503"/>
              <a:gd name="connsiteX4924" fmla="*/ 9677270 w 12192528"/>
              <a:gd name="connsiteY4924" fmla="*/ 681415 h 3912503"/>
              <a:gd name="connsiteX4925" fmla="*/ 9711442 w 12192528"/>
              <a:gd name="connsiteY4925" fmla="*/ 686872 h 3912503"/>
              <a:gd name="connsiteX4926" fmla="*/ 9824543 w 12192528"/>
              <a:gd name="connsiteY4926" fmla="*/ 708328 h 3912503"/>
              <a:gd name="connsiteX4927" fmla="*/ 9827713 w 12192528"/>
              <a:gd name="connsiteY4927" fmla="*/ 698989 h 3912503"/>
              <a:gd name="connsiteX4928" fmla="*/ 9815752 w 12192528"/>
              <a:gd name="connsiteY4928" fmla="*/ 624202 h 3912503"/>
              <a:gd name="connsiteX4929" fmla="*/ 9804912 w 12192528"/>
              <a:gd name="connsiteY4929" fmla="*/ 572226 h 3912503"/>
              <a:gd name="connsiteX4930" fmla="*/ 9813791 w 12192528"/>
              <a:gd name="connsiteY4930" fmla="*/ 540299 h 3912503"/>
              <a:gd name="connsiteX4931" fmla="*/ 9809715 w 12192528"/>
              <a:gd name="connsiteY4931" fmla="*/ 537720 h 3912503"/>
              <a:gd name="connsiteX4932" fmla="*/ 9803372 w 12192528"/>
              <a:gd name="connsiteY4932" fmla="*/ 525911 h 3912503"/>
              <a:gd name="connsiteX4933" fmla="*/ 9801352 w 12192528"/>
              <a:gd name="connsiteY4933" fmla="*/ 521015 h 3912503"/>
              <a:gd name="connsiteX4934" fmla="*/ 9801066 w 12192528"/>
              <a:gd name="connsiteY4934" fmla="*/ 516119 h 3912503"/>
              <a:gd name="connsiteX4935" fmla="*/ 9801928 w 12192528"/>
              <a:gd name="connsiteY4935" fmla="*/ 512375 h 3912503"/>
              <a:gd name="connsiteX4936" fmla="*/ 9803372 w 12192528"/>
              <a:gd name="connsiteY4936" fmla="*/ 504597 h 3912503"/>
              <a:gd name="connsiteX4937" fmla="*/ 9803659 w 12192528"/>
              <a:gd name="connsiteY4937" fmla="*/ 501718 h 3912503"/>
              <a:gd name="connsiteX4938" fmla="*/ 9804527 w 12192528"/>
              <a:gd name="connsiteY4938" fmla="*/ 494805 h 3912503"/>
              <a:gd name="connsiteX4939" fmla="*/ 9818944 w 12192528"/>
              <a:gd name="connsiteY4939" fmla="*/ 483572 h 3912503"/>
              <a:gd name="connsiteX4940" fmla="*/ 9828174 w 12192528"/>
              <a:gd name="connsiteY4940" fmla="*/ 483283 h 3912503"/>
              <a:gd name="connsiteX4941" fmla="*/ 9846342 w 12192528"/>
              <a:gd name="connsiteY4941" fmla="*/ 487316 h 3912503"/>
              <a:gd name="connsiteX4942" fmla="*/ 9851245 w 12192528"/>
              <a:gd name="connsiteY4942" fmla="*/ 489908 h 3912503"/>
              <a:gd name="connsiteX4943" fmla="*/ 9856724 w 12192528"/>
              <a:gd name="connsiteY4943" fmla="*/ 494516 h 3912503"/>
              <a:gd name="connsiteX4944" fmla="*/ 9860184 w 12192528"/>
              <a:gd name="connsiteY4944" fmla="*/ 499126 h 3912503"/>
              <a:gd name="connsiteX4945" fmla="*/ 9864224 w 12192528"/>
              <a:gd name="connsiteY4945" fmla="*/ 511798 h 3912503"/>
              <a:gd name="connsiteX4946" fmla="*/ 9867106 w 12192528"/>
              <a:gd name="connsiteY4946" fmla="*/ 519575 h 3912503"/>
              <a:gd name="connsiteX4947" fmla="*/ 9867106 w 12192528"/>
              <a:gd name="connsiteY4947" fmla="*/ 523031 h 3912503"/>
              <a:gd name="connsiteX4948" fmla="*/ 9863647 w 12192528"/>
              <a:gd name="connsiteY4948" fmla="*/ 529944 h 3912503"/>
              <a:gd name="connsiteX4949" fmla="*/ 9855860 w 12192528"/>
              <a:gd name="connsiteY4949" fmla="*/ 540312 h 3912503"/>
              <a:gd name="connsiteX4950" fmla="*/ 9854626 w 12192528"/>
              <a:gd name="connsiteY4950" fmla="*/ 542774 h 3912503"/>
              <a:gd name="connsiteX4951" fmla="*/ 9854626 w 12192528"/>
              <a:gd name="connsiteY4951" fmla="*/ 588306 h 3912503"/>
              <a:gd name="connsiteX4952" fmla="*/ 9857618 w 12192528"/>
              <a:gd name="connsiteY4952" fmla="*/ 639160 h 3912503"/>
              <a:gd name="connsiteX4953" fmla="*/ 9893130 w 12192528"/>
              <a:gd name="connsiteY4953" fmla="*/ 698241 h 3912503"/>
              <a:gd name="connsiteX4954" fmla="*/ 9893504 w 12192528"/>
              <a:gd name="connsiteY4954" fmla="*/ 698290 h 3912503"/>
              <a:gd name="connsiteX4955" fmla="*/ 9896644 w 12192528"/>
              <a:gd name="connsiteY4955" fmla="*/ 696735 h 3912503"/>
              <a:gd name="connsiteX4956" fmla="*/ 9909397 w 12192528"/>
              <a:gd name="connsiteY4956" fmla="*/ 697073 h 3912503"/>
              <a:gd name="connsiteX4957" fmla="*/ 9921764 w 12192528"/>
              <a:gd name="connsiteY4957" fmla="*/ 697459 h 3912503"/>
              <a:gd name="connsiteX4958" fmla="*/ 9927482 w 12192528"/>
              <a:gd name="connsiteY4958" fmla="*/ 701044 h 3912503"/>
              <a:gd name="connsiteX4959" fmla="*/ 9962283 w 12192528"/>
              <a:gd name="connsiteY4959" fmla="*/ 690014 h 3912503"/>
              <a:gd name="connsiteX4960" fmla="*/ 10037044 w 12192528"/>
              <a:gd name="connsiteY4960" fmla="*/ 698989 h 3912503"/>
              <a:gd name="connsiteX4961" fmla="*/ 10114796 w 12192528"/>
              <a:gd name="connsiteY4961" fmla="*/ 695998 h 3912503"/>
              <a:gd name="connsiteX4962" fmla="*/ 10123768 w 12192528"/>
              <a:gd name="connsiteY4962" fmla="*/ 675058 h 3912503"/>
              <a:gd name="connsiteX4963" fmla="*/ 10216470 w 12192528"/>
              <a:gd name="connsiteY4963" fmla="*/ 663092 h 3912503"/>
              <a:gd name="connsiteX4964" fmla="*/ 10243384 w 12192528"/>
              <a:gd name="connsiteY4964" fmla="*/ 701981 h 3912503"/>
              <a:gd name="connsiteX4965" fmla="*/ 10330107 w 12192528"/>
              <a:gd name="connsiteY4965" fmla="*/ 857536 h 3912503"/>
              <a:gd name="connsiteX4966" fmla="*/ 10343144 w 12192528"/>
              <a:gd name="connsiteY4966" fmla="*/ 884365 h 3912503"/>
              <a:gd name="connsiteX4967" fmla="*/ 10358962 w 12192528"/>
              <a:gd name="connsiteY4967" fmla="*/ 900231 h 3912503"/>
              <a:gd name="connsiteX4968" fmla="*/ 10368416 w 12192528"/>
              <a:gd name="connsiteY4968" fmla="*/ 904253 h 3912503"/>
              <a:gd name="connsiteX4969" fmla="*/ 10382674 w 12192528"/>
              <a:gd name="connsiteY4969" fmla="*/ 908858 h 3912503"/>
              <a:gd name="connsiteX4970" fmla="*/ 10410849 w 12192528"/>
              <a:gd name="connsiteY4970" fmla="*/ 905399 h 3912503"/>
              <a:gd name="connsiteX4971" fmla="*/ 10428792 w 12192528"/>
              <a:gd name="connsiteY4971" fmla="*/ 905399 h 3912503"/>
              <a:gd name="connsiteX4972" fmla="*/ 10462061 w 12192528"/>
              <a:gd name="connsiteY4972" fmla="*/ 920355 h 3912503"/>
              <a:gd name="connsiteX4973" fmla="*/ 10461792 w 12192528"/>
              <a:gd name="connsiteY4973" fmla="*/ 943976 h 3912503"/>
              <a:gd name="connsiteX4974" fmla="*/ 10463990 w 12192528"/>
              <a:gd name="connsiteY4974" fmla="*/ 944911 h 3912503"/>
              <a:gd name="connsiteX4975" fmla="*/ 10501548 w 12192528"/>
              <a:gd name="connsiteY4975" fmla="*/ 964264 h 3912503"/>
              <a:gd name="connsiteX4976" fmla="*/ 10507371 w 12192528"/>
              <a:gd name="connsiteY4976" fmla="*/ 939192 h 3912503"/>
              <a:gd name="connsiteX4977" fmla="*/ 10518746 w 12192528"/>
              <a:gd name="connsiteY4977" fmla="*/ 880720 h 3912503"/>
              <a:gd name="connsiteX4978" fmla="*/ 10536623 w 12192528"/>
              <a:gd name="connsiteY4978" fmla="*/ 863665 h 3912503"/>
              <a:gd name="connsiteX4979" fmla="*/ 10634124 w 12192528"/>
              <a:gd name="connsiteY4979" fmla="*/ 872599 h 3912503"/>
              <a:gd name="connsiteX4980" fmla="*/ 10651186 w 12192528"/>
              <a:gd name="connsiteY4980" fmla="*/ 905084 h 3912503"/>
              <a:gd name="connsiteX4981" fmla="*/ 10670686 w 12192528"/>
              <a:gd name="connsiteY4981" fmla="*/ 967616 h 3912503"/>
              <a:gd name="connsiteX4982" fmla="*/ 10683686 w 12192528"/>
              <a:gd name="connsiteY4982" fmla="*/ 974924 h 3912503"/>
              <a:gd name="connsiteX4983" fmla="*/ 10742187 w 12192528"/>
              <a:gd name="connsiteY4983" fmla="*/ 978173 h 3912503"/>
              <a:gd name="connsiteX4984" fmla="*/ 10769814 w 12192528"/>
              <a:gd name="connsiteY4984" fmla="*/ 991167 h 3912503"/>
              <a:gd name="connsiteX4985" fmla="*/ 10794189 w 12192528"/>
              <a:gd name="connsiteY4985" fmla="*/ 1013094 h 3912503"/>
              <a:gd name="connsiteX4986" fmla="*/ 10827506 w 12192528"/>
              <a:gd name="connsiteY4986" fmla="*/ 1011469 h 3912503"/>
              <a:gd name="connsiteX4987" fmla="*/ 10860818 w 12192528"/>
              <a:gd name="connsiteY4987" fmla="*/ 1023651 h 3912503"/>
              <a:gd name="connsiteX4988" fmla="*/ 10911193 w 12192528"/>
              <a:gd name="connsiteY4988" fmla="*/ 1035021 h 3912503"/>
              <a:gd name="connsiteX4989" fmla="*/ 10946132 w 12192528"/>
              <a:gd name="connsiteY4989" fmla="*/ 995227 h 3912503"/>
              <a:gd name="connsiteX4990" fmla="*/ 10984320 w 12192528"/>
              <a:gd name="connsiteY4990" fmla="*/ 974112 h 3912503"/>
              <a:gd name="connsiteX4991" fmla="*/ 10942069 w 12192528"/>
              <a:gd name="connsiteY4991" fmla="*/ 1043954 h 3912503"/>
              <a:gd name="connsiteX4992" fmla="*/ 10975382 w 12192528"/>
              <a:gd name="connsiteY4992" fmla="*/ 1112171 h 3912503"/>
              <a:gd name="connsiteX4993" fmla="*/ 11025758 w 12192528"/>
              <a:gd name="connsiteY4993" fmla="*/ 1154400 h 3912503"/>
              <a:gd name="connsiteX4994" fmla="*/ 11029820 w 12192528"/>
              <a:gd name="connsiteY4994" fmla="*/ 1166582 h 3912503"/>
              <a:gd name="connsiteX4995" fmla="*/ 11052572 w 12192528"/>
              <a:gd name="connsiteY4995" fmla="*/ 1176327 h 3912503"/>
              <a:gd name="connsiteX4996" fmla="*/ 11086698 w 12192528"/>
              <a:gd name="connsiteY4996" fmla="*/ 1143843 h 3912503"/>
              <a:gd name="connsiteX4997" fmla="*/ 11107822 w 12192528"/>
              <a:gd name="connsiteY4997" fmla="*/ 1136535 h 3912503"/>
              <a:gd name="connsiteX4998" fmla="*/ 11136260 w 12192528"/>
              <a:gd name="connsiteY4998" fmla="*/ 1141407 h 3912503"/>
              <a:gd name="connsiteX4999" fmla="*/ 11150072 w 12192528"/>
              <a:gd name="connsiteY4999" fmla="*/ 1132473 h 3912503"/>
              <a:gd name="connsiteX5000" fmla="*/ 11142760 w 12192528"/>
              <a:gd name="connsiteY5000" fmla="*/ 1117043 h 3912503"/>
              <a:gd name="connsiteX5001" fmla="*/ 11128134 w 12192528"/>
              <a:gd name="connsiteY5001" fmla="*/ 1110547 h 3912503"/>
              <a:gd name="connsiteX5002" fmla="*/ 11118385 w 12192528"/>
              <a:gd name="connsiteY5002" fmla="*/ 1091056 h 3912503"/>
              <a:gd name="connsiteX5003" fmla="*/ 11086698 w 12192528"/>
              <a:gd name="connsiteY5003" fmla="*/ 1028524 h 3912503"/>
              <a:gd name="connsiteX5004" fmla="*/ 11075321 w 12192528"/>
              <a:gd name="connsiteY5004" fmla="*/ 1019591 h 3912503"/>
              <a:gd name="connsiteX5005" fmla="*/ 11090760 w 12192528"/>
              <a:gd name="connsiteY5005" fmla="*/ 1009846 h 3912503"/>
              <a:gd name="connsiteX5006" fmla="*/ 11093196 w 12192528"/>
              <a:gd name="connsiteY5006" fmla="*/ 1009846 h 3912503"/>
              <a:gd name="connsiteX5007" fmla="*/ 11108634 w 12192528"/>
              <a:gd name="connsiteY5007" fmla="*/ 982234 h 3912503"/>
              <a:gd name="connsiteX5008" fmla="*/ 11110260 w 12192528"/>
              <a:gd name="connsiteY5008" fmla="*/ 944064 h 3912503"/>
              <a:gd name="connsiteX5009" fmla="*/ 11124072 w 12192528"/>
              <a:gd name="connsiteY5009" fmla="*/ 890465 h 3912503"/>
              <a:gd name="connsiteX5010" fmla="*/ 11136260 w 12192528"/>
              <a:gd name="connsiteY5010" fmla="*/ 875847 h 3912503"/>
              <a:gd name="connsiteX5011" fmla="*/ 11169572 w 12192528"/>
              <a:gd name="connsiteY5011" fmla="*/ 833618 h 3912503"/>
              <a:gd name="connsiteX5012" fmla="*/ 11189073 w 12192528"/>
              <a:gd name="connsiteY5012" fmla="*/ 826309 h 3912503"/>
              <a:gd name="connsiteX5013" fmla="*/ 11269512 w 12192528"/>
              <a:gd name="connsiteY5013" fmla="*/ 802758 h 3912503"/>
              <a:gd name="connsiteX5014" fmla="*/ 11269512 w 12192528"/>
              <a:gd name="connsiteY5014" fmla="*/ 784891 h 3912503"/>
              <a:gd name="connsiteX5015" fmla="*/ 11248387 w 12192528"/>
              <a:gd name="connsiteY5015" fmla="*/ 782455 h 3912503"/>
              <a:gd name="connsiteX5016" fmla="*/ 11233763 w 12192528"/>
              <a:gd name="connsiteY5016" fmla="*/ 792200 h 3912503"/>
              <a:gd name="connsiteX5017" fmla="*/ 11219949 w 12192528"/>
              <a:gd name="connsiteY5017" fmla="*/ 793825 h 3912503"/>
              <a:gd name="connsiteX5018" fmla="*/ 11222388 w 12192528"/>
              <a:gd name="connsiteY5018" fmla="*/ 779206 h 3912503"/>
              <a:gd name="connsiteX5019" fmla="*/ 11233763 w 12192528"/>
              <a:gd name="connsiteY5019" fmla="*/ 768649 h 3912503"/>
              <a:gd name="connsiteX5020" fmla="*/ 11237824 w 12192528"/>
              <a:gd name="connsiteY5020" fmla="*/ 743474 h 3912503"/>
              <a:gd name="connsiteX5021" fmla="*/ 11215886 w 12192528"/>
              <a:gd name="connsiteY5021" fmla="*/ 748346 h 3912503"/>
              <a:gd name="connsiteX5022" fmla="*/ 11198824 w 12192528"/>
              <a:gd name="connsiteY5022" fmla="*/ 762153 h 3912503"/>
              <a:gd name="connsiteX5023" fmla="*/ 11182573 w 12192528"/>
              <a:gd name="connsiteY5023" fmla="*/ 751595 h 3912503"/>
              <a:gd name="connsiteX5024" fmla="*/ 11200449 w 12192528"/>
              <a:gd name="connsiteY5024" fmla="*/ 705304 h 3912503"/>
              <a:gd name="connsiteX5025" fmla="*/ 11200449 w 12192528"/>
              <a:gd name="connsiteY5025" fmla="*/ 660639 h 3912503"/>
              <a:gd name="connsiteX5026" fmla="*/ 11184198 w 12192528"/>
              <a:gd name="connsiteY5026" fmla="*/ 642772 h 3912503"/>
              <a:gd name="connsiteX5027" fmla="*/ 11179324 w 12192528"/>
              <a:gd name="connsiteY5027" fmla="*/ 633839 h 3912503"/>
              <a:gd name="connsiteX5028" fmla="*/ 11188261 w 12192528"/>
              <a:gd name="connsiteY5028" fmla="*/ 628967 h 3912503"/>
              <a:gd name="connsiteX5029" fmla="*/ 11205323 w 12192528"/>
              <a:gd name="connsiteY5029" fmla="*/ 612724 h 3912503"/>
              <a:gd name="connsiteX5030" fmla="*/ 11226449 w 12192528"/>
              <a:gd name="connsiteY5030" fmla="*/ 576179 h 3912503"/>
              <a:gd name="connsiteX5031" fmla="*/ 11227261 w 12192528"/>
              <a:gd name="connsiteY5031" fmla="*/ 556688 h 3912503"/>
              <a:gd name="connsiteX5032" fmla="*/ 11220761 w 12192528"/>
              <a:gd name="connsiteY5032" fmla="*/ 543695 h 3912503"/>
              <a:gd name="connsiteX5033" fmla="*/ 11234574 w 12192528"/>
              <a:gd name="connsiteY5033" fmla="*/ 534762 h 3912503"/>
              <a:gd name="connsiteX5034" fmla="*/ 11245949 w 12192528"/>
              <a:gd name="connsiteY5034" fmla="*/ 533137 h 3912503"/>
              <a:gd name="connsiteX5035" fmla="*/ 11259762 w 12192528"/>
              <a:gd name="connsiteY5035" fmla="*/ 499841 h 3912503"/>
              <a:gd name="connsiteX5036" fmla="*/ 11255700 w 12192528"/>
              <a:gd name="connsiteY5036" fmla="*/ 493343 h 3912503"/>
              <a:gd name="connsiteX5037" fmla="*/ 11256512 w 12192528"/>
              <a:gd name="connsiteY5037" fmla="*/ 478726 h 3912503"/>
              <a:gd name="connsiteX5038" fmla="*/ 11269512 w 12192528"/>
              <a:gd name="connsiteY5038" fmla="*/ 481975 h 3912503"/>
              <a:gd name="connsiteX5039" fmla="*/ 11277637 w 12192528"/>
              <a:gd name="connsiteY5039" fmla="*/ 492532 h 3912503"/>
              <a:gd name="connsiteX5040" fmla="*/ 11293888 w 12192528"/>
              <a:gd name="connsiteY5040" fmla="*/ 494968 h 3912503"/>
              <a:gd name="connsiteX5041" fmla="*/ 11343451 w 12192528"/>
              <a:gd name="connsiteY5041" fmla="*/ 481975 h 3912503"/>
              <a:gd name="connsiteX5042" fmla="*/ 11405201 w 12192528"/>
              <a:gd name="connsiteY5042" fmla="*/ 477913 h 3912503"/>
              <a:gd name="connsiteX5043" fmla="*/ 11419828 w 12192528"/>
              <a:gd name="connsiteY5043" fmla="*/ 485223 h 3912503"/>
              <a:gd name="connsiteX5044" fmla="*/ 11462078 w 12192528"/>
              <a:gd name="connsiteY5044" fmla="*/ 504713 h 3912503"/>
              <a:gd name="connsiteX5045" fmla="*/ 11470203 w 12192528"/>
              <a:gd name="connsiteY5045" fmla="*/ 510398 h 3912503"/>
              <a:gd name="connsiteX5046" fmla="*/ 11505953 w 12192528"/>
              <a:gd name="connsiteY5046" fmla="*/ 553440 h 3912503"/>
              <a:gd name="connsiteX5047" fmla="*/ 11527892 w 12192528"/>
              <a:gd name="connsiteY5047" fmla="*/ 626530 h 3912503"/>
              <a:gd name="connsiteX5048" fmla="*/ 11538454 w 12192528"/>
              <a:gd name="connsiteY5048" fmla="*/ 651706 h 3912503"/>
              <a:gd name="connsiteX5049" fmla="*/ 11536017 w 12192528"/>
              <a:gd name="connsiteY5049" fmla="*/ 687439 h 3912503"/>
              <a:gd name="connsiteX5050" fmla="*/ 11532766 w 12192528"/>
              <a:gd name="connsiteY5050" fmla="*/ 717486 h 3912503"/>
              <a:gd name="connsiteX5051" fmla="*/ 11533579 w 12192528"/>
              <a:gd name="connsiteY5051" fmla="*/ 729668 h 3912503"/>
              <a:gd name="connsiteX5052" fmla="*/ 11485642 w 12192528"/>
              <a:gd name="connsiteY5052" fmla="*/ 784891 h 3912503"/>
              <a:gd name="connsiteX5053" fmla="*/ 11440140 w 12192528"/>
              <a:gd name="connsiteY5053" fmla="*/ 811691 h 3912503"/>
              <a:gd name="connsiteX5054" fmla="*/ 11406015 w 12192528"/>
              <a:gd name="connsiteY5054" fmla="*/ 856357 h 3912503"/>
              <a:gd name="connsiteX5055" fmla="*/ 11410890 w 12192528"/>
              <a:gd name="connsiteY5055" fmla="*/ 865290 h 3912503"/>
              <a:gd name="connsiteX5056" fmla="*/ 11458828 w 12192528"/>
              <a:gd name="connsiteY5056" fmla="*/ 922137 h 3912503"/>
              <a:gd name="connsiteX5057" fmla="*/ 11465328 w 12192528"/>
              <a:gd name="connsiteY5057" fmla="*/ 935132 h 3912503"/>
              <a:gd name="connsiteX5058" fmla="*/ 11471828 w 12192528"/>
              <a:gd name="connsiteY5058" fmla="*/ 975737 h 3912503"/>
              <a:gd name="connsiteX5059" fmla="*/ 11481872 w 12192528"/>
              <a:gd name="connsiteY5059" fmla="*/ 1017329 h 3912503"/>
              <a:gd name="connsiteX5060" fmla="*/ 11491053 w 12192528"/>
              <a:gd name="connsiteY5060" fmla="*/ 1017615 h 3912503"/>
              <a:gd name="connsiteX5061" fmla="*/ 11510371 w 12192528"/>
              <a:gd name="connsiteY5061" fmla="*/ 1032664 h 3912503"/>
              <a:gd name="connsiteX5062" fmla="*/ 11511530 w 12192528"/>
              <a:gd name="connsiteY5062" fmla="*/ 1041926 h 3912503"/>
              <a:gd name="connsiteX5063" fmla="*/ 11511917 w 12192528"/>
              <a:gd name="connsiteY5063" fmla="*/ 1045784 h 3912503"/>
              <a:gd name="connsiteX5064" fmla="*/ 11513848 w 12192528"/>
              <a:gd name="connsiteY5064" fmla="*/ 1056202 h 3912503"/>
              <a:gd name="connsiteX5065" fmla="*/ 11515007 w 12192528"/>
              <a:gd name="connsiteY5065" fmla="*/ 1061219 h 3912503"/>
              <a:gd name="connsiteX5066" fmla="*/ 11514621 w 12192528"/>
              <a:gd name="connsiteY5066" fmla="*/ 1067780 h 3912503"/>
              <a:gd name="connsiteX5067" fmla="*/ 11511917 w 12192528"/>
              <a:gd name="connsiteY5067" fmla="*/ 1074339 h 3912503"/>
              <a:gd name="connsiteX5068" fmla="*/ 11503417 w 12192528"/>
              <a:gd name="connsiteY5068" fmla="*/ 1090160 h 3912503"/>
              <a:gd name="connsiteX5069" fmla="*/ 11475984 w 12192528"/>
              <a:gd name="connsiteY5069" fmla="*/ 1107524 h 3912503"/>
              <a:gd name="connsiteX5070" fmla="*/ 11473280 w 12192528"/>
              <a:gd name="connsiteY5070" fmla="*/ 1106753 h 3912503"/>
              <a:gd name="connsiteX5071" fmla="*/ 11460917 w 12192528"/>
              <a:gd name="connsiteY5071" fmla="*/ 1105209 h 3912503"/>
              <a:gd name="connsiteX5072" fmla="*/ 11457826 w 12192528"/>
              <a:gd name="connsiteY5072" fmla="*/ 1103665 h 3912503"/>
              <a:gd name="connsiteX5073" fmla="*/ 11454686 w 12192528"/>
              <a:gd name="connsiteY5073" fmla="*/ 1098408 h 3912503"/>
              <a:gd name="connsiteX5074" fmla="*/ 11451372 w 12192528"/>
              <a:gd name="connsiteY5074" fmla="*/ 1099882 h 3912503"/>
              <a:gd name="connsiteX5075" fmla="*/ 11439328 w 12192528"/>
              <a:gd name="connsiteY5075" fmla="*/ 1147092 h 3912503"/>
              <a:gd name="connsiteX5076" fmla="*/ 11431203 w 12192528"/>
              <a:gd name="connsiteY5076" fmla="*/ 1153588 h 3912503"/>
              <a:gd name="connsiteX5077" fmla="*/ 11381639 w 12192528"/>
              <a:gd name="connsiteY5077" fmla="*/ 1177140 h 3912503"/>
              <a:gd name="connsiteX5078" fmla="*/ 11360513 w 12192528"/>
              <a:gd name="connsiteY5078" fmla="*/ 1183637 h 3912503"/>
              <a:gd name="connsiteX5079" fmla="*/ 11324763 w 12192528"/>
              <a:gd name="connsiteY5079" fmla="*/ 1191757 h 3912503"/>
              <a:gd name="connsiteX5080" fmla="*/ 11297950 w 12192528"/>
              <a:gd name="connsiteY5080" fmla="*/ 1215309 h 3912503"/>
              <a:gd name="connsiteX5081" fmla="*/ 11278450 w 12192528"/>
              <a:gd name="connsiteY5081" fmla="*/ 1208812 h 3912503"/>
              <a:gd name="connsiteX5082" fmla="*/ 11276013 w 12192528"/>
              <a:gd name="connsiteY5082" fmla="*/ 1199067 h 3912503"/>
              <a:gd name="connsiteX5083" fmla="*/ 11268700 w 12192528"/>
              <a:gd name="connsiteY5083" fmla="*/ 1187697 h 3912503"/>
              <a:gd name="connsiteX5084" fmla="*/ 11258137 w 12192528"/>
              <a:gd name="connsiteY5084" fmla="*/ 1195006 h 3912503"/>
              <a:gd name="connsiteX5085" fmla="*/ 11233763 w 12192528"/>
              <a:gd name="connsiteY5085" fmla="*/ 1190945 h 3912503"/>
              <a:gd name="connsiteX5086" fmla="*/ 11228886 w 12192528"/>
              <a:gd name="connsiteY5086" fmla="*/ 1180388 h 3912503"/>
              <a:gd name="connsiteX5087" fmla="*/ 11214263 w 12192528"/>
              <a:gd name="connsiteY5087" fmla="*/ 1174703 h 3912503"/>
              <a:gd name="connsiteX5088" fmla="*/ 11208574 w 12192528"/>
              <a:gd name="connsiteY5088" fmla="*/ 1188509 h 3912503"/>
              <a:gd name="connsiteX5089" fmla="*/ 11185823 w 12192528"/>
              <a:gd name="connsiteY5089" fmla="*/ 1286774 h 3912503"/>
              <a:gd name="connsiteX5090" fmla="*/ 11133822 w 12192528"/>
              <a:gd name="connsiteY5090" fmla="*/ 1319258 h 3912503"/>
              <a:gd name="connsiteX5091" fmla="*/ 11125698 w 12192528"/>
              <a:gd name="connsiteY5091" fmla="*/ 1333064 h 3912503"/>
              <a:gd name="connsiteX5092" fmla="*/ 11140324 w 12192528"/>
              <a:gd name="connsiteY5092" fmla="*/ 1364736 h 3912503"/>
              <a:gd name="connsiteX5093" fmla="*/ 11139266 w 12192528"/>
              <a:gd name="connsiteY5093" fmla="*/ 1369228 h 3912503"/>
              <a:gd name="connsiteX5094" fmla="*/ 11297806 w 12192528"/>
              <a:gd name="connsiteY5094" fmla="*/ 1320298 h 3912503"/>
              <a:gd name="connsiteX5095" fmla="*/ 11446716 w 12192528"/>
              <a:gd name="connsiteY5095" fmla="*/ 1297193 h 3912503"/>
              <a:gd name="connsiteX5096" fmla="*/ 11458695 w 12192528"/>
              <a:gd name="connsiteY5096" fmla="*/ 1297294 h 3912503"/>
              <a:gd name="connsiteX5097" fmla="*/ 11471267 w 12192528"/>
              <a:gd name="connsiteY5097" fmla="*/ 1305334 h 3912503"/>
              <a:gd name="connsiteX5098" fmla="*/ 11461171 w 12192528"/>
              <a:gd name="connsiteY5098" fmla="*/ 1317063 h 3912503"/>
              <a:gd name="connsiteX5099" fmla="*/ 11419876 w 12192528"/>
              <a:gd name="connsiteY5099" fmla="*/ 1325139 h 3912503"/>
              <a:gd name="connsiteX5100" fmla="*/ 11405440 w 12192528"/>
              <a:gd name="connsiteY5100" fmla="*/ 1332204 h 3912503"/>
              <a:gd name="connsiteX5101" fmla="*/ 11456257 w 12192528"/>
              <a:gd name="connsiteY5101" fmla="*/ 1331398 h 3912503"/>
              <a:gd name="connsiteX5102" fmla="*/ 11703928 w 12192528"/>
              <a:gd name="connsiteY5102" fmla="*/ 1294923 h 3912503"/>
              <a:gd name="connsiteX5103" fmla="*/ 12009562 w 12192528"/>
              <a:gd name="connsiteY5103" fmla="*/ 1339913 h 3912503"/>
              <a:gd name="connsiteX5104" fmla="*/ 12145400 w 12192528"/>
              <a:gd name="connsiteY5104" fmla="*/ 1382661 h 3912503"/>
              <a:gd name="connsiteX5105" fmla="*/ 12141852 w 12192528"/>
              <a:gd name="connsiteY5105" fmla="*/ 1377822 h 3912503"/>
              <a:gd name="connsiteX5106" fmla="*/ 12137943 w 12192528"/>
              <a:gd name="connsiteY5106" fmla="*/ 1369063 h 3912503"/>
              <a:gd name="connsiteX5107" fmla="*/ 12136466 w 12192528"/>
              <a:gd name="connsiteY5107" fmla="*/ 1361485 h 3912503"/>
              <a:gd name="connsiteX5108" fmla="*/ 12139010 w 12192528"/>
              <a:gd name="connsiteY5108" fmla="*/ 1343848 h 3912503"/>
              <a:gd name="connsiteX5109" fmla="*/ 12140082 w 12192528"/>
              <a:gd name="connsiteY5109" fmla="*/ 1332787 h 3912503"/>
              <a:gd name="connsiteX5110" fmla="*/ 12142101 w 12192528"/>
              <a:gd name="connsiteY5110" fmla="*/ 1328622 h 3912503"/>
              <a:gd name="connsiteX5111" fmla="*/ 12150316 w 12192528"/>
              <a:gd name="connsiteY5111" fmla="*/ 1322313 h 3912503"/>
              <a:gd name="connsiteX5112" fmla="*/ 12165766 w 12192528"/>
              <a:gd name="connsiteY5112" fmla="*/ 1314368 h 3912503"/>
              <a:gd name="connsiteX5113" fmla="*/ 12170557 w 12192528"/>
              <a:gd name="connsiteY5113" fmla="*/ 1310688 h 3912503"/>
              <a:gd name="connsiteX5114" fmla="*/ 12175571 w 12192528"/>
              <a:gd name="connsiteY5114" fmla="*/ 1310976 h 3912503"/>
              <a:gd name="connsiteX5115" fmla="*/ 12184744 w 12192528"/>
              <a:gd name="connsiteY5115" fmla="*/ 1312425 h 3912503"/>
              <a:gd name="connsiteX5116" fmla="*/ 12188199 w 12192528"/>
              <a:gd name="connsiteY5116" fmla="*/ 1312384 h 3912503"/>
              <a:gd name="connsiteX5117" fmla="*/ 12192528 w 12192528"/>
              <a:gd name="connsiteY5117" fmla="*/ 1316854 h 3912503"/>
              <a:gd name="connsiteX5118" fmla="*/ 12192528 w 12192528"/>
              <a:gd name="connsiteY5118" fmla="*/ 1502417 h 3912503"/>
              <a:gd name="connsiteX5119" fmla="*/ 12172292 w 12192528"/>
              <a:gd name="connsiteY5119" fmla="*/ 1494365 h 3912503"/>
              <a:gd name="connsiteX5120" fmla="*/ 12055557 w 12192528"/>
              <a:gd name="connsiteY5120" fmla="*/ 1459253 h 3912503"/>
              <a:gd name="connsiteX5121" fmla="*/ 12041903 w 12192528"/>
              <a:gd name="connsiteY5121" fmla="*/ 1456628 h 3912503"/>
              <a:gd name="connsiteX5122" fmla="*/ 12041538 w 12192528"/>
              <a:gd name="connsiteY5122" fmla="*/ 1462401 h 3912503"/>
              <a:gd name="connsiteX5123" fmla="*/ 12042045 w 12192528"/>
              <a:gd name="connsiteY5123" fmla="*/ 1473880 h 3912503"/>
              <a:gd name="connsiteX5124" fmla="*/ 12045528 w 12192528"/>
              <a:gd name="connsiteY5124" fmla="*/ 1483851 h 3912503"/>
              <a:gd name="connsiteX5125" fmla="*/ 12181815 w 12192528"/>
              <a:gd name="connsiteY5125" fmla="*/ 1525576 h 3912503"/>
              <a:gd name="connsiteX5126" fmla="*/ 12192528 w 12192528"/>
              <a:gd name="connsiteY5126" fmla="*/ 1530531 h 3912503"/>
              <a:gd name="connsiteX5127" fmla="*/ 12192528 w 12192528"/>
              <a:gd name="connsiteY5127" fmla="*/ 1654878 h 3912503"/>
              <a:gd name="connsiteX5128" fmla="*/ 12189630 w 12192528"/>
              <a:gd name="connsiteY5128" fmla="*/ 1653690 h 3912503"/>
              <a:gd name="connsiteX5129" fmla="*/ 12176969 w 12192528"/>
              <a:gd name="connsiteY5129" fmla="*/ 1645025 h 3912503"/>
              <a:gd name="connsiteX5130" fmla="*/ 12174400 w 12192528"/>
              <a:gd name="connsiteY5130" fmla="*/ 1642814 h 3912503"/>
              <a:gd name="connsiteX5131" fmla="*/ 12172010 w 12192528"/>
              <a:gd name="connsiteY5131" fmla="*/ 1642993 h 3912503"/>
              <a:gd name="connsiteX5132" fmla="*/ 12172189 w 12192528"/>
              <a:gd name="connsiteY5132" fmla="*/ 1645382 h 3912503"/>
              <a:gd name="connsiteX5133" fmla="*/ 12167232 w 12192528"/>
              <a:gd name="connsiteY5133" fmla="*/ 1643350 h 3912503"/>
              <a:gd name="connsiteX5134" fmla="*/ 12169620 w 12192528"/>
              <a:gd name="connsiteY5134" fmla="*/ 1643171 h 3912503"/>
              <a:gd name="connsiteX5135" fmla="*/ 12169442 w 12192528"/>
              <a:gd name="connsiteY5135" fmla="*/ 1640781 h 3912503"/>
              <a:gd name="connsiteX5136" fmla="*/ 12164664 w 12192528"/>
              <a:gd name="connsiteY5136" fmla="*/ 1641139 h 3912503"/>
              <a:gd name="connsiteX5137" fmla="*/ 12162096 w 12192528"/>
              <a:gd name="connsiteY5137" fmla="*/ 1638928 h 3912503"/>
              <a:gd name="connsiteX5138" fmla="*/ 12154927 w 12192528"/>
              <a:gd name="connsiteY5138" fmla="*/ 1639464 h 3912503"/>
              <a:gd name="connsiteX5139" fmla="*/ 12149969 w 12192528"/>
              <a:gd name="connsiteY5139" fmla="*/ 1637432 h 3912503"/>
              <a:gd name="connsiteX5140" fmla="*/ 12152538 w 12192528"/>
              <a:gd name="connsiteY5140" fmla="*/ 1639642 h 3912503"/>
              <a:gd name="connsiteX5141" fmla="*/ 12155105 w 12192528"/>
              <a:gd name="connsiteY5141" fmla="*/ 1641854 h 3912503"/>
              <a:gd name="connsiteX5142" fmla="*/ 12150327 w 12192528"/>
              <a:gd name="connsiteY5142" fmla="*/ 1642211 h 3912503"/>
              <a:gd name="connsiteX5143" fmla="*/ 12135455 w 12192528"/>
              <a:gd name="connsiteY5143" fmla="*/ 1636114 h 3912503"/>
              <a:gd name="connsiteX5144" fmla="*/ 12108279 w 12192528"/>
              <a:gd name="connsiteY5144" fmla="*/ 1626133 h 3912503"/>
              <a:gd name="connsiteX5145" fmla="*/ 12105711 w 12192528"/>
              <a:gd name="connsiteY5145" fmla="*/ 1623922 h 3912503"/>
              <a:gd name="connsiteX5146" fmla="*/ 12103321 w 12192528"/>
              <a:gd name="connsiteY5146" fmla="*/ 1624101 h 3912503"/>
              <a:gd name="connsiteX5147" fmla="*/ 12091016 w 12192528"/>
              <a:gd name="connsiteY5147" fmla="*/ 1620214 h 3912503"/>
              <a:gd name="connsiteX5148" fmla="*/ 12081281 w 12192528"/>
              <a:gd name="connsiteY5148" fmla="*/ 1618540 h 3912503"/>
              <a:gd name="connsiteX5149" fmla="*/ 12063841 w 12192528"/>
              <a:gd name="connsiteY5149" fmla="*/ 1610233 h 3912503"/>
              <a:gd name="connsiteX5150" fmla="*/ 12063662 w 12192528"/>
              <a:gd name="connsiteY5150" fmla="*/ 1607843 h 3912503"/>
              <a:gd name="connsiteX5151" fmla="*/ 12058883 w 12192528"/>
              <a:gd name="connsiteY5151" fmla="*/ 1608200 h 3912503"/>
              <a:gd name="connsiteX5152" fmla="*/ 12056494 w 12192528"/>
              <a:gd name="connsiteY5152" fmla="*/ 1608380 h 3912503"/>
              <a:gd name="connsiteX5153" fmla="*/ 12059062 w 12192528"/>
              <a:gd name="connsiteY5153" fmla="*/ 1610589 h 3912503"/>
              <a:gd name="connsiteX5154" fmla="*/ 12041800 w 12192528"/>
              <a:gd name="connsiteY5154" fmla="*/ 1604673 h 3912503"/>
              <a:gd name="connsiteX5155" fmla="*/ 12039231 w 12192528"/>
              <a:gd name="connsiteY5155" fmla="*/ 1602462 h 3912503"/>
              <a:gd name="connsiteX5156" fmla="*/ 12036842 w 12192528"/>
              <a:gd name="connsiteY5156" fmla="*/ 1602640 h 3912503"/>
              <a:gd name="connsiteX5157" fmla="*/ 12019759 w 12192528"/>
              <a:gd name="connsiteY5157" fmla="*/ 1599111 h 3912503"/>
              <a:gd name="connsiteX5158" fmla="*/ 12022149 w 12192528"/>
              <a:gd name="connsiteY5158" fmla="*/ 1598933 h 3912503"/>
              <a:gd name="connsiteX5159" fmla="*/ 12029317 w 12192528"/>
              <a:gd name="connsiteY5159" fmla="*/ 1598396 h 3912503"/>
              <a:gd name="connsiteX5160" fmla="*/ 12024359 w 12192528"/>
              <a:gd name="connsiteY5160" fmla="*/ 1596365 h 3912503"/>
              <a:gd name="connsiteX5161" fmla="*/ 12021792 w 12192528"/>
              <a:gd name="connsiteY5161" fmla="*/ 1594155 h 3912503"/>
              <a:gd name="connsiteX5162" fmla="*/ 12031528 w 12192528"/>
              <a:gd name="connsiteY5162" fmla="*/ 1595829 h 3912503"/>
              <a:gd name="connsiteX5163" fmla="*/ 12033559 w 12192528"/>
              <a:gd name="connsiteY5163" fmla="*/ 1590872 h 3912503"/>
              <a:gd name="connsiteX5164" fmla="*/ 12016298 w 12192528"/>
              <a:gd name="connsiteY5164" fmla="*/ 1584954 h 3912503"/>
              <a:gd name="connsiteX5165" fmla="*/ 12013730 w 12192528"/>
              <a:gd name="connsiteY5165" fmla="*/ 1582743 h 3912503"/>
              <a:gd name="connsiteX5166" fmla="*/ 12011341 w 12192528"/>
              <a:gd name="connsiteY5166" fmla="*/ 1582922 h 3912503"/>
              <a:gd name="connsiteX5167" fmla="*/ 12008951 w 12192528"/>
              <a:gd name="connsiteY5167" fmla="*/ 1583101 h 3912503"/>
              <a:gd name="connsiteX5168" fmla="*/ 12011519 w 12192528"/>
              <a:gd name="connsiteY5168" fmla="*/ 1585311 h 3912503"/>
              <a:gd name="connsiteX5169" fmla="*/ 12004351 w 12192528"/>
              <a:gd name="connsiteY5169" fmla="*/ 1585847 h 3912503"/>
              <a:gd name="connsiteX5170" fmla="*/ 12002139 w 12192528"/>
              <a:gd name="connsiteY5170" fmla="*/ 1588415 h 3912503"/>
              <a:gd name="connsiteX5171" fmla="*/ 12014444 w 12192528"/>
              <a:gd name="connsiteY5171" fmla="*/ 1592300 h 3912503"/>
              <a:gd name="connsiteX5172" fmla="*/ 12012055 w 12192528"/>
              <a:gd name="connsiteY5172" fmla="*/ 1592480 h 3912503"/>
              <a:gd name="connsiteX5173" fmla="*/ 12007456 w 12192528"/>
              <a:gd name="connsiteY5173" fmla="*/ 1595226 h 3912503"/>
              <a:gd name="connsiteX5174" fmla="*/ 12011728 w 12192528"/>
              <a:gd name="connsiteY5174" fmla="*/ 1596978 h 3912503"/>
              <a:gd name="connsiteX5175" fmla="*/ 12007291 w 12192528"/>
              <a:gd name="connsiteY5175" fmla="*/ 1597041 h 3912503"/>
              <a:gd name="connsiteX5176" fmla="*/ 11995331 w 12192528"/>
              <a:gd name="connsiteY5176" fmla="*/ 1593730 h 3912503"/>
              <a:gd name="connsiteX5177" fmla="*/ 11988697 w 12192528"/>
              <a:gd name="connsiteY5177" fmla="*/ 1601434 h 3912503"/>
              <a:gd name="connsiteX5178" fmla="*/ 11990908 w 12192528"/>
              <a:gd name="connsiteY5178" fmla="*/ 1598866 h 3912503"/>
              <a:gd name="connsiteX5179" fmla="*/ 11990730 w 12192528"/>
              <a:gd name="connsiteY5179" fmla="*/ 1596477 h 3912503"/>
              <a:gd name="connsiteX5180" fmla="*/ 11990551 w 12192528"/>
              <a:gd name="connsiteY5180" fmla="*/ 1594088 h 3912503"/>
              <a:gd name="connsiteX5181" fmla="*/ 11985771 w 12192528"/>
              <a:gd name="connsiteY5181" fmla="*/ 1594444 h 3912503"/>
              <a:gd name="connsiteX5182" fmla="*/ 11983384 w 12192528"/>
              <a:gd name="connsiteY5182" fmla="*/ 1594622 h 3912503"/>
              <a:gd name="connsiteX5183" fmla="*/ 11978246 w 12192528"/>
              <a:gd name="connsiteY5183" fmla="*/ 1590202 h 3912503"/>
              <a:gd name="connsiteX5184" fmla="*/ 11983024 w 12192528"/>
              <a:gd name="connsiteY5184" fmla="*/ 1589845 h 3912503"/>
              <a:gd name="connsiteX5185" fmla="*/ 11982847 w 12192528"/>
              <a:gd name="connsiteY5185" fmla="*/ 1587455 h 3912503"/>
              <a:gd name="connsiteX5186" fmla="*/ 11977889 w 12192528"/>
              <a:gd name="connsiteY5186" fmla="*/ 1585423 h 3912503"/>
              <a:gd name="connsiteX5187" fmla="*/ 11973110 w 12192528"/>
              <a:gd name="connsiteY5187" fmla="*/ 1585780 h 3912503"/>
              <a:gd name="connsiteX5188" fmla="*/ 11968688 w 12192528"/>
              <a:gd name="connsiteY5188" fmla="*/ 1590916 h 3912503"/>
              <a:gd name="connsiteX5189" fmla="*/ 11966478 w 12192528"/>
              <a:gd name="connsiteY5189" fmla="*/ 1593484 h 3912503"/>
              <a:gd name="connsiteX5190" fmla="*/ 11969047 w 12192528"/>
              <a:gd name="connsiteY5190" fmla="*/ 1595695 h 3912503"/>
              <a:gd name="connsiteX5191" fmla="*/ 11956920 w 12192528"/>
              <a:gd name="connsiteY5191" fmla="*/ 1594199 h 3912503"/>
              <a:gd name="connsiteX5192" fmla="*/ 11964088 w 12192528"/>
              <a:gd name="connsiteY5192" fmla="*/ 1593664 h 3912503"/>
              <a:gd name="connsiteX5193" fmla="*/ 11954174 w 12192528"/>
              <a:gd name="connsiteY5193" fmla="*/ 1589599 h 3912503"/>
              <a:gd name="connsiteX5194" fmla="*/ 11953994 w 12192528"/>
              <a:gd name="connsiteY5194" fmla="*/ 1587209 h 3912503"/>
              <a:gd name="connsiteX5195" fmla="*/ 11951606 w 12192528"/>
              <a:gd name="connsiteY5195" fmla="*/ 1587387 h 3912503"/>
              <a:gd name="connsiteX5196" fmla="*/ 11949216 w 12192528"/>
              <a:gd name="connsiteY5196" fmla="*/ 1587567 h 3912503"/>
              <a:gd name="connsiteX5197" fmla="*/ 11949395 w 12192528"/>
              <a:gd name="connsiteY5197" fmla="*/ 1589957 h 3912503"/>
              <a:gd name="connsiteX5198" fmla="*/ 11944259 w 12192528"/>
              <a:gd name="connsiteY5198" fmla="*/ 1585534 h 3912503"/>
              <a:gd name="connsiteX5199" fmla="*/ 11934701 w 12192528"/>
              <a:gd name="connsiteY5199" fmla="*/ 1586249 h 3912503"/>
              <a:gd name="connsiteX5200" fmla="*/ 11926526 w 12192528"/>
              <a:gd name="connsiteY5200" fmla="*/ 1585359 h 3912503"/>
              <a:gd name="connsiteX5201" fmla="*/ 11920008 w 12192528"/>
              <a:gd name="connsiteY5201" fmla="*/ 1582542 h 3912503"/>
              <a:gd name="connsiteX5202" fmla="*/ 11922218 w 12192528"/>
              <a:gd name="connsiteY5202" fmla="*/ 1579974 h 3912503"/>
              <a:gd name="connsiteX5203" fmla="*/ 11919829 w 12192528"/>
              <a:gd name="connsiteY5203" fmla="*/ 1580152 h 3912503"/>
              <a:gd name="connsiteX5204" fmla="*/ 11919651 w 12192528"/>
              <a:gd name="connsiteY5204" fmla="*/ 1577764 h 3912503"/>
              <a:gd name="connsiteX5205" fmla="*/ 11921861 w 12192528"/>
              <a:gd name="connsiteY5205" fmla="*/ 1575196 h 3912503"/>
              <a:gd name="connsiteX5206" fmla="*/ 11943723 w 12192528"/>
              <a:gd name="connsiteY5206" fmla="*/ 1578366 h 3912503"/>
              <a:gd name="connsiteX5207" fmla="*/ 11943901 w 12192528"/>
              <a:gd name="connsiteY5207" fmla="*/ 1580756 h 3912503"/>
              <a:gd name="connsiteX5208" fmla="*/ 11953637 w 12192528"/>
              <a:gd name="connsiteY5208" fmla="*/ 1582431 h 3912503"/>
              <a:gd name="connsiteX5209" fmla="*/ 11946112 w 12192528"/>
              <a:gd name="connsiteY5209" fmla="*/ 1578188 h 3912503"/>
              <a:gd name="connsiteX5210" fmla="*/ 11958237 w 12192528"/>
              <a:gd name="connsiteY5210" fmla="*/ 1579684 h 3912503"/>
              <a:gd name="connsiteX5211" fmla="*/ 11960807 w 12192528"/>
              <a:gd name="connsiteY5211" fmla="*/ 1581895 h 3912503"/>
              <a:gd name="connsiteX5212" fmla="*/ 11963195 w 12192528"/>
              <a:gd name="connsiteY5212" fmla="*/ 1581716 h 3912503"/>
              <a:gd name="connsiteX5213" fmla="*/ 11965405 w 12192528"/>
              <a:gd name="connsiteY5213" fmla="*/ 1579148 h 3912503"/>
              <a:gd name="connsiteX5214" fmla="*/ 11962837 w 12192528"/>
              <a:gd name="connsiteY5214" fmla="*/ 1576937 h 3912503"/>
              <a:gd name="connsiteX5215" fmla="*/ 11957881 w 12192528"/>
              <a:gd name="connsiteY5215" fmla="*/ 1574905 h 3912503"/>
              <a:gd name="connsiteX5216" fmla="*/ 11955491 w 12192528"/>
              <a:gd name="connsiteY5216" fmla="*/ 1575084 h 3912503"/>
              <a:gd name="connsiteX5217" fmla="*/ 11955670 w 12192528"/>
              <a:gd name="connsiteY5217" fmla="*/ 1577473 h 3912503"/>
              <a:gd name="connsiteX5218" fmla="*/ 11921682 w 12192528"/>
              <a:gd name="connsiteY5218" fmla="*/ 1572806 h 3912503"/>
              <a:gd name="connsiteX5219" fmla="*/ 11919114 w 12192528"/>
              <a:gd name="connsiteY5219" fmla="*/ 1570595 h 3912503"/>
              <a:gd name="connsiteX5220" fmla="*/ 11916724 w 12192528"/>
              <a:gd name="connsiteY5220" fmla="*/ 1570775 h 3912503"/>
              <a:gd name="connsiteX5221" fmla="*/ 11914336 w 12192528"/>
              <a:gd name="connsiteY5221" fmla="*/ 1570953 h 3912503"/>
              <a:gd name="connsiteX5222" fmla="*/ 11899642 w 12192528"/>
              <a:gd name="connsiteY5222" fmla="*/ 1567246 h 3912503"/>
              <a:gd name="connsiteX5223" fmla="*/ 11899820 w 12192528"/>
              <a:gd name="connsiteY5223" fmla="*/ 1569635 h 3912503"/>
              <a:gd name="connsiteX5224" fmla="*/ 11897253 w 12192528"/>
              <a:gd name="connsiteY5224" fmla="*/ 1567424 h 3912503"/>
              <a:gd name="connsiteX5225" fmla="*/ 11892295 w 12192528"/>
              <a:gd name="connsiteY5225" fmla="*/ 1565391 h 3912503"/>
              <a:gd name="connsiteX5226" fmla="*/ 11890083 w 12192528"/>
              <a:gd name="connsiteY5226" fmla="*/ 1567961 h 3912503"/>
              <a:gd name="connsiteX5227" fmla="*/ 11836982 w 12192528"/>
              <a:gd name="connsiteY5227" fmla="*/ 1564722 h 3912503"/>
              <a:gd name="connsiteX5228" fmla="*/ 11832026 w 12192528"/>
              <a:gd name="connsiteY5228" fmla="*/ 1562690 h 3912503"/>
              <a:gd name="connsiteX5229" fmla="*/ 11829635 w 12192528"/>
              <a:gd name="connsiteY5229" fmla="*/ 1562868 h 3912503"/>
              <a:gd name="connsiteX5230" fmla="*/ 11829813 w 12192528"/>
              <a:gd name="connsiteY5230" fmla="*/ 1565258 h 3912503"/>
              <a:gd name="connsiteX5231" fmla="*/ 11815120 w 12192528"/>
              <a:gd name="connsiteY5231" fmla="*/ 1561551 h 3912503"/>
              <a:gd name="connsiteX5232" fmla="*/ 11812730 w 12192528"/>
              <a:gd name="connsiteY5232" fmla="*/ 1561730 h 3912503"/>
              <a:gd name="connsiteX5233" fmla="*/ 11807953 w 12192528"/>
              <a:gd name="connsiteY5233" fmla="*/ 1562088 h 3912503"/>
              <a:gd name="connsiteX5234" fmla="*/ 11805563 w 12192528"/>
              <a:gd name="connsiteY5234" fmla="*/ 1562266 h 3912503"/>
              <a:gd name="connsiteX5235" fmla="*/ 11802995 w 12192528"/>
              <a:gd name="connsiteY5235" fmla="*/ 1560055 h 3912503"/>
              <a:gd name="connsiteX5236" fmla="*/ 11800605 w 12192528"/>
              <a:gd name="connsiteY5236" fmla="*/ 1560235 h 3912503"/>
              <a:gd name="connsiteX5237" fmla="*/ 11786270 w 12192528"/>
              <a:gd name="connsiteY5237" fmla="*/ 1561305 h 3912503"/>
              <a:gd name="connsiteX5238" fmla="*/ 11783880 w 12192528"/>
              <a:gd name="connsiteY5238" fmla="*/ 1561484 h 3912503"/>
              <a:gd name="connsiteX5239" fmla="*/ 11779101 w 12192528"/>
              <a:gd name="connsiteY5239" fmla="*/ 1561842 h 3912503"/>
              <a:gd name="connsiteX5240" fmla="*/ 11776711 w 12192528"/>
              <a:gd name="connsiteY5240" fmla="*/ 1562020 h 3912503"/>
              <a:gd name="connsiteX5241" fmla="*/ 11759986 w 12192528"/>
              <a:gd name="connsiteY5241" fmla="*/ 1563271 h 3912503"/>
              <a:gd name="connsiteX5242" fmla="*/ 11750071 w 12192528"/>
              <a:gd name="connsiteY5242" fmla="*/ 1559207 h 3912503"/>
              <a:gd name="connsiteX5243" fmla="*/ 11747503 w 12192528"/>
              <a:gd name="connsiteY5243" fmla="*/ 1556995 h 3912503"/>
              <a:gd name="connsiteX5244" fmla="*/ 11745114 w 12192528"/>
              <a:gd name="connsiteY5244" fmla="*/ 1557175 h 3912503"/>
              <a:gd name="connsiteX5245" fmla="*/ 11745293 w 12192528"/>
              <a:gd name="connsiteY5245" fmla="*/ 1559563 h 3912503"/>
              <a:gd name="connsiteX5246" fmla="*/ 11747681 w 12192528"/>
              <a:gd name="connsiteY5246" fmla="*/ 1559384 h 3912503"/>
              <a:gd name="connsiteX5247" fmla="*/ 11738304 w 12192528"/>
              <a:gd name="connsiteY5247" fmla="*/ 1562489 h 3912503"/>
              <a:gd name="connsiteX5248" fmla="*/ 11737946 w 12192528"/>
              <a:gd name="connsiteY5248" fmla="*/ 1557710 h 3912503"/>
              <a:gd name="connsiteX5249" fmla="*/ 11740023 w 12192528"/>
              <a:gd name="connsiteY5249" fmla="*/ 1555298 h 3912503"/>
              <a:gd name="connsiteX5250" fmla="*/ 11753411 w 12192528"/>
              <a:gd name="connsiteY5250" fmla="*/ 1555164 h 3912503"/>
              <a:gd name="connsiteX5251" fmla="*/ 11787943 w 12192528"/>
              <a:gd name="connsiteY5251" fmla="*/ 1551570 h 3912503"/>
              <a:gd name="connsiteX5252" fmla="*/ 11790511 w 12192528"/>
              <a:gd name="connsiteY5252" fmla="*/ 1553780 h 3912503"/>
              <a:gd name="connsiteX5253" fmla="*/ 11792903 w 12192528"/>
              <a:gd name="connsiteY5253" fmla="*/ 1553602 h 3912503"/>
              <a:gd name="connsiteX5254" fmla="*/ 11804670 w 12192528"/>
              <a:gd name="connsiteY5254" fmla="*/ 1550319 h 3912503"/>
              <a:gd name="connsiteX5255" fmla="*/ 11795112 w 12192528"/>
              <a:gd name="connsiteY5255" fmla="*/ 1551033 h 3912503"/>
              <a:gd name="connsiteX5256" fmla="*/ 11797322 w 12192528"/>
              <a:gd name="connsiteY5256" fmla="*/ 1548465 h 3912503"/>
              <a:gd name="connsiteX5257" fmla="*/ 11794933 w 12192528"/>
              <a:gd name="connsiteY5257" fmla="*/ 1548644 h 3912503"/>
              <a:gd name="connsiteX5258" fmla="*/ 11792544 w 12192528"/>
              <a:gd name="connsiteY5258" fmla="*/ 1548822 h 3912503"/>
              <a:gd name="connsiteX5259" fmla="*/ 11790155 w 12192528"/>
              <a:gd name="connsiteY5259" fmla="*/ 1549000 h 3912503"/>
              <a:gd name="connsiteX5260" fmla="*/ 11765367 w 12192528"/>
              <a:gd name="connsiteY5260" fmla="*/ 1538841 h 3912503"/>
              <a:gd name="connsiteX5261" fmla="*/ 11711194 w 12192528"/>
              <a:gd name="connsiteY5261" fmla="*/ 1521266 h 3912503"/>
              <a:gd name="connsiteX5262" fmla="*/ 11708625 w 12192528"/>
              <a:gd name="connsiteY5262" fmla="*/ 1519056 h 3912503"/>
              <a:gd name="connsiteX5263" fmla="*/ 11706058 w 12192528"/>
              <a:gd name="connsiteY5263" fmla="*/ 1516845 h 3912503"/>
              <a:gd name="connsiteX5264" fmla="*/ 11708268 w 12192528"/>
              <a:gd name="connsiteY5264" fmla="*/ 1514276 h 3912503"/>
              <a:gd name="connsiteX5265" fmla="*/ 11701100 w 12192528"/>
              <a:gd name="connsiteY5265" fmla="*/ 1514813 h 3912503"/>
              <a:gd name="connsiteX5266" fmla="*/ 11654987 w 12192528"/>
              <a:gd name="connsiteY5266" fmla="*/ 1508649 h 3912503"/>
              <a:gd name="connsiteX5267" fmla="*/ 11659587 w 12192528"/>
              <a:gd name="connsiteY5267" fmla="*/ 1505903 h 3912503"/>
              <a:gd name="connsiteX5268" fmla="*/ 11629842 w 12192528"/>
              <a:gd name="connsiteY5268" fmla="*/ 1493709 h 3912503"/>
              <a:gd name="connsiteX5269" fmla="*/ 11634621 w 12192528"/>
              <a:gd name="connsiteY5269" fmla="*/ 1493352 h 3912503"/>
              <a:gd name="connsiteX5270" fmla="*/ 11637011 w 12192528"/>
              <a:gd name="connsiteY5270" fmla="*/ 1493173 h 3912503"/>
              <a:gd name="connsiteX5271" fmla="*/ 11634444 w 12192528"/>
              <a:gd name="connsiteY5271" fmla="*/ 1490964 h 3912503"/>
              <a:gd name="connsiteX5272" fmla="*/ 11629664 w 12192528"/>
              <a:gd name="connsiteY5272" fmla="*/ 1491320 h 3912503"/>
              <a:gd name="connsiteX5273" fmla="*/ 11667895 w 12192528"/>
              <a:gd name="connsiteY5273" fmla="*/ 1488462 h 3912503"/>
              <a:gd name="connsiteX5274" fmla="*/ 11603984 w 12192528"/>
              <a:gd name="connsiteY5274" fmla="*/ 1469213 h 3912503"/>
              <a:gd name="connsiteX5275" fmla="*/ 11596100 w 12192528"/>
              <a:gd name="connsiteY5275" fmla="*/ 1460191 h 3912503"/>
              <a:gd name="connsiteX5276" fmla="*/ 11603090 w 12192528"/>
              <a:gd name="connsiteY5276" fmla="*/ 1457266 h 3912503"/>
              <a:gd name="connsiteX5277" fmla="*/ 11660615 w 12192528"/>
              <a:gd name="connsiteY5277" fmla="*/ 1455368 h 3912503"/>
              <a:gd name="connsiteX5278" fmla="*/ 11669457 w 12192528"/>
              <a:gd name="connsiteY5278" fmla="*/ 1445095 h 3912503"/>
              <a:gd name="connsiteX5279" fmla="*/ 11700698 w 12192528"/>
              <a:gd name="connsiteY5279" fmla="*/ 1445162 h 3912503"/>
              <a:gd name="connsiteX5280" fmla="*/ 11686004 w 12192528"/>
              <a:gd name="connsiteY5280" fmla="*/ 1441455 h 3912503"/>
              <a:gd name="connsiteX5281" fmla="*/ 11705119 w 12192528"/>
              <a:gd name="connsiteY5281" fmla="*/ 1440026 h 3912503"/>
              <a:gd name="connsiteX5282" fmla="*/ 11695026 w 12192528"/>
              <a:gd name="connsiteY5282" fmla="*/ 1433573 h 3912503"/>
              <a:gd name="connsiteX5283" fmla="*/ 11818135 w 12192528"/>
              <a:gd name="connsiteY5283" fmla="*/ 1441187 h 3912503"/>
              <a:gd name="connsiteX5284" fmla="*/ 11830260 w 12192528"/>
              <a:gd name="connsiteY5284" fmla="*/ 1442684 h 3912503"/>
              <a:gd name="connsiteX5285" fmla="*/ 12005870 w 12192528"/>
              <a:gd name="connsiteY5285" fmla="*/ 1472296 h 3912503"/>
              <a:gd name="connsiteX5286" fmla="*/ 12004793 w 12192528"/>
              <a:gd name="connsiteY5286" fmla="*/ 1467472 h 3912503"/>
              <a:gd name="connsiteX5287" fmla="*/ 12001048 w 12192528"/>
              <a:gd name="connsiteY5287" fmla="*/ 1461769 h 3912503"/>
              <a:gd name="connsiteX5288" fmla="*/ 12002499 w 12192528"/>
              <a:gd name="connsiteY5288" fmla="*/ 1449052 h 3912503"/>
              <a:gd name="connsiteX5289" fmla="*/ 11894890 w 12192528"/>
              <a:gd name="connsiteY5289" fmla="*/ 1428363 h 3912503"/>
              <a:gd name="connsiteX5290" fmla="*/ 11729796 w 12192528"/>
              <a:gd name="connsiteY5290" fmla="*/ 1416557 h 3912503"/>
              <a:gd name="connsiteX5291" fmla="*/ 11638642 w 12192528"/>
              <a:gd name="connsiteY5291" fmla="*/ 1418566 h 3912503"/>
              <a:gd name="connsiteX5292" fmla="*/ 11636073 w 12192528"/>
              <a:gd name="connsiteY5292" fmla="*/ 1416356 h 3912503"/>
              <a:gd name="connsiteX5293" fmla="*/ 11628904 w 12192528"/>
              <a:gd name="connsiteY5293" fmla="*/ 1416891 h 3912503"/>
              <a:gd name="connsiteX5294" fmla="*/ 11626695 w 12192528"/>
              <a:gd name="connsiteY5294" fmla="*/ 1419459 h 3912503"/>
              <a:gd name="connsiteX5295" fmla="*/ 11559791 w 12192528"/>
              <a:gd name="connsiteY5295" fmla="*/ 1424462 h 3912503"/>
              <a:gd name="connsiteX5296" fmla="*/ 11405552 w 12192528"/>
              <a:gd name="connsiteY5296" fmla="*/ 1450408 h 3912503"/>
              <a:gd name="connsiteX5297" fmla="*/ 11281960 w 12192528"/>
              <a:gd name="connsiteY5297" fmla="*/ 1483039 h 3912503"/>
              <a:gd name="connsiteX5298" fmla="*/ 11235063 w 12192528"/>
              <a:gd name="connsiteY5298" fmla="*/ 1499986 h 3912503"/>
              <a:gd name="connsiteX5299" fmla="*/ 11239348 w 12192528"/>
              <a:gd name="connsiteY5299" fmla="*/ 1504926 h 3912503"/>
              <a:gd name="connsiteX5300" fmla="*/ 11386016 w 12192528"/>
              <a:gd name="connsiteY5300" fmla="*/ 1464785 h 3912503"/>
              <a:gd name="connsiteX5301" fmla="*/ 11548916 w 12192528"/>
              <a:gd name="connsiteY5301" fmla="*/ 1439691 h 3912503"/>
              <a:gd name="connsiteX5302" fmla="*/ 11549274 w 12192528"/>
              <a:gd name="connsiteY5302" fmla="*/ 1444469 h 3912503"/>
              <a:gd name="connsiteX5303" fmla="*/ 11481946 w 12192528"/>
              <a:gd name="connsiteY5303" fmla="*/ 1475934 h 3912503"/>
              <a:gd name="connsiteX5304" fmla="*/ 11491682 w 12192528"/>
              <a:gd name="connsiteY5304" fmla="*/ 1477609 h 3912503"/>
              <a:gd name="connsiteX5305" fmla="*/ 11449030 w 12192528"/>
              <a:gd name="connsiteY5305" fmla="*/ 1485604 h 3912503"/>
              <a:gd name="connsiteX5306" fmla="*/ 11418862 w 12192528"/>
              <a:gd name="connsiteY5306" fmla="*/ 1499873 h 3912503"/>
              <a:gd name="connsiteX5307" fmla="*/ 11443113 w 12192528"/>
              <a:gd name="connsiteY5307" fmla="*/ 1502865 h 3912503"/>
              <a:gd name="connsiteX5308" fmla="*/ 11440902 w 12192528"/>
              <a:gd name="connsiteY5308" fmla="*/ 1505433 h 3912503"/>
              <a:gd name="connsiteX5309" fmla="*/ 11438513 w 12192528"/>
              <a:gd name="connsiteY5309" fmla="*/ 1505612 h 3912503"/>
              <a:gd name="connsiteX5310" fmla="*/ 11436122 w 12192528"/>
              <a:gd name="connsiteY5310" fmla="*/ 1505790 h 3912503"/>
              <a:gd name="connsiteX5311" fmla="*/ 11431345 w 12192528"/>
              <a:gd name="connsiteY5311" fmla="*/ 1506148 h 3912503"/>
              <a:gd name="connsiteX5312" fmla="*/ 11433912 w 12192528"/>
              <a:gd name="connsiteY5312" fmla="*/ 1508358 h 3912503"/>
              <a:gd name="connsiteX5313" fmla="*/ 11436303 w 12192528"/>
              <a:gd name="connsiteY5313" fmla="*/ 1508179 h 3912503"/>
              <a:gd name="connsiteX5314" fmla="*/ 11438692 w 12192528"/>
              <a:gd name="connsiteY5314" fmla="*/ 1508001 h 3912503"/>
              <a:gd name="connsiteX5315" fmla="*/ 11446038 w 12192528"/>
              <a:gd name="connsiteY5315" fmla="*/ 1509855 h 3912503"/>
              <a:gd name="connsiteX5316" fmla="*/ 11448248 w 12192528"/>
              <a:gd name="connsiteY5316" fmla="*/ 1507286 h 3912503"/>
              <a:gd name="connsiteX5317" fmla="*/ 11445861 w 12192528"/>
              <a:gd name="connsiteY5317" fmla="*/ 1507465 h 3912503"/>
              <a:gd name="connsiteX5318" fmla="*/ 11443292 w 12192528"/>
              <a:gd name="connsiteY5318" fmla="*/ 1505255 h 3912503"/>
              <a:gd name="connsiteX5319" fmla="*/ 11450459 w 12192528"/>
              <a:gd name="connsiteY5319" fmla="*/ 1504719 h 3912503"/>
              <a:gd name="connsiteX5320" fmla="*/ 11452849 w 12192528"/>
              <a:gd name="connsiteY5320" fmla="*/ 1504540 h 3912503"/>
              <a:gd name="connsiteX5321" fmla="*/ 11472858 w 12192528"/>
              <a:gd name="connsiteY5321" fmla="*/ 1515058 h 3912503"/>
              <a:gd name="connsiteX5322" fmla="*/ 11444363 w 12192528"/>
              <a:gd name="connsiteY5322" fmla="*/ 1519591 h 3912503"/>
              <a:gd name="connsiteX5323" fmla="*/ 11454635 w 12192528"/>
              <a:gd name="connsiteY5323" fmla="*/ 1528433 h 3912503"/>
              <a:gd name="connsiteX5324" fmla="*/ 11399077 w 12192528"/>
              <a:gd name="connsiteY5324" fmla="*/ 1556614 h 3912503"/>
              <a:gd name="connsiteX5325" fmla="*/ 11396686 w 12192528"/>
              <a:gd name="connsiteY5325" fmla="*/ 1556794 h 3912503"/>
              <a:gd name="connsiteX5326" fmla="*/ 11391909 w 12192528"/>
              <a:gd name="connsiteY5326" fmla="*/ 1557151 h 3912503"/>
              <a:gd name="connsiteX5327" fmla="*/ 11389698 w 12192528"/>
              <a:gd name="connsiteY5327" fmla="*/ 1559718 h 3912503"/>
              <a:gd name="connsiteX5328" fmla="*/ 11363950 w 12192528"/>
              <a:gd name="connsiteY5328" fmla="*/ 1568852 h 3912503"/>
              <a:gd name="connsiteX5329" fmla="*/ 11354572 w 12192528"/>
              <a:gd name="connsiteY5329" fmla="*/ 1571956 h 3912503"/>
              <a:gd name="connsiteX5330" fmla="*/ 11352361 w 12192528"/>
              <a:gd name="connsiteY5330" fmla="*/ 1574524 h 3912503"/>
              <a:gd name="connsiteX5331" fmla="*/ 11349972 w 12192528"/>
              <a:gd name="connsiteY5331" fmla="*/ 1574703 h 3912503"/>
              <a:gd name="connsiteX5332" fmla="*/ 11350150 w 12192528"/>
              <a:gd name="connsiteY5332" fmla="*/ 1577092 h 3912503"/>
              <a:gd name="connsiteX5333" fmla="*/ 11347760 w 12192528"/>
              <a:gd name="connsiteY5333" fmla="*/ 1577271 h 3912503"/>
              <a:gd name="connsiteX5334" fmla="*/ 11338560 w 12192528"/>
              <a:gd name="connsiteY5334" fmla="*/ 1582765 h 3912503"/>
              <a:gd name="connsiteX5335" fmla="*/ 11345908 w 12192528"/>
              <a:gd name="connsiteY5335" fmla="*/ 1584618 h 3912503"/>
              <a:gd name="connsiteX5336" fmla="*/ 11341485 w 12192528"/>
              <a:gd name="connsiteY5336" fmla="*/ 1589754 h 3912503"/>
              <a:gd name="connsiteX5337" fmla="*/ 11320159 w 12192528"/>
              <a:gd name="connsiteY5337" fmla="*/ 1593751 h 3912503"/>
              <a:gd name="connsiteX5338" fmla="*/ 11317664 w 12192528"/>
              <a:gd name="connsiteY5338" fmla="*/ 1595200 h 3912503"/>
              <a:gd name="connsiteX5339" fmla="*/ 11333078 w 12192528"/>
              <a:gd name="connsiteY5339" fmla="*/ 1612970 h 3912503"/>
              <a:gd name="connsiteX5340" fmla="*/ 11388303 w 12192528"/>
              <a:gd name="connsiteY5340" fmla="*/ 1598219 h 3912503"/>
              <a:gd name="connsiteX5341" fmla="*/ 11447717 w 12192528"/>
              <a:gd name="connsiteY5341" fmla="*/ 1588132 h 3912503"/>
              <a:gd name="connsiteX5342" fmla="*/ 11458791 w 12192528"/>
              <a:gd name="connsiteY5342" fmla="*/ 1590064 h 3912503"/>
              <a:gd name="connsiteX5343" fmla="*/ 11454672 w 12192528"/>
              <a:gd name="connsiteY5343" fmla="*/ 1595329 h 3912503"/>
              <a:gd name="connsiteX5344" fmla="*/ 11359640 w 12192528"/>
              <a:gd name="connsiteY5344" fmla="*/ 1616676 h 3912503"/>
              <a:gd name="connsiteX5345" fmla="*/ 11341256 w 12192528"/>
              <a:gd name="connsiteY5345" fmla="*/ 1622396 h 3912503"/>
              <a:gd name="connsiteX5346" fmla="*/ 11347775 w 12192528"/>
              <a:gd name="connsiteY5346" fmla="*/ 1629910 h 3912503"/>
              <a:gd name="connsiteX5347" fmla="*/ 11365669 w 12192528"/>
              <a:gd name="connsiteY5347" fmla="*/ 1623987 h 3912503"/>
              <a:gd name="connsiteX5348" fmla="*/ 11382038 w 12192528"/>
              <a:gd name="connsiteY5348" fmla="*/ 1617958 h 3912503"/>
              <a:gd name="connsiteX5349" fmla="*/ 11389028 w 12192528"/>
              <a:gd name="connsiteY5349" fmla="*/ 1615033 h 3912503"/>
              <a:gd name="connsiteX5350" fmla="*/ 11391417 w 12192528"/>
              <a:gd name="connsiteY5350" fmla="*/ 1614853 h 3912503"/>
              <a:gd name="connsiteX5351" fmla="*/ 11398764 w 12192528"/>
              <a:gd name="connsiteY5351" fmla="*/ 1616708 h 3912503"/>
              <a:gd name="connsiteX5352" fmla="*/ 11401153 w 12192528"/>
              <a:gd name="connsiteY5352" fmla="*/ 1616528 h 3912503"/>
              <a:gd name="connsiteX5353" fmla="*/ 11405753 w 12192528"/>
              <a:gd name="connsiteY5353" fmla="*/ 1613782 h 3912503"/>
              <a:gd name="connsiteX5354" fmla="*/ 11405575 w 12192528"/>
              <a:gd name="connsiteY5354" fmla="*/ 1611392 h 3912503"/>
              <a:gd name="connsiteX5355" fmla="*/ 11417521 w 12192528"/>
              <a:gd name="connsiteY5355" fmla="*/ 1610500 h 3912503"/>
              <a:gd name="connsiteX5356" fmla="*/ 11419733 w 12192528"/>
              <a:gd name="connsiteY5356" fmla="*/ 1607932 h 3912503"/>
              <a:gd name="connsiteX5357" fmla="*/ 11417343 w 12192528"/>
              <a:gd name="connsiteY5357" fmla="*/ 1608111 h 3912503"/>
              <a:gd name="connsiteX5358" fmla="*/ 11405575 w 12192528"/>
              <a:gd name="connsiteY5358" fmla="*/ 1611392 h 3912503"/>
              <a:gd name="connsiteX5359" fmla="*/ 11405396 w 12192528"/>
              <a:gd name="connsiteY5359" fmla="*/ 1609004 h 3912503"/>
              <a:gd name="connsiteX5360" fmla="*/ 11410174 w 12192528"/>
              <a:gd name="connsiteY5360" fmla="*/ 1608647 h 3912503"/>
              <a:gd name="connsiteX5361" fmla="*/ 11412564 w 12192528"/>
              <a:gd name="connsiteY5361" fmla="*/ 1608468 h 3912503"/>
              <a:gd name="connsiteX5362" fmla="*/ 11419553 w 12192528"/>
              <a:gd name="connsiteY5362" fmla="*/ 1605542 h 3912503"/>
              <a:gd name="connsiteX5363" fmla="*/ 11429110 w 12192528"/>
              <a:gd name="connsiteY5363" fmla="*/ 1604828 h 3912503"/>
              <a:gd name="connsiteX5364" fmla="*/ 11426900 w 12192528"/>
              <a:gd name="connsiteY5364" fmla="*/ 1607397 h 3912503"/>
              <a:gd name="connsiteX5365" fmla="*/ 11431680 w 12192528"/>
              <a:gd name="connsiteY5365" fmla="*/ 1607038 h 3912503"/>
              <a:gd name="connsiteX5366" fmla="*/ 11436458 w 12192528"/>
              <a:gd name="connsiteY5366" fmla="*/ 1606682 h 3912503"/>
              <a:gd name="connsiteX5367" fmla="*/ 11443448 w 12192528"/>
              <a:gd name="connsiteY5367" fmla="*/ 1603755 h 3912503"/>
              <a:gd name="connsiteX5368" fmla="*/ 11448226 w 12192528"/>
              <a:gd name="connsiteY5368" fmla="*/ 1603399 h 3912503"/>
              <a:gd name="connsiteX5369" fmla="*/ 11450437 w 12192528"/>
              <a:gd name="connsiteY5369" fmla="*/ 1600831 h 3912503"/>
              <a:gd name="connsiteX5370" fmla="*/ 11457426 w 12192528"/>
              <a:gd name="connsiteY5370" fmla="*/ 1597904 h 3912503"/>
              <a:gd name="connsiteX5371" fmla="*/ 11462206 w 12192528"/>
              <a:gd name="connsiteY5371" fmla="*/ 1597548 h 3912503"/>
              <a:gd name="connsiteX5372" fmla="*/ 11464774 w 12192528"/>
              <a:gd name="connsiteY5372" fmla="*/ 1599758 h 3912503"/>
              <a:gd name="connsiteX5373" fmla="*/ 11466984 w 12192528"/>
              <a:gd name="connsiteY5373" fmla="*/ 1597190 h 3912503"/>
              <a:gd name="connsiteX5374" fmla="*/ 11471942 w 12192528"/>
              <a:gd name="connsiteY5374" fmla="*/ 1599223 h 3912503"/>
              <a:gd name="connsiteX5375" fmla="*/ 11476542 w 12192528"/>
              <a:gd name="connsiteY5375" fmla="*/ 1596475 h 3912503"/>
              <a:gd name="connsiteX5376" fmla="*/ 11473974 w 12192528"/>
              <a:gd name="connsiteY5376" fmla="*/ 1594265 h 3912503"/>
              <a:gd name="connsiteX5377" fmla="*/ 11481142 w 12192528"/>
              <a:gd name="connsiteY5377" fmla="*/ 1593729 h 3912503"/>
              <a:gd name="connsiteX5378" fmla="*/ 11483532 w 12192528"/>
              <a:gd name="connsiteY5378" fmla="*/ 1593551 h 3912503"/>
              <a:gd name="connsiteX5379" fmla="*/ 11492910 w 12192528"/>
              <a:gd name="connsiteY5379" fmla="*/ 1590446 h 3912503"/>
              <a:gd name="connsiteX5380" fmla="*/ 11502468 w 12192528"/>
              <a:gd name="connsiteY5380" fmla="*/ 1589732 h 3912503"/>
              <a:gd name="connsiteX5381" fmla="*/ 11509636 w 12192528"/>
              <a:gd name="connsiteY5381" fmla="*/ 1589196 h 3912503"/>
              <a:gd name="connsiteX5382" fmla="*/ 11523972 w 12192528"/>
              <a:gd name="connsiteY5382" fmla="*/ 1588124 h 3912503"/>
              <a:gd name="connsiteX5383" fmla="*/ 11531320 w 12192528"/>
              <a:gd name="connsiteY5383" fmla="*/ 1589978 h 3912503"/>
              <a:gd name="connsiteX5384" fmla="*/ 11529109 w 12192528"/>
              <a:gd name="connsiteY5384" fmla="*/ 1592545 h 3912503"/>
              <a:gd name="connsiteX5385" fmla="*/ 11526897 w 12192528"/>
              <a:gd name="connsiteY5385" fmla="*/ 1595114 h 3912503"/>
              <a:gd name="connsiteX5386" fmla="*/ 11529287 w 12192528"/>
              <a:gd name="connsiteY5386" fmla="*/ 1594935 h 3912503"/>
              <a:gd name="connsiteX5387" fmla="*/ 11531676 w 12192528"/>
              <a:gd name="connsiteY5387" fmla="*/ 1594757 h 3912503"/>
              <a:gd name="connsiteX5388" fmla="*/ 11533889 w 12192528"/>
              <a:gd name="connsiteY5388" fmla="*/ 1592188 h 3912503"/>
              <a:gd name="connsiteX5389" fmla="*/ 11536098 w 12192528"/>
              <a:gd name="connsiteY5389" fmla="*/ 1589621 h 3912503"/>
              <a:gd name="connsiteX5390" fmla="*/ 11535920 w 12192528"/>
              <a:gd name="connsiteY5390" fmla="*/ 1587231 h 3912503"/>
              <a:gd name="connsiteX5391" fmla="*/ 11523794 w 12192528"/>
              <a:gd name="connsiteY5391" fmla="*/ 1585734 h 3912503"/>
              <a:gd name="connsiteX5392" fmla="*/ 11521405 w 12192528"/>
              <a:gd name="connsiteY5392" fmla="*/ 1585914 h 3912503"/>
              <a:gd name="connsiteX5393" fmla="*/ 11511847 w 12192528"/>
              <a:gd name="connsiteY5393" fmla="*/ 1586628 h 3912503"/>
              <a:gd name="connsiteX5394" fmla="*/ 11507068 w 12192528"/>
              <a:gd name="connsiteY5394" fmla="*/ 1586985 h 3912503"/>
              <a:gd name="connsiteX5395" fmla="*/ 11518837 w 12192528"/>
              <a:gd name="connsiteY5395" fmla="*/ 1583703 h 3912503"/>
              <a:gd name="connsiteX5396" fmla="*/ 11532994 w 12192528"/>
              <a:gd name="connsiteY5396" fmla="*/ 1580242 h 3912503"/>
              <a:gd name="connsiteX5397" fmla="*/ 11537952 w 12192528"/>
              <a:gd name="connsiteY5397" fmla="*/ 1582274 h 3912503"/>
              <a:gd name="connsiteX5398" fmla="*/ 11542730 w 12192528"/>
              <a:gd name="connsiteY5398" fmla="*/ 1581917 h 3912503"/>
              <a:gd name="connsiteX5399" fmla="*/ 11554677 w 12192528"/>
              <a:gd name="connsiteY5399" fmla="*/ 1581024 h 3912503"/>
              <a:gd name="connsiteX5400" fmla="*/ 11552466 w 12192528"/>
              <a:gd name="connsiteY5400" fmla="*/ 1583591 h 3912503"/>
              <a:gd name="connsiteX5401" fmla="*/ 11552645 w 12192528"/>
              <a:gd name="connsiteY5401" fmla="*/ 1585980 h 3912503"/>
              <a:gd name="connsiteX5402" fmla="*/ 11555034 w 12192528"/>
              <a:gd name="connsiteY5402" fmla="*/ 1585802 h 3912503"/>
              <a:gd name="connsiteX5403" fmla="*/ 11557424 w 12192528"/>
              <a:gd name="connsiteY5403" fmla="*/ 1585623 h 3912503"/>
              <a:gd name="connsiteX5404" fmla="*/ 11559634 w 12192528"/>
              <a:gd name="connsiteY5404" fmla="*/ 1583055 h 3912503"/>
              <a:gd name="connsiteX5405" fmla="*/ 11562024 w 12192528"/>
              <a:gd name="connsiteY5405" fmla="*/ 1582877 h 3912503"/>
              <a:gd name="connsiteX5406" fmla="*/ 11564413 w 12192528"/>
              <a:gd name="connsiteY5406" fmla="*/ 1582697 h 3912503"/>
              <a:gd name="connsiteX5407" fmla="*/ 11573792 w 12192528"/>
              <a:gd name="connsiteY5407" fmla="*/ 1579595 h 3912503"/>
              <a:gd name="connsiteX5408" fmla="*/ 11585740 w 12192528"/>
              <a:gd name="connsiteY5408" fmla="*/ 1578702 h 3912503"/>
              <a:gd name="connsiteX5409" fmla="*/ 11588308 w 12192528"/>
              <a:gd name="connsiteY5409" fmla="*/ 1580911 h 3912503"/>
              <a:gd name="connsiteX5410" fmla="*/ 11586097 w 12192528"/>
              <a:gd name="connsiteY5410" fmla="*/ 1583480 h 3912503"/>
              <a:gd name="connsiteX5411" fmla="*/ 11557602 w 12192528"/>
              <a:gd name="connsiteY5411" fmla="*/ 1588013 h 3912503"/>
              <a:gd name="connsiteX5412" fmla="*/ 11555212 w 12192528"/>
              <a:gd name="connsiteY5412" fmla="*/ 1588192 h 3912503"/>
              <a:gd name="connsiteX5413" fmla="*/ 11557781 w 12192528"/>
              <a:gd name="connsiteY5413" fmla="*/ 1590401 h 3912503"/>
              <a:gd name="connsiteX5414" fmla="*/ 11586276 w 12192528"/>
              <a:gd name="connsiteY5414" fmla="*/ 1585869 h 3912503"/>
              <a:gd name="connsiteX5415" fmla="*/ 11591591 w 12192528"/>
              <a:gd name="connsiteY5415" fmla="*/ 1592680 h 3912503"/>
              <a:gd name="connsiteX5416" fmla="*/ 11618231 w 12192528"/>
              <a:gd name="connsiteY5416" fmla="*/ 1595494 h 3912503"/>
              <a:gd name="connsiteX5417" fmla="*/ 11715235 w 12192528"/>
              <a:gd name="connsiteY5417" fmla="*/ 1607464 h 3912503"/>
              <a:gd name="connsiteX5418" fmla="*/ 11717625 w 12192528"/>
              <a:gd name="connsiteY5418" fmla="*/ 1607284 h 3912503"/>
              <a:gd name="connsiteX5419" fmla="*/ 11720015 w 12192528"/>
              <a:gd name="connsiteY5419" fmla="*/ 1607106 h 3912503"/>
              <a:gd name="connsiteX5420" fmla="*/ 11717447 w 12192528"/>
              <a:gd name="connsiteY5420" fmla="*/ 1604895 h 3912503"/>
              <a:gd name="connsiteX5421" fmla="*/ 11622830 w 12192528"/>
              <a:gd name="connsiteY5421" fmla="*/ 1592748 h 3912503"/>
              <a:gd name="connsiteX5422" fmla="*/ 11625220 w 12192528"/>
              <a:gd name="connsiteY5422" fmla="*/ 1592568 h 3912503"/>
              <a:gd name="connsiteX5423" fmla="*/ 11620084 w 12192528"/>
              <a:gd name="connsiteY5423" fmla="*/ 1588147 h 3912503"/>
              <a:gd name="connsiteX5424" fmla="*/ 11627251 w 12192528"/>
              <a:gd name="connsiteY5424" fmla="*/ 1587610 h 3912503"/>
              <a:gd name="connsiteX5425" fmla="*/ 11627431 w 12192528"/>
              <a:gd name="connsiteY5425" fmla="*/ 1590000 h 3912503"/>
              <a:gd name="connsiteX5426" fmla="*/ 11629822 w 12192528"/>
              <a:gd name="connsiteY5426" fmla="*/ 1589822 h 3912503"/>
              <a:gd name="connsiteX5427" fmla="*/ 11632209 w 12192528"/>
              <a:gd name="connsiteY5427" fmla="*/ 1589643 h 3912503"/>
              <a:gd name="connsiteX5428" fmla="*/ 11632031 w 12192528"/>
              <a:gd name="connsiteY5428" fmla="*/ 1587254 h 3912503"/>
              <a:gd name="connsiteX5429" fmla="*/ 11644156 w 12192528"/>
              <a:gd name="connsiteY5429" fmla="*/ 1588750 h 3912503"/>
              <a:gd name="connsiteX5430" fmla="*/ 11648936 w 12192528"/>
              <a:gd name="connsiteY5430" fmla="*/ 1588392 h 3912503"/>
              <a:gd name="connsiteX5431" fmla="*/ 11656104 w 12192528"/>
              <a:gd name="connsiteY5431" fmla="*/ 1587856 h 3912503"/>
              <a:gd name="connsiteX5432" fmla="*/ 11658493 w 12192528"/>
              <a:gd name="connsiteY5432" fmla="*/ 1587678 h 3912503"/>
              <a:gd name="connsiteX5433" fmla="*/ 11661061 w 12192528"/>
              <a:gd name="connsiteY5433" fmla="*/ 1589889 h 3912503"/>
              <a:gd name="connsiteX5434" fmla="*/ 11665839 w 12192528"/>
              <a:gd name="connsiteY5434" fmla="*/ 1589531 h 3912503"/>
              <a:gd name="connsiteX5435" fmla="*/ 11668051 w 12192528"/>
              <a:gd name="connsiteY5435" fmla="*/ 1586963 h 3912503"/>
              <a:gd name="connsiteX5436" fmla="*/ 11725396 w 12192528"/>
              <a:gd name="connsiteY5436" fmla="*/ 1582676 h 3912503"/>
              <a:gd name="connsiteX5437" fmla="*/ 11752037 w 12192528"/>
              <a:gd name="connsiteY5437" fmla="*/ 1585490 h 3912503"/>
              <a:gd name="connsiteX5438" fmla="*/ 11749470 w 12192528"/>
              <a:gd name="connsiteY5438" fmla="*/ 1583279 h 3912503"/>
              <a:gd name="connsiteX5439" fmla="*/ 11797614 w 12192528"/>
              <a:gd name="connsiteY5439" fmla="*/ 1584485 h 3912503"/>
              <a:gd name="connsiteX5440" fmla="*/ 11799824 w 12192528"/>
              <a:gd name="connsiteY5440" fmla="*/ 1581917 h 3912503"/>
              <a:gd name="connsiteX5441" fmla="*/ 11811950 w 12192528"/>
              <a:gd name="connsiteY5441" fmla="*/ 1583413 h 3912503"/>
              <a:gd name="connsiteX5442" fmla="*/ 11814519 w 12192528"/>
              <a:gd name="connsiteY5442" fmla="*/ 1585624 h 3912503"/>
              <a:gd name="connsiteX5443" fmla="*/ 11819118 w 12192528"/>
              <a:gd name="connsiteY5443" fmla="*/ 1582877 h 3912503"/>
              <a:gd name="connsiteX5444" fmla="*/ 11833634 w 12192528"/>
              <a:gd name="connsiteY5444" fmla="*/ 1584195 h 3912503"/>
              <a:gd name="connsiteX5445" fmla="*/ 11836023 w 12192528"/>
              <a:gd name="connsiteY5445" fmla="*/ 1584017 h 3912503"/>
              <a:gd name="connsiteX5446" fmla="*/ 11843368 w 12192528"/>
              <a:gd name="connsiteY5446" fmla="*/ 1585869 h 3912503"/>
              <a:gd name="connsiteX5447" fmla="*/ 11845758 w 12192528"/>
              <a:gd name="connsiteY5447" fmla="*/ 1585691 h 3912503"/>
              <a:gd name="connsiteX5448" fmla="*/ 11848148 w 12192528"/>
              <a:gd name="connsiteY5448" fmla="*/ 1585511 h 3912503"/>
              <a:gd name="connsiteX5449" fmla="*/ 11889481 w 12192528"/>
              <a:gd name="connsiteY5449" fmla="*/ 1592033 h 3912503"/>
              <a:gd name="connsiteX5450" fmla="*/ 11896649 w 12192528"/>
              <a:gd name="connsiteY5450" fmla="*/ 1591497 h 3912503"/>
              <a:gd name="connsiteX5451" fmla="*/ 11899040 w 12192528"/>
              <a:gd name="connsiteY5451" fmla="*/ 1591318 h 3912503"/>
              <a:gd name="connsiteX5452" fmla="*/ 11908596 w 12192528"/>
              <a:gd name="connsiteY5452" fmla="*/ 1590603 h 3912503"/>
              <a:gd name="connsiteX5453" fmla="*/ 11935594 w 12192528"/>
              <a:gd name="connsiteY5453" fmla="*/ 1598196 h 3912503"/>
              <a:gd name="connsiteX5454" fmla="*/ 12038271 w 12192528"/>
              <a:gd name="connsiteY5454" fmla="*/ 1621756 h 3912503"/>
              <a:gd name="connsiteX5455" fmla="*/ 12040662 w 12192528"/>
              <a:gd name="connsiteY5455" fmla="*/ 1621577 h 3912503"/>
              <a:gd name="connsiteX5456" fmla="*/ 12043230 w 12192528"/>
              <a:gd name="connsiteY5456" fmla="*/ 1623788 h 3912503"/>
              <a:gd name="connsiteX5457" fmla="*/ 12076227 w 12192528"/>
              <a:gd name="connsiteY5457" fmla="*/ 1639341 h 3912503"/>
              <a:gd name="connsiteX5458" fmla="*/ 12108878 w 12192528"/>
              <a:gd name="connsiteY5458" fmla="*/ 1652983 h 3912503"/>
              <a:gd name="connsiteX5459" fmla="*/ 12108167 w 12192528"/>
              <a:gd name="connsiteY5459" fmla="*/ 1652759 h 3912503"/>
              <a:gd name="connsiteX5460" fmla="*/ 12100508 w 12192528"/>
              <a:gd name="connsiteY5460" fmla="*/ 1650742 h 3912503"/>
              <a:gd name="connsiteX5461" fmla="*/ 12095550 w 12192528"/>
              <a:gd name="connsiteY5461" fmla="*/ 1648709 h 3912503"/>
              <a:gd name="connsiteX5462" fmla="*/ 12078288 w 12192528"/>
              <a:gd name="connsiteY5462" fmla="*/ 1642791 h 3912503"/>
              <a:gd name="connsiteX5463" fmla="*/ 12048722 w 12192528"/>
              <a:gd name="connsiteY5463" fmla="*/ 1632987 h 3912503"/>
              <a:gd name="connsiteX5464" fmla="*/ 12043764 w 12192528"/>
              <a:gd name="connsiteY5464" fmla="*/ 1630956 h 3912503"/>
              <a:gd name="connsiteX5465" fmla="*/ 12038808 w 12192528"/>
              <a:gd name="connsiteY5465" fmla="*/ 1628924 h 3912503"/>
              <a:gd name="connsiteX5466" fmla="*/ 12036596 w 12192528"/>
              <a:gd name="connsiteY5466" fmla="*/ 1631492 h 3912503"/>
              <a:gd name="connsiteX5467" fmla="*/ 12046691 w 12192528"/>
              <a:gd name="connsiteY5467" fmla="*/ 1637945 h 3912503"/>
              <a:gd name="connsiteX5468" fmla="*/ 12049080 w 12192528"/>
              <a:gd name="connsiteY5468" fmla="*/ 1637767 h 3912503"/>
              <a:gd name="connsiteX5469" fmla="*/ 12093517 w 12192528"/>
              <a:gd name="connsiteY5469" fmla="*/ 1653667 h 3912503"/>
              <a:gd name="connsiteX5470" fmla="*/ 12095908 w 12192528"/>
              <a:gd name="connsiteY5470" fmla="*/ 1653488 h 3912503"/>
              <a:gd name="connsiteX5471" fmla="*/ 12108568 w 12192528"/>
              <a:gd name="connsiteY5471" fmla="*/ 1662152 h 3912503"/>
              <a:gd name="connsiteX5472" fmla="*/ 12123441 w 12192528"/>
              <a:gd name="connsiteY5472" fmla="*/ 1668249 h 3912503"/>
              <a:gd name="connsiteX5473" fmla="*/ 12153074 w 12192528"/>
              <a:gd name="connsiteY5473" fmla="*/ 1678948 h 3912503"/>
              <a:gd name="connsiteX5474" fmla="*/ 12178245 w 12192528"/>
              <a:gd name="connsiteY5474" fmla="*/ 1692420 h 3912503"/>
              <a:gd name="connsiteX5475" fmla="*/ 12175762 w 12192528"/>
              <a:gd name="connsiteY5475" fmla="*/ 1693170 h 3912503"/>
              <a:gd name="connsiteX5476" fmla="*/ 12192528 w 12192528"/>
              <a:gd name="connsiteY5476" fmla="*/ 1701733 h 3912503"/>
              <a:gd name="connsiteX5477" fmla="*/ 12192528 w 12192528"/>
              <a:gd name="connsiteY5477" fmla="*/ 1875532 h 3912503"/>
              <a:gd name="connsiteX5478" fmla="*/ 12155044 w 12192528"/>
              <a:gd name="connsiteY5478" fmla="*/ 1856672 h 3912503"/>
              <a:gd name="connsiteX5479" fmla="*/ 12122398 w 12192528"/>
              <a:gd name="connsiteY5479" fmla="*/ 1839496 h 3912503"/>
              <a:gd name="connsiteX5480" fmla="*/ 12120302 w 12192528"/>
              <a:gd name="connsiteY5480" fmla="*/ 1837691 h 3912503"/>
              <a:gd name="connsiteX5481" fmla="*/ 12116257 w 12192528"/>
              <a:gd name="connsiteY5481" fmla="*/ 1836031 h 3912503"/>
              <a:gd name="connsiteX5482" fmla="*/ 12106796 w 12192528"/>
              <a:gd name="connsiteY5482" fmla="*/ 1831249 h 3912503"/>
              <a:gd name="connsiteX5483" fmla="*/ 12109476 w 12192528"/>
              <a:gd name="connsiteY5483" fmla="*/ 1836130 h 3912503"/>
              <a:gd name="connsiteX5484" fmla="*/ 12116404 w 12192528"/>
              <a:gd name="connsiteY5484" fmla="*/ 1837982 h 3912503"/>
              <a:gd name="connsiteX5485" fmla="*/ 12114455 w 12192528"/>
              <a:gd name="connsiteY5485" fmla="*/ 1838128 h 3912503"/>
              <a:gd name="connsiteX5486" fmla="*/ 12118499 w 12192528"/>
              <a:gd name="connsiteY5486" fmla="*/ 1839787 h 3912503"/>
              <a:gd name="connsiteX5487" fmla="*/ 12120595 w 12192528"/>
              <a:gd name="connsiteY5487" fmla="*/ 1841592 h 3912503"/>
              <a:gd name="connsiteX5488" fmla="*/ 12165737 w 12192528"/>
              <a:gd name="connsiteY5488" fmla="*/ 1871806 h 3912503"/>
              <a:gd name="connsiteX5489" fmla="*/ 12164154 w 12192528"/>
              <a:gd name="connsiteY5489" fmla="*/ 1873647 h 3912503"/>
              <a:gd name="connsiteX5490" fmla="*/ 12166103 w 12192528"/>
              <a:gd name="connsiteY5490" fmla="*/ 1873501 h 3912503"/>
              <a:gd name="connsiteX5491" fmla="*/ 12168053 w 12192528"/>
              <a:gd name="connsiteY5491" fmla="*/ 1873355 h 3912503"/>
              <a:gd name="connsiteX5492" fmla="*/ 12170148 w 12192528"/>
              <a:gd name="connsiteY5492" fmla="*/ 1875161 h 3912503"/>
              <a:gd name="connsiteX5493" fmla="*/ 12180624 w 12192528"/>
              <a:gd name="connsiteY5493" fmla="*/ 1884185 h 3912503"/>
              <a:gd name="connsiteX5494" fmla="*/ 12178383 w 12192528"/>
              <a:gd name="connsiteY5494" fmla="*/ 1880430 h 3912503"/>
              <a:gd name="connsiteX5495" fmla="*/ 12180331 w 12192528"/>
              <a:gd name="connsiteY5495" fmla="*/ 1880285 h 3912503"/>
              <a:gd name="connsiteX5496" fmla="*/ 12182281 w 12192528"/>
              <a:gd name="connsiteY5496" fmla="*/ 1880138 h 3912503"/>
              <a:gd name="connsiteX5497" fmla="*/ 12180184 w 12192528"/>
              <a:gd name="connsiteY5497" fmla="*/ 1878333 h 3912503"/>
              <a:gd name="connsiteX5498" fmla="*/ 12186513 w 12192528"/>
              <a:gd name="connsiteY5498" fmla="*/ 1881048 h 3912503"/>
              <a:gd name="connsiteX5499" fmla="*/ 12192528 w 12192528"/>
              <a:gd name="connsiteY5499" fmla="*/ 1884146 h 3912503"/>
              <a:gd name="connsiteX5500" fmla="*/ 12192528 w 12192528"/>
              <a:gd name="connsiteY5500" fmla="*/ 1885258 h 3912503"/>
              <a:gd name="connsiteX5501" fmla="*/ 12192465 w 12192528"/>
              <a:gd name="connsiteY5501" fmla="*/ 1885262 h 3912503"/>
              <a:gd name="connsiteX5502" fmla="*/ 12190369 w 12192528"/>
              <a:gd name="connsiteY5502" fmla="*/ 1883457 h 3912503"/>
              <a:gd name="connsiteX5503" fmla="*/ 12188421 w 12192528"/>
              <a:gd name="connsiteY5503" fmla="*/ 1883603 h 3912503"/>
              <a:gd name="connsiteX5504" fmla="*/ 12192528 w 12192528"/>
              <a:gd name="connsiteY5504" fmla="*/ 1887143 h 3912503"/>
              <a:gd name="connsiteX5505" fmla="*/ 12192528 w 12192528"/>
              <a:gd name="connsiteY5505" fmla="*/ 1958759 h 3912503"/>
              <a:gd name="connsiteX5506" fmla="*/ 12158038 w 12192528"/>
              <a:gd name="connsiteY5506" fmla="*/ 1934428 h 3912503"/>
              <a:gd name="connsiteX5507" fmla="*/ 12031094 w 12192528"/>
              <a:gd name="connsiteY5507" fmla="*/ 1869163 h 3912503"/>
              <a:gd name="connsiteX5508" fmla="*/ 11963817 w 12192528"/>
              <a:gd name="connsiteY5508" fmla="*/ 1845439 h 3912503"/>
              <a:gd name="connsiteX5509" fmla="*/ 11890564 w 12192528"/>
              <a:gd name="connsiteY5509" fmla="*/ 1829006 h 3912503"/>
              <a:gd name="connsiteX5510" fmla="*/ 11810821 w 12192528"/>
              <a:gd name="connsiteY5510" fmla="*/ 1817337 h 3912503"/>
              <a:gd name="connsiteX5511" fmla="*/ 11790325 w 12192528"/>
              <a:gd name="connsiteY5511" fmla="*/ 1814196 h 3912503"/>
              <a:gd name="connsiteX5512" fmla="*/ 11770484 w 12192528"/>
              <a:gd name="connsiteY5512" fmla="*/ 1820457 h 3912503"/>
              <a:gd name="connsiteX5513" fmla="*/ 11740721 w 12192528"/>
              <a:gd name="connsiteY5513" fmla="*/ 1822778 h 3912503"/>
              <a:gd name="connsiteX5514" fmla="*/ 11578846 w 12192528"/>
              <a:gd name="connsiteY5514" fmla="*/ 1821529 h 3912503"/>
              <a:gd name="connsiteX5515" fmla="*/ 11569192 w 12192528"/>
              <a:gd name="connsiteY5515" fmla="*/ 1825827 h 3912503"/>
              <a:gd name="connsiteX5516" fmla="*/ 11581531 w 12192528"/>
              <a:gd name="connsiteY5516" fmla="*/ 1830067 h 3912503"/>
              <a:gd name="connsiteX5517" fmla="*/ 11827489 w 12192528"/>
              <a:gd name="connsiteY5517" fmla="*/ 1842230 h 3912503"/>
              <a:gd name="connsiteX5518" fmla="*/ 11836946 w 12192528"/>
              <a:gd name="connsiteY5518" fmla="*/ 1843046 h 3912503"/>
              <a:gd name="connsiteX5519" fmla="*/ 11842362 w 12192528"/>
              <a:gd name="connsiteY5519" fmla="*/ 1851086 h 3912503"/>
              <a:gd name="connsiteX5520" fmla="*/ 11833901 w 12192528"/>
              <a:gd name="connsiteY5520" fmla="*/ 1855732 h 3912503"/>
              <a:gd name="connsiteX5521" fmla="*/ 11785510 w 12192528"/>
              <a:gd name="connsiteY5521" fmla="*/ 1848597 h 3912503"/>
              <a:gd name="connsiteX5522" fmla="*/ 11767387 w 12192528"/>
              <a:gd name="connsiteY5522" fmla="*/ 1847364 h 3912503"/>
              <a:gd name="connsiteX5523" fmla="*/ 11845289 w 12192528"/>
              <a:gd name="connsiteY5523" fmla="*/ 1862300 h 3912503"/>
              <a:gd name="connsiteX5524" fmla="*/ 12189934 w 12192528"/>
              <a:gd name="connsiteY5524" fmla="*/ 2022009 h 3912503"/>
              <a:gd name="connsiteX5525" fmla="*/ 12192528 w 12192528"/>
              <a:gd name="connsiteY5525" fmla="*/ 2024036 h 3912503"/>
              <a:gd name="connsiteX5526" fmla="*/ 12192528 w 12192528"/>
              <a:gd name="connsiteY5526" fmla="*/ 3912503 h 3912503"/>
              <a:gd name="connsiteX5527" fmla="*/ 8919422 w 12192528"/>
              <a:gd name="connsiteY5527" fmla="*/ 3912503 h 3912503"/>
              <a:gd name="connsiteX5528" fmla="*/ 7502493 w 12192528"/>
              <a:gd name="connsiteY5528" fmla="*/ 3912503 h 3912503"/>
              <a:gd name="connsiteX5529" fmla="*/ 7486248 w 12192528"/>
              <a:gd name="connsiteY5529" fmla="*/ 3912503 h 3912503"/>
              <a:gd name="connsiteX5530" fmla="*/ 6270700 w 12192528"/>
              <a:gd name="connsiteY5530" fmla="*/ 3912503 h 3912503"/>
              <a:gd name="connsiteX5531" fmla="*/ 2570428 w 12192528"/>
              <a:gd name="connsiteY5531" fmla="*/ 3912503 h 3912503"/>
              <a:gd name="connsiteX5532" fmla="*/ 2568147 w 12192528"/>
              <a:gd name="connsiteY5532" fmla="*/ 3901375 h 3912503"/>
              <a:gd name="connsiteX5533" fmla="*/ 2570303 w 12192528"/>
              <a:gd name="connsiteY5533" fmla="*/ 3898823 h 3912503"/>
              <a:gd name="connsiteX5534" fmla="*/ 2567750 w 12192528"/>
              <a:gd name="connsiteY5534" fmla="*/ 3896665 h 3912503"/>
              <a:gd name="connsiteX5535" fmla="*/ 2566957 w 12192528"/>
              <a:gd name="connsiteY5535" fmla="*/ 3887246 h 3912503"/>
              <a:gd name="connsiteX5536" fmla="*/ 2564800 w 12192528"/>
              <a:gd name="connsiteY5536" fmla="*/ 3889799 h 3912503"/>
              <a:gd name="connsiteX5537" fmla="*/ 2565197 w 12192528"/>
              <a:gd name="connsiteY5537" fmla="*/ 3894508 h 3912503"/>
              <a:gd name="connsiteX5538" fmla="*/ 2555553 w 12192528"/>
              <a:gd name="connsiteY5538" fmla="*/ 3864488 h 3912503"/>
              <a:gd name="connsiteX5539" fmla="*/ 2548775 w 12192528"/>
              <a:gd name="connsiteY5539" fmla="*/ 3910707 h 3912503"/>
              <a:gd name="connsiteX5540" fmla="*/ 2548533 w 12192528"/>
              <a:gd name="connsiteY5540" fmla="*/ 3912503 h 3912503"/>
              <a:gd name="connsiteX5541" fmla="*/ 528 w 12192528"/>
              <a:gd name="connsiteY5541" fmla="*/ 3912503 h 3912503"/>
              <a:gd name="connsiteX5542" fmla="*/ 528 w 12192528"/>
              <a:gd name="connsiteY5542" fmla="*/ 2422816 h 3912503"/>
              <a:gd name="connsiteX5543" fmla="*/ 562 w 12192528"/>
              <a:gd name="connsiteY5543" fmla="*/ 2422797 h 3912503"/>
              <a:gd name="connsiteX5544" fmla="*/ 562 w 12192528"/>
              <a:gd name="connsiteY5544" fmla="*/ 2354170 h 3912503"/>
              <a:gd name="connsiteX5545" fmla="*/ 528 w 12192528"/>
              <a:gd name="connsiteY5545" fmla="*/ 2354165 h 3912503"/>
              <a:gd name="connsiteX5546" fmla="*/ 528 w 12192528"/>
              <a:gd name="connsiteY5546" fmla="*/ 2245643 h 3912503"/>
              <a:gd name="connsiteX5547" fmla="*/ 562 w 12192528"/>
              <a:gd name="connsiteY5547" fmla="*/ 2245615 h 3912503"/>
              <a:gd name="connsiteX5548" fmla="*/ 562 w 12192528"/>
              <a:gd name="connsiteY5548" fmla="*/ 2234827 h 3912503"/>
              <a:gd name="connsiteX5549" fmla="*/ 528 w 12192528"/>
              <a:gd name="connsiteY5549" fmla="*/ 2234823 h 3912503"/>
              <a:gd name="connsiteX5550" fmla="*/ 528 w 12192528"/>
              <a:gd name="connsiteY5550" fmla="*/ 2160151 h 3912503"/>
              <a:gd name="connsiteX5551" fmla="*/ 562 w 12192528"/>
              <a:gd name="connsiteY5551" fmla="*/ 2160070 h 3912503"/>
              <a:gd name="connsiteX5552" fmla="*/ 562 w 12192528"/>
              <a:gd name="connsiteY5552" fmla="*/ 2014682 h 3912503"/>
              <a:gd name="connsiteX5553" fmla="*/ 528 w 12192528"/>
              <a:gd name="connsiteY5553" fmla="*/ 2014748 h 3912503"/>
              <a:gd name="connsiteX5554" fmla="*/ 528 w 12192528"/>
              <a:gd name="connsiteY5554" fmla="*/ 1980386 h 3912503"/>
              <a:gd name="connsiteX5555" fmla="*/ 562 w 12192528"/>
              <a:gd name="connsiteY5555" fmla="*/ 1980516 h 3912503"/>
              <a:gd name="connsiteX5556" fmla="*/ 562 w 12192528"/>
              <a:gd name="connsiteY5556" fmla="*/ 1921057 h 3912503"/>
              <a:gd name="connsiteX5557" fmla="*/ 65793 w 12192528"/>
              <a:gd name="connsiteY5557" fmla="*/ 1885408 h 3912503"/>
              <a:gd name="connsiteX5558" fmla="*/ 130401 w 12192528"/>
              <a:gd name="connsiteY5558" fmla="*/ 1855429 h 3912503"/>
              <a:gd name="connsiteX5559" fmla="*/ 147299 w 12192528"/>
              <a:gd name="connsiteY5559" fmla="*/ 1842541 h 3912503"/>
              <a:gd name="connsiteX5560" fmla="*/ 172670 w 12192528"/>
              <a:gd name="connsiteY5560" fmla="*/ 1832005 h 3912503"/>
              <a:gd name="connsiteX5561" fmla="*/ 400135 w 12192528"/>
              <a:gd name="connsiteY5561" fmla="*/ 1753406 h 3912503"/>
              <a:gd name="connsiteX5562" fmla="*/ 421747 w 12192528"/>
              <a:gd name="connsiteY5562" fmla="*/ 1749338 h 3912503"/>
              <a:gd name="connsiteX5563" fmla="*/ 454512 w 12192528"/>
              <a:gd name="connsiteY5563" fmla="*/ 1738616 h 3912503"/>
              <a:gd name="connsiteX5564" fmla="*/ 475466 w 12192528"/>
              <a:gd name="connsiteY5564" fmla="*/ 1732990 h 3912503"/>
              <a:gd name="connsiteX5565" fmla="*/ 472883 w 12192528"/>
              <a:gd name="connsiteY5565" fmla="*/ 1730110 h 3912503"/>
              <a:gd name="connsiteX5566" fmla="*/ 444340 w 12192528"/>
              <a:gd name="connsiteY5566" fmla="*/ 1718036 h 3912503"/>
              <a:gd name="connsiteX5567" fmla="*/ 550512 w 12192528"/>
              <a:gd name="connsiteY5567" fmla="*/ 1686811 h 3912503"/>
              <a:gd name="connsiteX5568" fmla="*/ 605595 w 12192528"/>
              <a:gd name="connsiteY5568" fmla="*/ 1677864 h 3912503"/>
              <a:gd name="connsiteX5569" fmla="*/ 611881 w 12192528"/>
              <a:gd name="connsiteY5569" fmla="*/ 1672556 h 3912503"/>
              <a:gd name="connsiteX5570" fmla="*/ 629208 w 12192528"/>
              <a:gd name="connsiteY5570" fmla="*/ 1669316 h 3912503"/>
              <a:gd name="connsiteX5571" fmla="*/ 654158 w 12192528"/>
              <a:gd name="connsiteY5571" fmla="*/ 1669977 h 3912503"/>
              <a:gd name="connsiteX5572" fmla="*/ 736748 w 12192528"/>
              <a:gd name="connsiteY5572" fmla="*/ 1656562 h 3912503"/>
              <a:gd name="connsiteX5573" fmla="*/ 784107 w 12192528"/>
              <a:gd name="connsiteY5573" fmla="*/ 1651855 h 3912503"/>
              <a:gd name="connsiteX5574" fmla="*/ 778563 w 12192528"/>
              <a:gd name="connsiteY5574" fmla="*/ 1641534 h 3912503"/>
              <a:gd name="connsiteX5575" fmla="*/ 776413 w 12192528"/>
              <a:gd name="connsiteY5575" fmla="*/ 1636320 h 3912503"/>
              <a:gd name="connsiteX5576" fmla="*/ 776105 w 12192528"/>
              <a:gd name="connsiteY5576" fmla="*/ 1631105 h 3912503"/>
              <a:gd name="connsiteX5577" fmla="*/ 777027 w 12192528"/>
              <a:gd name="connsiteY5577" fmla="*/ 1627118 h 3912503"/>
              <a:gd name="connsiteX5578" fmla="*/ 777210 w 12192528"/>
              <a:gd name="connsiteY5578" fmla="*/ 1626130 h 3912503"/>
              <a:gd name="connsiteX5579" fmla="*/ 752801 w 12192528"/>
              <a:gd name="connsiteY5579" fmla="*/ 1628923 h 3912503"/>
              <a:gd name="connsiteX5580" fmla="*/ 316312 w 12192528"/>
              <a:gd name="connsiteY5580" fmla="*/ 1733647 h 3912503"/>
              <a:gd name="connsiteX5581" fmla="*/ 196090 w 12192528"/>
              <a:gd name="connsiteY5581" fmla="*/ 1764871 h 3912503"/>
              <a:gd name="connsiteX5582" fmla="*/ 643409 w 12192528"/>
              <a:gd name="connsiteY5582" fmla="*/ 1622411 h 3912503"/>
              <a:gd name="connsiteX5583" fmla="*/ 789090 w 12192528"/>
              <a:gd name="connsiteY5583" fmla="*/ 1600242 h 3912503"/>
              <a:gd name="connsiteX5584" fmla="*/ 795148 w 12192528"/>
              <a:gd name="connsiteY5584" fmla="*/ 1596443 h 3912503"/>
              <a:gd name="connsiteX5585" fmla="*/ 804975 w 12192528"/>
              <a:gd name="connsiteY5585" fmla="*/ 1596138 h 3912503"/>
              <a:gd name="connsiteX5586" fmla="*/ 815110 w 12192528"/>
              <a:gd name="connsiteY5586" fmla="*/ 1595868 h 3912503"/>
              <a:gd name="connsiteX5587" fmla="*/ 815751 w 12192528"/>
              <a:gd name="connsiteY5587" fmla="*/ 1596185 h 3912503"/>
              <a:gd name="connsiteX5588" fmla="*/ 875852 w 12192528"/>
              <a:gd name="connsiteY5588" fmla="*/ 1587040 h 3912503"/>
              <a:gd name="connsiteX5589" fmla="*/ 1114150 w 12192528"/>
              <a:gd name="connsiteY5589" fmla="*/ 1575965 h 3912503"/>
              <a:gd name="connsiteX5590" fmla="*/ 1064186 w 12192528"/>
              <a:gd name="connsiteY5590" fmla="*/ 1552546 h 3912503"/>
              <a:gd name="connsiteX5591" fmla="*/ 1215635 w 12192528"/>
              <a:gd name="connsiteY5591" fmla="*/ 1557230 h 3912503"/>
              <a:gd name="connsiteX5592" fmla="*/ 1427976 w 12192528"/>
              <a:gd name="connsiteY5592" fmla="*/ 1580649 h 3912503"/>
              <a:gd name="connsiteX5593" fmla="*/ 1445151 w 12192528"/>
              <a:gd name="connsiteY5593" fmla="*/ 1577525 h 3912503"/>
              <a:gd name="connsiteX5594" fmla="*/ 1444119 w 12192528"/>
              <a:gd name="connsiteY5594" fmla="*/ 1575061 h 3912503"/>
              <a:gd name="connsiteX5595" fmla="*/ 1439234 w 12192528"/>
              <a:gd name="connsiteY5595" fmla="*/ 1568556 h 3912503"/>
              <a:gd name="connsiteX5596" fmla="*/ 1431100 w 12192528"/>
              <a:gd name="connsiteY5596" fmla="*/ 1566598 h 3912503"/>
              <a:gd name="connsiteX5597" fmla="*/ 1235689 w 12192528"/>
              <a:gd name="connsiteY5597" fmla="*/ 1533226 h 3912503"/>
              <a:gd name="connsiteX5598" fmla="*/ 1229745 w 12192528"/>
              <a:gd name="connsiteY5598" fmla="*/ 1533279 h 3912503"/>
              <a:gd name="connsiteX5599" fmla="*/ 1229336 w 12192528"/>
              <a:gd name="connsiteY5599" fmla="*/ 1534098 h 3912503"/>
              <a:gd name="connsiteX5600" fmla="*/ 1225906 w 12192528"/>
              <a:gd name="connsiteY5600" fmla="*/ 1535526 h 3912503"/>
              <a:gd name="connsiteX5601" fmla="*/ 1219332 w 12192528"/>
              <a:gd name="connsiteY5601" fmla="*/ 1537524 h 3912503"/>
              <a:gd name="connsiteX5602" fmla="*/ 1217045 w 12192528"/>
              <a:gd name="connsiteY5602" fmla="*/ 1538665 h 3912503"/>
              <a:gd name="connsiteX5603" fmla="*/ 1207900 w 12192528"/>
              <a:gd name="connsiteY5603" fmla="*/ 1539807 h 3912503"/>
              <a:gd name="connsiteX5604" fmla="*/ 1205899 w 12192528"/>
              <a:gd name="connsiteY5604" fmla="*/ 1540378 h 3912503"/>
              <a:gd name="connsiteX5605" fmla="*/ 1195161 w 12192528"/>
              <a:gd name="connsiteY5605" fmla="*/ 1533581 h 3912503"/>
              <a:gd name="connsiteX5606" fmla="*/ 1168796 w 12192528"/>
              <a:gd name="connsiteY5606" fmla="*/ 1533811 h 3912503"/>
              <a:gd name="connsiteX5607" fmla="*/ 1104782 w 12192528"/>
              <a:gd name="connsiteY5607" fmla="*/ 1522884 h 3912503"/>
              <a:gd name="connsiteX5608" fmla="*/ 834671 w 12192528"/>
              <a:gd name="connsiteY5608" fmla="*/ 1535372 h 3912503"/>
              <a:gd name="connsiteX5609" fmla="*/ 590413 w 12192528"/>
              <a:gd name="connsiteY5609" fmla="*/ 1575123 h 3912503"/>
              <a:gd name="connsiteX5610" fmla="*/ 586633 w 12192528"/>
              <a:gd name="connsiteY5610" fmla="*/ 1580157 h 3912503"/>
              <a:gd name="connsiteX5611" fmla="*/ 584483 w 12192528"/>
              <a:gd name="connsiteY5611" fmla="*/ 1584451 h 3912503"/>
              <a:gd name="connsiteX5612" fmla="*/ 580797 w 12192528"/>
              <a:gd name="connsiteY5612" fmla="*/ 1585983 h 3912503"/>
              <a:gd name="connsiteX5613" fmla="*/ 573734 w 12192528"/>
              <a:gd name="connsiteY5613" fmla="*/ 1588131 h 3912503"/>
              <a:gd name="connsiteX5614" fmla="*/ 571276 w 12192528"/>
              <a:gd name="connsiteY5614" fmla="*/ 1589358 h 3912503"/>
              <a:gd name="connsiteX5615" fmla="*/ 561449 w 12192528"/>
              <a:gd name="connsiteY5615" fmla="*/ 1590585 h 3912503"/>
              <a:gd name="connsiteX5616" fmla="*/ 559299 w 12192528"/>
              <a:gd name="connsiteY5616" fmla="*/ 1591198 h 3912503"/>
              <a:gd name="connsiteX5617" fmla="*/ 545458 w 12192528"/>
              <a:gd name="connsiteY5617" fmla="*/ 1582437 h 3912503"/>
              <a:gd name="connsiteX5618" fmla="*/ 536068 w 12192528"/>
              <a:gd name="connsiteY5618" fmla="*/ 1583966 h 3912503"/>
              <a:gd name="connsiteX5619" fmla="*/ 359357 w 12192528"/>
              <a:gd name="connsiteY5619" fmla="*/ 1631156 h 3912503"/>
              <a:gd name="connsiteX5620" fmla="*/ 355670 w 12192528"/>
              <a:gd name="connsiteY5620" fmla="*/ 1635560 h 3912503"/>
              <a:gd name="connsiteX5621" fmla="*/ 346523 w 12192528"/>
              <a:gd name="connsiteY5621" fmla="*/ 1640113 h 3912503"/>
              <a:gd name="connsiteX5622" fmla="*/ 338206 w 12192528"/>
              <a:gd name="connsiteY5622" fmla="*/ 1640113 h 3912503"/>
              <a:gd name="connsiteX5623" fmla="*/ 336959 w 12192528"/>
              <a:gd name="connsiteY5623" fmla="*/ 1638458 h 3912503"/>
              <a:gd name="connsiteX5624" fmla="*/ 335701 w 12192528"/>
              <a:gd name="connsiteY5624" fmla="*/ 1637474 h 3912503"/>
              <a:gd name="connsiteX5625" fmla="*/ 244491 w 12192528"/>
              <a:gd name="connsiteY5625" fmla="*/ 1661832 h 3912503"/>
              <a:gd name="connsiteX5626" fmla="*/ 156106 w 12192528"/>
              <a:gd name="connsiteY5626" fmla="*/ 1694300 h 3912503"/>
              <a:gd name="connsiteX5627" fmla="*/ 75309 w 12192528"/>
              <a:gd name="connsiteY5627" fmla="*/ 1730759 h 3912503"/>
              <a:gd name="connsiteX5628" fmla="*/ 77712 w 12192528"/>
              <a:gd name="connsiteY5628" fmla="*/ 1732282 h 3912503"/>
              <a:gd name="connsiteX5629" fmla="*/ 82397 w 12192528"/>
              <a:gd name="connsiteY5629" fmla="*/ 1737724 h 3912503"/>
              <a:gd name="connsiteX5630" fmla="*/ 82397 w 12192528"/>
              <a:gd name="connsiteY5630" fmla="*/ 1751718 h 3912503"/>
              <a:gd name="connsiteX5631" fmla="*/ 73807 w 12192528"/>
              <a:gd name="connsiteY5631" fmla="*/ 1760270 h 3912503"/>
              <a:gd name="connsiteX5632" fmla="*/ 68340 w 12192528"/>
              <a:gd name="connsiteY5632" fmla="*/ 1770377 h 3912503"/>
              <a:gd name="connsiteX5633" fmla="*/ 67944 w 12192528"/>
              <a:gd name="connsiteY5633" fmla="*/ 1771344 h 3912503"/>
              <a:gd name="connsiteX5634" fmla="*/ 69426 w 12192528"/>
              <a:gd name="connsiteY5634" fmla="*/ 1780598 h 3912503"/>
              <a:gd name="connsiteX5635" fmla="*/ 72942 w 12192528"/>
              <a:gd name="connsiteY5635" fmla="*/ 1795163 h 3912503"/>
              <a:gd name="connsiteX5636" fmla="*/ 72692 w 12192528"/>
              <a:gd name="connsiteY5636" fmla="*/ 1801191 h 3912503"/>
              <a:gd name="connsiteX5637" fmla="*/ 59374 w 12192528"/>
              <a:gd name="connsiteY5637" fmla="*/ 1833591 h 3912503"/>
              <a:gd name="connsiteX5638" fmla="*/ 56861 w 12192528"/>
              <a:gd name="connsiteY5638" fmla="*/ 1835600 h 3912503"/>
              <a:gd name="connsiteX5639" fmla="*/ 41533 w 12192528"/>
              <a:gd name="connsiteY5639" fmla="*/ 1842882 h 3912503"/>
              <a:gd name="connsiteX5640" fmla="*/ 35000 w 12192528"/>
              <a:gd name="connsiteY5640" fmla="*/ 1844892 h 3912503"/>
              <a:gd name="connsiteX5641" fmla="*/ 23943 w 12192528"/>
              <a:gd name="connsiteY5641" fmla="*/ 1847403 h 3912503"/>
              <a:gd name="connsiteX5642" fmla="*/ 15651 w 12192528"/>
              <a:gd name="connsiteY5642" fmla="*/ 1854687 h 3912503"/>
              <a:gd name="connsiteX5643" fmla="*/ 11883 w 12192528"/>
              <a:gd name="connsiteY5643" fmla="*/ 1856037 h 3912503"/>
              <a:gd name="connsiteX5644" fmla="*/ 9620 w 12192528"/>
              <a:gd name="connsiteY5644" fmla="*/ 1852677 h 3912503"/>
              <a:gd name="connsiteX5645" fmla="*/ 8867 w 12192528"/>
              <a:gd name="connsiteY5645" fmla="*/ 1849664 h 3912503"/>
              <a:gd name="connsiteX5646" fmla="*/ 6605 w 12192528"/>
              <a:gd name="connsiteY5646" fmla="*/ 1846148 h 3912503"/>
              <a:gd name="connsiteX5647" fmla="*/ 3338 w 12192528"/>
              <a:gd name="connsiteY5647" fmla="*/ 1848408 h 3912503"/>
              <a:gd name="connsiteX5648" fmla="*/ 562 w 12192528"/>
              <a:gd name="connsiteY5648" fmla="*/ 1847945 h 3912503"/>
              <a:gd name="connsiteX5649" fmla="*/ 562 w 12192528"/>
              <a:gd name="connsiteY5649" fmla="*/ 1732372 h 3912503"/>
              <a:gd name="connsiteX5650" fmla="*/ 6856 w 12192528"/>
              <a:gd name="connsiteY5650" fmla="*/ 1727102 h 3912503"/>
              <a:gd name="connsiteX5651" fmla="*/ 6856 w 12192528"/>
              <a:gd name="connsiteY5651" fmla="*/ 1721576 h 3912503"/>
              <a:gd name="connsiteX5652" fmla="*/ 562 w 12192528"/>
              <a:gd name="connsiteY5652" fmla="*/ 1720849 h 3912503"/>
              <a:gd name="connsiteX5653" fmla="*/ 562 w 12192528"/>
              <a:gd name="connsiteY5653" fmla="*/ 1641326 h 3912503"/>
              <a:gd name="connsiteX5654" fmla="*/ 3841 w 12192528"/>
              <a:gd name="connsiteY5654" fmla="*/ 1633420 h 3912503"/>
              <a:gd name="connsiteX5655" fmla="*/ 2585 w 12192528"/>
              <a:gd name="connsiteY5655" fmla="*/ 1631411 h 3912503"/>
              <a:gd name="connsiteX5656" fmla="*/ 2836 w 12192528"/>
              <a:gd name="connsiteY5656" fmla="*/ 1626890 h 3912503"/>
              <a:gd name="connsiteX5657" fmla="*/ 6856 w 12192528"/>
              <a:gd name="connsiteY5657" fmla="*/ 1627895 h 3912503"/>
              <a:gd name="connsiteX5658" fmla="*/ 9369 w 12192528"/>
              <a:gd name="connsiteY5658" fmla="*/ 1631160 h 3912503"/>
              <a:gd name="connsiteX5659" fmla="*/ 14395 w 12192528"/>
              <a:gd name="connsiteY5659" fmla="*/ 1631914 h 3912503"/>
              <a:gd name="connsiteX5660" fmla="*/ 29723 w 12192528"/>
              <a:gd name="connsiteY5660" fmla="*/ 1627895 h 3912503"/>
              <a:gd name="connsiteX5661" fmla="*/ 48821 w 12192528"/>
              <a:gd name="connsiteY5661" fmla="*/ 1626640 h 3912503"/>
              <a:gd name="connsiteX5662" fmla="*/ 53344 w 12192528"/>
              <a:gd name="connsiteY5662" fmla="*/ 1628900 h 3912503"/>
              <a:gd name="connsiteX5663" fmla="*/ 66410 w 12192528"/>
              <a:gd name="connsiteY5663" fmla="*/ 1634927 h 3912503"/>
              <a:gd name="connsiteX5664" fmla="*/ 68922 w 12192528"/>
              <a:gd name="connsiteY5664" fmla="*/ 1636686 h 3912503"/>
              <a:gd name="connsiteX5665" fmla="*/ 79980 w 12192528"/>
              <a:gd name="connsiteY5665" fmla="*/ 1649997 h 3912503"/>
              <a:gd name="connsiteX5666" fmla="*/ 86763 w 12192528"/>
              <a:gd name="connsiteY5666" fmla="*/ 1672601 h 3912503"/>
              <a:gd name="connsiteX5667" fmla="*/ 90031 w 12192528"/>
              <a:gd name="connsiteY5667" fmla="*/ 1680387 h 3912503"/>
              <a:gd name="connsiteX5668" fmla="*/ 89276 w 12192528"/>
              <a:gd name="connsiteY5668" fmla="*/ 1691438 h 3912503"/>
              <a:gd name="connsiteX5669" fmla="*/ 88271 w 12192528"/>
              <a:gd name="connsiteY5669" fmla="*/ 1700730 h 3912503"/>
              <a:gd name="connsiteX5670" fmla="*/ 88282 w 12192528"/>
              <a:gd name="connsiteY5670" fmla="*/ 1700881 h 3912503"/>
              <a:gd name="connsiteX5671" fmla="*/ 191406 w 12192528"/>
              <a:gd name="connsiteY5671" fmla="*/ 1652464 h 3912503"/>
              <a:gd name="connsiteX5672" fmla="*/ 323467 w 12192528"/>
              <a:gd name="connsiteY5672" fmla="*/ 1609882 h 3912503"/>
              <a:gd name="connsiteX5673" fmla="*/ 327394 w 12192528"/>
              <a:gd name="connsiteY5673" fmla="*/ 1598715 h 3912503"/>
              <a:gd name="connsiteX5674" fmla="*/ 333631 w 12192528"/>
              <a:gd name="connsiteY5674" fmla="*/ 1594990 h 3912503"/>
              <a:gd name="connsiteX5675" fmla="*/ 339777 w 12192528"/>
              <a:gd name="connsiteY5675" fmla="*/ 1587261 h 3912503"/>
              <a:gd name="connsiteX5676" fmla="*/ 338724 w 12192528"/>
              <a:gd name="connsiteY5676" fmla="*/ 1585497 h 3912503"/>
              <a:gd name="connsiteX5677" fmla="*/ 332976 w 12192528"/>
              <a:gd name="connsiteY5677" fmla="*/ 1588054 h 3912503"/>
              <a:gd name="connsiteX5678" fmla="*/ 328340 w 12192528"/>
              <a:gd name="connsiteY5678" fmla="*/ 1586124 h 3912503"/>
              <a:gd name="connsiteX5679" fmla="*/ 325635 w 12192528"/>
              <a:gd name="connsiteY5679" fmla="*/ 1580722 h 3912503"/>
              <a:gd name="connsiteX5680" fmla="*/ 315204 w 12192528"/>
              <a:gd name="connsiteY5680" fmla="*/ 1566830 h 3912503"/>
              <a:gd name="connsiteX5681" fmla="*/ 310567 w 12192528"/>
              <a:gd name="connsiteY5681" fmla="*/ 1557569 h 3912503"/>
              <a:gd name="connsiteX5682" fmla="*/ 310567 w 12192528"/>
              <a:gd name="connsiteY5682" fmla="*/ 1552939 h 3912503"/>
              <a:gd name="connsiteX5683" fmla="*/ 314431 w 12192528"/>
              <a:gd name="connsiteY5683" fmla="*/ 1542521 h 3912503"/>
              <a:gd name="connsiteX5684" fmla="*/ 319840 w 12192528"/>
              <a:gd name="connsiteY5684" fmla="*/ 1525542 h 3912503"/>
              <a:gd name="connsiteX5685" fmla="*/ 324476 w 12192528"/>
              <a:gd name="connsiteY5685" fmla="*/ 1519368 h 3912503"/>
              <a:gd name="connsiteX5686" fmla="*/ 331818 w 12192528"/>
              <a:gd name="connsiteY5686" fmla="*/ 1513193 h 3912503"/>
              <a:gd name="connsiteX5687" fmla="*/ 338386 w 12192528"/>
              <a:gd name="connsiteY5687" fmla="*/ 1509720 h 3912503"/>
              <a:gd name="connsiteX5688" fmla="*/ 349977 w 12192528"/>
              <a:gd name="connsiteY5688" fmla="*/ 1503980 h 3912503"/>
              <a:gd name="connsiteX5689" fmla="*/ 362727 w 12192528"/>
              <a:gd name="connsiteY5689" fmla="*/ 1504318 h 3912503"/>
              <a:gd name="connsiteX5690" fmla="*/ 375091 w 12192528"/>
              <a:gd name="connsiteY5690" fmla="*/ 1504704 h 3912503"/>
              <a:gd name="connsiteX5691" fmla="*/ 394410 w 12192528"/>
              <a:gd name="connsiteY5691" fmla="*/ 1519753 h 3912503"/>
              <a:gd name="connsiteX5692" fmla="*/ 395569 w 12192528"/>
              <a:gd name="connsiteY5692" fmla="*/ 1529015 h 3912503"/>
              <a:gd name="connsiteX5693" fmla="*/ 395955 w 12192528"/>
              <a:gd name="connsiteY5693" fmla="*/ 1532873 h 3912503"/>
              <a:gd name="connsiteX5694" fmla="*/ 397886 w 12192528"/>
              <a:gd name="connsiteY5694" fmla="*/ 1543291 h 3912503"/>
              <a:gd name="connsiteX5695" fmla="*/ 399046 w 12192528"/>
              <a:gd name="connsiteY5695" fmla="*/ 1548308 h 3912503"/>
              <a:gd name="connsiteX5696" fmla="*/ 398659 w 12192528"/>
              <a:gd name="connsiteY5696" fmla="*/ 1554869 h 3912503"/>
              <a:gd name="connsiteX5697" fmla="*/ 395955 w 12192528"/>
              <a:gd name="connsiteY5697" fmla="*/ 1561428 h 3912503"/>
              <a:gd name="connsiteX5698" fmla="*/ 387455 w 12192528"/>
              <a:gd name="connsiteY5698" fmla="*/ 1577250 h 3912503"/>
              <a:gd name="connsiteX5699" fmla="*/ 380836 w 12192528"/>
              <a:gd name="connsiteY5699" fmla="*/ 1581439 h 3912503"/>
              <a:gd name="connsiteX5700" fmla="*/ 381453 w 12192528"/>
              <a:gd name="connsiteY5700" fmla="*/ 1582156 h 3912503"/>
              <a:gd name="connsiteX5701" fmla="*/ 381453 w 12192528"/>
              <a:gd name="connsiteY5701" fmla="*/ 1591186 h 3912503"/>
              <a:gd name="connsiteX5702" fmla="*/ 426240 w 12192528"/>
              <a:gd name="connsiteY5702" fmla="*/ 1576746 h 3912503"/>
              <a:gd name="connsiteX5703" fmla="*/ 528308 w 12192528"/>
              <a:gd name="connsiteY5703" fmla="*/ 1554876 h 3912503"/>
              <a:gd name="connsiteX5704" fmla="*/ 528278 w 12192528"/>
              <a:gd name="connsiteY5704" fmla="*/ 1554390 h 3912503"/>
              <a:gd name="connsiteX5705" fmla="*/ 529200 w 12192528"/>
              <a:gd name="connsiteY5705" fmla="*/ 1550402 h 3912503"/>
              <a:gd name="connsiteX5706" fmla="*/ 530736 w 12192528"/>
              <a:gd name="connsiteY5706" fmla="*/ 1542121 h 3912503"/>
              <a:gd name="connsiteX5707" fmla="*/ 531043 w 12192528"/>
              <a:gd name="connsiteY5707" fmla="*/ 1539053 h 3912503"/>
              <a:gd name="connsiteX5708" fmla="*/ 531965 w 12192528"/>
              <a:gd name="connsiteY5708" fmla="*/ 1531691 h 3912503"/>
              <a:gd name="connsiteX5709" fmla="*/ 547321 w 12192528"/>
              <a:gd name="connsiteY5709" fmla="*/ 1519728 h 3912503"/>
              <a:gd name="connsiteX5710" fmla="*/ 557148 w 12192528"/>
              <a:gd name="connsiteY5710" fmla="*/ 1519422 h 3912503"/>
              <a:gd name="connsiteX5711" fmla="*/ 576498 w 12192528"/>
              <a:gd name="connsiteY5711" fmla="*/ 1523716 h 3912503"/>
              <a:gd name="connsiteX5712" fmla="*/ 581718 w 12192528"/>
              <a:gd name="connsiteY5712" fmla="*/ 1526477 h 3912503"/>
              <a:gd name="connsiteX5713" fmla="*/ 587553 w 12192528"/>
              <a:gd name="connsiteY5713" fmla="*/ 1531385 h 3912503"/>
              <a:gd name="connsiteX5714" fmla="*/ 591240 w 12192528"/>
              <a:gd name="connsiteY5714" fmla="*/ 1536293 h 3912503"/>
              <a:gd name="connsiteX5715" fmla="*/ 592760 w 12192528"/>
              <a:gd name="connsiteY5715" fmla="*/ 1541067 h 3912503"/>
              <a:gd name="connsiteX5716" fmla="*/ 664878 w 12192528"/>
              <a:gd name="connsiteY5716" fmla="*/ 1525615 h 3912503"/>
              <a:gd name="connsiteX5717" fmla="*/ 1154743 w 12192528"/>
              <a:gd name="connsiteY5717" fmla="*/ 1499465 h 3912503"/>
              <a:gd name="connsiteX5718" fmla="*/ 1178003 w 12192528"/>
              <a:gd name="connsiteY5718" fmla="*/ 1501806 h 3912503"/>
              <a:gd name="connsiteX5719" fmla="*/ 1179320 w 12192528"/>
              <a:gd name="connsiteY5719" fmla="*/ 1494708 h 3912503"/>
              <a:gd name="connsiteX5720" fmla="*/ 1179605 w 12192528"/>
              <a:gd name="connsiteY5720" fmla="*/ 1491853 h 3912503"/>
              <a:gd name="connsiteX5721" fmla="*/ 1180463 w 12192528"/>
              <a:gd name="connsiteY5721" fmla="*/ 1485004 h 3912503"/>
              <a:gd name="connsiteX5722" fmla="*/ 1187073 w 12192528"/>
              <a:gd name="connsiteY5722" fmla="*/ 1478687 h 3912503"/>
              <a:gd name="connsiteX5723" fmla="*/ 1190229 w 12192528"/>
              <a:gd name="connsiteY5723" fmla="*/ 1476707 h 3912503"/>
              <a:gd name="connsiteX5724" fmla="*/ 1159428 w 12192528"/>
              <a:gd name="connsiteY5724" fmla="*/ 1474486 h 3912503"/>
              <a:gd name="connsiteX5725" fmla="*/ 711328 w 12192528"/>
              <a:gd name="connsiteY5725" fmla="*/ 1491660 h 3912503"/>
              <a:gd name="connsiteX5726" fmla="*/ 536460 w 12192528"/>
              <a:gd name="connsiteY5726" fmla="*/ 1494781 h 3912503"/>
              <a:gd name="connsiteX5727" fmla="*/ 1107905 w 12192528"/>
              <a:gd name="connsiteY5727" fmla="*/ 1440139 h 3912503"/>
              <a:gd name="connsiteX5728" fmla="*/ 1677788 w 12192528"/>
              <a:gd name="connsiteY5728" fmla="*/ 1516639 h 3912503"/>
              <a:gd name="connsiteX5729" fmla="*/ 1167234 w 12192528"/>
              <a:gd name="connsiteY5729" fmla="*/ 1397987 h 3912503"/>
              <a:gd name="connsiteX5730" fmla="*/ 1168796 w 12192528"/>
              <a:gd name="connsiteY5730" fmla="*/ 1390180 h 3912503"/>
              <a:gd name="connsiteX5731" fmla="*/ 1315562 w 12192528"/>
              <a:gd name="connsiteY5731" fmla="*/ 1405792 h 3912503"/>
              <a:gd name="connsiteX5732" fmla="*/ 1539021 w 12192528"/>
              <a:gd name="connsiteY5732" fmla="*/ 1445523 h 3912503"/>
              <a:gd name="connsiteX5733" fmla="*/ 1712598 w 12192528"/>
              <a:gd name="connsiteY5733" fmla="*/ 1491453 h 3912503"/>
              <a:gd name="connsiteX5734" fmla="*/ 1708390 w 12192528"/>
              <a:gd name="connsiteY5734" fmla="*/ 1487758 h 3912503"/>
              <a:gd name="connsiteX5735" fmla="*/ 1699393 w 12192528"/>
              <a:gd name="connsiteY5735" fmla="*/ 1485714 h 3912503"/>
              <a:gd name="connsiteX5736" fmla="*/ 1694076 w 12192528"/>
              <a:gd name="connsiteY5736" fmla="*/ 1484079 h 3912503"/>
              <a:gd name="connsiteX5737" fmla="*/ 1681604 w 12192528"/>
              <a:gd name="connsiteY5737" fmla="*/ 1478152 h 3912503"/>
              <a:gd name="connsiteX5738" fmla="*/ 1679558 w 12192528"/>
              <a:gd name="connsiteY5738" fmla="*/ 1476517 h 3912503"/>
              <a:gd name="connsiteX5739" fmla="*/ 1668721 w 12192528"/>
              <a:gd name="connsiteY5739" fmla="*/ 1450152 h 3912503"/>
              <a:gd name="connsiteX5740" fmla="*/ 1668516 w 12192528"/>
              <a:gd name="connsiteY5740" fmla="*/ 1445247 h 3912503"/>
              <a:gd name="connsiteX5741" fmla="*/ 1671380 w 12192528"/>
              <a:gd name="connsiteY5741" fmla="*/ 1433394 h 3912503"/>
              <a:gd name="connsiteX5742" fmla="*/ 1673015 w 12192528"/>
              <a:gd name="connsiteY5742" fmla="*/ 1423174 h 3912503"/>
              <a:gd name="connsiteX5743" fmla="*/ 1674651 w 12192528"/>
              <a:gd name="connsiteY5743" fmla="*/ 1419904 h 3912503"/>
              <a:gd name="connsiteX5744" fmla="*/ 1686716 w 12192528"/>
              <a:gd name="connsiteY5744" fmla="*/ 1405598 h 3912503"/>
              <a:gd name="connsiteX5745" fmla="*/ 1687942 w 12192528"/>
              <a:gd name="connsiteY5745" fmla="*/ 1403349 h 3912503"/>
              <a:gd name="connsiteX5746" fmla="*/ 1679354 w 12192528"/>
              <a:gd name="connsiteY5746" fmla="*/ 1392108 h 3912503"/>
              <a:gd name="connsiteX5747" fmla="*/ 1667903 w 12192528"/>
              <a:gd name="connsiteY5747" fmla="*/ 1385364 h 3912503"/>
              <a:gd name="connsiteX5748" fmla="*/ 1655838 w 12192528"/>
              <a:gd name="connsiteY5748" fmla="*/ 1371467 h 3912503"/>
              <a:gd name="connsiteX5749" fmla="*/ 1656043 w 12192528"/>
              <a:gd name="connsiteY5749" fmla="*/ 1368400 h 3912503"/>
              <a:gd name="connsiteX5750" fmla="*/ 1655225 w 12192528"/>
              <a:gd name="connsiteY5750" fmla="*/ 1360839 h 3912503"/>
              <a:gd name="connsiteX5751" fmla="*/ 1654612 w 12192528"/>
              <a:gd name="connsiteY5751" fmla="*/ 1351847 h 3912503"/>
              <a:gd name="connsiteX5752" fmla="*/ 1657270 w 12192528"/>
              <a:gd name="connsiteY5752" fmla="*/ 1345510 h 3912503"/>
              <a:gd name="connsiteX5753" fmla="*/ 1662791 w 12192528"/>
              <a:gd name="connsiteY5753" fmla="*/ 1327116 h 3912503"/>
              <a:gd name="connsiteX5754" fmla="*/ 1671789 w 12192528"/>
              <a:gd name="connsiteY5754" fmla="*/ 1316285 h 3912503"/>
              <a:gd name="connsiteX5755" fmla="*/ 1673833 w 12192528"/>
              <a:gd name="connsiteY5755" fmla="*/ 1314854 h 3912503"/>
              <a:gd name="connsiteX5756" fmla="*/ 1684466 w 12192528"/>
              <a:gd name="connsiteY5756" fmla="*/ 1309948 h 3912503"/>
              <a:gd name="connsiteX5757" fmla="*/ 1688147 w 12192528"/>
              <a:gd name="connsiteY5757" fmla="*/ 1308109 h 3912503"/>
              <a:gd name="connsiteX5758" fmla="*/ 1703687 w 12192528"/>
              <a:gd name="connsiteY5758" fmla="*/ 1309132 h 3912503"/>
              <a:gd name="connsiteX5759" fmla="*/ 1716161 w 12192528"/>
              <a:gd name="connsiteY5759" fmla="*/ 1312401 h 3912503"/>
              <a:gd name="connsiteX5760" fmla="*/ 1720251 w 12192528"/>
              <a:gd name="connsiteY5760" fmla="*/ 1311788 h 3912503"/>
              <a:gd name="connsiteX5761" fmla="*/ 1722295 w 12192528"/>
              <a:gd name="connsiteY5761" fmla="*/ 1309132 h 3912503"/>
              <a:gd name="connsiteX5762" fmla="*/ 1725567 w 12192528"/>
              <a:gd name="connsiteY5762" fmla="*/ 1308314 h 3912503"/>
              <a:gd name="connsiteX5763" fmla="*/ 1725772 w 12192528"/>
              <a:gd name="connsiteY5763" fmla="*/ 1311993 h 3912503"/>
              <a:gd name="connsiteX5764" fmla="*/ 1724749 w 12192528"/>
              <a:gd name="connsiteY5764" fmla="*/ 1313627 h 3912503"/>
              <a:gd name="connsiteX5765" fmla="*/ 1728225 w 12192528"/>
              <a:gd name="connsiteY5765" fmla="*/ 1322007 h 3912503"/>
              <a:gd name="connsiteX5766" fmla="*/ 1731088 w 12192528"/>
              <a:gd name="connsiteY5766" fmla="*/ 1322416 h 3912503"/>
              <a:gd name="connsiteX5767" fmla="*/ 1734565 w 12192528"/>
              <a:gd name="connsiteY5767" fmla="*/ 1324664 h 3912503"/>
              <a:gd name="connsiteX5768" fmla="*/ 1732928 w 12192528"/>
              <a:gd name="connsiteY5768" fmla="*/ 1327934 h 3912503"/>
              <a:gd name="connsiteX5769" fmla="*/ 1733132 w 12192528"/>
              <a:gd name="connsiteY5769" fmla="*/ 1332838 h 3912503"/>
              <a:gd name="connsiteX5770" fmla="*/ 1738450 w 12192528"/>
              <a:gd name="connsiteY5770" fmla="*/ 1342036 h 3912503"/>
              <a:gd name="connsiteX5771" fmla="*/ 1742743 w 12192528"/>
              <a:gd name="connsiteY5771" fmla="*/ 1346124 h 3912503"/>
              <a:gd name="connsiteX5772" fmla="*/ 1744993 w 12192528"/>
              <a:gd name="connsiteY5772" fmla="*/ 1347350 h 3912503"/>
              <a:gd name="connsiteX5773" fmla="*/ 1743766 w 12192528"/>
              <a:gd name="connsiteY5773" fmla="*/ 1349598 h 3912503"/>
              <a:gd name="connsiteX5774" fmla="*/ 1739676 w 12192528"/>
              <a:gd name="connsiteY5774" fmla="*/ 1354094 h 3912503"/>
              <a:gd name="connsiteX5775" fmla="*/ 1739676 w 12192528"/>
              <a:gd name="connsiteY5775" fmla="*/ 1365335 h 3912503"/>
              <a:gd name="connsiteX5776" fmla="*/ 1744175 w 12192528"/>
              <a:gd name="connsiteY5776" fmla="*/ 1376985 h 3912503"/>
              <a:gd name="connsiteX5777" fmla="*/ 1740085 w 12192528"/>
              <a:gd name="connsiteY5777" fmla="*/ 1379641 h 3912503"/>
              <a:gd name="connsiteX5778" fmla="*/ 1735791 w 12192528"/>
              <a:gd name="connsiteY5778" fmla="*/ 1376167 h 3912503"/>
              <a:gd name="connsiteX5779" fmla="*/ 1730270 w 12192528"/>
              <a:gd name="connsiteY5779" fmla="*/ 1374941 h 3912503"/>
              <a:gd name="connsiteX5780" fmla="*/ 1731292 w 12192528"/>
              <a:gd name="connsiteY5780" fmla="*/ 1381277 h 3912503"/>
              <a:gd name="connsiteX5781" fmla="*/ 1734156 w 12192528"/>
              <a:gd name="connsiteY5781" fmla="*/ 1383933 h 3912503"/>
              <a:gd name="connsiteX5782" fmla="*/ 1734769 w 12192528"/>
              <a:gd name="connsiteY5782" fmla="*/ 1387612 h 3912503"/>
              <a:gd name="connsiteX5783" fmla="*/ 1731292 w 12192528"/>
              <a:gd name="connsiteY5783" fmla="*/ 1387204 h 3912503"/>
              <a:gd name="connsiteX5784" fmla="*/ 1727612 w 12192528"/>
              <a:gd name="connsiteY5784" fmla="*/ 1384751 h 3912503"/>
              <a:gd name="connsiteX5785" fmla="*/ 1722295 w 12192528"/>
              <a:gd name="connsiteY5785" fmla="*/ 1385364 h 3912503"/>
              <a:gd name="connsiteX5786" fmla="*/ 1722295 w 12192528"/>
              <a:gd name="connsiteY5786" fmla="*/ 1389861 h 3912503"/>
              <a:gd name="connsiteX5787" fmla="*/ 1742539 w 12192528"/>
              <a:gd name="connsiteY5787" fmla="*/ 1395787 h 3912503"/>
              <a:gd name="connsiteX5788" fmla="*/ 1747446 w 12192528"/>
              <a:gd name="connsiteY5788" fmla="*/ 1397627 h 3912503"/>
              <a:gd name="connsiteX5789" fmla="*/ 1755830 w 12192528"/>
              <a:gd name="connsiteY5789" fmla="*/ 1408254 h 3912503"/>
              <a:gd name="connsiteX5790" fmla="*/ 1758898 w 12192528"/>
              <a:gd name="connsiteY5790" fmla="*/ 1411933 h 3912503"/>
              <a:gd name="connsiteX5791" fmla="*/ 1762374 w 12192528"/>
              <a:gd name="connsiteY5791" fmla="*/ 1425423 h 3912503"/>
              <a:gd name="connsiteX5792" fmla="*/ 1762783 w 12192528"/>
              <a:gd name="connsiteY5792" fmla="*/ 1435028 h 3912503"/>
              <a:gd name="connsiteX5793" fmla="*/ 1766667 w 12192528"/>
              <a:gd name="connsiteY5793" fmla="*/ 1441977 h 3912503"/>
              <a:gd name="connsiteX5794" fmla="*/ 1767282 w 12192528"/>
              <a:gd name="connsiteY5794" fmla="*/ 1441977 h 3912503"/>
              <a:gd name="connsiteX5795" fmla="*/ 1771166 w 12192528"/>
              <a:gd name="connsiteY5795" fmla="*/ 1444430 h 3912503"/>
              <a:gd name="connsiteX5796" fmla="*/ 1768304 w 12192528"/>
              <a:gd name="connsiteY5796" fmla="*/ 1446677 h 3912503"/>
              <a:gd name="connsiteX5797" fmla="*/ 1760329 w 12192528"/>
              <a:gd name="connsiteY5797" fmla="*/ 1462415 h 3912503"/>
              <a:gd name="connsiteX5798" fmla="*/ 1757876 w 12192528"/>
              <a:gd name="connsiteY5798" fmla="*/ 1467320 h 3912503"/>
              <a:gd name="connsiteX5799" fmla="*/ 1754195 w 12192528"/>
              <a:gd name="connsiteY5799" fmla="*/ 1468955 h 3912503"/>
              <a:gd name="connsiteX5800" fmla="*/ 1752354 w 12192528"/>
              <a:gd name="connsiteY5800" fmla="*/ 1472839 h 3912503"/>
              <a:gd name="connsiteX5801" fmla="*/ 1753269 w 12192528"/>
              <a:gd name="connsiteY5801" fmla="*/ 1474136 h 3912503"/>
              <a:gd name="connsiteX5802" fmla="*/ 1737287 w 12192528"/>
              <a:gd name="connsiteY5802" fmla="*/ 1490031 h 3912503"/>
              <a:gd name="connsiteX5803" fmla="*/ 1737631 w 12192528"/>
              <a:gd name="connsiteY5803" fmla="*/ 1486940 h 3912503"/>
              <a:gd name="connsiteX5804" fmla="*/ 1736200 w 12192528"/>
              <a:gd name="connsiteY5804" fmla="*/ 1483466 h 3912503"/>
              <a:gd name="connsiteX5805" fmla="*/ 1732519 w 12192528"/>
              <a:gd name="connsiteY5805" fmla="*/ 1484896 h 3912503"/>
              <a:gd name="connsiteX5806" fmla="*/ 1731292 w 12192528"/>
              <a:gd name="connsiteY5806" fmla="*/ 1487554 h 3912503"/>
              <a:gd name="connsiteX5807" fmla="*/ 1725158 w 12192528"/>
              <a:gd name="connsiteY5807" fmla="*/ 1488575 h 3912503"/>
              <a:gd name="connsiteX5808" fmla="*/ 1722500 w 12192528"/>
              <a:gd name="connsiteY5808" fmla="*/ 1486736 h 3912503"/>
              <a:gd name="connsiteX5809" fmla="*/ 1720660 w 12192528"/>
              <a:gd name="connsiteY5809" fmla="*/ 1489597 h 3912503"/>
              <a:gd name="connsiteX5810" fmla="*/ 1720046 w 12192528"/>
              <a:gd name="connsiteY5810" fmla="*/ 1492050 h 3912503"/>
              <a:gd name="connsiteX5811" fmla="*/ 1719261 w 12192528"/>
              <a:gd name="connsiteY5811" fmla="*/ 1493216 h 3912503"/>
              <a:gd name="connsiteX5812" fmla="*/ 1756221 w 12192528"/>
              <a:gd name="connsiteY5812" fmla="*/ 1502996 h 3912503"/>
              <a:gd name="connsiteX5813" fmla="*/ 2171851 w 12192528"/>
              <a:gd name="connsiteY5813" fmla="*/ 1669686 h 3912503"/>
              <a:gd name="connsiteX5814" fmla="*/ 2193858 w 12192528"/>
              <a:gd name="connsiteY5814" fmla="*/ 1682084 h 3912503"/>
              <a:gd name="connsiteX5815" fmla="*/ 2203401 w 12192528"/>
              <a:gd name="connsiteY5815" fmla="*/ 1657369 h 3912503"/>
              <a:gd name="connsiteX5816" fmla="*/ 2203401 w 12192528"/>
              <a:gd name="connsiteY5816" fmla="*/ 1625741 h 3912503"/>
              <a:gd name="connsiteX5817" fmla="*/ 2191894 w 12192528"/>
              <a:gd name="connsiteY5817" fmla="*/ 1613090 h 3912503"/>
              <a:gd name="connsiteX5818" fmla="*/ 2188442 w 12192528"/>
              <a:gd name="connsiteY5818" fmla="*/ 1606765 h 3912503"/>
              <a:gd name="connsiteX5819" fmla="*/ 2194771 w 12192528"/>
              <a:gd name="connsiteY5819" fmla="*/ 1603313 h 3912503"/>
              <a:gd name="connsiteX5820" fmla="*/ 2206854 w 12192528"/>
              <a:gd name="connsiteY5820" fmla="*/ 1591813 h 3912503"/>
              <a:gd name="connsiteX5821" fmla="*/ 2221812 w 12192528"/>
              <a:gd name="connsiteY5821" fmla="*/ 1565936 h 3912503"/>
              <a:gd name="connsiteX5822" fmla="*/ 2222387 w 12192528"/>
              <a:gd name="connsiteY5822" fmla="*/ 1552133 h 3912503"/>
              <a:gd name="connsiteX5823" fmla="*/ 2217785 w 12192528"/>
              <a:gd name="connsiteY5823" fmla="*/ 1542933 h 3912503"/>
              <a:gd name="connsiteX5824" fmla="*/ 2227566 w 12192528"/>
              <a:gd name="connsiteY5824" fmla="*/ 1536607 h 3912503"/>
              <a:gd name="connsiteX5825" fmla="*/ 2235620 w 12192528"/>
              <a:gd name="connsiteY5825" fmla="*/ 1535457 h 3912503"/>
              <a:gd name="connsiteX5826" fmla="*/ 2245401 w 12192528"/>
              <a:gd name="connsiteY5826" fmla="*/ 1511880 h 3912503"/>
              <a:gd name="connsiteX5827" fmla="*/ 2242525 w 12192528"/>
              <a:gd name="connsiteY5827" fmla="*/ 1507280 h 3912503"/>
              <a:gd name="connsiteX5828" fmla="*/ 2243100 w 12192528"/>
              <a:gd name="connsiteY5828" fmla="*/ 1496929 h 3912503"/>
              <a:gd name="connsiteX5829" fmla="*/ 2252305 w 12192528"/>
              <a:gd name="connsiteY5829" fmla="*/ 1499229 h 3912503"/>
              <a:gd name="connsiteX5830" fmla="*/ 2258059 w 12192528"/>
              <a:gd name="connsiteY5830" fmla="*/ 1506705 h 3912503"/>
              <a:gd name="connsiteX5831" fmla="*/ 2260397 w 12192528"/>
              <a:gd name="connsiteY5831" fmla="*/ 1507055 h 3912503"/>
              <a:gd name="connsiteX5832" fmla="*/ 2261117 w 12192528"/>
              <a:gd name="connsiteY5832" fmla="*/ 1501310 h 3912503"/>
              <a:gd name="connsiteX5833" fmla="*/ 2275536 w 12192528"/>
              <a:gd name="connsiteY5833" fmla="*/ 1490077 h 3912503"/>
              <a:gd name="connsiteX5834" fmla="*/ 2284764 w 12192528"/>
              <a:gd name="connsiteY5834" fmla="*/ 1489789 h 3912503"/>
              <a:gd name="connsiteX5835" fmla="*/ 2302933 w 12192528"/>
              <a:gd name="connsiteY5835" fmla="*/ 1493821 h 3912503"/>
              <a:gd name="connsiteX5836" fmla="*/ 2307835 w 12192528"/>
              <a:gd name="connsiteY5836" fmla="*/ 1496413 h 3912503"/>
              <a:gd name="connsiteX5837" fmla="*/ 2310709 w 12192528"/>
              <a:gd name="connsiteY5837" fmla="*/ 1498832 h 3912503"/>
              <a:gd name="connsiteX5838" fmla="*/ 2348388 w 12192528"/>
              <a:gd name="connsiteY5838" fmla="*/ 1496353 h 3912503"/>
              <a:gd name="connsiteX5839" fmla="*/ 2358744 w 12192528"/>
              <a:gd name="connsiteY5839" fmla="*/ 1501530 h 3912503"/>
              <a:gd name="connsiteX5840" fmla="*/ 2388661 w 12192528"/>
              <a:gd name="connsiteY5840" fmla="*/ 1515331 h 3912503"/>
              <a:gd name="connsiteX5841" fmla="*/ 2394415 w 12192528"/>
              <a:gd name="connsiteY5841" fmla="*/ 1519356 h 3912503"/>
              <a:gd name="connsiteX5842" fmla="*/ 2419730 w 12192528"/>
              <a:gd name="connsiteY5842" fmla="*/ 1549833 h 3912503"/>
              <a:gd name="connsiteX5843" fmla="*/ 2435265 w 12192528"/>
              <a:gd name="connsiteY5843" fmla="*/ 1601588 h 3912503"/>
              <a:gd name="connsiteX5844" fmla="*/ 2442744 w 12192528"/>
              <a:gd name="connsiteY5844" fmla="*/ 1619416 h 3912503"/>
              <a:gd name="connsiteX5845" fmla="*/ 2441018 w 12192528"/>
              <a:gd name="connsiteY5845" fmla="*/ 1644718 h 3912503"/>
              <a:gd name="connsiteX5846" fmla="*/ 2438716 w 12192528"/>
              <a:gd name="connsiteY5846" fmla="*/ 1665994 h 3912503"/>
              <a:gd name="connsiteX5847" fmla="*/ 2439293 w 12192528"/>
              <a:gd name="connsiteY5847" fmla="*/ 1674621 h 3912503"/>
              <a:gd name="connsiteX5848" fmla="*/ 2405346 w 12192528"/>
              <a:gd name="connsiteY5848" fmla="*/ 1713724 h 3912503"/>
              <a:gd name="connsiteX5849" fmla="*/ 2373128 w 12192528"/>
              <a:gd name="connsiteY5849" fmla="*/ 1732702 h 3912503"/>
              <a:gd name="connsiteX5850" fmla="*/ 2348963 w 12192528"/>
              <a:gd name="connsiteY5850" fmla="*/ 1764329 h 3912503"/>
              <a:gd name="connsiteX5851" fmla="*/ 2352415 w 12192528"/>
              <a:gd name="connsiteY5851" fmla="*/ 1770654 h 3912503"/>
              <a:gd name="connsiteX5852" fmla="*/ 2355478 w 12192528"/>
              <a:gd name="connsiteY5852" fmla="*/ 1773134 h 3912503"/>
              <a:gd name="connsiteX5853" fmla="*/ 2429009 w 12192528"/>
              <a:gd name="connsiteY5853" fmla="*/ 1814559 h 3912503"/>
              <a:gd name="connsiteX5854" fmla="*/ 2441530 w 12192528"/>
              <a:gd name="connsiteY5854" fmla="*/ 1776982 h 3912503"/>
              <a:gd name="connsiteX5855" fmla="*/ 2528254 w 12192528"/>
              <a:gd name="connsiteY5855" fmla="*/ 1660316 h 3912503"/>
              <a:gd name="connsiteX5856" fmla="*/ 2549187 w 12192528"/>
              <a:gd name="connsiteY5856" fmla="*/ 1654334 h 3912503"/>
              <a:gd name="connsiteX5857" fmla="*/ 2668804 w 12192528"/>
              <a:gd name="connsiteY5857" fmla="*/ 1654334 h 3912503"/>
              <a:gd name="connsiteX5858" fmla="*/ 2644881 w 12192528"/>
              <a:gd name="connsiteY5858" fmla="*/ 1555615 h 3912503"/>
              <a:gd name="connsiteX5859" fmla="*/ 2713661 w 12192528"/>
              <a:gd name="connsiteY5859" fmla="*/ 1609462 h 3912503"/>
              <a:gd name="connsiteX5860" fmla="*/ 2738473 w 12192528"/>
              <a:gd name="connsiteY5860" fmla="*/ 1627551 h 3912503"/>
              <a:gd name="connsiteX5861" fmla="*/ 2753930 w 12192528"/>
              <a:gd name="connsiteY5861" fmla="*/ 1634901 h 3912503"/>
              <a:gd name="connsiteX5862" fmla="*/ 2756826 w 12192528"/>
              <a:gd name="connsiteY5862" fmla="*/ 1632145 h 3912503"/>
              <a:gd name="connsiteX5863" fmla="*/ 2761358 w 12192528"/>
              <a:gd name="connsiteY5863" fmla="*/ 1624307 h 3912503"/>
              <a:gd name="connsiteX5864" fmla="*/ 2761531 w 12192528"/>
              <a:gd name="connsiteY5864" fmla="*/ 1620126 h 3912503"/>
              <a:gd name="connsiteX5865" fmla="*/ 2760137 w 12192528"/>
              <a:gd name="connsiteY5865" fmla="*/ 1617340 h 3912503"/>
              <a:gd name="connsiteX5866" fmla="*/ 2762472 w 12192528"/>
              <a:gd name="connsiteY5866" fmla="*/ 1615830 h 3912503"/>
              <a:gd name="connsiteX5867" fmla="*/ 2741438 w 12192528"/>
              <a:gd name="connsiteY5867" fmla="*/ 1612164 h 3912503"/>
              <a:gd name="connsiteX5868" fmla="*/ 2729475 w 12192528"/>
              <a:gd name="connsiteY5868" fmla="*/ 1606181 h 3912503"/>
              <a:gd name="connsiteX5869" fmla="*/ 2774332 w 12192528"/>
              <a:gd name="connsiteY5869" fmla="*/ 1582250 h 3912503"/>
              <a:gd name="connsiteX5870" fmla="*/ 2774332 w 12192528"/>
              <a:gd name="connsiteY5870" fmla="*/ 1570285 h 3912503"/>
              <a:gd name="connsiteX5871" fmla="*/ 2795265 w 12192528"/>
              <a:gd name="connsiteY5871" fmla="*/ 1378832 h 3912503"/>
              <a:gd name="connsiteX5872" fmla="*/ 2794669 w 12192528"/>
              <a:gd name="connsiteY5872" fmla="*/ 1374358 h 3912503"/>
              <a:gd name="connsiteX5873" fmla="*/ 2786788 w 12192528"/>
              <a:gd name="connsiteY5873" fmla="*/ 1383378 h 3912503"/>
              <a:gd name="connsiteX5874" fmla="*/ 2707088 w 12192528"/>
              <a:gd name="connsiteY5874" fmla="*/ 1499451 h 3912503"/>
              <a:gd name="connsiteX5875" fmla="*/ 2739426 w 12192528"/>
              <a:gd name="connsiteY5875" fmla="*/ 1420865 h 3912503"/>
              <a:gd name="connsiteX5876" fmla="*/ 2781999 w 12192528"/>
              <a:gd name="connsiteY5876" fmla="*/ 1364866 h 3912503"/>
              <a:gd name="connsiteX5877" fmla="*/ 2791485 w 12192528"/>
              <a:gd name="connsiteY5877" fmla="*/ 1350472 h 3912503"/>
              <a:gd name="connsiteX5878" fmla="*/ 2789370 w 12192528"/>
              <a:gd name="connsiteY5878" fmla="*/ 1334601 h 3912503"/>
              <a:gd name="connsiteX5879" fmla="*/ 2777442 w 12192528"/>
              <a:gd name="connsiteY5879" fmla="*/ 1349807 h 3912503"/>
              <a:gd name="connsiteX5880" fmla="*/ 2733038 w 12192528"/>
              <a:gd name="connsiteY5880" fmla="*/ 1396182 h 3912503"/>
              <a:gd name="connsiteX5881" fmla="*/ 2690597 w 12192528"/>
              <a:gd name="connsiteY5881" fmla="*/ 1449294 h 3912503"/>
              <a:gd name="connsiteX5882" fmla="*/ 2734086 w 12192528"/>
              <a:gd name="connsiteY5882" fmla="*/ 1373089 h 3912503"/>
              <a:gd name="connsiteX5883" fmla="*/ 2736214 w 12192528"/>
              <a:gd name="connsiteY5883" fmla="*/ 1381317 h 3912503"/>
              <a:gd name="connsiteX5884" fmla="*/ 2751588 w 12192528"/>
              <a:gd name="connsiteY5884" fmla="*/ 1345740 h 3912503"/>
              <a:gd name="connsiteX5885" fmla="*/ 2768045 w 12192528"/>
              <a:gd name="connsiteY5885" fmla="*/ 1341485 h 3912503"/>
              <a:gd name="connsiteX5886" fmla="*/ 2817381 w 12192528"/>
              <a:gd name="connsiteY5886" fmla="*/ 1274301 h 3912503"/>
              <a:gd name="connsiteX5887" fmla="*/ 2828785 w 12192528"/>
              <a:gd name="connsiteY5887" fmla="*/ 1257307 h 3912503"/>
              <a:gd name="connsiteX5888" fmla="*/ 2854356 w 12192528"/>
              <a:gd name="connsiteY5888" fmla="*/ 1227686 h 3912503"/>
              <a:gd name="connsiteX5889" fmla="*/ 2841467 w 12192528"/>
              <a:gd name="connsiteY5889" fmla="*/ 1219528 h 3912503"/>
              <a:gd name="connsiteX5890" fmla="*/ 2835123 w 12192528"/>
              <a:gd name="connsiteY5890" fmla="*/ 1207719 h 3912503"/>
              <a:gd name="connsiteX5891" fmla="*/ 2833104 w 12192528"/>
              <a:gd name="connsiteY5891" fmla="*/ 1202823 h 3912503"/>
              <a:gd name="connsiteX5892" fmla="*/ 2832815 w 12192528"/>
              <a:gd name="connsiteY5892" fmla="*/ 1197926 h 3912503"/>
              <a:gd name="connsiteX5893" fmla="*/ 2833681 w 12192528"/>
              <a:gd name="connsiteY5893" fmla="*/ 1194182 h 3912503"/>
              <a:gd name="connsiteX5894" fmla="*/ 2835123 w 12192528"/>
              <a:gd name="connsiteY5894" fmla="*/ 1186406 h 3912503"/>
              <a:gd name="connsiteX5895" fmla="*/ 2835410 w 12192528"/>
              <a:gd name="connsiteY5895" fmla="*/ 1183525 h 3912503"/>
              <a:gd name="connsiteX5896" fmla="*/ 2836276 w 12192528"/>
              <a:gd name="connsiteY5896" fmla="*/ 1176612 h 3912503"/>
              <a:gd name="connsiteX5897" fmla="*/ 2850696 w 12192528"/>
              <a:gd name="connsiteY5897" fmla="*/ 1165379 h 3912503"/>
              <a:gd name="connsiteX5898" fmla="*/ 2859924 w 12192528"/>
              <a:gd name="connsiteY5898" fmla="*/ 1165092 h 3912503"/>
              <a:gd name="connsiteX5899" fmla="*/ 2878092 w 12192528"/>
              <a:gd name="connsiteY5899" fmla="*/ 1169124 h 3912503"/>
              <a:gd name="connsiteX5900" fmla="*/ 2882995 w 12192528"/>
              <a:gd name="connsiteY5900" fmla="*/ 1171716 h 3912503"/>
              <a:gd name="connsiteX5901" fmla="*/ 2888474 w 12192528"/>
              <a:gd name="connsiteY5901" fmla="*/ 1176325 h 3912503"/>
              <a:gd name="connsiteX5902" fmla="*/ 2891935 w 12192528"/>
              <a:gd name="connsiteY5902" fmla="*/ 1180933 h 3912503"/>
              <a:gd name="connsiteX5903" fmla="*/ 2892685 w 12192528"/>
              <a:gd name="connsiteY5903" fmla="*/ 1183288 h 3912503"/>
              <a:gd name="connsiteX5904" fmla="*/ 2894641 w 12192528"/>
              <a:gd name="connsiteY5904" fmla="*/ 1181023 h 3912503"/>
              <a:gd name="connsiteX5905" fmla="*/ 2964881 w 12192528"/>
              <a:gd name="connsiteY5905" fmla="*/ 1111506 h 3912503"/>
              <a:gd name="connsiteX5906" fmla="*/ 3008658 w 12192528"/>
              <a:gd name="connsiteY5906" fmla="*/ 1070339 h 3912503"/>
              <a:gd name="connsiteX5907" fmla="*/ 3030673 w 12192528"/>
              <a:gd name="connsiteY5907" fmla="*/ 1040066 h 3912503"/>
              <a:gd name="connsiteX5908" fmla="*/ 3041825 w 12192528"/>
              <a:gd name="connsiteY5908" fmla="*/ 1042448 h 3912503"/>
              <a:gd name="connsiteX5909" fmla="*/ 2946583 w 12192528"/>
              <a:gd name="connsiteY5909" fmla="*/ 1142573 h 3912503"/>
              <a:gd name="connsiteX5910" fmla="*/ 2944995 w 12192528"/>
              <a:gd name="connsiteY5910" fmla="*/ 1150006 h 3912503"/>
              <a:gd name="connsiteX5911" fmla="*/ 2950300 w 12192528"/>
              <a:gd name="connsiteY5911" fmla="*/ 1143366 h 3912503"/>
              <a:gd name="connsiteX5912" fmla="*/ 2959322 w 12192528"/>
              <a:gd name="connsiteY5912" fmla="*/ 1137521 h 3912503"/>
              <a:gd name="connsiteX5913" fmla="*/ 2954017 w 12192528"/>
              <a:gd name="connsiteY5913" fmla="*/ 1144161 h 3912503"/>
              <a:gd name="connsiteX5914" fmla="*/ 2953223 w 12192528"/>
              <a:gd name="connsiteY5914" fmla="*/ 1147877 h 3912503"/>
              <a:gd name="connsiteX5915" fmla="*/ 3064922 w 12192528"/>
              <a:gd name="connsiteY5915" fmla="*/ 1043496 h 3912503"/>
              <a:gd name="connsiteX5916" fmla="*/ 3180338 w 12192528"/>
              <a:gd name="connsiteY5916" fmla="*/ 939912 h 3912503"/>
              <a:gd name="connsiteX5917" fmla="*/ 3200764 w 12192528"/>
              <a:gd name="connsiteY5917" fmla="*/ 917073 h 3912503"/>
              <a:gd name="connsiteX5918" fmla="*/ 3294164 w 12192528"/>
              <a:gd name="connsiteY5918" fmla="*/ 843759 h 3912503"/>
              <a:gd name="connsiteX5919" fmla="*/ 3289907 w 12192528"/>
              <a:gd name="connsiteY5919" fmla="*/ 827305 h 3912503"/>
              <a:gd name="connsiteX5920" fmla="*/ 3305822 w 12192528"/>
              <a:gd name="connsiteY5920" fmla="*/ 807388 h 3912503"/>
              <a:gd name="connsiteX5921" fmla="*/ 3301310 w 12192528"/>
              <a:gd name="connsiteY5921" fmla="*/ 810312 h 3912503"/>
              <a:gd name="connsiteX5922" fmla="*/ 3297592 w 12192528"/>
              <a:gd name="connsiteY5922" fmla="*/ 809517 h 3912503"/>
              <a:gd name="connsiteX5923" fmla="*/ 3306615 w 12192528"/>
              <a:gd name="connsiteY5923" fmla="*/ 803671 h 3912503"/>
              <a:gd name="connsiteX5924" fmla="*/ 3311127 w 12192528"/>
              <a:gd name="connsiteY5924" fmla="*/ 800750 h 3912503"/>
              <a:gd name="connsiteX5925" fmla="*/ 3342165 w 12192528"/>
              <a:gd name="connsiteY5925" fmla="*/ 764634 h 3912503"/>
              <a:gd name="connsiteX5926" fmla="*/ 3414344 w 12192528"/>
              <a:gd name="connsiteY5926" fmla="*/ 717875 h 3912503"/>
              <a:gd name="connsiteX5927" fmla="*/ 3403734 w 12192528"/>
              <a:gd name="connsiteY5927" fmla="*/ 731153 h 3912503"/>
              <a:gd name="connsiteX5928" fmla="*/ 3408245 w 12192528"/>
              <a:gd name="connsiteY5928" fmla="*/ 728230 h 3912503"/>
              <a:gd name="connsiteX5929" fmla="*/ 3416473 w 12192528"/>
              <a:gd name="connsiteY5929" fmla="*/ 726102 h 3912503"/>
              <a:gd name="connsiteX5930" fmla="*/ 3411962 w 12192528"/>
              <a:gd name="connsiteY5930" fmla="*/ 729025 h 3912503"/>
              <a:gd name="connsiteX5931" fmla="*/ 3411168 w 12192528"/>
              <a:gd name="connsiteY5931" fmla="*/ 732742 h 3912503"/>
              <a:gd name="connsiteX5932" fmla="*/ 3441159 w 12192528"/>
              <a:gd name="connsiteY5932" fmla="*/ 719719 h 3912503"/>
              <a:gd name="connsiteX5933" fmla="*/ 3407198 w 12192528"/>
              <a:gd name="connsiteY5933" fmla="*/ 751324 h 3912503"/>
              <a:gd name="connsiteX5934" fmla="*/ 3411709 w 12192528"/>
              <a:gd name="connsiteY5934" fmla="*/ 748402 h 3912503"/>
              <a:gd name="connsiteX5935" fmla="*/ 3420730 w 12192528"/>
              <a:gd name="connsiteY5935" fmla="*/ 742557 h 3912503"/>
              <a:gd name="connsiteX5936" fmla="*/ 3419937 w 12192528"/>
              <a:gd name="connsiteY5936" fmla="*/ 746274 h 3912503"/>
              <a:gd name="connsiteX5937" fmla="*/ 3415427 w 12192528"/>
              <a:gd name="connsiteY5937" fmla="*/ 749195 h 3912503"/>
              <a:gd name="connsiteX5938" fmla="*/ 3441699 w 12192528"/>
              <a:gd name="connsiteY5938" fmla="*/ 735378 h 3912503"/>
              <a:gd name="connsiteX5939" fmla="*/ 3568807 w 12192528"/>
              <a:gd name="connsiteY5939" fmla="*/ 649835 h 3912503"/>
              <a:gd name="connsiteX5940" fmla="*/ 3607821 w 12192528"/>
              <a:gd name="connsiteY5940" fmla="*/ 630967 h 3912503"/>
              <a:gd name="connsiteX5941" fmla="*/ 3735470 w 12192528"/>
              <a:gd name="connsiteY5941" fmla="*/ 561085 h 3912503"/>
              <a:gd name="connsiteX5942" fmla="*/ 3772019 w 12192528"/>
              <a:gd name="connsiteY5942" fmla="*/ 543441 h 3912503"/>
              <a:gd name="connsiteX5943" fmla="*/ 3768755 w 12192528"/>
              <a:gd name="connsiteY5943" fmla="*/ 537368 h 3912503"/>
              <a:gd name="connsiteX5944" fmla="*/ 3766877 w 12192528"/>
              <a:gd name="connsiteY5944" fmla="*/ 532813 h 3912503"/>
              <a:gd name="connsiteX5945" fmla="*/ 3766609 w 12192528"/>
              <a:gd name="connsiteY5945" fmla="*/ 528256 h 3912503"/>
              <a:gd name="connsiteX5946" fmla="*/ 3767414 w 12192528"/>
              <a:gd name="connsiteY5946" fmla="*/ 524772 h 3912503"/>
              <a:gd name="connsiteX5947" fmla="*/ 3768755 w 12192528"/>
              <a:gd name="connsiteY5947" fmla="*/ 517535 h 3912503"/>
              <a:gd name="connsiteX5948" fmla="*/ 3769024 w 12192528"/>
              <a:gd name="connsiteY5948" fmla="*/ 514854 h 3912503"/>
              <a:gd name="connsiteX5949" fmla="*/ 3769829 w 12192528"/>
              <a:gd name="connsiteY5949" fmla="*/ 508421 h 3912503"/>
              <a:gd name="connsiteX5950" fmla="*/ 3783247 w 12192528"/>
              <a:gd name="connsiteY5950" fmla="*/ 497969 h 3912503"/>
              <a:gd name="connsiteX5951" fmla="*/ 3791836 w 12192528"/>
              <a:gd name="connsiteY5951" fmla="*/ 497701 h 3912503"/>
              <a:gd name="connsiteX5952" fmla="*/ 3808743 w 12192528"/>
              <a:gd name="connsiteY5952" fmla="*/ 501453 h 3912503"/>
              <a:gd name="connsiteX5953" fmla="*/ 3813305 w 12192528"/>
              <a:gd name="connsiteY5953" fmla="*/ 503865 h 3912503"/>
              <a:gd name="connsiteX5954" fmla="*/ 3818404 w 12192528"/>
              <a:gd name="connsiteY5954" fmla="*/ 508154 h 3912503"/>
              <a:gd name="connsiteX5955" fmla="*/ 3821624 w 12192528"/>
              <a:gd name="connsiteY5955" fmla="*/ 512442 h 3912503"/>
              <a:gd name="connsiteX5956" fmla="*/ 3825382 w 12192528"/>
              <a:gd name="connsiteY5956" fmla="*/ 524235 h 3912503"/>
              <a:gd name="connsiteX5957" fmla="*/ 3825824 w 12192528"/>
              <a:gd name="connsiteY5957" fmla="*/ 525427 h 3912503"/>
              <a:gd name="connsiteX5958" fmla="*/ 3832875 w 12192528"/>
              <a:gd name="connsiteY5958" fmla="*/ 523603 h 3912503"/>
              <a:gd name="connsiteX5959" fmla="*/ 3828364 w 12192528"/>
              <a:gd name="connsiteY5959" fmla="*/ 526525 h 3912503"/>
              <a:gd name="connsiteX5960" fmla="*/ 3826645 w 12192528"/>
              <a:gd name="connsiteY5960" fmla="*/ 527639 h 3912503"/>
              <a:gd name="connsiteX5961" fmla="*/ 3826895 w 12192528"/>
              <a:gd name="connsiteY5961" fmla="*/ 528316 h 3912503"/>
              <a:gd name="connsiteX5962" fmla="*/ 3870300 w 12192528"/>
              <a:gd name="connsiteY5962" fmla="*/ 512168 h 3912503"/>
              <a:gd name="connsiteX5963" fmla="*/ 3888091 w 12192528"/>
              <a:gd name="connsiteY5963" fmla="*/ 519856 h 3912503"/>
              <a:gd name="connsiteX5964" fmla="*/ 4087415 w 12192528"/>
              <a:gd name="connsiteY5964" fmla="*/ 441969 h 3912503"/>
              <a:gd name="connsiteX5965" fmla="*/ 4228633 w 12192528"/>
              <a:gd name="connsiteY5965" fmla="*/ 417733 h 3912503"/>
              <a:gd name="connsiteX5966" fmla="*/ 4248810 w 12192528"/>
              <a:gd name="connsiteY5966" fmla="*/ 414271 h 3912503"/>
              <a:gd name="connsiteX5967" fmla="*/ 4334812 w 12192528"/>
              <a:gd name="connsiteY5967" fmla="*/ 393783 h 3912503"/>
              <a:gd name="connsiteX5968" fmla="*/ 4409405 w 12192528"/>
              <a:gd name="connsiteY5968" fmla="*/ 390289 h 3912503"/>
              <a:gd name="connsiteX5969" fmla="*/ 4367469 w 12192528"/>
              <a:gd name="connsiteY5969" fmla="*/ 404647 h 3912503"/>
              <a:gd name="connsiteX5970" fmla="*/ 4318895 w 12192528"/>
              <a:gd name="connsiteY5970" fmla="*/ 413700 h 3912503"/>
              <a:gd name="connsiteX5971" fmla="*/ 4288364 w 12192528"/>
              <a:gd name="connsiteY5971" fmla="*/ 411063 h 3912503"/>
              <a:gd name="connsiteX5972" fmla="*/ 4209796 w 12192528"/>
              <a:gd name="connsiteY5972" fmla="*/ 433139 h 3912503"/>
              <a:gd name="connsiteX5973" fmla="*/ 4182186 w 12192528"/>
              <a:gd name="connsiteY5973" fmla="*/ 435013 h 3912503"/>
              <a:gd name="connsiteX5974" fmla="*/ 4180598 w 12192528"/>
              <a:gd name="connsiteY5974" fmla="*/ 442445 h 3912503"/>
              <a:gd name="connsiteX5975" fmla="*/ 4072834 w 12192528"/>
              <a:gd name="connsiteY5975" fmla="*/ 473829 h 3912503"/>
              <a:gd name="connsiteX5976" fmla="*/ 3956843 w 12192528"/>
              <a:gd name="connsiteY5976" fmla="*/ 507340 h 3912503"/>
              <a:gd name="connsiteX5977" fmla="*/ 3950202 w 12192528"/>
              <a:gd name="connsiteY5977" fmla="*/ 502035 h 3912503"/>
              <a:gd name="connsiteX5978" fmla="*/ 3859436 w 12192528"/>
              <a:gd name="connsiteY5978" fmla="*/ 544822 h 3912503"/>
              <a:gd name="connsiteX5979" fmla="*/ 3804762 w 12192528"/>
              <a:gd name="connsiteY5979" fmla="*/ 564231 h 3912503"/>
              <a:gd name="connsiteX5980" fmla="*/ 3807686 w 12192528"/>
              <a:gd name="connsiteY5980" fmla="*/ 568741 h 3912503"/>
              <a:gd name="connsiteX5981" fmla="*/ 3755933 w 12192528"/>
              <a:gd name="connsiteY5981" fmla="*/ 592660 h 3912503"/>
              <a:gd name="connsiteX5982" fmla="*/ 3736552 w 12192528"/>
              <a:gd name="connsiteY5982" fmla="*/ 592406 h 3912503"/>
              <a:gd name="connsiteX5983" fmla="*/ 3754850 w 12192528"/>
              <a:gd name="connsiteY5983" fmla="*/ 561339 h 3912503"/>
              <a:gd name="connsiteX5984" fmla="*/ 3662496 w 12192528"/>
              <a:gd name="connsiteY5984" fmla="*/ 611559 h 3912503"/>
              <a:gd name="connsiteX5985" fmla="*/ 3666213 w 12192528"/>
              <a:gd name="connsiteY5985" fmla="*/ 612354 h 3912503"/>
              <a:gd name="connsiteX5986" fmla="*/ 3674442 w 12192528"/>
              <a:gd name="connsiteY5986" fmla="*/ 610225 h 3912503"/>
              <a:gd name="connsiteX5987" fmla="*/ 3665420 w 12192528"/>
              <a:gd name="connsiteY5987" fmla="*/ 616071 h 3912503"/>
              <a:gd name="connsiteX5988" fmla="*/ 3639146 w 12192528"/>
              <a:gd name="connsiteY5988" fmla="*/ 629888 h 3912503"/>
              <a:gd name="connsiteX5989" fmla="*/ 3633841 w 12192528"/>
              <a:gd name="connsiteY5989" fmla="*/ 636527 h 3912503"/>
              <a:gd name="connsiteX5990" fmla="*/ 3630124 w 12192528"/>
              <a:gd name="connsiteY5990" fmla="*/ 635732 h 3912503"/>
              <a:gd name="connsiteX5991" fmla="*/ 3626407 w 12192528"/>
              <a:gd name="connsiteY5991" fmla="*/ 634938 h 3912503"/>
              <a:gd name="connsiteX5992" fmla="*/ 3630918 w 12192528"/>
              <a:gd name="connsiteY5992" fmla="*/ 632017 h 3912503"/>
              <a:gd name="connsiteX5993" fmla="*/ 3628535 w 12192528"/>
              <a:gd name="connsiteY5993" fmla="*/ 643165 h 3912503"/>
              <a:gd name="connsiteX5994" fmla="*/ 3622436 w 12192528"/>
              <a:gd name="connsiteY5994" fmla="*/ 653521 h 3912503"/>
              <a:gd name="connsiteX5995" fmla="*/ 3641816 w 12192528"/>
              <a:gd name="connsiteY5995" fmla="*/ 653775 h 3912503"/>
              <a:gd name="connsiteX5996" fmla="*/ 3608649 w 12192528"/>
              <a:gd name="connsiteY5996" fmla="*/ 681665 h 3912503"/>
              <a:gd name="connsiteX5997" fmla="*/ 3571460 w 12192528"/>
              <a:gd name="connsiteY5997" fmla="*/ 702765 h 3912503"/>
              <a:gd name="connsiteX5998" fmla="*/ 3599694 w 12192528"/>
              <a:gd name="connsiteY5998" fmla="*/ 702765 h 3912503"/>
              <a:gd name="connsiteX5999" fmla="*/ 3599694 w 12192528"/>
              <a:gd name="connsiteY5999" fmla="*/ 768577 h 3912503"/>
              <a:gd name="connsiteX6000" fmla="*/ 3602684 w 12192528"/>
              <a:gd name="connsiteY6000" fmla="*/ 819432 h 3912503"/>
              <a:gd name="connsiteX6001" fmla="*/ 3707349 w 12192528"/>
              <a:gd name="connsiteY6001" fmla="*/ 870286 h 3912503"/>
              <a:gd name="connsiteX6002" fmla="*/ 3782110 w 12192528"/>
              <a:gd name="connsiteY6002" fmla="*/ 879260 h 3912503"/>
              <a:gd name="connsiteX6003" fmla="*/ 3799180 w 12192528"/>
              <a:gd name="connsiteY6003" fmla="*/ 895651 h 3912503"/>
              <a:gd name="connsiteX6004" fmla="*/ 3865654 w 12192528"/>
              <a:gd name="connsiteY6004" fmla="*/ 862751 h 3912503"/>
              <a:gd name="connsiteX6005" fmla="*/ 3868834 w 12192528"/>
              <a:gd name="connsiteY6005" fmla="*/ 855329 h 3912503"/>
              <a:gd name="connsiteX6006" fmla="*/ 3933595 w 12192528"/>
              <a:gd name="connsiteY6006" fmla="*/ 825041 h 3912503"/>
              <a:gd name="connsiteX6007" fmla="*/ 3942951 w 12192528"/>
              <a:gd name="connsiteY6007" fmla="*/ 831176 h 3912503"/>
              <a:gd name="connsiteX6008" fmla="*/ 3986740 w 12192528"/>
              <a:gd name="connsiteY6008" fmla="*/ 813795 h 3912503"/>
              <a:gd name="connsiteX6009" fmla="*/ 4089483 w 12192528"/>
              <a:gd name="connsiteY6009" fmla="*/ 782669 h 3912503"/>
              <a:gd name="connsiteX6010" fmla="*/ 4092578 w 12192528"/>
              <a:gd name="connsiteY6010" fmla="*/ 782146 h 3912503"/>
              <a:gd name="connsiteX6011" fmla="*/ 4093388 w 12192528"/>
              <a:gd name="connsiteY6011" fmla="*/ 777777 h 3912503"/>
              <a:gd name="connsiteX6012" fmla="*/ 4093677 w 12192528"/>
              <a:gd name="connsiteY6012" fmla="*/ 774896 h 3912503"/>
              <a:gd name="connsiteX6013" fmla="*/ 4094543 w 12192528"/>
              <a:gd name="connsiteY6013" fmla="*/ 767984 h 3912503"/>
              <a:gd name="connsiteX6014" fmla="*/ 4108962 w 12192528"/>
              <a:gd name="connsiteY6014" fmla="*/ 756751 h 3912503"/>
              <a:gd name="connsiteX6015" fmla="*/ 4118191 w 12192528"/>
              <a:gd name="connsiteY6015" fmla="*/ 756463 h 3912503"/>
              <a:gd name="connsiteX6016" fmla="*/ 4136359 w 12192528"/>
              <a:gd name="connsiteY6016" fmla="*/ 760495 h 3912503"/>
              <a:gd name="connsiteX6017" fmla="*/ 4141261 w 12192528"/>
              <a:gd name="connsiteY6017" fmla="*/ 763087 h 3912503"/>
              <a:gd name="connsiteX6018" fmla="*/ 4146741 w 12192528"/>
              <a:gd name="connsiteY6018" fmla="*/ 767696 h 3912503"/>
              <a:gd name="connsiteX6019" fmla="*/ 4150202 w 12192528"/>
              <a:gd name="connsiteY6019" fmla="*/ 772304 h 3912503"/>
              <a:gd name="connsiteX6020" fmla="*/ 4154239 w 12192528"/>
              <a:gd name="connsiteY6020" fmla="*/ 784977 h 3912503"/>
              <a:gd name="connsiteX6021" fmla="*/ 4157123 w 12192528"/>
              <a:gd name="connsiteY6021" fmla="*/ 792754 h 3912503"/>
              <a:gd name="connsiteX6022" fmla="*/ 4157123 w 12192528"/>
              <a:gd name="connsiteY6022" fmla="*/ 796210 h 3912503"/>
              <a:gd name="connsiteX6023" fmla="*/ 4153662 w 12192528"/>
              <a:gd name="connsiteY6023" fmla="*/ 803123 h 3912503"/>
              <a:gd name="connsiteX6024" fmla="*/ 4145876 w 12192528"/>
              <a:gd name="connsiteY6024" fmla="*/ 813492 h 3912503"/>
              <a:gd name="connsiteX6025" fmla="*/ 4143857 w 12192528"/>
              <a:gd name="connsiteY6025" fmla="*/ 817524 h 3912503"/>
              <a:gd name="connsiteX6026" fmla="*/ 4140397 w 12192528"/>
              <a:gd name="connsiteY6026" fmla="*/ 818964 h 3912503"/>
              <a:gd name="connsiteX6027" fmla="*/ 4133763 w 12192528"/>
              <a:gd name="connsiteY6027" fmla="*/ 820981 h 3912503"/>
              <a:gd name="connsiteX6028" fmla="*/ 4131456 w 12192528"/>
              <a:gd name="connsiteY6028" fmla="*/ 822132 h 3912503"/>
              <a:gd name="connsiteX6029" fmla="*/ 4122228 w 12192528"/>
              <a:gd name="connsiteY6029" fmla="*/ 823284 h 3912503"/>
              <a:gd name="connsiteX6030" fmla="*/ 4120209 w 12192528"/>
              <a:gd name="connsiteY6030" fmla="*/ 823860 h 3912503"/>
              <a:gd name="connsiteX6031" fmla="*/ 4105114 w 12192528"/>
              <a:gd name="connsiteY6031" fmla="*/ 814305 h 3912503"/>
              <a:gd name="connsiteX6032" fmla="*/ 4091413 w 12192528"/>
              <a:gd name="connsiteY6032" fmla="*/ 830179 h 3912503"/>
              <a:gd name="connsiteX6033" fmla="*/ 4216017 w 12192528"/>
              <a:gd name="connsiteY6033" fmla="*/ 797194 h 3912503"/>
              <a:gd name="connsiteX6034" fmla="*/ 4221512 w 12192528"/>
              <a:gd name="connsiteY6034" fmla="*/ 780703 h 3912503"/>
              <a:gd name="connsiteX6035" fmla="*/ 4245332 w 12192528"/>
              <a:gd name="connsiteY6035" fmla="*/ 736721 h 3912503"/>
              <a:gd name="connsiteX6036" fmla="*/ 4404977 w 12192528"/>
              <a:gd name="connsiteY6036" fmla="*/ 697323 h 3912503"/>
              <a:gd name="connsiteX6037" fmla="*/ 4470970 w 12192528"/>
              <a:gd name="connsiteY6037" fmla="*/ 683428 h 3912503"/>
              <a:gd name="connsiteX6038" fmla="*/ 4469697 w 12192528"/>
              <a:gd name="connsiteY6038" fmla="*/ 681056 h 3912503"/>
              <a:gd name="connsiteX6039" fmla="*/ 4467817 w 12192528"/>
              <a:gd name="connsiteY6039" fmla="*/ 676499 h 3912503"/>
              <a:gd name="connsiteX6040" fmla="*/ 4467550 w 12192528"/>
              <a:gd name="connsiteY6040" fmla="*/ 671943 h 3912503"/>
              <a:gd name="connsiteX6041" fmla="*/ 4468357 w 12192528"/>
              <a:gd name="connsiteY6041" fmla="*/ 668459 h 3912503"/>
              <a:gd name="connsiteX6042" fmla="*/ 4469697 w 12192528"/>
              <a:gd name="connsiteY6042" fmla="*/ 661221 h 3912503"/>
              <a:gd name="connsiteX6043" fmla="*/ 4469964 w 12192528"/>
              <a:gd name="connsiteY6043" fmla="*/ 658542 h 3912503"/>
              <a:gd name="connsiteX6044" fmla="*/ 4470770 w 12192528"/>
              <a:gd name="connsiteY6044" fmla="*/ 652109 h 3912503"/>
              <a:gd name="connsiteX6045" fmla="*/ 4484189 w 12192528"/>
              <a:gd name="connsiteY6045" fmla="*/ 641656 h 3912503"/>
              <a:gd name="connsiteX6046" fmla="*/ 4492776 w 12192528"/>
              <a:gd name="connsiteY6046" fmla="*/ 641388 h 3912503"/>
              <a:gd name="connsiteX6047" fmla="*/ 4509684 w 12192528"/>
              <a:gd name="connsiteY6047" fmla="*/ 645140 h 3912503"/>
              <a:gd name="connsiteX6048" fmla="*/ 4514246 w 12192528"/>
              <a:gd name="connsiteY6048" fmla="*/ 647553 h 3912503"/>
              <a:gd name="connsiteX6049" fmla="*/ 4519346 w 12192528"/>
              <a:gd name="connsiteY6049" fmla="*/ 651840 h 3912503"/>
              <a:gd name="connsiteX6050" fmla="*/ 4522565 w 12192528"/>
              <a:gd name="connsiteY6050" fmla="*/ 656129 h 3912503"/>
              <a:gd name="connsiteX6051" fmla="*/ 4526323 w 12192528"/>
              <a:gd name="connsiteY6051" fmla="*/ 667922 h 3912503"/>
              <a:gd name="connsiteX6052" fmla="*/ 4527649 w 12192528"/>
              <a:gd name="connsiteY6052" fmla="*/ 671496 h 3912503"/>
              <a:gd name="connsiteX6053" fmla="*/ 4565998 w 12192528"/>
              <a:gd name="connsiteY6053" fmla="*/ 663422 h 3912503"/>
              <a:gd name="connsiteX6054" fmla="*/ 4703654 w 12192528"/>
              <a:gd name="connsiteY6054" fmla="*/ 644181 h 3912503"/>
              <a:gd name="connsiteX6055" fmla="*/ 4733360 w 12192528"/>
              <a:gd name="connsiteY6055" fmla="*/ 643593 h 3912503"/>
              <a:gd name="connsiteX6056" fmla="*/ 4726599 w 12192528"/>
              <a:gd name="connsiteY6056" fmla="*/ 637387 h 3912503"/>
              <a:gd name="connsiteX6057" fmla="*/ 4717876 w 12192528"/>
              <a:gd name="connsiteY6057" fmla="*/ 630537 h 3912503"/>
              <a:gd name="connsiteX6058" fmla="*/ 4729714 w 12192528"/>
              <a:gd name="connsiteY6058" fmla="*/ 623065 h 3912503"/>
              <a:gd name="connsiteX6059" fmla="*/ 4731581 w 12192528"/>
              <a:gd name="connsiteY6059" fmla="*/ 623065 h 3912503"/>
              <a:gd name="connsiteX6060" fmla="*/ 4743419 w 12192528"/>
              <a:gd name="connsiteY6060" fmla="*/ 601896 h 3912503"/>
              <a:gd name="connsiteX6061" fmla="*/ 4744664 w 12192528"/>
              <a:gd name="connsiteY6061" fmla="*/ 572631 h 3912503"/>
              <a:gd name="connsiteX6062" fmla="*/ 4755257 w 12192528"/>
              <a:gd name="connsiteY6062" fmla="*/ 531535 h 3912503"/>
              <a:gd name="connsiteX6063" fmla="*/ 4764600 w 12192528"/>
              <a:gd name="connsiteY6063" fmla="*/ 520327 h 3912503"/>
              <a:gd name="connsiteX6064" fmla="*/ 4790142 w 12192528"/>
              <a:gd name="connsiteY6064" fmla="*/ 487949 h 3912503"/>
              <a:gd name="connsiteX6065" fmla="*/ 4805092 w 12192528"/>
              <a:gd name="connsiteY6065" fmla="*/ 482345 h 3912503"/>
              <a:gd name="connsiteX6066" fmla="*/ 4866768 w 12192528"/>
              <a:gd name="connsiteY6066" fmla="*/ 464288 h 3912503"/>
              <a:gd name="connsiteX6067" fmla="*/ 4866768 w 12192528"/>
              <a:gd name="connsiteY6067" fmla="*/ 450590 h 3912503"/>
              <a:gd name="connsiteX6068" fmla="*/ 4850570 w 12192528"/>
              <a:gd name="connsiteY6068" fmla="*/ 448722 h 3912503"/>
              <a:gd name="connsiteX6069" fmla="*/ 4839355 w 12192528"/>
              <a:gd name="connsiteY6069" fmla="*/ 456194 h 3912503"/>
              <a:gd name="connsiteX6070" fmla="*/ 4828764 w 12192528"/>
              <a:gd name="connsiteY6070" fmla="*/ 457439 h 3912503"/>
              <a:gd name="connsiteX6071" fmla="*/ 4830634 w 12192528"/>
              <a:gd name="connsiteY6071" fmla="*/ 446231 h 3912503"/>
              <a:gd name="connsiteX6072" fmla="*/ 4839355 w 12192528"/>
              <a:gd name="connsiteY6072" fmla="*/ 438137 h 3912503"/>
              <a:gd name="connsiteX6073" fmla="*/ 4842469 w 12192528"/>
              <a:gd name="connsiteY6073" fmla="*/ 418835 h 3912503"/>
              <a:gd name="connsiteX6074" fmla="*/ 4825649 w 12192528"/>
              <a:gd name="connsiteY6074" fmla="*/ 422570 h 3912503"/>
              <a:gd name="connsiteX6075" fmla="*/ 4812567 w 12192528"/>
              <a:gd name="connsiteY6075" fmla="*/ 433155 h 3912503"/>
              <a:gd name="connsiteX6076" fmla="*/ 4800108 w 12192528"/>
              <a:gd name="connsiteY6076" fmla="*/ 425061 h 3912503"/>
              <a:gd name="connsiteX6077" fmla="*/ 4813814 w 12192528"/>
              <a:gd name="connsiteY6077" fmla="*/ 389570 h 3912503"/>
              <a:gd name="connsiteX6078" fmla="*/ 4813814 w 12192528"/>
              <a:gd name="connsiteY6078" fmla="*/ 355324 h 3912503"/>
              <a:gd name="connsiteX6079" fmla="*/ 4801354 w 12192528"/>
              <a:gd name="connsiteY6079" fmla="*/ 341626 h 3912503"/>
              <a:gd name="connsiteX6080" fmla="*/ 4797617 w 12192528"/>
              <a:gd name="connsiteY6080" fmla="*/ 334776 h 3912503"/>
              <a:gd name="connsiteX6081" fmla="*/ 4804469 w 12192528"/>
              <a:gd name="connsiteY6081" fmla="*/ 331040 h 3912503"/>
              <a:gd name="connsiteX6082" fmla="*/ 4817552 w 12192528"/>
              <a:gd name="connsiteY6082" fmla="*/ 318587 h 3912503"/>
              <a:gd name="connsiteX6083" fmla="*/ 4833750 w 12192528"/>
              <a:gd name="connsiteY6083" fmla="*/ 290567 h 3912503"/>
              <a:gd name="connsiteX6084" fmla="*/ 4834373 w 12192528"/>
              <a:gd name="connsiteY6084" fmla="*/ 275624 h 3912503"/>
              <a:gd name="connsiteX6085" fmla="*/ 4829387 w 12192528"/>
              <a:gd name="connsiteY6085" fmla="*/ 265661 h 3912503"/>
              <a:gd name="connsiteX6086" fmla="*/ 4839979 w 12192528"/>
              <a:gd name="connsiteY6086" fmla="*/ 258812 h 3912503"/>
              <a:gd name="connsiteX6087" fmla="*/ 4848700 w 12192528"/>
              <a:gd name="connsiteY6087" fmla="*/ 257567 h 3912503"/>
              <a:gd name="connsiteX6088" fmla="*/ 4859290 w 12192528"/>
              <a:gd name="connsiteY6088" fmla="*/ 232039 h 3912503"/>
              <a:gd name="connsiteX6089" fmla="*/ 4856174 w 12192528"/>
              <a:gd name="connsiteY6089" fmla="*/ 227057 h 3912503"/>
              <a:gd name="connsiteX6090" fmla="*/ 4856798 w 12192528"/>
              <a:gd name="connsiteY6090" fmla="*/ 215849 h 3912503"/>
              <a:gd name="connsiteX6091" fmla="*/ 4866768 w 12192528"/>
              <a:gd name="connsiteY6091" fmla="*/ 218340 h 3912503"/>
              <a:gd name="connsiteX6092" fmla="*/ 4872995 w 12192528"/>
              <a:gd name="connsiteY6092" fmla="*/ 226435 h 3912503"/>
              <a:gd name="connsiteX6093" fmla="*/ 4885455 w 12192528"/>
              <a:gd name="connsiteY6093" fmla="*/ 228302 h 3912503"/>
              <a:gd name="connsiteX6094" fmla="*/ 4923454 w 12192528"/>
              <a:gd name="connsiteY6094" fmla="*/ 218340 h 3912503"/>
              <a:gd name="connsiteX6095" fmla="*/ 4970801 w 12192528"/>
              <a:gd name="connsiteY6095" fmla="*/ 215227 h 3912503"/>
              <a:gd name="connsiteX6096" fmla="*/ 6682830 w 12192528"/>
              <a:gd name="connsiteY6096" fmla="*/ 167741 h 3912503"/>
              <a:gd name="connsiteX6097" fmla="*/ 6699324 w 12192528"/>
              <a:gd name="connsiteY6097" fmla="*/ 183068 h 3912503"/>
              <a:gd name="connsiteX6098" fmla="*/ 6702627 w 12192528"/>
              <a:gd name="connsiteY6098" fmla="*/ 189090 h 3912503"/>
              <a:gd name="connsiteX6099" fmla="*/ 6713070 w 12192528"/>
              <a:gd name="connsiteY6099" fmla="*/ 202227 h 3912503"/>
              <a:gd name="connsiteX6100" fmla="*/ 6721318 w 12192528"/>
              <a:gd name="connsiteY6100" fmla="*/ 207154 h 3912503"/>
              <a:gd name="connsiteX6101" fmla="*/ 6729016 w 12192528"/>
              <a:gd name="connsiteY6101" fmla="*/ 229051 h 3912503"/>
              <a:gd name="connsiteX6102" fmla="*/ 6724067 w 12192528"/>
              <a:gd name="connsiteY6102" fmla="*/ 247662 h 3912503"/>
              <a:gd name="connsiteX6103" fmla="*/ 6708670 w 12192528"/>
              <a:gd name="connsiteY6103" fmla="*/ 259705 h 3912503"/>
              <a:gd name="connsiteX6104" fmla="*/ 6707023 w 12192528"/>
              <a:gd name="connsiteY6104" fmla="*/ 261895 h 3912503"/>
              <a:gd name="connsiteX6105" fmla="*/ 6696028 w 12192528"/>
              <a:gd name="connsiteY6105" fmla="*/ 261895 h 3912503"/>
              <a:gd name="connsiteX6106" fmla="*/ 6683927 w 12192528"/>
              <a:gd name="connsiteY6106" fmla="*/ 255873 h 3912503"/>
              <a:gd name="connsiteX6107" fmla="*/ 6675673 w 12192528"/>
              <a:gd name="connsiteY6107" fmla="*/ 246020 h 3912503"/>
              <a:gd name="connsiteX6108" fmla="*/ 6669635 w 12192528"/>
              <a:gd name="connsiteY6108" fmla="*/ 231240 h 3912503"/>
              <a:gd name="connsiteX6109" fmla="*/ 6661928 w 12192528"/>
              <a:gd name="connsiteY6109" fmla="*/ 217008 h 3912503"/>
              <a:gd name="connsiteX6110" fmla="*/ 6649829 w 12192528"/>
              <a:gd name="connsiteY6110" fmla="*/ 204964 h 3912503"/>
              <a:gd name="connsiteX6111" fmla="*/ 6649829 w 12192528"/>
              <a:gd name="connsiteY6111" fmla="*/ 185258 h 3912503"/>
              <a:gd name="connsiteX6112" fmla="*/ 6656429 w 12192528"/>
              <a:gd name="connsiteY6112" fmla="*/ 177594 h 3912503"/>
              <a:gd name="connsiteX6113" fmla="*/ 6668525 w 12192528"/>
              <a:gd name="connsiteY6113" fmla="*/ 169931 h 3912503"/>
              <a:gd name="connsiteX6114" fmla="*/ 6682830 w 12192528"/>
              <a:gd name="connsiteY6114" fmla="*/ 167741 h 3912503"/>
              <a:gd name="connsiteX6115" fmla="*/ 6015172 w 12192528"/>
              <a:gd name="connsiteY6115" fmla="*/ 165947 h 3912503"/>
              <a:gd name="connsiteX6116" fmla="*/ 6029467 w 12192528"/>
              <a:gd name="connsiteY6116" fmla="*/ 168137 h 3912503"/>
              <a:gd name="connsiteX6117" fmla="*/ 6041566 w 12192528"/>
              <a:gd name="connsiteY6117" fmla="*/ 175800 h 3912503"/>
              <a:gd name="connsiteX6118" fmla="*/ 6048165 w 12192528"/>
              <a:gd name="connsiteY6118" fmla="*/ 183464 h 3912503"/>
              <a:gd name="connsiteX6119" fmla="*/ 6048165 w 12192528"/>
              <a:gd name="connsiteY6119" fmla="*/ 203170 h 3912503"/>
              <a:gd name="connsiteX6120" fmla="*/ 6036067 w 12192528"/>
              <a:gd name="connsiteY6120" fmla="*/ 215214 h 3912503"/>
              <a:gd name="connsiteX6121" fmla="*/ 6028368 w 12192528"/>
              <a:gd name="connsiteY6121" fmla="*/ 229446 h 3912503"/>
              <a:gd name="connsiteX6122" fmla="*/ 6022320 w 12192528"/>
              <a:gd name="connsiteY6122" fmla="*/ 244226 h 3912503"/>
              <a:gd name="connsiteX6123" fmla="*/ 6014073 w 12192528"/>
              <a:gd name="connsiteY6123" fmla="*/ 254079 h 3912503"/>
              <a:gd name="connsiteX6124" fmla="*/ 6001974 w 12192528"/>
              <a:gd name="connsiteY6124" fmla="*/ 260101 h 3912503"/>
              <a:gd name="connsiteX6125" fmla="*/ 5990976 w 12192528"/>
              <a:gd name="connsiteY6125" fmla="*/ 260101 h 3912503"/>
              <a:gd name="connsiteX6126" fmla="*/ 5989329 w 12192528"/>
              <a:gd name="connsiteY6126" fmla="*/ 257911 h 3912503"/>
              <a:gd name="connsiteX6127" fmla="*/ 5973930 w 12192528"/>
              <a:gd name="connsiteY6127" fmla="*/ 245868 h 3912503"/>
              <a:gd name="connsiteX6128" fmla="*/ 5968982 w 12192528"/>
              <a:gd name="connsiteY6128" fmla="*/ 227257 h 3912503"/>
              <a:gd name="connsiteX6129" fmla="*/ 5976681 w 12192528"/>
              <a:gd name="connsiteY6129" fmla="*/ 205360 h 3912503"/>
              <a:gd name="connsiteX6130" fmla="*/ 5984929 w 12192528"/>
              <a:gd name="connsiteY6130" fmla="*/ 200433 h 3912503"/>
              <a:gd name="connsiteX6131" fmla="*/ 5995378 w 12192528"/>
              <a:gd name="connsiteY6131" fmla="*/ 187296 h 3912503"/>
              <a:gd name="connsiteX6132" fmla="*/ 5998676 w 12192528"/>
              <a:gd name="connsiteY6132" fmla="*/ 181274 h 3912503"/>
              <a:gd name="connsiteX6133" fmla="*/ 6015172 w 12192528"/>
              <a:gd name="connsiteY6133" fmla="*/ 165947 h 3912503"/>
              <a:gd name="connsiteX6134" fmla="*/ 3712302 w 12192528"/>
              <a:gd name="connsiteY6134" fmla="*/ 142724 h 3912503"/>
              <a:gd name="connsiteX6135" fmla="*/ 3725052 w 12192528"/>
              <a:gd name="connsiteY6135" fmla="*/ 143061 h 3912503"/>
              <a:gd name="connsiteX6136" fmla="*/ 3737417 w 12192528"/>
              <a:gd name="connsiteY6136" fmla="*/ 143447 h 3912503"/>
              <a:gd name="connsiteX6137" fmla="*/ 3756734 w 12192528"/>
              <a:gd name="connsiteY6137" fmla="*/ 158496 h 3912503"/>
              <a:gd name="connsiteX6138" fmla="*/ 3757894 w 12192528"/>
              <a:gd name="connsiteY6138" fmla="*/ 167757 h 3912503"/>
              <a:gd name="connsiteX6139" fmla="*/ 3758280 w 12192528"/>
              <a:gd name="connsiteY6139" fmla="*/ 171616 h 3912503"/>
              <a:gd name="connsiteX6140" fmla="*/ 3760212 w 12192528"/>
              <a:gd name="connsiteY6140" fmla="*/ 182035 h 3912503"/>
              <a:gd name="connsiteX6141" fmla="*/ 3761371 w 12192528"/>
              <a:gd name="connsiteY6141" fmla="*/ 187052 h 3912503"/>
              <a:gd name="connsiteX6142" fmla="*/ 3760985 w 12192528"/>
              <a:gd name="connsiteY6142" fmla="*/ 193611 h 3912503"/>
              <a:gd name="connsiteX6143" fmla="*/ 3758280 w 12192528"/>
              <a:gd name="connsiteY6143" fmla="*/ 200172 h 3912503"/>
              <a:gd name="connsiteX6144" fmla="*/ 3749780 w 12192528"/>
              <a:gd name="connsiteY6144" fmla="*/ 215992 h 3912503"/>
              <a:gd name="connsiteX6145" fmla="*/ 3722347 w 12192528"/>
              <a:gd name="connsiteY6145" fmla="*/ 233357 h 3912503"/>
              <a:gd name="connsiteX6146" fmla="*/ 3719643 w 12192528"/>
              <a:gd name="connsiteY6146" fmla="*/ 232585 h 3912503"/>
              <a:gd name="connsiteX6147" fmla="*/ 3707279 w 12192528"/>
              <a:gd name="connsiteY6147" fmla="*/ 231042 h 3912503"/>
              <a:gd name="connsiteX6148" fmla="*/ 3704189 w 12192528"/>
              <a:gd name="connsiteY6148" fmla="*/ 229498 h 3912503"/>
              <a:gd name="connsiteX6149" fmla="*/ 3695302 w 12192528"/>
              <a:gd name="connsiteY6149" fmla="*/ 226796 h 3912503"/>
              <a:gd name="connsiteX6150" fmla="*/ 3690665 w 12192528"/>
              <a:gd name="connsiteY6150" fmla="*/ 224868 h 3912503"/>
              <a:gd name="connsiteX6151" fmla="*/ 3687961 w 12192528"/>
              <a:gd name="connsiteY6151" fmla="*/ 219465 h 3912503"/>
              <a:gd name="connsiteX6152" fmla="*/ 3677529 w 12192528"/>
              <a:gd name="connsiteY6152" fmla="*/ 205573 h 3912503"/>
              <a:gd name="connsiteX6153" fmla="*/ 3672893 w 12192528"/>
              <a:gd name="connsiteY6153" fmla="*/ 196313 h 3912503"/>
              <a:gd name="connsiteX6154" fmla="*/ 3672893 w 12192528"/>
              <a:gd name="connsiteY6154" fmla="*/ 191682 h 3912503"/>
              <a:gd name="connsiteX6155" fmla="*/ 3676756 w 12192528"/>
              <a:gd name="connsiteY6155" fmla="*/ 181263 h 3912503"/>
              <a:gd name="connsiteX6156" fmla="*/ 3682165 w 12192528"/>
              <a:gd name="connsiteY6156" fmla="*/ 164285 h 3912503"/>
              <a:gd name="connsiteX6157" fmla="*/ 3686802 w 12192528"/>
              <a:gd name="connsiteY6157" fmla="*/ 158110 h 3912503"/>
              <a:gd name="connsiteX6158" fmla="*/ 3694143 w 12192528"/>
              <a:gd name="connsiteY6158" fmla="*/ 151937 h 3912503"/>
              <a:gd name="connsiteX6159" fmla="*/ 3700711 w 12192528"/>
              <a:gd name="connsiteY6159" fmla="*/ 148464 h 3912503"/>
              <a:gd name="connsiteX6160" fmla="*/ 3712302 w 12192528"/>
              <a:gd name="connsiteY6160" fmla="*/ 142724 h 3912503"/>
              <a:gd name="connsiteX6161" fmla="*/ 6884850 w 12192528"/>
              <a:gd name="connsiteY6161" fmla="*/ 103907 h 3912503"/>
              <a:gd name="connsiteX6162" fmla="*/ 6889099 w 12192528"/>
              <a:gd name="connsiteY6162" fmla="*/ 106030 h 3912503"/>
              <a:gd name="connsiteX6163" fmla="*/ 6901367 w 12192528"/>
              <a:gd name="connsiteY6163" fmla="*/ 111689 h 3912503"/>
              <a:gd name="connsiteX6164" fmla="*/ 6903727 w 12192528"/>
              <a:gd name="connsiteY6164" fmla="*/ 113340 h 3912503"/>
              <a:gd name="connsiteX6165" fmla="*/ 6914110 w 12192528"/>
              <a:gd name="connsiteY6165" fmla="*/ 125839 h 3912503"/>
              <a:gd name="connsiteX6166" fmla="*/ 6920479 w 12192528"/>
              <a:gd name="connsiteY6166" fmla="*/ 147064 h 3912503"/>
              <a:gd name="connsiteX6167" fmla="*/ 6923548 w 12192528"/>
              <a:gd name="connsiteY6167" fmla="*/ 154375 h 3912503"/>
              <a:gd name="connsiteX6168" fmla="*/ 6922838 w 12192528"/>
              <a:gd name="connsiteY6168" fmla="*/ 164751 h 3912503"/>
              <a:gd name="connsiteX6169" fmla="*/ 6921895 w 12192528"/>
              <a:gd name="connsiteY6169" fmla="*/ 173477 h 3912503"/>
              <a:gd name="connsiteX6170" fmla="*/ 6922129 w 12192528"/>
              <a:gd name="connsiteY6170" fmla="*/ 177015 h 3912503"/>
              <a:gd name="connsiteX6171" fmla="*/ 6908212 w 12192528"/>
              <a:gd name="connsiteY6171" fmla="*/ 193051 h 3912503"/>
              <a:gd name="connsiteX6172" fmla="*/ 6894999 w 12192528"/>
              <a:gd name="connsiteY6172" fmla="*/ 200833 h 3912503"/>
              <a:gd name="connsiteX6173" fmla="*/ 6885085 w 12192528"/>
              <a:gd name="connsiteY6173" fmla="*/ 213804 h 3912503"/>
              <a:gd name="connsiteX6174" fmla="*/ 6886502 w 12192528"/>
              <a:gd name="connsiteY6174" fmla="*/ 216399 h 3912503"/>
              <a:gd name="connsiteX6175" fmla="*/ 6900424 w 12192528"/>
              <a:gd name="connsiteY6175" fmla="*/ 232907 h 3912503"/>
              <a:gd name="connsiteX6176" fmla="*/ 6902316 w 12192528"/>
              <a:gd name="connsiteY6176" fmla="*/ 236679 h 3912503"/>
              <a:gd name="connsiteX6177" fmla="*/ 6904198 w 12192528"/>
              <a:gd name="connsiteY6177" fmla="*/ 248471 h 3912503"/>
              <a:gd name="connsiteX6178" fmla="*/ 6907504 w 12192528"/>
              <a:gd name="connsiteY6178" fmla="*/ 262150 h 3912503"/>
              <a:gd name="connsiteX6179" fmla="*/ 6907265 w 12192528"/>
              <a:gd name="connsiteY6179" fmla="*/ 267809 h 3912503"/>
              <a:gd name="connsiteX6180" fmla="*/ 6894763 w 12192528"/>
              <a:gd name="connsiteY6180" fmla="*/ 298232 h 3912503"/>
              <a:gd name="connsiteX6181" fmla="*/ 6892401 w 12192528"/>
              <a:gd name="connsiteY6181" fmla="*/ 300118 h 3912503"/>
              <a:gd name="connsiteX6182" fmla="*/ 6878010 w 12192528"/>
              <a:gd name="connsiteY6182" fmla="*/ 306957 h 3912503"/>
              <a:gd name="connsiteX6183" fmla="*/ 6871873 w 12192528"/>
              <a:gd name="connsiteY6183" fmla="*/ 308844 h 3912503"/>
              <a:gd name="connsiteX6184" fmla="*/ 6861493 w 12192528"/>
              <a:gd name="connsiteY6184" fmla="*/ 311202 h 3912503"/>
              <a:gd name="connsiteX6185" fmla="*/ 6853707 w 12192528"/>
              <a:gd name="connsiteY6185" fmla="*/ 318041 h 3912503"/>
              <a:gd name="connsiteX6186" fmla="*/ 6850168 w 12192528"/>
              <a:gd name="connsiteY6186" fmla="*/ 319309 h 3912503"/>
              <a:gd name="connsiteX6187" fmla="*/ 6848045 w 12192528"/>
              <a:gd name="connsiteY6187" fmla="*/ 316155 h 3912503"/>
              <a:gd name="connsiteX6188" fmla="*/ 6847333 w 12192528"/>
              <a:gd name="connsiteY6188" fmla="*/ 313324 h 3912503"/>
              <a:gd name="connsiteX6189" fmla="*/ 6845214 w 12192528"/>
              <a:gd name="connsiteY6189" fmla="*/ 310023 h 3912503"/>
              <a:gd name="connsiteX6190" fmla="*/ 6842145 w 12192528"/>
              <a:gd name="connsiteY6190" fmla="*/ 312146 h 3912503"/>
              <a:gd name="connsiteX6191" fmla="*/ 6835065 w 12192528"/>
              <a:gd name="connsiteY6191" fmla="*/ 310966 h 3912503"/>
              <a:gd name="connsiteX6192" fmla="*/ 6833651 w 12192528"/>
              <a:gd name="connsiteY6192" fmla="*/ 307901 h 3912503"/>
              <a:gd name="connsiteX6193" fmla="*/ 6829403 w 12192528"/>
              <a:gd name="connsiteY6193" fmla="*/ 306250 h 3912503"/>
              <a:gd name="connsiteX6194" fmla="*/ 6827752 w 12192528"/>
              <a:gd name="connsiteY6194" fmla="*/ 310259 h 3912503"/>
              <a:gd name="connsiteX6195" fmla="*/ 6828150 w 12192528"/>
              <a:gd name="connsiteY6195" fmla="*/ 313826 h 3912503"/>
              <a:gd name="connsiteX6196" fmla="*/ 6809711 w 12192528"/>
              <a:gd name="connsiteY6196" fmla="*/ 295485 h 3912503"/>
              <a:gd name="connsiteX6197" fmla="*/ 6810763 w 12192528"/>
              <a:gd name="connsiteY6197" fmla="*/ 293987 h 3912503"/>
              <a:gd name="connsiteX6198" fmla="*/ 6808642 w 12192528"/>
              <a:gd name="connsiteY6198" fmla="*/ 289506 h 3912503"/>
              <a:gd name="connsiteX6199" fmla="*/ 6804393 w 12192528"/>
              <a:gd name="connsiteY6199" fmla="*/ 287619 h 3912503"/>
              <a:gd name="connsiteX6200" fmla="*/ 6801564 w 12192528"/>
              <a:gd name="connsiteY6200" fmla="*/ 281959 h 3912503"/>
              <a:gd name="connsiteX6201" fmla="*/ 6792363 w 12192528"/>
              <a:gd name="connsiteY6201" fmla="*/ 263800 h 3912503"/>
              <a:gd name="connsiteX6202" fmla="*/ 6789059 w 12192528"/>
              <a:gd name="connsiteY6202" fmla="*/ 261206 h 3912503"/>
              <a:gd name="connsiteX6203" fmla="*/ 6793540 w 12192528"/>
              <a:gd name="connsiteY6203" fmla="*/ 258376 h 3912503"/>
              <a:gd name="connsiteX6204" fmla="*/ 6794252 w 12192528"/>
              <a:gd name="connsiteY6204" fmla="*/ 258376 h 3912503"/>
              <a:gd name="connsiteX6205" fmla="*/ 6798732 w 12192528"/>
              <a:gd name="connsiteY6205" fmla="*/ 250358 h 3912503"/>
              <a:gd name="connsiteX6206" fmla="*/ 6799205 w 12192528"/>
              <a:gd name="connsiteY6206" fmla="*/ 239274 h 3912503"/>
              <a:gd name="connsiteX6207" fmla="*/ 6803216 w 12192528"/>
              <a:gd name="connsiteY6207" fmla="*/ 223709 h 3912503"/>
              <a:gd name="connsiteX6208" fmla="*/ 6806755 w 12192528"/>
              <a:gd name="connsiteY6208" fmla="*/ 219464 h 3912503"/>
              <a:gd name="connsiteX6209" fmla="*/ 6816431 w 12192528"/>
              <a:gd name="connsiteY6209" fmla="*/ 207201 h 3912503"/>
              <a:gd name="connsiteX6210" fmla="*/ 6822093 w 12192528"/>
              <a:gd name="connsiteY6210" fmla="*/ 205078 h 3912503"/>
              <a:gd name="connsiteX6211" fmla="*/ 6845450 w 12192528"/>
              <a:gd name="connsiteY6211" fmla="*/ 198239 h 3912503"/>
              <a:gd name="connsiteX6212" fmla="*/ 6845450 w 12192528"/>
              <a:gd name="connsiteY6212" fmla="*/ 193051 h 3912503"/>
              <a:gd name="connsiteX6213" fmla="*/ 6839315 w 12192528"/>
              <a:gd name="connsiteY6213" fmla="*/ 192344 h 3912503"/>
              <a:gd name="connsiteX6214" fmla="*/ 6835065 w 12192528"/>
              <a:gd name="connsiteY6214" fmla="*/ 195173 h 3912503"/>
              <a:gd name="connsiteX6215" fmla="*/ 6831057 w 12192528"/>
              <a:gd name="connsiteY6215" fmla="*/ 195646 h 3912503"/>
              <a:gd name="connsiteX6216" fmla="*/ 6831765 w 12192528"/>
              <a:gd name="connsiteY6216" fmla="*/ 191401 h 3912503"/>
              <a:gd name="connsiteX6217" fmla="*/ 6835065 w 12192528"/>
              <a:gd name="connsiteY6217" fmla="*/ 188334 h 3912503"/>
              <a:gd name="connsiteX6218" fmla="*/ 6836248 w 12192528"/>
              <a:gd name="connsiteY6218" fmla="*/ 181024 h 3912503"/>
              <a:gd name="connsiteX6219" fmla="*/ 6829876 w 12192528"/>
              <a:gd name="connsiteY6219" fmla="*/ 182438 h 3912503"/>
              <a:gd name="connsiteX6220" fmla="*/ 6824924 w 12192528"/>
              <a:gd name="connsiteY6220" fmla="*/ 186448 h 3912503"/>
              <a:gd name="connsiteX6221" fmla="*/ 6820199 w 12192528"/>
              <a:gd name="connsiteY6221" fmla="*/ 183382 h 3912503"/>
              <a:gd name="connsiteX6222" fmla="*/ 6825396 w 12192528"/>
              <a:gd name="connsiteY6222" fmla="*/ 169939 h 3912503"/>
              <a:gd name="connsiteX6223" fmla="*/ 6825396 w 12192528"/>
              <a:gd name="connsiteY6223" fmla="*/ 156969 h 3912503"/>
              <a:gd name="connsiteX6224" fmla="*/ 6820679 w 12192528"/>
              <a:gd name="connsiteY6224" fmla="*/ 151781 h 3912503"/>
              <a:gd name="connsiteX6225" fmla="*/ 6819261 w 12192528"/>
              <a:gd name="connsiteY6225" fmla="*/ 149186 h 3912503"/>
              <a:gd name="connsiteX6226" fmla="*/ 6821857 w 12192528"/>
              <a:gd name="connsiteY6226" fmla="*/ 147772 h 3912503"/>
              <a:gd name="connsiteX6227" fmla="*/ 6826811 w 12192528"/>
              <a:gd name="connsiteY6227" fmla="*/ 143054 h 3912503"/>
              <a:gd name="connsiteX6228" fmla="*/ 6832944 w 12192528"/>
              <a:gd name="connsiteY6228" fmla="*/ 132442 h 3912503"/>
              <a:gd name="connsiteX6229" fmla="*/ 6833182 w 12192528"/>
              <a:gd name="connsiteY6229" fmla="*/ 126783 h 3912503"/>
              <a:gd name="connsiteX6230" fmla="*/ 6831296 w 12192528"/>
              <a:gd name="connsiteY6230" fmla="*/ 123009 h 3912503"/>
              <a:gd name="connsiteX6231" fmla="*/ 6835306 w 12192528"/>
              <a:gd name="connsiteY6231" fmla="*/ 120416 h 3912503"/>
              <a:gd name="connsiteX6232" fmla="*/ 6838609 w 12192528"/>
              <a:gd name="connsiteY6232" fmla="*/ 119943 h 3912503"/>
              <a:gd name="connsiteX6233" fmla="*/ 6842617 w 12192528"/>
              <a:gd name="connsiteY6233" fmla="*/ 110275 h 3912503"/>
              <a:gd name="connsiteX6234" fmla="*/ 6841438 w 12192528"/>
              <a:gd name="connsiteY6234" fmla="*/ 108388 h 3912503"/>
              <a:gd name="connsiteX6235" fmla="*/ 6841677 w 12192528"/>
              <a:gd name="connsiteY6235" fmla="*/ 104143 h 3912503"/>
              <a:gd name="connsiteX6236" fmla="*/ 6845450 w 12192528"/>
              <a:gd name="connsiteY6236" fmla="*/ 105086 h 3912503"/>
              <a:gd name="connsiteX6237" fmla="*/ 6847809 w 12192528"/>
              <a:gd name="connsiteY6237" fmla="*/ 108152 h 3912503"/>
              <a:gd name="connsiteX6238" fmla="*/ 6852528 w 12192528"/>
              <a:gd name="connsiteY6238" fmla="*/ 108859 h 3912503"/>
              <a:gd name="connsiteX6239" fmla="*/ 6866919 w 12192528"/>
              <a:gd name="connsiteY6239" fmla="*/ 105086 h 3912503"/>
              <a:gd name="connsiteX6240" fmla="*/ 6884850 w 12192528"/>
              <a:gd name="connsiteY6240" fmla="*/ 103907 h 3912503"/>
              <a:gd name="connsiteX6241" fmla="*/ 5644234 w 12192528"/>
              <a:gd name="connsiteY6241" fmla="*/ 691 h 3912503"/>
              <a:gd name="connsiteX6242" fmla="*/ 5656985 w 12192528"/>
              <a:gd name="connsiteY6242" fmla="*/ 1028 h 3912503"/>
              <a:gd name="connsiteX6243" fmla="*/ 5669348 w 12192528"/>
              <a:gd name="connsiteY6243" fmla="*/ 1414 h 3912503"/>
              <a:gd name="connsiteX6244" fmla="*/ 5688667 w 12192528"/>
              <a:gd name="connsiteY6244" fmla="*/ 16464 h 3912503"/>
              <a:gd name="connsiteX6245" fmla="*/ 5689828 w 12192528"/>
              <a:gd name="connsiteY6245" fmla="*/ 25725 h 3912503"/>
              <a:gd name="connsiteX6246" fmla="*/ 5690214 w 12192528"/>
              <a:gd name="connsiteY6246" fmla="*/ 29584 h 3912503"/>
              <a:gd name="connsiteX6247" fmla="*/ 5692147 w 12192528"/>
              <a:gd name="connsiteY6247" fmla="*/ 40002 h 3912503"/>
              <a:gd name="connsiteX6248" fmla="*/ 5693305 w 12192528"/>
              <a:gd name="connsiteY6248" fmla="*/ 45019 h 3912503"/>
              <a:gd name="connsiteX6249" fmla="*/ 5692918 w 12192528"/>
              <a:gd name="connsiteY6249" fmla="*/ 51579 h 3912503"/>
              <a:gd name="connsiteX6250" fmla="*/ 5690214 w 12192528"/>
              <a:gd name="connsiteY6250" fmla="*/ 58139 h 3912503"/>
              <a:gd name="connsiteX6251" fmla="*/ 5681714 w 12192528"/>
              <a:gd name="connsiteY6251" fmla="*/ 73959 h 3912503"/>
              <a:gd name="connsiteX6252" fmla="*/ 5654282 w 12192528"/>
              <a:gd name="connsiteY6252" fmla="*/ 91324 h 3912503"/>
              <a:gd name="connsiteX6253" fmla="*/ 5651574 w 12192528"/>
              <a:gd name="connsiteY6253" fmla="*/ 90553 h 3912503"/>
              <a:gd name="connsiteX6254" fmla="*/ 5639212 w 12192528"/>
              <a:gd name="connsiteY6254" fmla="*/ 89009 h 3912503"/>
              <a:gd name="connsiteX6255" fmla="*/ 5636124 w 12192528"/>
              <a:gd name="connsiteY6255" fmla="*/ 87465 h 3912503"/>
              <a:gd name="connsiteX6256" fmla="*/ 5627235 w 12192528"/>
              <a:gd name="connsiteY6256" fmla="*/ 84764 h 3912503"/>
              <a:gd name="connsiteX6257" fmla="*/ 5622600 w 12192528"/>
              <a:gd name="connsiteY6257" fmla="*/ 82834 h 3912503"/>
              <a:gd name="connsiteX6258" fmla="*/ 5619896 w 12192528"/>
              <a:gd name="connsiteY6258" fmla="*/ 77433 h 3912503"/>
              <a:gd name="connsiteX6259" fmla="*/ 5609463 w 12192528"/>
              <a:gd name="connsiteY6259" fmla="*/ 63541 h 3912503"/>
              <a:gd name="connsiteX6260" fmla="*/ 5604825 w 12192528"/>
              <a:gd name="connsiteY6260" fmla="*/ 54280 h 3912503"/>
              <a:gd name="connsiteX6261" fmla="*/ 5604825 w 12192528"/>
              <a:gd name="connsiteY6261" fmla="*/ 49649 h 3912503"/>
              <a:gd name="connsiteX6262" fmla="*/ 5608691 w 12192528"/>
              <a:gd name="connsiteY6262" fmla="*/ 39231 h 3912503"/>
              <a:gd name="connsiteX6263" fmla="*/ 5614099 w 12192528"/>
              <a:gd name="connsiteY6263" fmla="*/ 22253 h 3912503"/>
              <a:gd name="connsiteX6264" fmla="*/ 5618735 w 12192528"/>
              <a:gd name="connsiteY6264" fmla="*/ 16078 h 3912503"/>
              <a:gd name="connsiteX6265" fmla="*/ 5626076 w 12192528"/>
              <a:gd name="connsiteY6265" fmla="*/ 9904 h 3912503"/>
              <a:gd name="connsiteX6266" fmla="*/ 5632644 w 12192528"/>
              <a:gd name="connsiteY6266" fmla="*/ 6431 h 3912503"/>
              <a:gd name="connsiteX6267" fmla="*/ 5644234 w 12192528"/>
              <a:gd name="connsiteY6267" fmla="*/ 691 h 391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Lst>
            <a:rect l="l" t="t" r="r" b="b"/>
            <a:pathLst>
              <a:path w="12192528" h="3912503">
                <a:moveTo>
                  <a:pt x="2510807" y="3014103"/>
                </a:moveTo>
                <a:lnTo>
                  <a:pt x="2506134" y="3036693"/>
                </a:lnTo>
                <a:lnTo>
                  <a:pt x="2513999" y="3045911"/>
                </a:lnTo>
                <a:lnTo>
                  <a:pt x="2535353" y="3078914"/>
                </a:lnTo>
                <a:lnTo>
                  <a:pt x="2542807" y="3052570"/>
                </a:lnTo>
                <a:lnTo>
                  <a:pt x="2535357" y="3048255"/>
                </a:lnTo>
                <a:cubicBezTo>
                  <a:pt x="2535357" y="3048255"/>
                  <a:pt x="2535357" y="3037663"/>
                  <a:pt x="2528294" y="3034130"/>
                </a:cubicBezTo>
                <a:close/>
                <a:moveTo>
                  <a:pt x="2519082" y="2974106"/>
                </a:moveTo>
                <a:lnTo>
                  <a:pt x="2518351" y="2977637"/>
                </a:lnTo>
                <a:lnTo>
                  <a:pt x="2521233" y="2977637"/>
                </a:lnTo>
                <a:cubicBezTo>
                  <a:pt x="2524763" y="2977637"/>
                  <a:pt x="2524763" y="2977637"/>
                  <a:pt x="2524763" y="2977637"/>
                </a:cubicBezTo>
                <a:cubicBezTo>
                  <a:pt x="2521233" y="2974106"/>
                  <a:pt x="2521233" y="2974106"/>
                  <a:pt x="2521233" y="2974106"/>
                </a:cubicBezTo>
                <a:close/>
                <a:moveTo>
                  <a:pt x="2531825" y="2963514"/>
                </a:moveTo>
                <a:cubicBezTo>
                  <a:pt x="2528294" y="2959983"/>
                  <a:pt x="2524763" y="2959983"/>
                  <a:pt x="2524763" y="2963515"/>
                </a:cubicBezTo>
                <a:cubicBezTo>
                  <a:pt x="2524763" y="2963515"/>
                  <a:pt x="2524763" y="2967045"/>
                  <a:pt x="2528294" y="2970576"/>
                </a:cubicBezTo>
                <a:cubicBezTo>
                  <a:pt x="2528294" y="2970576"/>
                  <a:pt x="2528294" y="2970576"/>
                  <a:pt x="2531825" y="2970576"/>
                </a:cubicBezTo>
                <a:cubicBezTo>
                  <a:pt x="2535357" y="2974106"/>
                  <a:pt x="2535357" y="2974106"/>
                  <a:pt x="2535357" y="2974106"/>
                </a:cubicBezTo>
                <a:cubicBezTo>
                  <a:pt x="2517702" y="2967045"/>
                  <a:pt x="2531825" y="2977638"/>
                  <a:pt x="2538887" y="2988230"/>
                </a:cubicBezTo>
                <a:cubicBezTo>
                  <a:pt x="2535357" y="2984700"/>
                  <a:pt x="2535357" y="2984700"/>
                  <a:pt x="2535357" y="2984700"/>
                </a:cubicBezTo>
                <a:cubicBezTo>
                  <a:pt x="2535357" y="2984700"/>
                  <a:pt x="2535357" y="2988230"/>
                  <a:pt x="2535357" y="2988230"/>
                </a:cubicBezTo>
                <a:cubicBezTo>
                  <a:pt x="2535357" y="2988230"/>
                  <a:pt x="2535357" y="2988230"/>
                  <a:pt x="2535357" y="2991761"/>
                </a:cubicBezTo>
                <a:cubicBezTo>
                  <a:pt x="2538887" y="2991761"/>
                  <a:pt x="2538887" y="2991761"/>
                  <a:pt x="2538887" y="2991761"/>
                </a:cubicBezTo>
                <a:cubicBezTo>
                  <a:pt x="2542418" y="2995293"/>
                  <a:pt x="2542418" y="2995293"/>
                  <a:pt x="2542418" y="2995293"/>
                </a:cubicBezTo>
                <a:cubicBezTo>
                  <a:pt x="2538887" y="2995292"/>
                  <a:pt x="2538887" y="2995292"/>
                  <a:pt x="2538887" y="2995292"/>
                </a:cubicBezTo>
                <a:cubicBezTo>
                  <a:pt x="2538887" y="2995292"/>
                  <a:pt x="2538887" y="2998823"/>
                  <a:pt x="2542418" y="2998823"/>
                </a:cubicBezTo>
                <a:cubicBezTo>
                  <a:pt x="2542418" y="3002354"/>
                  <a:pt x="2542418" y="3002354"/>
                  <a:pt x="2542418" y="3002354"/>
                </a:cubicBezTo>
                <a:cubicBezTo>
                  <a:pt x="2537121" y="3000589"/>
                  <a:pt x="2533591" y="2997940"/>
                  <a:pt x="2530060" y="2993968"/>
                </a:cubicBezTo>
                <a:lnTo>
                  <a:pt x="2518211" y="2978311"/>
                </a:lnTo>
                <a:lnTo>
                  <a:pt x="2515439" y="2991716"/>
                </a:lnTo>
                <a:lnTo>
                  <a:pt x="2542418" y="3016478"/>
                </a:lnTo>
                <a:cubicBezTo>
                  <a:pt x="2538887" y="3016478"/>
                  <a:pt x="2538887" y="3030601"/>
                  <a:pt x="2545948" y="3027070"/>
                </a:cubicBezTo>
                <a:cubicBezTo>
                  <a:pt x="2544182" y="3023539"/>
                  <a:pt x="2545066" y="3022656"/>
                  <a:pt x="2546831" y="3023539"/>
                </a:cubicBezTo>
                <a:lnTo>
                  <a:pt x="2549810" y="3026943"/>
                </a:lnTo>
                <a:lnTo>
                  <a:pt x="2551500" y="3015281"/>
                </a:lnTo>
                <a:lnTo>
                  <a:pt x="2545948" y="3005885"/>
                </a:lnTo>
                <a:cubicBezTo>
                  <a:pt x="2549480" y="3005885"/>
                  <a:pt x="2549480" y="3009415"/>
                  <a:pt x="2549480" y="3009415"/>
                </a:cubicBezTo>
                <a:lnTo>
                  <a:pt x="2552834" y="3009415"/>
                </a:lnTo>
                <a:lnTo>
                  <a:pt x="2553523" y="3006398"/>
                </a:lnTo>
                <a:lnTo>
                  <a:pt x="2549479" y="3002354"/>
                </a:lnTo>
                <a:lnTo>
                  <a:pt x="2554265" y="3003152"/>
                </a:lnTo>
                <a:lnTo>
                  <a:pt x="2554330" y="3002866"/>
                </a:lnTo>
                <a:lnTo>
                  <a:pt x="2549479" y="2998823"/>
                </a:lnTo>
                <a:cubicBezTo>
                  <a:pt x="2549480" y="2995292"/>
                  <a:pt x="2549480" y="2995292"/>
                  <a:pt x="2549480" y="2995292"/>
                </a:cubicBezTo>
                <a:cubicBezTo>
                  <a:pt x="2553010" y="2998823"/>
                  <a:pt x="2553010" y="2995292"/>
                  <a:pt x="2553010" y="2995292"/>
                </a:cubicBezTo>
                <a:cubicBezTo>
                  <a:pt x="2549479" y="2991761"/>
                  <a:pt x="2549479" y="2991761"/>
                  <a:pt x="2545948" y="2991761"/>
                </a:cubicBezTo>
                <a:cubicBezTo>
                  <a:pt x="2545948" y="2988231"/>
                  <a:pt x="2545948" y="2988231"/>
                  <a:pt x="2542418" y="2988230"/>
                </a:cubicBezTo>
                <a:cubicBezTo>
                  <a:pt x="2538888" y="2981168"/>
                  <a:pt x="2538888" y="2981168"/>
                  <a:pt x="2535357" y="2974106"/>
                </a:cubicBezTo>
                <a:cubicBezTo>
                  <a:pt x="2538887" y="2977637"/>
                  <a:pt x="2538887" y="2977637"/>
                  <a:pt x="2538887" y="2977637"/>
                </a:cubicBezTo>
                <a:cubicBezTo>
                  <a:pt x="2542418" y="2981168"/>
                  <a:pt x="2545948" y="2981168"/>
                  <a:pt x="2545948" y="2981168"/>
                </a:cubicBezTo>
                <a:cubicBezTo>
                  <a:pt x="2545948" y="2977638"/>
                  <a:pt x="2542418" y="2974106"/>
                  <a:pt x="2538887" y="2970576"/>
                </a:cubicBezTo>
                <a:cubicBezTo>
                  <a:pt x="2535357" y="2967045"/>
                  <a:pt x="2535357" y="2967045"/>
                  <a:pt x="2535357" y="2967045"/>
                </a:cubicBezTo>
                <a:cubicBezTo>
                  <a:pt x="2531825" y="2963514"/>
                  <a:pt x="2531825" y="2963514"/>
                  <a:pt x="2531825" y="2963514"/>
                </a:cubicBezTo>
                <a:close/>
                <a:moveTo>
                  <a:pt x="2449742" y="2948294"/>
                </a:moveTo>
                <a:lnTo>
                  <a:pt x="2445878" y="2966063"/>
                </a:lnTo>
                <a:lnTo>
                  <a:pt x="2469317" y="2993537"/>
                </a:lnTo>
                <a:lnTo>
                  <a:pt x="2473421" y="2971781"/>
                </a:lnTo>
                <a:close/>
                <a:moveTo>
                  <a:pt x="2456830" y="2915684"/>
                </a:moveTo>
                <a:lnTo>
                  <a:pt x="2453087" y="2932903"/>
                </a:lnTo>
                <a:lnTo>
                  <a:pt x="2455030" y="2933943"/>
                </a:lnTo>
                <a:cubicBezTo>
                  <a:pt x="2458560" y="2935268"/>
                  <a:pt x="2462973" y="2937032"/>
                  <a:pt x="2468270" y="2945860"/>
                </a:cubicBezTo>
                <a:cubicBezTo>
                  <a:pt x="2471801" y="2949390"/>
                  <a:pt x="2471801" y="2949390"/>
                  <a:pt x="2471801" y="2949390"/>
                </a:cubicBezTo>
                <a:cubicBezTo>
                  <a:pt x="2471801" y="2949390"/>
                  <a:pt x="2475332" y="2949390"/>
                  <a:pt x="2475332" y="2949390"/>
                </a:cubicBezTo>
                <a:lnTo>
                  <a:pt x="2478823" y="2953145"/>
                </a:lnTo>
                <a:lnTo>
                  <a:pt x="2484965" y="2934308"/>
                </a:lnTo>
                <a:lnTo>
                  <a:pt x="2482394" y="2931736"/>
                </a:lnTo>
                <a:cubicBezTo>
                  <a:pt x="2482394" y="2931736"/>
                  <a:pt x="2478862" y="2931736"/>
                  <a:pt x="2478862" y="2931736"/>
                </a:cubicBezTo>
                <a:cubicBezTo>
                  <a:pt x="2478862" y="2935269"/>
                  <a:pt x="2478862" y="2935269"/>
                  <a:pt x="2478862" y="2935269"/>
                </a:cubicBezTo>
                <a:cubicBezTo>
                  <a:pt x="2464739" y="2910552"/>
                  <a:pt x="2471802" y="2928205"/>
                  <a:pt x="2464739" y="2928205"/>
                </a:cubicBezTo>
                <a:close/>
                <a:moveTo>
                  <a:pt x="2572729" y="2890351"/>
                </a:moveTo>
                <a:lnTo>
                  <a:pt x="2568625" y="2896904"/>
                </a:lnTo>
                <a:lnTo>
                  <a:pt x="2561658" y="2901764"/>
                </a:lnTo>
                <a:lnTo>
                  <a:pt x="2574279" y="2915546"/>
                </a:lnTo>
                <a:lnTo>
                  <a:pt x="2578625" y="2896529"/>
                </a:lnTo>
                <a:close/>
                <a:moveTo>
                  <a:pt x="2432229" y="2885596"/>
                </a:moveTo>
                <a:lnTo>
                  <a:pt x="2432229" y="2901744"/>
                </a:lnTo>
                <a:lnTo>
                  <a:pt x="2435981" y="2889536"/>
                </a:lnTo>
                <a:close/>
                <a:moveTo>
                  <a:pt x="2486379" y="2802027"/>
                </a:moveTo>
                <a:lnTo>
                  <a:pt x="2480897" y="2818990"/>
                </a:lnTo>
                <a:lnTo>
                  <a:pt x="2508874" y="2844128"/>
                </a:lnTo>
                <a:lnTo>
                  <a:pt x="2512927" y="2848554"/>
                </a:lnTo>
                <a:lnTo>
                  <a:pt x="2517957" y="2833126"/>
                </a:lnTo>
                <a:lnTo>
                  <a:pt x="2492986" y="2808159"/>
                </a:lnTo>
                <a:close/>
                <a:moveTo>
                  <a:pt x="2449419" y="2767715"/>
                </a:moveTo>
                <a:lnTo>
                  <a:pt x="2443467" y="2785357"/>
                </a:lnTo>
                <a:lnTo>
                  <a:pt x="2462694" y="2802635"/>
                </a:lnTo>
                <a:lnTo>
                  <a:pt x="2468097" y="2785054"/>
                </a:lnTo>
                <a:close/>
                <a:moveTo>
                  <a:pt x="6486903" y="2406960"/>
                </a:moveTo>
                <a:lnTo>
                  <a:pt x="6485566" y="2407394"/>
                </a:lnTo>
                <a:cubicBezTo>
                  <a:pt x="6485520" y="2412890"/>
                  <a:pt x="6484359" y="2420576"/>
                  <a:pt x="6482501" y="2428943"/>
                </a:cubicBezTo>
                <a:lnTo>
                  <a:pt x="6481551" y="2432315"/>
                </a:lnTo>
                <a:lnTo>
                  <a:pt x="6508570" y="2462044"/>
                </a:lnTo>
                <a:lnTo>
                  <a:pt x="6597990" y="2584858"/>
                </a:lnTo>
                <a:lnTo>
                  <a:pt x="6600360" y="2577216"/>
                </a:lnTo>
                <a:lnTo>
                  <a:pt x="6550342" y="2497195"/>
                </a:lnTo>
                <a:close/>
                <a:moveTo>
                  <a:pt x="2517903" y="2334609"/>
                </a:moveTo>
                <a:lnTo>
                  <a:pt x="2457879" y="2448890"/>
                </a:lnTo>
                <a:lnTo>
                  <a:pt x="2480550" y="2467845"/>
                </a:lnTo>
                <a:lnTo>
                  <a:pt x="2515576" y="2396968"/>
                </a:lnTo>
                <a:lnTo>
                  <a:pt x="2518387" y="2391936"/>
                </a:lnTo>
                <a:lnTo>
                  <a:pt x="2522273" y="2348348"/>
                </a:lnTo>
                <a:close/>
                <a:moveTo>
                  <a:pt x="2384705" y="2265102"/>
                </a:moveTo>
                <a:lnTo>
                  <a:pt x="2392293" y="2272671"/>
                </a:lnTo>
                <a:lnTo>
                  <a:pt x="2393144" y="2269923"/>
                </a:lnTo>
                <a:close/>
                <a:moveTo>
                  <a:pt x="2364072" y="2244070"/>
                </a:moveTo>
                <a:lnTo>
                  <a:pt x="2364257" y="2244708"/>
                </a:lnTo>
                <a:lnTo>
                  <a:pt x="2382010" y="2262413"/>
                </a:lnTo>
                <a:lnTo>
                  <a:pt x="2380465" y="2256233"/>
                </a:lnTo>
                <a:cubicBezTo>
                  <a:pt x="2369184" y="2250589"/>
                  <a:pt x="2364248" y="2242835"/>
                  <a:pt x="2364072" y="2244070"/>
                </a:cubicBezTo>
                <a:close/>
                <a:moveTo>
                  <a:pt x="2432229" y="2216904"/>
                </a:moveTo>
                <a:lnTo>
                  <a:pt x="2432229" y="2239484"/>
                </a:lnTo>
                <a:lnTo>
                  <a:pt x="2441391" y="2233552"/>
                </a:lnTo>
                <a:cubicBezTo>
                  <a:pt x="2445643" y="2230000"/>
                  <a:pt x="2449007" y="2225700"/>
                  <a:pt x="2450502" y="2219717"/>
                </a:cubicBezTo>
                <a:close/>
                <a:moveTo>
                  <a:pt x="2321299" y="2208707"/>
                </a:moveTo>
                <a:lnTo>
                  <a:pt x="2334415" y="2218207"/>
                </a:lnTo>
                <a:lnTo>
                  <a:pt x="2335342" y="2218629"/>
                </a:lnTo>
                <a:lnTo>
                  <a:pt x="2336859" y="2219978"/>
                </a:lnTo>
                <a:lnTo>
                  <a:pt x="2339815" y="2222119"/>
                </a:lnTo>
                <a:lnTo>
                  <a:pt x="2340100" y="2221801"/>
                </a:lnTo>
                <a:cubicBezTo>
                  <a:pt x="2339571" y="2220744"/>
                  <a:pt x="2338161" y="2218629"/>
                  <a:pt x="2335342" y="2214868"/>
                </a:cubicBezTo>
                <a:cubicBezTo>
                  <a:pt x="2337221" y="2216748"/>
                  <a:pt x="2340042" y="2218629"/>
                  <a:pt x="2341922" y="2219098"/>
                </a:cubicBezTo>
                <a:lnTo>
                  <a:pt x="2342837" y="2214981"/>
                </a:lnTo>
                <a:lnTo>
                  <a:pt x="2342625" y="2214800"/>
                </a:lnTo>
                <a:close/>
                <a:moveTo>
                  <a:pt x="2277892" y="2177266"/>
                </a:moveTo>
                <a:lnTo>
                  <a:pt x="2295327" y="2189897"/>
                </a:lnTo>
                <a:lnTo>
                  <a:pt x="2293979" y="2188547"/>
                </a:lnTo>
                <a:cubicBezTo>
                  <a:pt x="2293979" y="2184787"/>
                  <a:pt x="2286459" y="2181026"/>
                  <a:pt x="2278937" y="2177266"/>
                </a:cubicBezTo>
                <a:close/>
                <a:moveTo>
                  <a:pt x="2260137" y="2158465"/>
                </a:moveTo>
                <a:lnTo>
                  <a:pt x="2256690" y="2161910"/>
                </a:lnTo>
                <a:lnTo>
                  <a:pt x="2268044" y="2170134"/>
                </a:lnTo>
                <a:lnTo>
                  <a:pt x="2263897" y="2165986"/>
                </a:lnTo>
                <a:cubicBezTo>
                  <a:pt x="2263897" y="2165986"/>
                  <a:pt x="2263897" y="2162225"/>
                  <a:pt x="2263897" y="2162225"/>
                </a:cubicBezTo>
                <a:cubicBezTo>
                  <a:pt x="2260137" y="2158465"/>
                  <a:pt x="2260137" y="2158465"/>
                  <a:pt x="2260137" y="2158465"/>
                </a:cubicBezTo>
                <a:close/>
                <a:moveTo>
                  <a:pt x="1806005" y="1911781"/>
                </a:moveTo>
                <a:lnTo>
                  <a:pt x="1923829" y="1963794"/>
                </a:lnTo>
                <a:cubicBezTo>
                  <a:pt x="1951084" y="1977109"/>
                  <a:pt x="1977084" y="1990994"/>
                  <a:pt x="2005592" y="2003732"/>
                </a:cubicBezTo>
                <a:cubicBezTo>
                  <a:pt x="2008615" y="2005383"/>
                  <a:pt x="2011608" y="2007802"/>
                  <a:pt x="2015415" y="2009096"/>
                </a:cubicBezTo>
                <a:cubicBezTo>
                  <a:pt x="2019220" y="2010389"/>
                  <a:pt x="2023836" y="2010557"/>
                  <a:pt x="2030104" y="2007701"/>
                </a:cubicBezTo>
                <a:cubicBezTo>
                  <a:pt x="2009402" y="1992164"/>
                  <a:pt x="1985427" y="1981897"/>
                  <a:pt x="1964414" y="1968577"/>
                </a:cubicBezTo>
                <a:lnTo>
                  <a:pt x="1957414" y="1962856"/>
                </a:lnTo>
                <a:lnTo>
                  <a:pt x="1910425" y="1944412"/>
                </a:lnTo>
                <a:close/>
                <a:moveTo>
                  <a:pt x="6387577" y="1904496"/>
                </a:moveTo>
                <a:lnTo>
                  <a:pt x="6391362" y="1908599"/>
                </a:lnTo>
                <a:lnTo>
                  <a:pt x="6391223" y="1908522"/>
                </a:lnTo>
                <a:cubicBezTo>
                  <a:pt x="6391223" y="1908522"/>
                  <a:pt x="6391223" y="1908522"/>
                  <a:pt x="6387577" y="1904496"/>
                </a:cubicBezTo>
                <a:close/>
                <a:moveTo>
                  <a:pt x="6683345" y="1896966"/>
                </a:moveTo>
                <a:lnTo>
                  <a:pt x="6683478" y="1896966"/>
                </a:lnTo>
                <a:cubicBezTo>
                  <a:pt x="6683478" y="1896966"/>
                  <a:pt x="6683478" y="1896966"/>
                  <a:pt x="6687890" y="1901380"/>
                </a:cubicBezTo>
                <a:close/>
                <a:moveTo>
                  <a:pt x="7558704" y="1872258"/>
                </a:moveTo>
                <a:cubicBezTo>
                  <a:pt x="7550544" y="1881625"/>
                  <a:pt x="7549556" y="1878584"/>
                  <a:pt x="7549763" y="1874039"/>
                </a:cubicBezTo>
                <a:lnTo>
                  <a:pt x="7549824" y="1873138"/>
                </a:lnTo>
                <a:lnTo>
                  <a:pt x="7530685" y="1895241"/>
                </a:lnTo>
                <a:lnTo>
                  <a:pt x="7515538" y="1911018"/>
                </a:lnTo>
                <a:lnTo>
                  <a:pt x="7510169" y="1917677"/>
                </a:lnTo>
                <a:cubicBezTo>
                  <a:pt x="7501665" y="1927712"/>
                  <a:pt x="7492820" y="1938421"/>
                  <a:pt x="7496161" y="1941816"/>
                </a:cubicBezTo>
                <a:cubicBezTo>
                  <a:pt x="7508427" y="1924400"/>
                  <a:pt x="7493425" y="1947183"/>
                  <a:pt x="7483893" y="1959233"/>
                </a:cubicBezTo>
                <a:cubicBezTo>
                  <a:pt x="7483893" y="1959233"/>
                  <a:pt x="7483893" y="1959233"/>
                  <a:pt x="7482580" y="1955180"/>
                </a:cubicBezTo>
                <a:cubicBezTo>
                  <a:pt x="7486633" y="1953865"/>
                  <a:pt x="7486633" y="1953865"/>
                  <a:pt x="7486633" y="1953865"/>
                </a:cubicBezTo>
                <a:cubicBezTo>
                  <a:pt x="7489372" y="1948498"/>
                  <a:pt x="7489372" y="1948498"/>
                  <a:pt x="7485319" y="1949812"/>
                </a:cubicBezTo>
                <a:cubicBezTo>
                  <a:pt x="7485319" y="1949812"/>
                  <a:pt x="7485319" y="1949812"/>
                  <a:pt x="7481265" y="1951127"/>
                </a:cubicBezTo>
                <a:cubicBezTo>
                  <a:pt x="7478526" y="1956494"/>
                  <a:pt x="7478526" y="1956494"/>
                  <a:pt x="7478526" y="1956494"/>
                </a:cubicBezTo>
                <a:cubicBezTo>
                  <a:pt x="7475788" y="1961862"/>
                  <a:pt x="7477103" y="1965916"/>
                  <a:pt x="7482470" y="1968653"/>
                </a:cubicBezTo>
                <a:cubicBezTo>
                  <a:pt x="7479731" y="1974021"/>
                  <a:pt x="7476994" y="1979388"/>
                  <a:pt x="7472939" y="1980703"/>
                </a:cubicBezTo>
                <a:cubicBezTo>
                  <a:pt x="7468886" y="1982017"/>
                  <a:pt x="7468886" y="1982017"/>
                  <a:pt x="7464836" y="1983332"/>
                </a:cubicBezTo>
                <a:cubicBezTo>
                  <a:pt x="7464836" y="1983332"/>
                  <a:pt x="7464836" y="1983332"/>
                  <a:pt x="7463521" y="1979278"/>
                </a:cubicBezTo>
                <a:cubicBezTo>
                  <a:pt x="7459469" y="1980593"/>
                  <a:pt x="7460784" y="1984647"/>
                  <a:pt x="7460784" y="1984647"/>
                </a:cubicBezTo>
                <a:cubicBezTo>
                  <a:pt x="7460784" y="1984647"/>
                  <a:pt x="7462098" y="1988699"/>
                  <a:pt x="7462098" y="1988699"/>
                </a:cubicBezTo>
                <a:cubicBezTo>
                  <a:pt x="7463411" y="1992751"/>
                  <a:pt x="7459359" y="1994067"/>
                  <a:pt x="7460673" y="1998119"/>
                </a:cubicBezTo>
                <a:cubicBezTo>
                  <a:pt x="7456621" y="1999434"/>
                  <a:pt x="7453884" y="2004801"/>
                  <a:pt x="7453884" y="2004801"/>
                </a:cubicBezTo>
                <a:cubicBezTo>
                  <a:pt x="7453884" y="2004801"/>
                  <a:pt x="7453884" y="2004801"/>
                  <a:pt x="7449831" y="2006115"/>
                </a:cubicBezTo>
                <a:cubicBezTo>
                  <a:pt x="7451145" y="2010169"/>
                  <a:pt x="7451145" y="2010169"/>
                  <a:pt x="7451145" y="2010169"/>
                </a:cubicBezTo>
                <a:cubicBezTo>
                  <a:pt x="7451145" y="2010169"/>
                  <a:pt x="7447090" y="2011483"/>
                  <a:pt x="7448407" y="2015537"/>
                </a:cubicBezTo>
                <a:cubicBezTo>
                  <a:pt x="7442270" y="2024244"/>
                  <a:pt x="7436468" y="2033967"/>
                  <a:pt x="7429991" y="2043345"/>
                </a:cubicBezTo>
                <a:lnTo>
                  <a:pt x="7418385" y="2056664"/>
                </a:lnTo>
                <a:lnTo>
                  <a:pt x="7420687" y="2060518"/>
                </a:lnTo>
                <a:lnTo>
                  <a:pt x="7452457" y="2014222"/>
                </a:lnTo>
                <a:cubicBezTo>
                  <a:pt x="7456513" y="2012907"/>
                  <a:pt x="7456513" y="2012907"/>
                  <a:pt x="7456513" y="2012907"/>
                </a:cubicBezTo>
                <a:cubicBezTo>
                  <a:pt x="7460565" y="2011592"/>
                  <a:pt x="7459248" y="2007540"/>
                  <a:pt x="7459248" y="2007540"/>
                </a:cubicBezTo>
                <a:cubicBezTo>
                  <a:pt x="7463301" y="2006224"/>
                  <a:pt x="7466042" y="2000858"/>
                  <a:pt x="7468781" y="1995491"/>
                </a:cubicBezTo>
                <a:cubicBezTo>
                  <a:pt x="7468781" y="1995491"/>
                  <a:pt x="7468781" y="1995491"/>
                  <a:pt x="7471517" y="1990123"/>
                </a:cubicBezTo>
                <a:cubicBezTo>
                  <a:pt x="7475568" y="1988808"/>
                  <a:pt x="7478308" y="1983440"/>
                  <a:pt x="7481044" y="1978074"/>
                </a:cubicBezTo>
                <a:cubicBezTo>
                  <a:pt x="7485099" y="1976760"/>
                  <a:pt x="7487837" y="1971392"/>
                  <a:pt x="7490573" y="1966024"/>
                </a:cubicBezTo>
                <a:cubicBezTo>
                  <a:pt x="7498681" y="1963395"/>
                  <a:pt x="7505580" y="1943240"/>
                  <a:pt x="7520475" y="1933930"/>
                </a:cubicBezTo>
                <a:cubicBezTo>
                  <a:pt x="7521900" y="1924508"/>
                  <a:pt x="7540959" y="1900410"/>
                  <a:pt x="7549174" y="1884309"/>
                </a:cubicBezTo>
                <a:cubicBezTo>
                  <a:pt x="7549174" y="1884309"/>
                  <a:pt x="7562758" y="1870944"/>
                  <a:pt x="7558704" y="1872258"/>
                </a:cubicBezTo>
                <a:close/>
                <a:moveTo>
                  <a:pt x="12165957" y="1871550"/>
                </a:moveTo>
                <a:cubicBezTo>
                  <a:pt x="12165957" y="1871550"/>
                  <a:pt x="12167907" y="1871404"/>
                  <a:pt x="12168053" y="1873355"/>
                </a:cubicBezTo>
                <a:lnTo>
                  <a:pt x="12165737" y="1871806"/>
                </a:lnTo>
                <a:close/>
                <a:moveTo>
                  <a:pt x="6762917" y="1866072"/>
                </a:moveTo>
                <a:cubicBezTo>
                  <a:pt x="6762917" y="1879314"/>
                  <a:pt x="6793810" y="1896966"/>
                  <a:pt x="6802634" y="1914619"/>
                </a:cubicBezTo>
                <a:cubicBezTo>
                  <a:pt x="6807051" y="1914619"/>
                  <a:pt x="6807051" y="1923447"/>
                  <a:pt x="6807051" y="1927860"/>
                </a:cubicBezTo>
                <a:cubicBezTo>
                  <a:pt x="6820290" y="1943306"/>
                  <a:pt x="6835737" y="1960960"/>
                  <a:pt x="6851182" y="1979717"/>
                </a:cubicBezTo>
                <a:lnTo>
                  <a:pt x="6865411" y="1998570"/>
                </a:lnTo>
                <a:lnTo>
                  <a:pt x="6870007" y="1990438"/>
                </a:lnTo>
                <a:close/>
                <a:moveTo>
                  <a:pt x="7317611" y="1860873"/>
                </a:moveTo>
                <a:lnTo>
                  <a:pt x="7309038" y="1873482"/>
                </a:lnTo>
                <a:lnTo>
                  <a:pt x="7311432" y="1877493"/>
                </a:lnTo>
                <a:lnTo>
                  <a:pt x="7316350" y="1870800"/>
                </a:lnTo>
                <a:cubicBezTo>
                  <a:pt x="7319584" y="1866952"/>
                  <a:pt x="7320954" y="1864268"/>
                  <a:pt x="7317611" y="1860873"/>
                </a:cubicBezTo>
                <a:close/>
                <a:moveTo>
                  <a:pt x="7125079" y="1842742"/>
                </a:moveTo>
                <a:lnTo>
                  <a:pt x="7086451" y="1894894"/>
                </a:lnTo>
                <a:lnTo>
                  <a:pt x="7106515" y="1918953"/>
                </a:lnTo>
                <a:lnTo>
                  <a:pt x="7138061" y="1926276"/>
                </a:lnTo>
                <a:lnTo>
                  <a:pt x="7138720" y="1926547"/>
                </a:lnTo>
                <a:lnTo>
                  <a:pt x="7162290" y="1889122"/>
                </a:lnTo>
                <a:lnTo>
                  <a:pt x="7144802" y="1864606"/>
                </a:lnTo>
                <a:close/>
                <a:moveTo>
                  <a:pt x="6687890" y="1839408"/>
                </a:moveTo>
                <a:lnTo>
                  <a:pt x="6692305" y="1844006"/>
                </a:lnTo>
                <a:cubicBezTo>
                  <a:pt x="6692305" y="1839593"/>
                  <a:pt x="6687890" y="1839593"/>
                  <a:pt x="6687890" y="1839593"/>
                </a:cubicBezTo>
                <a:close/>
                <a:moveTo>
                  <a:pt x="12090228" y="1834540"/>
                </a:moveTo>
                <a:lnTo>
                  <a:pt x="12098715" y="1837342"/>
                </a:lnTo>
                <a:lnTo>
                  <a:pt x="12095912" y="1835591"/>
                </a:lnTo>
                <a:lnTo>
                  <a:pt x="12096620" y="1835537"/>
                </a:lnTo>
                <a:cubicBezTo>
                  <a:pt x="12098715" y="1837342"/>
                  <a:pt x="12098715" y="1837342"/>
                  <a:pt x="12100664" y="1837197"/>
                </a:cubicBezTo>
                <a:lnTo>
                  <a:pt x="12100572" y="1835963"/>
                </a:lnTo>
                <a:lnTo>
                  <a:pt x="12095360" y="1835245"/>
                </a:lnTo>
                <a:lnTo>
                  <a:pt x="12095912" y="1835591"/>
                </a:lnTo>
                <a:lnTo>
                  <a:pt x="12094671" y="1835684"/>
                </a:lnTo>
                <a:lnTo>
                  <a:pt x="12093935" y="1835051"/>
                </a:lnTo>
                <a:close/>
                <a:moveTo>
                  <a:pt x="7388777" y="1817888"/>
                </a:moveTo>
                <a:lnTo>
                  <a:pt x="7389364" y="1819685"/>
                </a:lnTo>
                <a:cubicBezTo>
                  <a:pt x="7389364" y="1819685"/>
                  <a:pt x="7389364" y="1819685"/>
                  <a:pt x="7385312" y="1821000"/>
                </a:cubicBezTo>
                <a:close/>
                <a:moveTo>
                  <a:pt x="12054147" y="1807180"/>
                </a:moveTo>
                <a:lnTo>
                  <a:pt x="12087545" y="1821519"/>
                </a:lnTo>
                <a:lnTo>
                  <a:pt x="12075262" y="1815310"/>
                </a:lnTo>
                <a:close/>
                <a:moveTo>
                  <a:pt x="6084899" y="1795170"/>
                </a:moveTo>
                <a:cubicBezTo>
                  <a:pt x="6084899" y="1795170"/>
                  <a:pt x="6088497" y="1795170"/>
                  <a:pt x="6088499" y="1798773"/>
                </a:cubicBezTo>
                <a:lnTo>
                  <a:pt x="6084459" y="1795609"/>
                </a:lnTo>
                <a:close/>
                <a:moveTo>
                  <a:pt x="7688591" y="1792592"/>
                </a:moveTo>
                <a:cubicBezTo>
                  <a:pt x="7688591" y="1792592"/>
                  <a:pt x="7688591" y="1792592"/>
                  <a:pt x="7692335" y="1793440"/>
                </a:cubicBezTo>
                <a:lnTo>
                  <a:pt x="7683586" y="1800869"/>
                </a:lnTo>
                <a:close/>
                <a:moveTo>
                  <a:pt x="2048700" y="1788029"/>
                </a:moveTo>
                <a:lnTo>
                  <a:pt x="2048819" y="1788402"/>
                </a:lnTo>
                <a:cubicBezTo>
                  <a:pt x="2048015" y="1791083"/>
                  <a:pt x="2048819" y="1794031"/>
                  <a:pt x="2051503" y="1795639"/>
                </a:cubicBezTo>
                <a:cubicBezTo>
                  <a:pt x="2051503" y="1796712"/>
                  <a:pt x="2051503" y="1797783"/>
                  <a:pt x="2051503" y="1798856"/>
                </a:cubicBezTo>
                <a:cubicBezTo>
                  <a:pt x="2049088" y="1800196"/>
                  <a:pt x="2048015" y="1801804"/>
                  <a:pt x="2048283" y="1805288"/>
                </a:cubicBezTo>
                <a:lnTo>
                  <a:pt x="2047583" y="1806221"/>
                </a:lnTo>
                <a:lnTo>
                  <a:pt x="2059337" y="1810342"/>
                </a:lnTo>
                <a:lnTo>
                  <a:pt x="2138697" y="1846190"/>
                </a:lnTo>
                <a:lnTo>
                  <a:pt x="2139327" y="1831392"/>
                </a:lnTo>
                <a:lnTo>
                  <a:pt x="2092710" y="1805853"/>
                </a:lnTo>
                <a:close/>
                <a:moveTo>
                  <a:pt x="11996731" y="1784154"/>
                </a:moveTo>
                <a:lnTo>
                  <a:pt x="11996698" y="1784156"/>
                </a:lnTo>
                <a:lnTo>
                  <a:pt x="11996732" y="1784167"/>
                </a:lnTo>
                <a:close/>
                <a:moveTo>
                  <a:pt x="12013946" y="1778453"/>
                </a:moveTo>
                <a:lnTo>
                  <a:pt x="12015932" y="1778795"/>
                </a:lnTo>
                <a:cubicBezTo>
                  <a:pt x="12015932" y="1778795"/>
                  <a:pt x="12015932" y="1778795"/>
                  <a:pt x="12013982" y="1778940"/>
                </a:cubicBezTo>
                <a:close/>
                <a:moveTo>
                  <a:pt x="12017736" y="1776698"/>
                </a:moveTo>
                <a:cubicBezTo>
                  <a:pt x="12017736" y="1776698"/>
                  <a:pt x="12017736" y="1776698"/>
                  <a:pt x="12015787" y="1776845"/>
                </a:cubicBezTo>
                <a:cubicBezTo>
                  <a:pt x="12015787" y="1776845"/>
                  <a:pt x="12013837" y="1776990"/>
                  <a:pt x="12013837" y="1776990"/>
                </a:cubicBezTo>
                <a:lnTo>
                  <a:pt x="12013946" y="1778453"/>
                </a:lnTo>
                <a:lnTo>
                  <a:pt x="12011961" y="1778111"/>
                </a:lnTo>
                <a:cubicBezTo>
                  <a:pt x="12010987" y="1778184"/>
                  <a:pt x="12010011" y="1778257"/>
                  <a:pt x="12007988" y="1777427"/>
                </a:cubicBezTo>
                <a:cubicBezTo>
                  <a:pt x="12002288" y="1779815"/>
                  <a:pt x="12014274" y="1782842"/>
                  <a:pt x="12014566" y="1786744"/>
                </a:cubicBezTo>
                <a:cubicBezTo>
                  <a:pt x="12004528" y="1783570"/>
                  <a:pt x="12002724" y="1785667"/>
                  <a:pt x="11998680" y="1784009"/>
                </a:cubicBezTo>
                <a:lnTo>
                  <a:pt x="11998165" y="1784607"/>
                </a:lnTo>
                <a:lnTo>
                  <a:pt x="12010121" y="1788279"/>
                </a:lnTo>
                <a:lnTo>
                  <a:pt x="12033342" y="1798248"/>
                </a:lnTo>
                <a:lnTo>
                  <a:pt x="12034264" y="1794590"/>
                </a:lnTo>
                <a:cubicBezTo>
                  <a:pt x="12035690" y="1793993"/>
                  <a:pt x="12037640" y="1793847"/>
                  <a:pt x="12038540" y="1792798"/>
                </a:cubicBezTo>
                <a:cubicBezTo>
                  <a:pt x="12036300" y="1789043"/>
                  <a:pt x="12032255" y="1787382"/>
                  <a:pt x="12028066" y="1783772"/>
                </a:cubicBezTo>
                <a:cubicBezTo>
                  <a:pt x="12030159" y="1785579"/>
                  <a:pt x="12032108" y="1785432"/>
                  <a:pt x="12032108" y="1785432"/>
                </a:cubicBezTo>
                <a:cubicBezTo>
                  <a:pt x="12034204" y="1787238"/>
                  <a:pt x="12034204" y="1787238"/>
                  <a:pt x="12036153" y="1787092"/>
                </a:cubicBezTo>
                <a:cubicBezTo>
                  <a:pt x="12036008" y="1785141"/>
                  <a:pt x="12034059" y="1785287"/>
                  <a:pt x="12034059" y="1785287"/>
                </a:cubicBezTo>
                <a:cubicBezTo>
                  <a:pt x="12031963" y="1783482"/>
                  <a:pt x="12030015" y="1783627"/>
                  <a:pt x="12030015" y="1783627"/>
                </a:cubicBezTo>
                <a:cubicBezTo>
                  <a:pt x="12030015" y="1783627"/>
                  <a:pt x="12027919" y="1781822"/>
                  <a:pt x="12027919" y="1781822"/>
                </a:cubicBezTo>
                <a:cubicBezTo>
                  <a:pt x="12023875" y="1780163"/>
                  <a:pt x="12019831" y="1778503"/>
                  <a:pt x="12017736" y="1776698"/>
                </a:cubicBezTo>
                <a:close/>
                <a:moveTo>
                  <a:pt x="11964996" y="1773837"/>
                </a:moveTo>
                <a:lnTo>
                  <a:pt x="11964022" y="1774121"/>
                </a:lnTo>
                <a:lnTo>
                  <a:pt x="11976922" y="1778082"/>
                </a:lnTo>
                <a:lnTo>
                  <a:pt x="11971844" y="1775715"/>
                </a:lnTo>
                <a:cubicBezTo>
                  <a:pt x="11969194" y="1774688"/>
                  <a:pt x="11966876" y="1774002"/>
                  <a:pt x="11964996" y="1773837"/>
                </a:cubicBezTo>
                <a:close/>
                <a:moveTo>
                  <a:pt x="6227322" y="1770443"/>
                </a:moveTo>
                <a:lnTo>
                  <a:pt x="6236335" y="1773951"/>
                </a:lnTo>
                <a:cubicBezTo>
                  <a:pt x="6236335" y="1773951"/>
                  <a:pt x="6236335" y="1773951"/>
                  <a:pt x="6236145" y="1777787"/>
                </a:cubicBezTo>
                <a:close/>
                <a:moveTo>
                  <a:pt x="11878662" y="1751785"/>
                </a:moveTo>
                <a:lnTo>
                  <a:pt x="11880358" y="1752404"/>
                </a:lnTo>
                <a:lnTo>
                  <a:pt x="11918602" y="1760172"/>
                </a:lnTo>
                <a:lnTo>
                  <a:pt x="11943146" y="1767710"/>
                </a:lnTo>
                <a:lnTo>
                  <a:pt x="11940718" y="1765782"/>
                </a:lnTo>
                <a:cubicBezTo>
                  <a:pt x="11935383" y="1763238"/>
                  <a:pt x="11928341" y="1760822"/>
                  <a:pt x="11920326" y="1758478"/>
                </a:cubicBezTo>
                <a:cubicBezTo>
                  <a:pt x="11904294" y="1753791"/>
                  <a:pt x="11888554" y="1753008"/>
                  <a:pt x="11878662" y="1751785"/>
                </a:cubicBezTo>
                <a:close/>
                <a:moveTo>
                  <a:pt x="1609129" y="1746640"/>
                </a:moveTo>
                <a:lnTo>
                  <a:pt x="1609949" y="1751761"/>
                </a:lnTo>
                <a:cubicBezTo>
                  <a:pt x="1608298" y="1756477"/>
                  <a:pt x="1610893" y="1761194"/>
                  <a:pt x="1613252" y="1765439"/>
                </a:cubicBezTo>
                <a:cubicBezTo>
                  <a:pt x="1614197" y="1767562"/>
                  <a:pt x="1614668" y="1768976"/>
                  <a:pt x="1613017" y="1771098"/>
                </a:cubicBezTo>
                <a:lnTo>
                  <a:pt x="1608010" y="1783280"/>
                </a:lnTo>
                <a:lnTo>
                  <a:pt x="1689613" y="1801924"/>
                </a:lnTo>
                <a:cubicBezTo>
                  <a:pt x="1859023" y="1847839"/>
                  <a:pt x="2021360" y="1913584"/>
                  <a:pt x="2173650" y="1996780"/>
                </a:cubicBezTo>
                <a:cubicBezTo>
                  <a:pt x="2166130" y="1996780"/>
                  <a:pt x="2162369" y="1993019"/>
                  <a:pt x="2162369" y="1996780"/>
                </a:cubicBezTo>
                <a:cubicBezTo>
                  <a:pt x="2188691" y="2019337"/>
                  <a:pt x="2196213" y="2015578"/>
                  <a:pt x="2222534" y="2026858"/>
                </a:cubicBezTo>
                <a:cubicBezTo>
                  <a:pt x="2245095" y="2038139"/>
                  <a:pt x="2271417" y="2053179"/>
                  <a:pt x="2293979" y="2068220"/>
                </a:cubicBezTo>
                <a:lnTo>
                  <a:pt x="2308990" y="2080669"/>
                </a:lnTo>
                <a:lnTo>
                  <a:pt x="2306757" y="2028676"/>
                </a:lnTo>
                <a:lnTo>
                  <a:pt x="2295859" y="2019337"/>
                </a:lnTo>
                <a:lnTo>
                  <a:pt x="2283527" y="2008767"/>
                </a:lnTo>
                <a:lnTo>
                  <a:pt x="2272442" y="2018504"/>
                </a:lnTo>
                <a:cubicBezTo>
                  <a:pt x="2269278" y="2020804"/>
                  <a:pt x="2266257" y="2022097"/>
                  <a:pt x="2263812" y="2021594"/>
                </a:cubicBezTo>
                <a:cubicBezTo>
                  <a:pt x="2261367" y="2021091"/>
                  <a:pt x="2259497" y="2018791"/>
                  <a:pt x="2258634" y="2013903"/>
                </a:cubicBezTo>
                <a:cubicBezTo>
                  <a:pt x="2258634" y="2011603"/>
                  <a:pt x="2258059" y="2009303"/>
                  <a:pt x="2256909" y="2007003"/>
                </a:cubicBezTo>
                <a:cubicBezTo>
                  <a:pt x="2255757" y="2004128"/>
                  <a:pt x="2255757" y="1999527"/>
                  <a:pt x="2251730" y="1998952"/>
                </a:cubicBezTo>
                <a:cubicBezTo>
                  <a:pt x="2248278" y="1998952"/>
                  <a:pt x="2245976" y="2001827"/>
                  <a:pt x="2244251" y="2004128"/>
                </a:cubicBezTo>
                <a:cubicBezTo>
                  <a:pt x="2235620" y="2013903"/>
                  <a:pt x="2232169" y="2013328"/>
                  <a:pt x="2226990" y="2001252"/>
                </a:cubicBezTo>
                <a:cubicBezTo>
                  <a:pt x="2225840" y="1998377"/>
                  <a:pt x="2225265" y="1996076"/>
                  <a:pt x="2223539" y="1993776"/>
                </a:cubicBezTo>
                <a:cubicBezTo>
                  <a:pt x="2221237" y="1990326"/>
                  <a:pt x="2218936" y="1987450"/>
                  <a:pt x="2213182" y="1989750"/>
                </a:cubicBezTo>
                <a:cubicBezTo>
                  <a:pt x="2208004" y="1992626"/>
                  <a:pt x="2208004" y="1994926"/>
                  <a:pt x="2209155" y="1999527"/>
                </a:cubicBezTo>
                <a:lnTo>
                  <a:pt x="2210123" y="2008224"/>
                </a:lnTo>
                <a:lnTo>
                  <a:pt x="2165155" y="1963502"/>
                </a:lnTo>
                <a:lnTo>
                  <a:pt x="2165173" y="1963476"/>
                </a:lnTo>
                <a:lnTo>
                  <a:pt x="1990538" y="1873132"/>
                </a:lnTo>
                <a:cubicBezTo>
                  <a:pt x="1913351" y="1838592"/>
                  <a:pt x="1833882" y="1808324"/>
                  <a:pt x="1752365" y="1782645"/>
                </a:cubicBezTo>
                <a:close/>
                <a:moveTo>
                  <a:pt x="5950882" y="1716792"/>
                </a:moveTo>
                <a:lnTo>
                  <a:pt x="5966086" y="1723104"/>
                </a:lnTo>
                <a:lnTo>
                  <a:pt x="5961177" y="1719502"/>
                </a:lnTo>
                <a:lnTo>
                  <a:pt x="5962488" y="1719502"/>
                </a:lnTo>
                <a:cubicBezTo>
                  <a:pt x="5966086" y="1723104"/>
                  <a:pt x="5966086" y="1723104"/>
                  <a:pt x="5969686" y="1723104"/>
                </a:cubicBezTo>
                <a:lnTo>
                  <a:pt x="5969686" y="1720825"/>
                </a:lnTo>
                <a:lnTo>
                  <a:pt x="5960211" y="1718792"/>
                </a:lnTo>
                <a:lnTo>
                  <a:pt x="5961177" y="1719502"/>
                </a:lnTo>
                <a:lnTo>
                  <a:pt x="5958886" y="1719502"/>
                </a:lnTo>
                <a:lnTo>
                  <a:pt x="5957622" y="1718238"/>
                </a:lnTo>
                <a:close/>
                <a:moveTo>
                  <a:pt x="5981767" y="1713021"/>
                </a:moveTo>
                <a:lnTo>
                  <a:pt x="5986017" y="1722354"/>
                </a:lnTo>
                <a:lnTo>
                  <a:pt x="5998490" y="1726708"/>
                </a:lnTo>
                <a:cubicBezTo>
                  <a:pt x="5994890" y="1726708"/>
                  <a:pt x="5994890" y="1726708"/>
                  <a:pt x="5994890" y="1726708"/>
                </a:cubicBezTo>
                <a:cubicBezTo>
                  <a:pt x="5994890" y="1726708"/>
                  <a:pt x="5998490" y="1730312"/>
                  <a:pt x="6002090" y="1730312"/>
                </a:cubicBezTo>
                <a:cubicBezTo>
                  <a:pt x="6002089" y="1733914"/>
                  <a:pt x="6005690" y="1733914"/>
                  <a:pt x="6005690" y="1733914"/>
                </a:cubicBezTo>
                <a:lnTo>
                  <a:pt x="6084459" y="1795609"/>
                </a:lnTo>
                <a:lnTo>
                  <a:pt x="6081297" y="1798773"/>
                </a:lnTo>
                <a:cubicBezTo>
                  <a:pt x="6081297" y="1798773"/>
                  <a:pt x="6084899" y="1798773"/>
                  <a:pt x="6084899" y="1798773"/>
                </a:cubicBezTo>
                <a:cubicBezTo>
                  <a:pt x="6084899" y="1798773"/>
                  <a:pt x="6084899" y="1798773"/>
                  <a:pt x="6088499" y="1798773"/>
                </a:cubicBezTo>
                <a:cubicBezTo>
                  <a:pt x="6088499" y="1802377"/>
                  <a:pt x="6092099" y="1802377"/>
                  <a:pt x="6092099" y="1802377"/>
                </a:cubicBezTo>
                <a:cubicBezTo>
                  <a:pt x="6088497" y="1805980"/>
                  <a:pt x="6099297" y="1813187"/>
                  <a:pt x="6110101" y="1820392"/>
                </a:cubicBezTo>
                <a:cubicBezTo>
                  <a:pt x="6113702" y="1816790"/>
                  <a:pt x="6106500" y="1813187"/>
                  <a:pt x="6106500" y="1813187"/>
                </a:cubicBezTo>
                <a:cubicBezTo>
                  <a:pt x="6110101" y="1813187"/>
                  <a:pt x="6110101" y="1813187"/>
                  <a:pt x="6110101" y="1813187"/>
                </a:cubicBezTo>
                <a:cubicBezTo>
                  <a:pt x="6113702" y="1813187"/>
                  <a:pt x="6113702" y="1813187"/>
                  <a:pt x="6113702" y="1813187"/>
                </a:cubicBezTo>
                <a:cubicBezTo>
                  <a:pt x="6113702" y="1813187"/>
                  <a:pt x="6110100" y="1809582"/>
                  <a:pt x="6110100" y="1809582"/>
                </a:cubicBezTo>
                <a:cubicBezTo>
                  <a:pt x="6120901" y="1816790"/>
                  <a:pt x="6120901" y="1813187"/>
                  <a:pt x="6135303" y="1823997"/>
                </a:cubicBezTo>
                <a:cubicBezTo>
                  <a:pt x="6131704" y="1823997"/>
                  <a:pt x="6131704" y="1823997"/>
                  <a:pt x="6131704" y="1823997"/>
                </a:cubicBezTo>
                <a:cubicBezTo>
                  <a:pt x="6131704" y="1823997"/>
                  <a:pt x="6131704" y="1823997"/>
                  <a:pt x="6128102" y="1820392"/>
                </a:cubicBezTo>
                <a:cubicBezTo>
                  <a:pt x="6124502" y="1820392"/>
                  <a:pt x="6124502" y="1820392"/>
                  <a:pt x="6124502" y="1820392"/>
                </a:cubicBezTo>
                <a:cubicBezTo>
                  <a:pt x="6124501" y="1823997"/>
                  <a:pt x="6128102" y="1827599"/>
                  <a:pt x="6131704" y="1827599"/>
                </a:cubicBezTo>
                <a:cubicBezTo>
                  <a:pt x="6131704" y="1827599"/>
                  <a:pt x="6131704" y="1831202"/>
                  <a:pt x="6135303" y="1831202"/>
                </a:cubicBezTo>
                <a:cubicBezTo>
                  <a:pt x="6135303" y="1838409"/>
                  <a:pt x="6146103" y="1849219"/>
                  <a:pt x="6160505" y="1863632"/>
                </a:cubicBezTo>
                <a:cubicBezTo>
                  <a:pt x="6167705" y="1869036"/>
                  <a:pt x="6175807" y="1874442"/>
                  <a:pt x="6183458" y="1878945"/>
                </a:cubicBezTo>
                <a:lnTo>
                  <a:pt x="6191929" y="1883091"/>
                </a:lnTo>
                <a:lnTo>
                  <a:pt x="6210114" y="1883530"/>
                </a:lnTo>
                <a:cubicBezTo>
                  <a:pt x="6219879" y="1886373"/>
                  <a:pt x="6228192" y="1891650"/>
                  <a:pt x="6234671" y="1898946"/>
                </a:cubicBezTo>
                <a:lnTo>
                  <a:pt x="6254560" y="1918972"/>
                </a:lnTo>
                <a:lnTo>
                  <a:pt x="6255725" y="1919992"/>
                </a:lnTo>
                <a:lnTo>
                  <a:pt x="6269546" y="1912573"/>
                </a:lnTo>
                <a:lnTo>
                  <a:pt x="6207310" y="1863632"/>
                </a:lnTo>
                <a:cubicBezTo>
                  <a:pt x="6192908" y="1849219"/>
                  <a:pt x="6167706" y="1827599"/>
                  <a:pt x="6138904" y="1809582"/>
                </a:cubicBezTo>
                <a:cubicBezTo>
                  <a:pt x="6113702" y="1787964"/>
                  <a:pt x="6084897" y="1773550"/>
                  <a:pt x="6066897" y="1766344"/>
                </a:cubicBezTo>
                <a:cubicBezTo>
                  <a:pt x="6048895" y="1751931"/>
                  <a:pt x="6027292" y="1737518"/>
                  <a:pt x="6009290" y="1730312"/>
                </a:cubicBezTo>
                <a:cubicBezTo>
                  <a:pt x="6009290" y="1730312"/>
                  <a:pt x="6009289" y="1726708"/>
                  <a:pt x="6005690" y="1726708"/>
                </a:cubicBezTo>
                <a:cubicBezTo>
                  <a:pt x="6002089" y="1723104"/>
                  <a:pt x="6002089" y="1723104"/>
                  <a:pt x="5998488" y="1723104"/>
                </a:cubicBezTo>
                <a:close/>
                <a:moveTo>
                  <a:pt x="2245258" y="1710274"/>
                </a:moveTo>
                <a:lnTo>
                  <a:pt x="2244276" y="1710488"/>
                </a:lnTo>
                <a:lnTo>
                  <a:pt x="2252305" y="1715011"/>
                </a:lnTo>
                <a:lnTo>
                  <a:pt x="2252305" y="1713724"/>
                </a:lnTo>
                <a:cubicBezTo>
                  <a:pt x="2250292" y="1711999"/>
                  <a:pt x="2247847" y="1710705"/>
                  <a:pt x="2245258" y="1710274"/>
                </a:cubicBezTo>
                <a:close/>
                <a:moveTo>
                  <a:pt x="1421019" y="1706832"/>
                </a:moveTo>
                <a:lnTo>
                  <a:pt x="1427065" y="1710443"/>
                </a:lnTo>
                <a:cubicBezTo>
                  <a:pt x="1433664" y="1716465"/>
                  <a:pt x="1433114" y="1724676"/>
                  <a:pt x="1434763" y="1732340"/>
                </a:cubicBezTo>
                <a:lnTo>
                  <a:pt x="1432681" y="1740171"/>
                </a:lnTo>
                <a:lnTo>
                  <a:pt x="1501179" y="1759551"/>
                </a:lnTo>
                <a:lnTo>
                  <a:pt x="1504479" y="1753647"/>
                </a:lnTo>
                <a:cubicBezTo>
                  <a:pt x="1501884" y="1749402"/>
                  <a:pt x="1502592" y="1746100"/>
                  <a:pt x="1504952" y="1742564"/>
                </a:cubicBezTo>
                <a:cubicBezTo>
                  <a:pt x="1508019" y="1737846"/>
                  <a:pt x="1510378" y="1732894"/>
                  <a:pt x="1508963" y="1726998"/>
                </a:cubicBezTo>
                <a:cubicBezTo>
                  <a:pt x="1508254" y="1724404"/>
                  <a:pt x="1510851" y="1723225"/>
                  <a:pt x="1512501" y="1722753"/>
                </a:cubicBezTo>
                <a:lnTo>
                  <a:pt x="1512766" y="1722417"/>
                </a:lnTo>
                <a:lnTo>
                  <a:pt x="1501911" y="1719688"/>
                </a:lnTo>
                <a:close/>
                <a:moveTo>
                  <a:pt x="11144220" y="1705043"/>
                </a:moveTo>
                <a:lnTo>
                  <a:pt x="11141306" y="1706782"/>
                </a:lnTo>
                <a:lnTo>
                  <a:pt x="11144473" y="1705342"/>
                </a:lnTo>
                <a:close/>
                <a:moveTo>
                  <a:pt x="11137441" y="1697014"/>
                </a:moveTo>
                <a:lnTo>
                  <a:pt x="11137260" y="1697085"/>
                </a:lnTo>
                <a:lnTo>
                  <a:pt x="11136611" y="1707194"/>
                </a:lnTo>
                <a:lnTo>
                  <a:pt x="11136908" y="1707576"/>
                </a:lnTo>
                <a:lnTo>
                  <a:pt x="11143525" y="1704219"/>
                </a:lnTo>
                <a:close/>
                <a:moveTo>
                  <a:pt x="12178406" y="1692372"/>
                </a:moveTo>
                <a:cubicBezTo>
                  <a:pt x="12179943" y="1692858"/>
                  <a:pt x="12181824" y="1693918"/>
                  <a:pt x="12183109" y="1695023"/>
                </a:cubicBezTo>
                <a:lnTo>
                  <a:pt x="12178245" y="1692420"/>
                </a:lnTo>
                <a:close/>
                <a:moveTo>
                  <a:pt x="1622627" y="1686357"/>
                </a:moveTo>
                <a:lnTo>
                  <a:pt x="1613961" y="1696340"/>
                </a:lnTo>
                <a:cubicBezTo>
                  <a:pt x="1610422" y="1700349"/>
                  <a:pt x="1605938" y="1702944"/>
                  <a:pt x="1600748" y="1704123"/>
                </a:cubicBezTo>
                <a:lnTo>
                  <a:pt x="1596731" y="1707749"/>
                </a:lnTo>
                <a:lnTo>
                  <a:pt x="1686132" y="1733403"/>
                </a:lnTo>
                <a:cubicBezTo>
                  <a:pt x="1728044" y="1747015"/>
                  <a:pt x="1769516" y="1762139"/>
                  <a:pt x="1810501" y="1778922"/>
                </a:cubicBezTo>
                <a:cubicBezTo>
                  <a:pt x="1860464" y="1799218"/>
                  <a:pt x="1902620" y="1832005"/>
                  <a:pt x="1957266" y="1839810"/>
                </a:cubicBezTo>
                <a:cubicBezTo>
                  <a:pt x="1971318" y="1841371"/>
                  <a:pt x="1988491" y="1849176"/>
                  <a:pt x="1993177" y="1827319"/>
                </a:cubicBezTo>
                <a:cubicBezTo>
                  <a:pt x="1999422" y="1805463"/>
                  <a:pt x="1979124" y="1808585"/>
                  <a:pt x="1966633" y="1802340"/>
                </a:cubicBezTo>
                <a:cubicBezTo>
                  <a:pt x="1951021" y="1797656"/>
                  <a:pt x="1930723" y="1794535"/>
                  <a:pt x="1921355" y="1772676"/>
                </a:cubicBezTo>
                <a:lnTo>
                  <a:pt x="1991274" y="1786660"/>
                </a:lnTo>
                <a:lnTo>
                  <a:pt x="1992194" y="1781702"/>
                </a:lnTo>
                <a:cubicBezTo>
                  <a:pt x="1993267" y="1781434"/>
                  <a:pt x="1993535" y="1779826"/>
                  <a:pt x="1992462" y="1779022"/>
                </a:cubicBezTo>
                <a:cubicBezTo>
                  <a:pt x="1988973" y="1776074"/>
                  <a:pt x="1992731" y="1774733"/>
                  <a:pt x="1993267" y="1772589"/>
                </a:cubicBezTo>
                <a:lnTo>
                  <a:pt x="1998419" y="1767666"/>
                </a:lnTo>
                <a:lnTo>
                  <a:pt x="1983807" y="1761749"/>
                </a:lnTo>
                <a:cubicBezTo>
                  <a:pt x="1933845" y="1742624"/>
                  <a:pt x="1883590" y="1724377"/>
                  <a:pt x="1832994" y="1707228"/>
                </a:cubicBezTo>
                <a:lnTo>
                  <a:pt x="1808113" y="1699426"/>
                </a:lnTo>
                <a:lnTo>
                  <a:pt x="1809135" y="1700286"/>
                </a:lnTo>
                <a:cubicBezTo>
                  <a:pt x="1809672" y="1702163"/>
                  <a:pt x="1811014" y="1703234"/>
                  <a:pt x="1812355" y="1704575"/>
                </a:cubicBezTo>
                <a:cubicBezTo>
                  <a:pt x="1815845" y="1707791"/>
                  <a:pt x="1817455" y="1711543"/>
                  <a:pt x="1816112" y="1716367"/>
                </a:cubicBezTo>
                <a:lnTo>
                  <a:pt x="1818669" y="1723261"/>
                </a:lnTo>
                <a:lnTo>
                  <a:pt x="1835482" y="1728964"/>
                </a:lnTo>
                <a:cubicBezTo>
                  <a:pt x="1844849" y="1732086"/>
                  <a:pt x="1863587" y="1730525"/>
                  <a:pt x="1858903" y="1746137"/>
                </a:cubicBezTo>
                <a:cubicBezTo>
                  <a:pt x="1854218" y="1761749"/>
                  <a:pt x="1837044" y="1757065"/>
                  <a:pt x="1826115" y="1752381"/>
                </a:cubicBezTo>
                <a:lnTo>
                  <a:pt x="1807151" y="1745258"/>
                </a:lnTo>
                <a:lnTo>
                  <a:pt x="1806452" y="1746655"/>
                </a:lnTo>
                <a:cubicBezTo>
                  <a:pt x="1806452" y="1749335"/>
                  <a:pt x="1805378" y="1749871"/>
                  <a:pt x="1803231" y="1747995"/>
                </a:cubicBezTo>
                <a:cubicBezTo>
                  <a:pt x="1800010" y="1745315"/>
                  <a:pt x="1797863" y="1745315"/>
                  <a:pt x="1797058" y="1749871"/>
                </a:cubicBezTo>
                <a:cubicBezTo>
                  <a:pt x="1796791" y="1750943"/>
                  <a:pt x="1795985" y="1752284"/>
                  <a:pt x="1794911" y="1750943"/>
                </a:cubicBezTo>
                <a:cubicBezTo>
                  <a:pt x="1791423" y="1747459"/>
                  <a:pt x="1789008" y="1749603"/>
                  <a:pt x="1786324" y="1752016"/>
                </a:cubicBezTo>
                <a:cubicBezTo>
                  <a:pt x="1786055" y="1752552"/>
                  <a:pt x="1784981" y="1752552"/>
                  <a:pt x="1784445" y="1752552"/>
                </a:cubicBezTo>
                <a:cubicBezTo>
                  <a:pt x="1778004" y="1748800"/>
                  <a:pt x="1771832" y="1744511"/>
                  <a:pt x="1765391" y="1740491"/>
                </a:cubicBezTo>
                <a:cubicBezTo>
                  <a:pt x="1762439" y="1738614"/>
                  <a:pt x="1760828" y="1733521"/>
                  <a:pt x="1759487" y="1729502"/>
                </a:cubicBezTo>
                <a:lnTo>
                  <a:pt x="1758441" y="1726965"/>
                </a:lnTo>
                <a:lnTo>
                  <a:pt x="1744535" y="1721742"/>
                </a:lnTo>
                <a:cubicBezTo>
                  <a:pt x="1717212" y="1711399"/>
                  <a:pt x="1689498" y="1701641"/>
                  <a:pt x="1660614" y="1694616"/>
                </a:cubicBezTo>
                <a:close/>
                <a:moveTo>
                  <a:pt x="2222100" y="1683103"/>
                </a:moveTo>
                <a:cubicBezTo>
                  <a:pt x="2219367" y="1684109"/>
                  <a:pt x="2216634" y="1686122"/>
                  <a:pt x="2214332" y="1687847"/>
                </a:cubicBezTo>
                <a:lnTo>
                  <a:pt x="2210127" y="1691249"/>
                </a:lnTo>
                <a:lnTo>
                  <a:pt x="2227208" y="1700872"/>
                </a:lnTo>
                <a:lnTo>
                  <a:pt x="2229867" y="1684397"/>
                </a:lnTo>
                <a:cubicBezTo>
                  <a:pt x="2227566" y="1682096"/>
                  <a:pt x="2224833" y="1682096"/>
                  <a:pt x="2222100" y="1683103"/>
                </a:cubicBezTo>
                <a:close/>
                <a:moveTo>
                  <a:pt x="1135797" y="1682585"/>
                </a:moveTo>
                <a:lnTo>
                  <a:pt x="1135657" y="1684620"/>
                </a:lnTo>
                <a:lnTo>
                  <a:pt x="1198655" y="1689272"/>
                </a:lnTo>
                <a:cubicBezTo>
                  <a:pt x="1237636" y="1694478"/>
                  <a:pt x="1276225" y="1701732"/>
                  <a:pt x="1314555" y="1710285"/>
                </a:cubicBezTo>
                <a:lnTo>
                  <a:pt x="1369793" y="1724206"/>
                </a:lnTo>
                <a:lnTo>
                  <a:pt x="1367679" y="1720297"/>
                </a:lnTo>
                <a:cubicBezTo>
                  <a:pt x="1365479" y="1715370"/>
                  <a:pt x="1361080" y="1710991"/>
                  <a:pt x="1355581" y="1708253"/>
                </a:cubicBezTo>
                <a:lnTo>
                  <a:pt x="1355581" y="1697458"/>
                </a:lnTo>
                <a:lnTo>
                  <a:pt x="1240593" y="1686150"/>
                </a:lnTo>
                <a:close/>
                <a:moveTo>
                  <a:pt x="7847880" y="1663016"/>
                </a:moveTo>
                <a:lnTo>
                  <a:pt x="7847780" y="1663140"/>
                </a:lnTo>
                <a:cubicBezTo>
                  <a:pt x="7847780" y="1663140"/>
                  <a:pt x="7847780" y="1663140"/>
                  <a:pt x="7843187" y="1666040"/>
                </a:cubicBezTo>
                <a:close/>
                <a:moveTo>
                  <a:pt x="5888368" y="1661582"/>
                </a:moveTo>
                <a:lnTo>
                  <a:pt x="5947745" y="1692506"/>
                </a:lnTo>
                <a:lnTo>
                  <a:pt x="5926033" y="1679415"/>
                </a:lnTo>
                <a:close/>
                <a:moveTo>
                  <a:pt x="12125881" y="1659984"/>
                </a:moveTo>
                <a:lnTo>
                  <a:pt x="12127684" y="1660723"/>
                </a:lnTo>
                <a:cubicBezTo>
                  <a:pt x="12130072" y="1660545"/>
                  <a:pt x="12130072" y="1660545"/>
                  <a:pt x="12130072" y="1660545"/>
                </a:cubicBezTo>
                <a:cubicBezTo>
                  <a:pt x="12130072" y="1660545"/>
                  <a:pt x="12130072" y="1660545"/>
                  <a:pt x="12132641" y="1662755"/>
                </a:cubicBezTo>
                <a:cubicBezTo>
                  <a:pt x="12130253" y="1662933"/>
                  <a:pt x="12127684" y="1660723"/>
                  <a:pt x="12127862" y="1663113"/>
                </a:cubicBezTo>
                <a:close/>
                <a:moveTo>
                  <a:pt x="12121197" y="1657374"/>
                </a:moveTo>
                <a:lnTo>
                  <a:pt x="12125479" y="1659349"/>
                </a:lnTo>
                <a:lnTo>
                  <a:pt x="12125881" y="1659984"/>
                </a:lnTo>
                <a:lnTo>
                  <a:pt x="12122726" y="1658691"/>
                </a:lnTo>
                <a:close/>
                <a:moveTo>
                  <a:pt x="12108878" y="1652983"/>
                </a:moveTo>
                <a:lnTo>
                  <a:pt x="12112781" y="1654212"/>
                </a:lnTo>
                <a:lnTo>
                  <a:pt x="12112811" y="1654627"/>
                </a:lnTo>
                <a:close/>
                <a:moveTo>
                  <a:pt x="12112633" y="1652237"/>
                </a:moveTo>
                <a:cubicBezTo>
                  <a:pt x="12115201" y="1654448"/>
                  <a:pt x="12117768" y="1656659"/>
                  <a:pt x="12120159" y="1656480"/>
                </a:cubicBezTo>
                <a:lnTo>
                  <a:pt x="12121197" y="1657374"/>
                </a:lnTo>
                <a:lnTo>
                  <a:pt x="12117701" y="1655763"/>
                </a:lnTo>
                <a:lnTo>
                  <a:pt x="12112781" y="1654212"/>
                </a:lnTo>
                <a:close/>
                <a:moveTo>
                  <a:pt x="1624616" y="1644976"/>
                </a:moveTo>
                <a:lnTo>
                  <a:pt x="1626230" y="1650353"/>
                </a:lnTo>
                <a:cubicBezTo>
                  <a:pt x="1625522" y="1653655"/>
                  <a:pt x="1627410" y="1655778"/>
                  <a:pt x="1629298" y="1657664"/>
                </a:cubicBezTo>
                <a:lnTo>
                  <a:pt x="1628882" y="1663751"/>
                </a:lnTo>
                <a:lnTo>
                  <a:pt x="1705819" y="1684982"/>
                </a:lnTo>
                <a:lnTo>
                  <a:pt x="1760201" y="1703428"/>
                </a:lnTo>
                <a:lnTo>
                  <a:pt x="1760561" y="1700555"/>
                </a:lnTo>
                <a:cubicBezTo>
                  <a:pt x="1762439" y="1693318"/>
                  <a:pt x="1770758" y="1695461"/>
                  <a:pt x="1773979" y="1690101"/>
                </a:cubicBezTo>
                <a:lnTo>
                  <a:pt x="1777976" y="1689976"/>
                </a:lnTo>
                <a:lnTo>
                  <a:pt x="1680131" y="1659294"/>
                </a:lnTo>
                <a:close/>
                <a:moveTo>
                  <a:pt x="6077418" y="1643024"/>
                </a:moveTo>
                <a:cubicBezTo>
                  <a:pt x="6072819" y="1658175"/>
                  <a:pt x="6110433" y="1675422"/>
                  <a:pt x="6132888" y="1688071"/>
                </a:cubicBezTo>
                <a:cubicBezTo>
                  <a:pt x="6145556" y="1704081"/>
                  <a:pt x="6162206" y="1717403"/>
                  <a:pt x="6180271" y="1731276"/>
                </a:cubicBezTo>
                <a:lnTo>
                  <a:pt x="6227322" y="1770443"/>
                </a:lnTo>
                <a:lnTo>
                  <a:pt x="6225014" y="1769544"/>
                </a:lnTo>
                <a:cubicBezTo>
                  <a:pt x="6220986" y="1773189"/>
                  <a:pt x="6224632" y="1777215"/>
                  <a:pt x="6228472" y="1777405"/>
                </a:cubicBezTo>
                <a:cubicBezTo>
                  <a:pt x="6228280" y="1781240"/>
                  <a:pt x="6228280" y="1781240"/>
                  <a:pt x="6228280" y="1781240"/>
                </a:cubicBezTo>
                <a:cubicBezTo>
                  <a:pt x="6187211" y="1756132"/>
                  <a:pt x="6138847" y="1722972"/>
                  <a:pt x="6105644" y="1694409"/>
                </a:cubicBezTo>
                <a:cubicBezTo>
                  <a:pt x="6079353" y="1681569"/>
                  <a:pt x="6049414" y="1664703"/>
                  <a:pt x="6026392" y="1663561"/>
                </a:cubicBezTo>
                <a:cubicBezTo>
                  <a:pt x="6115823" y="1721829"/>
                  <a:pt x="6182993" y="1763613"/>
                  <a:pt x="6238079" y="1816331"/>
                </a:cubicBezTo>
                <a:cubicBezTo>
                  <a:pt x="6260532" y="1828981"/>
                  <a:pt x="6290279" y="1849683"/>
                  <a:pt x="6304866" y="1865786"/>
                </a:cubicBezTo>
                <a:cubicBezTo>
                  <a:pt x="6285871" y="1860999"/>
                  <a:pt x="6300459" y="1877102"/>
                  <a:pt x="6292593" y="1880557"/>
                </a:cubicBezTo>
                <a:cubicBezTo>
                  <a:pt x="6299887" y="1888607"/>
                  <a:pt x="6303915" y="1884962"/>
                  <a:pt x="6315047" y="1893205"/>
                </a:cubicBezTo>
                <a:cubicBezTo>
                  <a:pt x="6329825" y="1905474"/>
                  <a:pt x="6300459" y="1877102"/>
                  <a:pt x="6319265" y="1885724"/>
                </a:cubicBezTo>
                <a:cubicBezTo>
                  <a:pt x="6359953" y="1918504"/>
                  <a:pt x="6385291" y="1950521"/>
                  <a:pt x="6430009" y="1979655"/>
                </a:cubicBezTo>
                <a:cubicBezTo>
                  <a:pt x="6436730" y="1999215"/>
                  <a:pt x="6458803" y="2019535"/>
                  <a:pt x="6477035" y="2039664"/>
                </a:cubicBezTo>
                <a:cubicBezTo>
                  <a:pt x="6499109" y="2059985"/>
                  <a:pt x="6521184" y="2080306"/>
                  <a:pt x="6535581" y="2100244"/>
                </a:cubicBezTo>
                <a:cubicBezTo>
                  <a:pt x="6520993" y="2084140"/>
                  <a:pt x="6516964" y="2087786"/>
                  <a:pt x="6513318" y="2083760"/>
                </a:cubicBezTo>
                <a:cubicBezTo>
                  <a:pt x="6516774" y="2091621"/>
                  <a:pt x="6512936" y="2091430"/>
                  <a:pt x="6512745" y="2095266"/>
                </a:cubicBezTo>
                <a:cubicBezTo>
                  <a:pt x="6534819" y="2115587"/>
                  <a:pt x="6534438" y="2123257"/>
                  <a:pt x="6552673" y="2143387"/>
                </a:cubicBezTo>
                <a:cubicBezTo>
                  <a:pt x="6556511" y="2143577"/>
                  <a:pt x="6560346" y="2143768"/>
                  <a:pt x="6563994" y="2147795"/>
                </a:cubicBezTo>
                <a:cubicBezTo>
                  <a:pt x="6568213" y="2140314"/>
                  <a:pt x="6561109" y="2128427"/>
                  <a:pt x="6572430" y="2132834"/>
                </a:cubicBezTo>
                <a:cubicBezTo>
                  <a:pt x="6590476" y="2156798"/>
                  <a:pt x="6601227" y="2172712"/>
                  <a:pt x="6619461" y="2192841"/>
                </a:cubicBezTo>
                <a:cubicBezTo>
                  <a:pt x="6634049" y="2208946"/>
                  <a:pt x="6648445" y="2228884"/>
                  <a:pt x="6677813" y="2257257"/>
                </a:cubicBezTo>
                <a:cubicBezTo>
                  <a:pt x="6677813" y="2257257"/>
                  <a:pt x="6681840" y="2253612"/>
                  <a:pt x="6685487" y="2257638"/>
                </a:cubicBezTo>
                <a:lnTo>
                  <a:pt x="6691580" y="2266907"/>
                </a:lnTo>
                <a:lnTo>
                  <a:pt x="6688771" y="2223084"/>
                </a:lnTo>
                <a:lnTo>
                  <a:pt x="6667332" y="2197141"/>
                </a:lnTo>
                <a:cubicBezTo>
                  <a:pt x="6655527" y="2183097"/>
                  <a:pt x="6643722" y="2169054"/>
                  <a:pt x="6629230" y="2151033"/>
                </a:cubicBezTo>
                <a:cubicBezTo>
                  <a:pt x="6618099" y="2142791"/>
                  <a:pt x="6610613" y="2138574"/>
                  <a:pt x="6603321" y="2130522"/>
                </a:cubicBezTo>
                <a:cubicBezTo>
                  <a:pt x="6570686" y="2090452"/>
                  <a:pt x="6534218" y="2050193"/>
                  <a:pt x="6493720" y="2013579"/>
                </a:cubicBezTo>
                <a:cubicBezTo>
                  <a:pt x="6475391" y="1995366"/>
                  <a:pt x="6457011" y="1978113"/>
                  <a:pt x="6439138" y="1960405"/>
                </a:cubicBezTo>
                <a:lnTo>
                  <a:pt x="6391362" y="1908599"/>
                </a:lnTo>
                <a:lnTo>
                  <a:pt x="6398708" y="1912738"/>
                </a:lnTo>
                <a:cubicBezTo>
                  <a:pt x="6398898" y="1908903"/>
                  <a:pt x="6399090" y="1905068"/>
                  <a:pt x="6391604" y="1900852"/>
                </a:cubicBezTo>
                <a:cubicBezTo>
                  <a:pt x="6391604" y="1900852"/>
                  <a:pt x="6387957" y="1896825"/>
                  <a:pt x="6387957" y="1896825"/>
                </a:cubicBezTo>
                <a:cubicBezTo>
                  <a:pt x="6388146" y="1892990"/>
                  <a:pt x="6391986" y="1893180"/>
                  <a:pt x="6391795" y="1897015"/>
                </a:cubicBezTo>
                <a:cubicBezTo>
                  <a:pt x="6421351" y="1921553"/>
                  <a:pt x="6457632" y="1965648"/>
                  <a:pt x="6494674" y="1994401"/>
                </a:cubicBezTo>
                <a:cubicBezTo>
                  <a:pt x="6502534" y="1990946"/>
                  <a:pt x="6506183" y="1994973"/>
                  <a:pt x="6499078" y="1983085"/>
                </a:cubicBezTo>
                <a:cubicBezTo>
                  <a:pt x="6491407" y="1982705"/>
                  <a:pt x="6480466" y="1970626"/>
                  <a:pt x="6469523" y="1958548"/>
                </a:cubicBezTo>
                <a:cubicBezTo>
                  <a:pt x="6477580" y="1951258"/>
                  <a:pt x="6443805" y="1934202"/>
                  <a:pt x="6425379" y="1917908"/>
                </a:cubicBezTo>
                <a:cubicBezTo>
                  <a:pt x="6377588" y="1873242"/>
                  <a:pt x="6330176" y="1820903"/>
                  <a:pt x="6274519" y="1779691"/>
                </a:cubicBezTo>
                <a:cubicBezTo>
                  <a:pt x="6267035" y="1775475"/>
                  <a:pt x="6263198" y="1775284"/>
                  <a:pt x="6255714" y="1771068"/>
                </a:cubicBezTo>
                <a:cubicBezTo>
                  <a:pt x="6237097" y="1758609"/>
                  <a:pt x="6204085" y="1726211"/>
                  <a:pt x="6188925" y="1721613"/>
                </a:cubicBezTo>
                <a:cubicBezTo>
                  <a:pt x="6192952" y="1717968"/>
                  <a:pt x="6193143" y="1714133"/>
                  <a:pt x="6181821" y="1709726"/>
                </a:cubicBezTo>
                <a:cubicBezTo>
                  <a:pt x="6178174" y="1705700"/>
                  <a:pt x="6148046" y="1692669"/>
                  <a:pt x="6148237" y="1688833"/>
                </a:cubicBezTo>
                <a:cubicBezTo>
                  <a:pt x="6151884" y="1692860"/>
                  <a:pt x="6152074" y="1689024"/>
                  <a:pt x="6155911" y="1689215"/>
                </a:cubicBezTo>
                <a:cubicBezTo>
                  <a:pt x="6126165" y="1668514"/>
                  <a:pt x="6107357" y="1659891"/>
                  <a:pt x="6077418" y="1643024"/>
                </a:cubicBezTo>
                <a:close/>
                <a:moveTo>
                  <a:pt x="11329355" y="1626097"/>
                </a:moveTo>
                <a:lnTo>
                  <a:pt x="11300277" y="1635142"/>
                </a:lnTo>
                <a:lnTo>
                  <a:pt x="11306517" y="1642970"/>
                </a:lnTo>
                <a:lnTo>
                  <a:pt x="11307007" y="1642790"/>
                </a:lnTo>
                <a:cubicBezTo>
                  <a:pt x="11313997" y="1639865"/>
                  <a:pt x="11323554" y="1639150"/>
                  <a:pt x="11330543" y="1636224"/>
                </a:cubicBezTo>
                <a:lnTo>
                  <a:pt x="11344214" y="1630503"/>
                </a:lnTo>
                <a:close/>
                <a:moveTo>
                  <a:pt x="5013373" y="1622666"/>
                </a:moveTo>
                <a:cubicBezTo>
                  <a:pt x="5006147" y="1622404"/>
                  <a:pt x="5000395" y="1621471"/>
                  <a:pt x="4995051" y="1629235"/>
                </a:cubicBezTo>
                <a:cubicBezTo>
                  <a:pt x="4997468" y="1642344"/>
                  <a:pt x="5009907" y="1638456"/>
                  <a:pt x="5017133" y="1638717"/>
                </a:cubicBezTo>
                <a:cubicBezTo>
                  <a:pt x="5170450" y="1639939"/>
                  <a:pt x="5319373" y="1662704"/>
                  <a:pt x="5467232" y="1694834"/>
                </a:cubicBezTo>
                <a:cubicBezTo>
                  <a:pt x="5472986" y="1695766"/>
                  <a:pt x="5478740" y="1696699"/>
                  <a:pt x="5484494" y="1697630"/>
                </a:cubicBezTo>
                <a:cubicBezTo>
                  <a:pt x="5492389" y="1699363"/>
                  <a:pt x="5498010" y="1703908"/>
                  <a:pt x="5493337" y="1713144"/>
                </a:cubicBezTo>
                <a:cubicBezTo>
                  <a:pt x="5491473" y="1724651"/>
                  <a:pt x="5485049" y="1722248"/>
                  <a:pt x="5477153" y="1720514"/>
                </a:cubicBezTo>
                <a:cubicBezTo>
                  <a:pt x="5448150" y="1712409"/>
                  <a:pt x="5418811" y="1706009"/>
                  <a:pt x="5389251" y="1700765"/>
                </a:cubicBezTo>
                <a:lnTo>
                  <a:pt x="5356133" y="1696011"/>
                </a:lnTo>
                <a:lnTo>
                  <a:pt x="5497172" y="1734144"/>
                </a:lnTo>
                <a:cubicBezTo>
                  <a:pt x="5722278" y="1810318"/>
                  <a:pt x="5928830" y="1926731"/>
                  <a:pt x="6108276" y="2074822"/>
                </a:cubicBezTo>
                <a:lnTo>
                  <a:pt x="6146858" y="2109890"/>
                </a:lnTo>
                <a:lnTo>
                  <a:pt x="6149367" y="2111743"/>
                </a:lnTo>
                <a:lnTo>
                  <a:pt x="6176331" y="2127293"/>
                </a:lnTo>
                <a:lnTo>
                  <a:pt x="6241887" y="2190772"/>
                </a:lnTo>
                <a:lnTo>
                  <a:pt x="6350117" y="2287711"/>
                </a:lnTo>
                <a:lnTo>
                  <a:pt x="6461731" y="2410512"/>
                </a:lnTo>
                <a:lnTo>
                  <a:pt x="6471242" y="2384680"/>
                </a:lnTo>
                <a:lnTo>
                  <a:pt x="6448551" y="2352402"/>
                </a:lnTo>
                <a:lnTo>
                  <a:pt x="6317077" y="2211359"/>
                </a:lnTo>
                <a:cubicBezTo>
                  <a:pt x="6289752" y="2185974"/>
                  <a:pt x="6264442" y="2158094"/>
                  <a:pt x="6238422" y="2132113"/>
                </a:cubicBezTo>
                <a:cubicBezTo>
                  <a:pt x="6235927" y="2130096"/>
                  <a:pt x="6232453" y="2128527"/>
                  <a:pt x="6230286" y="2126362"/>
                </a:cubicBezTo>
                <a:lnTo>
                  <a:pt x="6230166" y="2122666"/>
                </a:lnTo>
                <a:lnTo>
                  <a:pt x="6185979" y="2083352"/>
                </a:lnTo>
                <a:lnTo>
                  <a:pt x="6231235" y="2116002"/>
                </a:lnTo>
                <a:lnTo>
                  <a:pt x="6238420" y="2110045"/>
                </a:lnTo>
                <a:cubicBezTo>
                  <a:pt x="6241817" y="2109286"/>
                  <a:pt x="6245645" y="2109906"/>
                  <a:pt x="6249447" y="2111328"/>
                </a:cubicBezTo>
                <a:cubicBezTo>
                  <a:pt x="6266545" y="2117726"/>
                  <a:pt x="6280920" y="2128520"/>
                  <a:pt x="6291377" y="2141096"/>
                </a:cubicBezTo>
                <a:cubicBezTo>
                  <a:pt x="6324765" y="2176331"/>
                  <a:pt x="6360616" y="2210050"/>
                  <a:pt x="6394627" y="2245789"/>
                </a:cubicBezTo>
                <a:lnTo>
                  <a:pt x="6436562" y="2293242"/>
                </a:lnTo>
                <a:lnTo>
                  <a:pt x="6437768" y="2294418"/>
                </a:lnTo>
                <a:lnTo>
                  <a:pt x="6440279" y="2297454"/>
                </a:lnTo>
                <a:lnTo>
                  <a:pt x="6443729" y="2301354"/>
                </a:lnTo>
                <a:lnTo>
                  <a:pt x="6444971" y="2303119"/>
                </a:lnTo>
                <a:lnTo>
                  <a:pt x="6483937" y="2350194"/>
                </a:lnTo>
                <a:lnTo>
                  <a:pt x="6488663" y="2337349"/>
                </a:lnTo>
                <a:lnTo>
                  <a:pt x="6433933" y="2261706"/>
                </a:lnTo>
                <a:lnTo>
                  <a:pt x="6285011" y="2099996"/>
                </a:lnTo>
                <a:lnTo>
                  <a:pt x="6267052" y="2081952"/>
                </a:lnTo>
                <a:cubicBezTo>
                  <a:pt x="6262499" y="2077809"/>
                  <a:pt x="6257211" y="2073999"/>
                  <a:pt x="6252693" y="2068951"/>
                </a:cubicBezTo>
                <a:lnTo>
                  <a:pt x="6251057" y="2065525"/>
                </a:lnTo>
                <a:lnTo>
                  <a:pt x="6061716" y="1909575"/>
                </a:lnTo>
                <a:cubicBezTo>
                  <a:pt x="5991321" y="1859387"/>
                  <a:pt x="5916639" y="1813562"/>
                  <a:pt x="5837514" y="1772266"/>
                </a:cubicBezTo>
                <a:lnTo>
                  <a:pt x="5717199" y="1719450"/>
                </a:lnTo>
                <a:lnTo>
                  <a:pt x="5584900" y="1679208"/>
                </a:lnTo>
                <a:cubicBezTo>
                  <a:pt x="5537180" y="1666082"/>
                  <a:pt x="5488942" y="1654747"/>
                  <a:pt x="5440035" y="1646823"/>
                </a:cubicBezTo>
                <a:cubicBezTo>
                  <a:pt x="5414210" y="1640822"/>
                  <a:pt x="5391457" y="1629868"/>
                  <a:pt x="5365518" y="1647015"/>
                </a:cubicBezTo>
                <a:cubicBezTo>
                  <a:pt x="5350677" y="1657328"/>
                  <a:pt x="5329263" y="1649316"/>
                  <a:pt x="5310532" y="1647190"/>
                </a:cubicBezTo>
                <a:cubicBezTo>
                  <a:pt x="5212050" y="1629873"/>
                  <a:pt x="5112378" y="1625532"/>
                  <a:pt x="5013373" y="1622666"/>
                </a:cubicBezTo>
                <a:close/>
                <a:moveTo>
                  <a:pt x="5786006" y="1611402"/>
                </a:moveTo>
                <a:lnTo>
                  <a:pt x="5786068" y="1611427"/>
                </a:lnTo>
                <a:lnTo>
                  <a:pt x="5786068" y="1611402"/>
                </a:lnTo>
                <a:close/>
                <a:moveTo>
                  <a:pt x="1093926" y="1607896"/>
                </a:moveTo>
                <a:cubicBezTo>
                  <a:pt x="1030229" y="1605725"/>
                  <a:pt x="966215" y="1606799"/>
                  <a:pt x="901810" y="1611873"/>
                </a:cubicBezTo>
                <a:lnTo>
                  <a:pt x="840924" y="1618840"/>
                </a:lnTo>
                <a:lnTo>
                  <a:pt x="843366" y="1626503"/>
                </a:lnTo>
                <a:cubicBezTo>
                  <a:pt x="842445" y="1629572"/>
                  <a:pt x="843366" y="1632945"/>
                  <a:pt x="846438" y="1634787"/>
                </a:cubicBezTo>
                <a:cubicBezTo>
                  <a:pt x="846438" y="1636012"/>
                  <a:pt x="846438" y="1637239"/>
                  <a:pt x="846438" y="1638466"/>
                </a:cubicBezTo>
                <a:cubicBezTo>
                  <a:pt x="843673" y="1640000"/>
                  <a:pt x="842445" y="1641841"/>
                  <a:pt x="842751" y="1645828"/>
                </a:cubicBezTo>
                <a:lnTo>
                  <a:pt x="842591" y="1646042"/>
                </a:lnTo>
                <a:lnTo>
                  <a:pt x="923277" y="1638023"/>
                </a:lnTo>
                <a:cubicBezTo>
                  <a:pt x="1047793" y="1630217"/>
                  <a:pt x="1172700" y="1632168"/>
                  <a:pt x="1298386" y="1647780"/>
                </a:cubicBezTo>
                <a:cubicBezTo>
                  <a:pt x="1342493" y="1653635"/>
                  <a:pt x="1386308" y="1660563"/>
                  <a:pt x="1429781" y="1668711"/>
                </a:cubicBezTo>
                <a:lnTo>
                  <a:pt x="1539651" y="1692705"/>
                </a:lnTo>
                <a:lnTo>
                  <a:pt x="1540816" y="1691624"/>
                </a:lnTo>
                <a:cubicBezTo>
                  <a:pt x="1542939" y="1689501"/>
                  <a:pt x="1544119" y="1686671"/>
                  <a:pt x="1541996" y="1684313"/>
                </a:cubicBezTo>
                <a:cubicBezTo>
                  <a:pt x="1540108" y="1682427"/>
                  <a:pt x="1537513" y="1684313"/>
                  <a:pt x="1535625" y="1685728"/>
                </a:cubicBezTo>
                <a:cubicBezTo>
                  <a:pt x="1533974" y="1686907"/>
                  <a:pt x="1532793" y="1689030"/>
                  <a:pt x="1530670" y="1689737"/>
                </a:cubicBezTo>
                <a:cubicBezTo>
                  <a:pt x="1527602" y="1690916"/>
                  <a:pt x="1525715" y="1690445"/>
                  <a:pt x="1525950" y="1686671"/>
                </a:cubicBezTo>
                <a:cubicBezTo>
                  <a:pt x="1526187" y="1681483"/>
                  <a:pt x="1528311" y="1677238"/>
                  <a:pt x="1531142" y="1673229"/>
                </a:cubicBezTo>
                <a:lnTo>
                  <a:pt x="1531142" y="1666469"/>
                </a:lnTo>
                <a:lnTo>
                  <a:pt x="1472889" y="1653805"/>
                </a:lnTo>
                <a:cubicBezTo>
                  <a:pt x="1347446" y="1629558"/>
                  <a:pt x="1221320" y="1612238"/>
                  <a:pt x="1093926" y="1607896"/>
                </a:cubicBezTo>
                <a:close/>
                <a:moveTo>
                  <a:pt x="11301516" y="1604577"/>
                </a:moveTo>
                <a:lnTo>
                  <a:pt x="11301162" y="1604783"/>
                </a:lnTo>
                <a:lnTo>
                  <a:pt x="11281366" y="1611416"/>
                </a:lnTo>
                <a:lnTo>
                  <a:pt x="11292353" y="1625201"/>
                </a:lnTo>
                <a:lnTo>
                  <a:pt x="11315108" y="1618298"/>
                </a:lnTo>
                <a:close/>
                <a:moveTo>
                  <a:pt x="5818474" y="1603296"/>
                </a:moveTo>
                <a:lnTo>
                  <a:pt x="5822072" y="1604196"/>
                </a:lnTo>
                <a:cubicBezTo>
                  <a:pt x="5822072" y="1604196"/>
                  <a:pt x="5822072" y="1604196"/>
                  <a:pt x="5818474" y="1604197"/>
                </a:cubicBezTo>
                <a:close/>
                <a:moveTo>
                  <a:pt x="11443269" y="1601367"/>
                </a:moveTo>
                <a:cubicBezTo>
                  <a:pt x="11443269" y="1601367"/>
                  <a:pt x="11440879" y="1601545"/>
                  <a:pt x="11438669" y="1604113"/>
                </a:cubicBezTo>
                <a:cubicBezTo>
                  <a:pt x="11433890" y="1604470"/>
                  <a:pt x="11431500" y="1604649"/>
                  <a:pt x="11429110" y="1604828"/>
                </a:cubicBezTo>
                <a:cubicBezTo>
                  <a:pt x="11431322" y="1602260"/>
                  <a:pt x="11433712" y="1602081"/>
                  <a:pt x="11436101" y="1601902"/>
                </a:cubicBezTo>
                <a:cubicBezTo>
                  <a:pt x="11436101" y="1601902"/>
                  <a:pt x="11436101" y="1601902"/>
                  <a:pt x="11438490" y="1601724"/>
                </a:cubicBezTo>
                <a:cubicBezTo>
                  <a:pt x="11440879" y="1601545"/>
                  <a:pt x="11440879" y="1601545"/>
                  <a:pt x="11440879" y="1601545"/>
                </a:cubicBezTo>
                <a:close/>
                <a:moveTo>
                  <a:pt x="3850133" y="1600633"/>
                </a:moveTo>
                <a:cubicBezTo>
                  <a:pt x="3850133" y="1600633"/>
                  <a:pt x="3850133" y="1600633"/>
                  <a:pt x="3853369" y="1602700"/>
                </a:cubicBezTo>
                <a:lnTo>
                  <a:pt x="3842616" y="1606720"/>
                </a:lnTo>
                <a:close/>
                <a:moveTo>
                  <a:pt x="5807670" y="1600592"/>
                </a:moveTo>
                <a:cubicBezTo>
                  <a:pt x="5796870" y="1604197"/>
                  <a:pt x="5818472" y="1611402"/>
                  <a:pt x="5818474" y="1618609"/>
                </a:cubicBezTo>
                <a:cubicBezTo>
                  <a:pt x="5800471" y="1611402"/>
                  <a:pt x="5796870" y="1615007"/>
                  <a:pt x="5789670" y="1611403"/>
                </a:cubicBezTo>
                <a:lnTo>
                  <a:pt x="5788641" y="1612432"/>
                </a:lnTo>
                <a:lnTo>
                  <a:pt x="5810097" y="1620819"/>
                </a:lnTo>
                <a:lnTo>
                  <a:pt x="5851378" y="1642319"/>
                </a:lnTo>
                <a:lnTo>
                  <a:pt x="5853574" y="1635726"/>
                </a:lnTo>
                <a:cubicBezTo>
                  <a:pt x="5856276" y="1634825"/>
                  <a:pt x="5859876" y="1634824"/>
                  <a:pt x="5861676" y="1633022"/>
                </a:cubicBezTo>
                <a:cubicBezTo>
                  <a:pt x="5858075" y="1625817"/>
                  <a:pt x="5850875" y="1622212"/>
                  <a:pt x="5843675" y="1615007"/>
                </a:cubicBezTo>
                <a:cubicBezTo>
                  <a:pt x="5847273" y="1618609"/>
                  <a:pt x="5850874" y="1618609"/>
                  <a:pt x="5850874" y="1618609"/>
                </a:cubicBezTo>
                <a:cubicBezTo>
                  <a:pt x="5854476" y="1622213"/>
                  <a:pt x="5854476" y="1622213"/>
                  <a:pt x="5858075" y="1622213"/>
                </a:cubicBezTo>
                <a:cubicBezTo>
                  <a:pt x="5858075" y="1618609"/>
                  <a:pt x="5854475" y="1618609"/>
                  <a:pt x="5854475" y="1618609"/>
                </a:cubicBezTo>
                <a:cubicBezTo>
                  <a:pt x="5850875" y="1615007"/>
                  <a:pt x="5847277" y="1615007"/>
                  <a:pt x="5847277" y="1615007"/>
                </a:cubicBezTo>
                <a:cubicBezTo>
                  <a:pt x="5847277" y="1615007"/>
                  <a:pt x="5843675" y="1611403"/>
                  <a:pt x="5843675" y="1611403"/>
                </a:cubicBezTo>
                <a:cubicBezTo>
                  <a:pt x="5836475" y="1607800"/>
                  <a:pt x="5829273" y="1604197"/>
                  <a:pt x="5825672" y="1600593"/>
                </a:cubicBezTo>
                <a:cubicBezTo>
                  <a:pt x="5825672" y="1600593"/>
                  <a:pt x="5825672" y="1600593"/>
                  <a:pt x="5822072" y="1600593"/>
                </a:cubicBezTo>
                <a:cubicBezTo>
                  <a:pt x="5822072" y="1600593"/>
                  <a:pt x="5818474" y="1600593"/>
                  <a:pt x="5818474" y="1600593"/>
                </a:cubicBezTo>
                <a:lnTo>
                  <a:pt x="5818474" y="1603296"/>
                </a:lnTo>
                <a:lnTo>
                  <a:pt x="5814872" y="1602395"/>
                </a:lnTo>
                <a:cubicBezTo>
                  <a:pt x="5813073" y="1602395"/>
                  <a:pt x="5811270" y="1602395"/>
                  <a:pt x="5807670" y="1600592"/>
                </a:cubicBezTo>
                <a:close/>
                <a:moveTo>
                  <a:pt x="12017190" y="1596902"/>
                </a:moveTo>
                <a:cubicBezTo>
                  <a:pt x="12017190" y="1596902"/>
                  <a:pt x="12017190" y="1596902"/>
                  <a:pt x="12014802" y="1597080"/>
                </a:cubicBezTo>
                <a:cubicBezTo>
                  <a:pt x="12012412" y="1597258"/>
                  <a:pt x="12012412" y="1597258"/>
                  <a:pt x="12012412" y="1597258"/>
                </a:cubicBezTo>
                <a:lnTo>
                  <a:pt x="12011728" y="1596978"/>
                </a:lnTo>
                <a:close/>
                <a:moveTo>
                  <a:pt x="5729195" y="1588094"/>
                </a:moveTo>
                <a:lnTo>
                  <a:pt x="5727368" y="1588484"/>
                </a:lnTo>
                <a:lnTo>
                  <a:pt x="5750519" y="1597531"/>
                </a:lnTo>
                <a:lnTo>
                  <a:pt x="5741513" y="1592486"/>
                </a:lnTo>
                <a:cubicBezTo>
                  <a:pt x="5736788" y="1590233"/>
                  <a:pt x="5732626" y="1588657"/>
                  <a:pt x="5729195" y="1588094"/>
                </a:cubicBezTo>
                <a:close/>
                <a:moveTo>
                  <a:pt x="6445161" y="1583619"/>
                </a:moveTo>
                <a:cubicBezTo>
                  <a:pt x="6458401" y="1592444"/>
                  <a:pt x="6449574" y="1592446"/>
                  <a:pt x="6458402" y="1601272"/>
                </a:cubicBezTo>
                <a:cubicBezTo>
                  <a:pt x="6467224" y="1605686"/>
                  <a:pt x="6453988" y="1592446"/>
                  <a:pt x="6467224" y="1596859"/>
                </a:cubicBezTo>
                <a:cubicBezTo>
                  <a:pt x="6476055" y="1610098"/>
                  <a:pt x="6489293" y="1614513"/>
                  <a:pt x="6493708" y="1623339"/>
                </a:cubicBezTo>
                <a:cubicBezTo>
                  <a:pt x="6489293" y="1618926"/>
                  <a:pt x="6484877" y="1614513"/>
                  <a:pt x="6480468" y="1614513"/>
                </a:cubicBezTo>
                <a:cubicBezTo>
                  <a:pt x="6502530" y="1632165"/>
                  <a:pt x="6529013" y="1654232"/>
                  <a:pt x="6559906" y="1676299"/>
                </a:cubicBezTo>
                <a:cubicBezTo>
                  <a:pt x="6590799" y="1698366"/>
                  <a:pt x="6621689" y="1720433"/>
                  <a:pt x="6648172" y="1738086"/>
                </a:cubicBezTo>
                <a:cubicBezTo>
                  <a:pt x="6643759" y="1738086"/>
                  <a:pt x="6643759" y="1742499"/>
                  <a:pt x="6648172" y="1746913"/>
                </a:cubicBezTo>
                <a:cubicBezTo>
                  <a:pt x="6674652" y="1768979"/>
                  <a:pt x="6696717" y="1786632"/>
                  <a:pt x="6718784" y="1813113"/>
                </a:cubicBezTo>
                <a:cubicBezTo>
                  <a:pt x="6727610" y="1808699"/>
                  <a:pt x="6736436" y="1830765"/>
                  <a:pt x="6745263" y="1839593"/>
                </a:cubicBezTo>
                <a:cubicBezTo>
                  <a:pt x="6749678" y="1844006"/>
                  <a:pt x="6754092" y="1839593"/>
                  <a:pt x="6758503" y="1848420"/>
                </a:cubicBezTo>
                <a:cubicBezTo>
                  <a:pt x="6762917" y="1848420"/>
                  <a:pt x="6767331" y="1861660"/>
                  <a:pt x="6776157" y="1870486"/>
                </a:cubicBezTo>
                <a:cubicBezTo>
                  <a:pt x="6789396" y="1883726"/>
                  <a:pt x="6807051" y="1896966"/>
                  <a:pt x="6820290" y="1910206"/>
                </a:cubicBezTo>
                <a:cubicBezTo>
                  <a:pt x="6837943" y="1927860"/>
                  <a:pt x="6842356" y="1927860"/>
                  <a:pt x="6860009" y="1949926"/>
                </a:cubicBezTo>
                <a:lnTo>
                  <a:pt x="6881151" y="1971614"/>
                </a:lnTo>
                <a:lnTo>
                  <a:pt x="6931108" y="1901353"/>
                </a:lnTo>
                <a:lnTo>
                  <a:pt x="6873248" y="1857246"/>
                </a:lnTo>
                <a:cubicBezTo>
                  <a:pt x="6824703" y="1826353"/>
                  <a:pt x="6780571" y="1795460"/>
                  <a:pt x="6736436" y="1764566"/>
                </a:cubicBezTo>
                <a:cubicBezTo>
                  <a:pt x="6736436" y="1755738"/>
                  <a:pt x="6740851" y="1755739"/>
                  <a:pt x="6749678" y="1755739"/>
                </a:cubicBezTo>
                <a:cubicBezTo>
                  <a:pt x="6709956" y="1733672"/>
                  <a:pt x="6683479" y="1716019"/>
                  <a:pt x="6652584" y="1702780"/>
                </a:cubicBezTo>
                <a:cubicBezTo>
                  <a:pt x="6621689" y="1685126"/>
                  <a:pt x="6590799" y="1671886"/>
                  <a:pt x="6551080" y="1645405"/>
                </a:cubicBezTo>
                <a:cubicBezTo>
                  <a:pt x="6555492" y="1649819"/>
                  <a:pt x="6555492" y="1649819"/>
                  <a:pt x="6555490" y="1645405"/>
                </a:cubicBezTo>
                <a:cubicBezTo>
                  <a:pt x="6555490" y="1645405"/>
                  <a:pt x="6555492" y="1640991"/>
                  <a:pt x="6551080" y="1636580"/>
                </a:cubicBezTo>
                <a:cubicBezTo>
                  <a:pt x="6551080" y="1632165"/>
                  <a:pt x="6551080" y="1632165"/>
                  <a:pt x="6551080" y="1632165"/>
                </a:cubicBezTo>
                <a:cubicBezTo>
                  <a:pt x="6542255" y="1627752"/>
                  <a:pt x="6533424" y="1618926"/>
                  <a:pt x="6529013" y="1623339"/>
                </a:cubicBezTo>
                <a:cubicBezTo>
                  <a:pt x="6529013" y="1618926"/>
                  <a:pt x="6524602" y="1614513"/>
                  <a:pt x="6520186" y="1614513"/>
                </a:cubicBezTo>
                <a:cubicBezTo>
                  <a:pt x="6515773" y="1610098"/>
                  <a:pt x="6515773" y="1614513"/>
                  <a:pt x="6515773" y="1614513"/>
                </a:cubicBezTo>
                <a:cubicBezTo>
                  <a:pt x="6515773" y="1618926"/>
                  <a:pt x="6515773" y="1618926"/>
                  <a:pt x="6515773" y="1618926"/>
                </a:cubicBezTo>
                <a:cubicBezTo>
                  <a:pt x="6493708" y="1601272"/>
                  <a:pt x="6480469" y="1601272"/>
                  <a:pt x="6458402" y="1583619"/>
                </a:cubicBezTo>
                <a:cubicBezTo>
                  <a:pt x="6458402" y="1596859"/>
                  <a:pt x="6449574" y="1583619"/>
                  <a:pt x="6445161" y="1583619"/>
                </a:cubicBezTo>
                <a:close/>
                <a:moveTo>
                  <a:pt x="1284334" y="1582209"/>
                </a:moveTo>
                <a:cubicBezTo>
                  <a:pt x="1284335" y="1599384"/>
                  <a:pt x="1298386" y="1596260"/>
                  <a:pt x="1307754" y="1597821"/>
                </a:cubicBezTo>
                <a:lnTo>
                  <a:pt x="1535475" y="1641297"/>
                </a:lnTo>
                <a:lnTo>
                  <a:pt x="1538692" y="1635732"/>
                </a:lnTo>
                <a:cubicBezTo>
                  <a:pt x="1541288" y="1633609"/>
                  <a:pt x="1541524" y="1631958"/>
                  <a:pt x="1538928" y="1630072"/>
                </a:cubicBezTo>
                <a:cubicBezTo>
                  <a:pt x="1537513" y="1629128"/>
                  <a:pt x="1536569" y="1628186"/>
                  <a:pt x="1537040" y="1626299"/>
                </a:cubicBezTo>
                <a:cubicBezTo>
                  <a:pt x="1537513" y="1623705"/>
                  <a:pt x="1539401" y="1624176"/>
                  <a:pt x="1541051" y="1623705"/>
                </a:cubicBezTo>
                <a:lnTo>
                  <a:pt x="1541754" y="1623604"/>
                </a:lnTo>
                <a:lnTo>
                  <a:pt x="1524925" y="1619264"/>
                </a:lnTo>
                <a:cubicBezTo>
                  <a:pt x="1472767" y="1607384"/>
                  <a:pt x="1420169" y="1597041"/>
                  <a:pt x="1367084" y="1588454"/>
                </a:cubicBezTo>
                <a:cubicBezTo>
                  <a:pt x="1340542" y="1585331"/>
                  <a:pt x="1312438" y="1577525"/>
                  <a:pt x="1284334" y="1582209"/>
                </a:cubicBezTo>
                <a:close/>
                <a:moveTo>
                  <a:pt x="11263868" y="1571431"/>
                </a:moveTo>
                <a:lnTo>
                  <a:pt x="11253650" y="1575897"/>
                </a:lnTo>
                <a:lnTo>
                  <a:pt x="11253252" y="1576142"/>
                </a:lnTo>
                <a:lnTo>
                  <a:pt x="11254953" y="1578278"/>
                </a:lnTo>
                <a:lnTo>
                  <a:pt x="11256793" y="1577764"/>
                </a:lnTo>
                <a:cubicBezTo>
                  <a:pt x="11258773" y="1576116"/>
                  <a:pt x="11261027" y="1574144"/>
                  <a:pt x="11265806" y="1573787"/>
                </a:cubicBezTo>
                <a:lnTo>
                  <a:pt x="11266135" y="1573407"/>
                </a:lnTo>
                <a:close/>
                <a:moveTo>
                  <a:pt x="11625824" y="1568495"/>
                </a:moveTo>
                <a:cubicBezTo>
                  <a:pt x="11626002" y="1570885"/>
                  <a:pt x="11626002" y="1570885"/>
                  <a:pt x="11626002" y="1570885"/>
                </a:cubicBezTo>
                <a:cubicBezTo>
                  <a:pt x="11623613" y="1571063"/>
                  <a:pt x="11623613" y="1571063"/>
                  <a:pt x="11623613" y="1571063"/>
                </a:cubicBezTo>
                <a:cubicBezTo>
                  <a:pt x="11626002" y="1570885"/>
                  <a:pt x="11625824" y="1568495"/>
                  <a:pt x="11625824" y="1568495"/>
                </a:cubicBezTo>
                <a:close/>
                <a:moveTo>
                  <a:pt x="2526989" y="1561572"/>
                </a:moveTo>
                <a:cubicBezTo>
                  <a:pt x="2530161" y="1561608"/>
                  <a:pt x="2533189" y="1562400"/>
                  <a:pt x="2535640" y="1565856"/>
                </a:cubicBezTo>
                <a:cubicBezTo>
                  <a:pt x="2536504" y="1567008"/>
                  <a:pt x="2538235" y="1568448"/>
                  <a:pt x="2540542" y="1568448"/>
                </a:cubicBezTo>
                <a:cubicBezTo>
                  <a:pt x="2543714" y="1568160"/>
                  <a:pt x="2545445" y="1569889"/>
                  <a:pt x="2546021" y="1573057"/>
                </a:cubicBezTo>
                <a:cubicBezTo>
                  <a:pt x="2546598" y="1575073"/>
                  <a:pt x="2548040" y="1576225"/>
                  <a:pt x="2549482" y="1577665"/>
                </a:cubicBezTo>
                <a:cubicBezTo>
                  <a:pt x="2553231" y="1581121"/>
                  <a:pt x="2554962" y="1585154"/>
                  <a:pt x="2553520" y="1590338"/>
                </a:cubicBezTo>
                <a:cubicBezTo>
                  <a:pt x="2552655" y="1593218"/>
                  <a:pt x="2553520" y="1596387"/>
                  <a:pt x="2556404" y="1598115"/>
                </a:cubicBezTo>
                <a:cubicBezTo>
                  <a:pt x="2556404" y="1599266"/>
                  <a:pt x="2556404" y="1600419"/>
                  <a:pt x="2556404" y="1601571"/>
                </a:cubicBezTo>
                <a:cubicBezTo>
                  <a:pt x="2553808" y="1603011"/>
                  <a:pt x="2552655" y="1604739"/>
                  <a:pt x="2552942" y="1608483"/>
                </a:cubicBezTo>
                <a:cubicBezTo>
                  <a:pt x="2553231" y="1613668"/>
                  <a:pt x="2550924" y="1617700"/>
                  <a:pt x="2545156" y="1618853"/>
                </a:cubicBezTo>
                <a:cubicBezTo>
                  <a:pt x="2542561" y="1619140"/>
                  <a:pt x="2543138" y="1621156"/>
                  <a:pt x="2543138" y="1622885"/>
                </a:cubicBezTo>
                <a:cubicBezTo>
                  <a:pt x="2543138" y="1625765"/>
                  <a:pt x="2541984" y="1626341"/>
                  <a:pt x="2539677" y="1624324"/>
                </a:cubicBezTo>
                <a:cubicBezTo>
                  <a:pt x="2536216" y="1621445"/>
                  <a:pt x="2533909" y="1621445"/>
                  <a:pt x="2533044" y="1626341"/>
                </a:cubicBezTo>
                <a:cubicBezTo>
                  <a:pt x="2532756" y="1627493"/>
                  <a:pt x="2531891" y="1628934"/>
                  <a:pt x="2530737" y="1627493"/>
                </a:cubicBezTo>
                <a:cubicBezTo>
                  <a:pt x="2526988" y="1623748"/>
                  <a:pt x="2524393" y="1626053"/>
                  <a:pt x="2521509" y="1628645"/>
                </a:cubicBezTo>
                <a:cubicBezTo>
                  <a:pt x="2521220" y="1629221"/>
                  <a:pt x="2520067" y="1629221"/>
                  <a:pt x="2519489" y="1629221"/>
                </a:cubicBezTo>
                <a:cubicBezTo>
                  <a:pt x="2512568" y="1625189"/>
                  <a:pt x="2505935" y="1620580"/>
                  <a:pt x="2499014" y="1616260"/>
                </a:cubicBezTo>
                <a:cubicBezTo>
                  <a:pt x="2495841" y="1614244"/>
                  <a:pt x="2494112" y="1608772"/>
                  <a:pt x="2492670" y="1604452"/>
                </a:cubicBezTo>
                <a:cubicBezTo>
                  <a:pt x="2492093" y="1602723"/>
                  <a:pt x="2492381" y="1600995"/>
                  <a:pt x="2490651" y="1599555"/>
                </a:cubicBezTo>
                <a:cubicBezTo>
                  <a:pt x="2488920" y="1598115"/>
                  <a:pt x="2489209" y="1596387"/>
                  <a:pt x="2490362" y="1594658"/>
                </a:cubicBezTo>
                <a:cubicBezTo>
                  <a:pt x="2490939" y="1593506"/>
                  <a:pt x="2492093" y="1592066"/>
                  <a:pt x="2491228" y="1590914"/>
                </a:cubicBezTo>
                <a:cubicBezTo>
                  <a:pt x="2488344" y="1587458"/>
                  <a:pt x="2488055" y="1584865"/>
                  <a:pt x="2492670" y="1583138"/>
                </a:cubicBezTo>
                <a:cubicBezTo>
                  <a:pt x="2493823" y="1582849"/>
                  <a:pt x="2494112" y="1581121"/>
                  <a:pt x="2492958" y="1580257"/>
                </a:cubicBezTo>
                <a:cubicBezTo>
                  <a:pt x="2489209" y="1577089"/>
                  <a:pt x="2493246" y="1575649"/>
                  <a:pt x="2493823" y="1573344"/>
                </a:cubicBezTo>
                <a:cubicBezTo>
                  <a:pt x="2495841" y="1565568"/>
                  <a:pt x="2504782" y="1567872"/>
                  <a:pt x="2508243" y="1562111"/>
                </a:cubicBezTo>
                <a:cubicBezTo>
                  <a:pt x="2509397" y="1560096"/>
                  <a:pt x="2514876" y="1561535"/>
                  <a:pt x="2517471" y="1561824"/>
                </a:cubicBezTo>
                <a:cubicBezTo>
                  <a:pt x="2520500" y="1562256"/>
                  <a:pt x="2523816" y="1561536"/>
                  <a:pt x="2526989" y="1561572"/>
                </a:cubicBezTo>
                <a:close/>
                <a:moveTo>
                  <a:pt x="11737946" y="1557710"/>
                </a:moveTo>
                <a:cubicBezTo>
                  <a:pt x="11737946" y="1557710"/>
                  <a:pt x="11737946" y="1557710"/>
                  <a:pt x="11735556" y="1557889"/>
                </a:cubicBezTo>
                <a:lnTo>
                  <a:pt x="11735549" y="1557776"/>
                </a:lnTo>
                <a:close/>
                <a:moveTo>
                  <a:pt x="11740157" y="1555142"/>
                </a:moveTo>
                <a:lnTo>
                  <a:pt x="11740023" y="1555298"/>
                </a:lnTo>
                <a:lnTo>
                  <a:pt x="11737766" y="1555321"/>
                </a:lnTo>
                <a:cubicBezTo>
                  <a:pt x="11737766" y="1555321"/>
                  <a:pt x="11737766" y="1555321"/>
                  <a:pt x="11740157" y="1555142"/>
                </a:cubicBezTo>
                <a:close/>
                <a:moveTo>
                  <a:pt x="11245767" y="1554323"/>
                </a:moveTo>
                <a:lnTo>
                  <a:pt x="11236367" y="1558672"/>
                </a:lnTo>
                <a:lnTo>
                  <a:pt x="11242962" y="1564701"/>
                </a:lnTo>
                <a:lnTo>
                  <a:pt x="11252069" y="1561090"/>
                </a:lnTo>
                <a:close/>
                <a:moveTo>
                  <a:pt x="11702451" y="1548951"/>
                </a:moveTo>
                <a:cubicBezTo>
                  <a:pt x="11709708" y="1549609"/>
                  <a:pt x="11717011" y="1550866"/>
                  <a:pt x="11723074" y="1551613"/>
                </a:cubicBezTo>
                <a:cubicBezTo>
                  <a:pt x="11720684" y="1551792"/>
                  <a:pt x="11720684" y="1551792"/>
                  <a:pt x="11720863" y="1554182"/>
                </a:cubicBezTo>
                <a:cubicBezTo>
                  <a:pt x="11720863" y="1554182"/>
                  <a:pt x="11723253" y="1554003"/>
                  <a:pt x="11723253" y="1554003"/>
                </a:cubicBezTo>
                <a:cubicBezTo>
                  <a:pt x="11732987" y="1555678"/>
                  <a:pt x="11732987" y="1555678"/>
                  <a:pt x="11732987" y="1555678"/>
                </a:cubicBezTo>
                <a:cubicBezTo>
                  <a:pt x="11735379" y="1555499"/>
                  <a:pt x="11735379" y="1555499"/>
                  <a:pt x="11735379" y="1555499"/>
                </a:cubicBezTo>
                <a:lnTo>
                  <a:pt x="11735549" y="1557776"/>
                </a:lnTo>
                <a:lnTo>
                  <a:pt x="11731613" y="1557883"/>
                </a:lnTo>
                <a:cubicBezTo>
                  <a:pt x="11727537" y="1559089"/>
                  <a:pt x="11728700" y="1562606"/>
                  <a:pt x="11721399" y="1561350"/>
                </a:cubicBezTo>
                <a:cubicBezTo>
                  <a:pt x="11721218" y="1558961"/>
                  <a:pt x="11721218" y="1558961"/>
                  <a:pt x="11718831" y="1559139"/>
                </a:cubicBezTo>
                <a:cubicBezTo>
                  <a:pt x="11716442" y="1559318"/>
                  <a:pt x="11716442" y="1559318"/>
                  <a:pt x="11716442" y="1559318"/>
                </a:cubicBezTo>
                <a:cubicBezTo>
                  <a:pt x="11716263" y="1556929"/>
                  <a:pt x="11716263" y="1556929"/>
                  <a:pt x="11713872" y="1557107"/>
                </a:cubicBezTo>
                <a:cubicBezTo>
                  <a:pt x="11713872" y="1557107"/>
                  <a:pt x="11713872" y="1557107"/>
                  <a:pt x="11711484" y="1557285"/>
                </a:cubicBezTo>
                <a:cubicBezTo>
                  <a:pt x="11711662" y="1559675"/>
                  <a:pt x="11714052" y="1559497"/>
                  <a:pt x="11711662" y="1559675"/>
                </a:cubicBezTo>
                <a:cubicBezTo>
                  <a:pt x="11704495" y="1560212"/>
                  <a:pt x="11697146" y="1558358"/>
                  <a:pt x="11692726" y="1563494"/>
                </a:cubicBezTo>
                <a:cubicBezTo>
                  <a:pt x="11694936" y="1560926"/>
                  <a:pt x="11694936" y="1560926"/>
                  <a:pt x="11692548" y="1561105"/>
                </a:cubicBezTo>
                <a:cubicBezTo>
                  <a:pt x="11689979" y="1558893"/>
                  <a:pt x="11687768" y="1561461"/>
                  <a:pt x="11687768" y="1561461"/>
                </a:cubicBezTo>
                <a:cubicBezTo>
                  <a:pt x="11687768" y="1561461"/>
                  <a:pt x="11687768" y="1561461"/>
                  <a:pt x="11685380" y="1561641"/>
                </a:cubicBezTo>
                <a:cubicBezTo>
                  <a:pt x="11677854" y="1557398"/>
                  <a:pt x="11671221" y="1565101"/>
                  <a:pt x="11661307" y="1561037"/>
                </a:cubicBezTo>
                <a:cubicBezTo>
                  <a:pt x="11661485" y="1563427"/>
                  <a:pt x="11661485" y="1563427"/>
                  <a:pt x="11661485" y="1563427"/>
                </a:cubicBezTo>
                <a:cubicBezTo>
                  <a:pt x="11661307" y="1561037"/>
                  <a:pt x="11658917" y="1561215"/>
                  <a:pt x="11658917" y="1561215"/>
                </a:cubicBezTo>
                <a:cubicBezTo>
                  <a:pt x="11656527" y="1561395"/>
                  <a:pt x="11656527" y="1561395"/>
                  <a:pt x="11656706" y="1563784"/>
                </a:cubicBezTo>
                <a:cubicBezTo>
                  <a:pt x="11649538" y="1564320"/>
                  <a:pt x="11642371" y="1564856"/>
                  <a:pt x="11642371" y="1564856"/>
                </a:cubicBezTo>
                <a:cubicBezTo>
                  <a:pt x="11635201" y="1565391"/>
                  <a:pt x="11647328" y="1566888"/>
                  <a:pt x="11635381" y="1567781"/>
                </a:cubicBezTo>
                <a:cubicBezTo>
                  <a:pt x="11637591" y="1565213"/>
                  <a:pt x="11635024" y="1563003"/>
                  <a:pt x="11632813" y="1565571"/>
                </a:cubicBezTo>
                <a:cubicBezTo>
                  <a:pt x="11630602" y="1568138"/>
                  <a:pt x="11642727" y="1569634"/>
                  <a:pt x="11630780" y="1570527"/>
                </a:cubicBezTo>
                <a:cubicBezTo>
                  <a:pt x="11630780" y="1570527"/>
                  <a:pt x="11630780" y="1570527"/>
                  <a:pt x="11630602" y="1568138"/>
                </a:cubicBezTo>
                <a:cubicBezTo>
                  <a:pt x="11630602" y="1568138"/>
                  <a:pt x="11630602" y="1568138"/>
                  <a:pt x="11628212" y="1568317"/>
                </a:cubicBezTo>
                <a:cubicBezTo>
                  <a:pt x="11628212" y="1568317"/>
                  <a:pt x="11625824" y="1568495"/>
                  <a:pt x="11625824" y="1568495"/>
                </a:cubicBezTo>
                <a:cubicBezTo>
                  <a:pt x="11623434" y="1568674"/>
                  <a:pt x="11623434" y="1568674"/>
                  <a:pt x="11623434" y="1568674"/>
                </a:cubicBezTo>
                <a:cubicBezTo>
                  <a:pt x="11621044" y="1568853"/>
                  <a:pt x="11621044" y="1568853"/>
                  <a:pt x="11621044" y="1568853"/>
                </a:cubicBezTo>
                <a:cubicBezTo>
                  <a:pt x="11620866" y="1566464"/>
                  <a:pt x="11618476" y="1566642"/>
                  <a:pt x="11616087" y="1566821"/>
                </a:cubicBezTo>
                <a:cubicBezTo>
                  <a:pt x="11616265" y="1569210"/>
                  <a:pt x="11613876" y="1569388"/>
                  <a:pt x="11611487" y="1569568"/>
                </a:cubicBezTo>
                <a:cubicBezTo>
                  <a:pt x="11608919" y="1567357"/>
                  <a:pt x="11601750" y="1567893"/>
                  <a:pt x="11596972" y="1568250"/>
                </a:cubicBezTo>
                <a:cubicBezTo>
                  <a:pt x="11616087" y="1566821"/>
                  <a:pt x="11623256" y="1566285"/>
                  <a:pt x="11639802" y="1562645"/>
                </a:cubicBezTo>
                <a:cubicBezTo>
                  <a:pt x="11637056" y="1558045"/>
                  <a:pt x="11646434" y="1554941"/>
                  <a:pt x="11658381" y="1554048"/>
                </a:cubicBezTo>
                <a:cubicBezTo>
                  <a:pt x="11670328" y="1553155"/>
                  <a:pt x="11682275" y="1552262"/>
                  <a:pt x="11682097" y="1549872"/>
                </a:cubicBezTo>
                <a:cubicBezTo>
                  <a:pt x="11687980" y="1548230"/>
                  <a:pt x="11695193" y="1548292"/>
                  <a:pt x="11702451" y="1548951"/>
                </a:cubicBezTo>
                <a:close/>
                <a:moveTo>
                  <a:pt x="5573650" y="1535735"/>
                </a:moveTo>
                <a:lnTo>
                  <a:pt x="5576678" y="1537105"/>
                </a:lnTo>
                <a:lnTo>
                  <a:pt x="5645856" y="1556624"/>
                </a:lnTo>
                <a:lnTo>
                  <a:pt x="5689903" y="1573840"/>
                </a:lnTo>
                <a:lnTo>
                  <a:pt x="5685709" y="1569965"/>
                </a:lnTo>
                <a:cubicBezTo>
                  <a:pt x="5676259" y="1564560"/>
                  <a:pt x="5663657" y="1559156"/>
                  <a:pt x="5649256" y="1553750"/>
                </a:cubicBezTo>
                <a:cubicBezTo>
                  <a:pt x="5620452" y="1542940"/>
                  <a:pt x="5591650" y="1539338"/>
                  <a:pt x="5573650" y="1535735"/>
                </a:cubicBezTo>
                <a:close/>
                <a:moveTo>
                  <a:pt x="11310914" y="1534374"/>
                </a:moveTo>
                <a:cubicBezTo>
                  <a:pt x="11311093" y="1536762"/>
                  <a:pt x="11303925" y="1537298"/>
                  <a:pt x="11303925" y="1537298"/>
                </a:cubicBezTo>
                <a:cubicBezTo>
                  <a:pt x="11308525" y="1534552"/>
                  <a:pt x="11306136" y="1534730"/>
                  <a:pt x="11303746" y="1534909"/>
                </a:cubicBezTo>
                <a:cubicBezTo>
                  <a:pt x="11301714" y="1539866"/>
                  <a:pt x="11292156" y="1540581"/>
                  <a:pt x="11285346" y="1545895"/>
                </a:cubicBezTo>
                <a:cubicBezTo>
                  <a:pt x="11285346" y="1545895"/>
                  <a:pt x="11282958" y="1546074"/>
                  <a:pt x="11280568" y="1546253"/>
                </a:cubicBezTo>
                <a:cubicBezTo>
                  <a:pt x="11280568" y="1546253"/>
                  <a:pt x="11278178" y="1546432"/>
                  <a:pt x="11278178" y="1546432"/>
                </a:cubicBezTo>
                <a:cubicBezTo>
                  <a:pt x="11275788" y="1546610"/>
                  <a:pt x="11275788" y="1546610"/>
                  <a:pt x="11275788" y="1546610"/>
                </a:cubicBezTo>
                <a:lnTo>
                  <a:pt x="11275815" y="1546961"/>
                </a:lnTo>
                <a:lnTo>
                  <a:pt x="11280366" y="1552208"/>
                </a:lnTo>
                <a:lnTo>
                  <a:pt x="11292184" y="1548989"/>
                </a:lnTo>
                <a:cubicBezTo>
                  <a:pt x="11298666" y="1547302"/>
                  <a:pt x="11303356" y="1545751"/>
                  <a:pt x="11299683" y="1544824"/>
                </a:cubicBezTo>
                <a:cubicBezTo>
                  <a:pt x="11302073" y="1544646"/>
                  <a:pt x="11302073" y="1544646"/>
                  <a:pt x="11302073" y="1544646"/>
                </a:cubicBezTo>
                <a:cubicBezTo>
                  <a:pt x="11304462" y="1544466"/>
                  <a:pt x="11304462" y="1544466"/>
                  <a:pt x="11304462" y="1544466"/>
                </a:cubicBezTo>
                <a:cubicBezTo>
                  <a:pt x="11304282" y="1542077"/>
                  <a:pt x="11304282" y="1542077"/>
                  <a:pt x="11304282" y="1542077"/>
                </a:cubicBezTo>
                <a:cubicBezTo>
                  <a:pt x="11301892" y="1542256"/>
                  <a:pt x="11301892" y="1542256"/>
                  <a:pt x="11301892" y="1542256"/>
                </a:cubicBezTo>
                <a:cubicBezTo>
                  <a:pt x="11299146" y="1537655"/>
                  <a:pt x="11308883" y="1539330"/>
                  <a:pt x="11311272" y="1539152"/>
                </a:cubicBezTo>
                <a:cubicBezTo>
                  <a:pt x="11306315" y="1537120"/>
                  <a:pt x="11320294" y="1531269"/>
                  <a:pt x="11310914" y="1534374"/>
                </a:cubicBezTo>
                <a:close/>
                <a:moveTo>
                  <a:pt x="4043942" y="1532803"/>
                </a:moveTo>
                <a:lnTo>
                  <a:pt x="4043807" y="1532885"/>
                </a:lnTo>
                <a:cubicBezTo>
                  <a:pt x="4043807" y="1532885"/>
                  <a:pt x="4043807" y="1532885"/>
                  <a:pt x="4038502" y="1534055"/>
                </a:cubicBezTo>
                <a:close/>
                <a:moveTo>
                  <a:pt x="1520195" y="1516692"/>
                </a:moveTo>
                <a:lnTo>
                  <a:pt x="1521010" y="1523208"/>
                </a:lnTo>
                <a:cubicBezTo>
                  <a:pt x="1519364" y="1524442"/>
                  <a:pt x="1519776" y="1526906"/>
                  <a:pt x="1521421" y="1527317"/>
                </a:cubicBezTo>
                <a:cubicBezTo>
                  <a:pt x="1528005" y="1529784"/>
                  <a:pt x="1527594" y="1533482"/>
                  <a:pt x="1523479" y="1538413"/>
                </a:cubicBezTo>
                <a:cubicBezTo>
                  <a:pt x="1522244" y="1540056"/>
                  <a:pt x="1523891" y="1542112"/>
                  <a:pt x="1524713" y="1543756"/>
                </a:cubicBezTo>
                <a:cubicBezTo>
                  <a:pt x="1526358" y="1546221"/>
                  <a:pt x="1526771" y="1548688"/>
                  <a:pt x="1524301" y="1550742"/>
                </a:cubicBezTo>
                <a:cubicBezTo>
                  <a:pt x="1521833" y="1552797"/>
                  <a:pt x="1522244" y="1555262"/>
                  <a:pt x="1521421" y="1557728"/>
                </a:cubicBezTo>
                <a:lnTo>
                  <a:pt x="1520621" y="1559216"/>
                </a:lnTo>
                <a:lnTo>
                  <a:pt x="1557567" y="1566598"/>
                </a:lnTo>
                <a:cubicBezTo>
                  <a:pt x="1729311" y="1596260"/>
                  <a:pt x="1893251" y="1647780"/>
                  <a:pt x="2044700" y="1732086"/>
                </a:cubicBezTo>
                <a:cubicBezTo>
                  <a:pt x="2058753" y="1739891"/>
                  <a:pt x="2074365" y="1743015"/>
                  <a:pt x="2072803" y="1764871"/>
                </a:cubicBezTo>
                <a:cubicBezTo>
                  <a:pt x="2071244" y="1771117"/>
                  <a:pt x="2077489" y="1775801"/>
                  <a:pt x="2083734" y="1777361"/>
                </a:cubicBezTo>
                <a:lnTo>
                  <a:pt x="2144160" y="1808500"/>
                </a:lnTo>
                <a:lnTo>
                  <a:pt x="2149319" y="1788482"/>
                </a:lnTo>
                <a:cubicBezTo>
                  <a:pt x="2147592" y="1782156"/>
                  <a:pt x="2153921" y="1779281"/>
                  <a:pt x="2157949" y="1778131"/>
                </a:cubicBezTo>
                <a:lnTo>
                  <a:pt x="2166424" y="1772423"/>
                </a:lnTo>
                <a:lnTo>
                  <a:pt x="2143844" y="1758236"/>
                </a:lnTo>
                <a:cubicBezTo>
                  <a:pt x="2073975" y="1716474"/>
                  <a:pt x="2002544" y="1677443"/>
                  <a:pt x="1927600" y="1644658"/>
                </a:cubicBezTo>
                <a:cubicBezTo>
                  <a:pt x="1805036" y="1591576"/>
                  <a:pt x="1679740" y="1550594"/>
                  <a:pt x="1551712" y="1522103"/>
                </a:cubicBezTo>
                <a:close/>
                <a:moveTo>
                  <a:pt x="11205212" y="1510774"/>
                </a:moveTo>
                <a:lnTo>
                  <a:pt x="11189992" y="1516273"/>
                </a:lnTo>
                <a:lnTo>
                  <a:pt x="11195545" y="1521349"/>
                </a:lnTo>
                <a:lnTo>
                  <a:pt x="11209758" y="1515656"/>
                </a:lnTo>
                <a:close/>
                <a:moveTo>
                  <a:pt x="2143439" y="1497950"/>
                </a:moveTo>
                <a:cubicBezTo>
                  <a:pt x="2146062" y="1497745"/>
                  <a:pt x="2148429" y="1497950"/>
                  <a:pt x="2149252" y="1499389"/>
                </a:cubicBezTo>
                <a:cubicBezTo>
                  <a:pt x="2154189" y="1507608"/>
                  <a:pt x="2166945" y="1504319"/>
                  <a:pt x="2169825" y="1515415"/>
                </a:cubicBezTo>
                <a:cubicBezTo>
                  <a:pt x="2170647" y="1518702"/>
                  <a:pt x="2176408" y="1520758"/>
                  <a:pt x="2171059" y="1525279"/>
                </a:cubicBezTo>
                <a:cubicBezTo>
                  <a:pt x="2169413" y="1526512"/>
                  <a:pt x="2169825" y="1528976"/>
                  <a:pt x="2171470" y="1529387"/>
                </a:cubicBezTo>
                <a:cubicBezTo>
                  <a:pt x="2178054" y="1531853"/>
                  <a:pt x="2177643" y="1535552"/>
                  <a:pt x="2173528" y="1540483"/>
                </a:cubicBezTo>
                <a:cubicBezTo>
                  <a:pt x="2172294" y="1542127"/>
                  <a:pt x="2173940" y="1544182"/>
                  <a:pt x="2174763" y="1545825"/>
                </a:cubicBezTo>
                <a:cubicBezTo>
                  <a:pt x="2176408" y="1548292"/>
                  <a:pt x="2176821" y="1550757"/>
                  <a:pt x="2174351" y="1552813"/>
                </a:cubicBezTo>
                <a:cubicBezTo>
                  <a:pt x="2171883" y="1554866"/>
                  <a:pt x="2172294" y="1557332"/>
                  <a:pt x="2171470" y="1559798"/>
                </a:cubicBezTo>
                <a:cubicBezTo>
                  <a:pt x="2169413" y="1565962"/>
                  <a:pt x="2166945" y="1573770"/>
                  <a:pt x="2162418" y="1576648"/>
                </a:cubicBezTo>
                <a:cubicBezTo>
                  <a:pt x="2152543" y="1582811"/>
                  <a:pt x="2143078" y="1589387"/>
                  <a:pt x="2133204" y="1595140"/>
                </a:cubicBezTo>
                <a:cubicBezTo>
                  <a:pt x="2132381" y="1595140"/>
                  <a:pt x="2130735" y="1595140"/>
                  <a:pt x="2130324" y="1594318"/>
                </a:cubicBezTo>
                <a:cubicBezTo>
                  <a:pt x="2126208" y="1590619"/>
                  <a:pt x="2122506" y="1587331"/>
                  <a:pt x="2117156" y="1592673"/>
                </a:cubicBezTo>
                <a:cubicBezTo>
                  <a:pt x="2115511" y="1594729"/>
                  <a:pt x="2114276" y="1592673"/>
                  <a:pt x="2113865" y="1591030"/>
                </a:cubicBezTo>
                <a:cubicBezTo>
                  <a:pt x="2112631" y="1584044"/>
                  <a:pt x="2109338" y="1584044"/>
                  <a:pt x="2104400" y="1588154"/>
                </a:cubicBezTo>
                <a:lnTo>
                  <a:pt x="2103158" y="1587637"/>
                </a:lnTo>
                <a:lnTo>
                  <a:pt x="2101436" y="1591844"/>
                </a:lnTo>
                <a:cubicBezTo>
                  <a:pt x="2100655" y="1595343"/>
                  <a:pt x="2098312" y="1596897"/>
                  <a:pt x="2095578" y="1598841"/>
                </a:cubicBezTo>
                <a:cubicBezTo>
                  <a:pt x="2092845" y="1600785"/>
                  <a:pt x="2088940" y="1600396"/>
                  <a:pt x="2086989" y="1603117"/>
                </a:cubicBezTo>
                <a:cubicBezTo>
                  <a:pt x="2084254" y="1603117"/>
                  <a:pt x="2081912" y="1603117"/>
                  <a:pt x="2079179" y="1603117"/>
                </a:cubicBezTo>
                <a:cubicBezTo>
                  <a:pt x="2079179" y="1601950"/>
                  <a:pt x="2078788" y="1601562"/>
                  <a:pt x="2078008" y="1601562"/>
                </a:cubicBezTo>
                <a:cubicBezTo>
                  <a:pt x="2072150" y="1601562"/>
                  <a:pt x="2069027" y="1597675"/>
                  <a:pt x="2067074" y="1593010"/>
                </a:cubicBezTo>
                <a:cubicBezTo>
                  <a:pt x="2065122" y="1588734"/>
                  <a:pt x="2062779" y="1584846"/>
                  <a:pt x="2063559" y="1579794"/>
                </a:cubicBezTo>
                <a:cubicBezTo>
                  <a:pt x="2064731" y="1574351"/>
                  <a:pt x="2064341" y="1568520"/>
                  <a:pt x="2069027" y="1564244"/>
                </a:cubicBezTo>
                <a:cubicBezTo>
                  <a:pt x="2070588" y="1562690"/>
                  <a:pt x="2072150" y="1561523"/>
                  <a:pt x="2074883" y="1560746"/>
                </a:cubicBezTo>
                <a:lnTo>
                  <a:pt x="2080535" y="1553638"/>
                </a:lnTo>
                <a:lnTo>
                  <a:pt x="2080535" y="1550757"/>
                </a:lnTo>
                <a:cubicBezTo>
                  <a:pt x="2084649" y="1548292"/>
                  <a:pt x="2085884" y="1543771"/>
                  <a:pt x="2084649" y="1539662"/>
                </a:cubicBezTo>
                <a:cubicBezTo>
                  <a:pt x="2082592" y="1532264"/>
                  <a:pt x="2085062" y="1526512"/>
                  <a:pt x="2090411" y="1521580"/>
                </a:cubicBezTo>
                <a:cubicBezTo>
                  <a:pt x="2092467" y="1519525"/>
                  <a:pt x="2094525" y="1517880"/>
                  <a:pt x="2095348" y="1515005"/>
                </a:cubicBezTo>
                <a:cubicBezTo>
                  <a:pt x="2096171" y="1510484"/>
                  <a:pt x="2098640" y="1508019"/>
                  <a:pt x="2103166" y="1508430"/>
                </a:cubicBezTo>
                <a:cubicBezTo>
                  <a:pt x="2106458" y="1508430"/>
                  <a:pt x="2108927" y="1506374"/>
                  <a:pt x="2110161" y="1504730"/>
                </a:cubicBezTo>
                <a:cubicBezTo>
                  <a:pt x="2113658" y="1499799"/>
                  <a:pt x="2117979" y="1498669"/>
                  <a:pt x="2122505" y="1498618"/>
                </a:cubicBezTo>
                <a:cubicBezTo>
                  <a:pt x="2127032" y="1498567"/>
                  <a:pt x="2131764" y="1499595"/>
                  <a:pt x="2136083" y="1498978"/>
                </a:cubicBezTo>
                <a:cubicBezTo>
                  <a:pt x="2137935" y="1498773"/>
                  <a:pt x="2140816" y="1498156"/>
                  <a:pt x="2143439" y="1497950"/>
                </a:cubicBezTo>
                <a:close/>
                <a:moveTo>
                  <a:pt x="7618397" y="1490081"/>
                </a:moveTo>
                <a:lnTo>
                  <a:pt x="7613886" y="1492291"/>
                </a:lnTo>
                <a:lnTo>
                  <a:pt x="7614345" y="1491396"/>
                </a:lnTo>
                <a:cubicBezTo>
                  <a:pt x="7614345" y="1491396"/>
                  <a:pt x="7614345" y="1491396"/>
                  <a:pt x="7618397" y="1490081"/>
                </a:cubicBezTo>
                <a:close/>
                <a:moveTo>
                  <a:pt x="1224994" y="1479214"/>
                </a:moveTo>
                <a:lnTo>
                  <a:pt x="1226764" y="1480150"/>
                </a:lnTo>
                <a:cubicBezTo>
                  <a:pt x="1229907" y="1479865"/>
                  <a:pt x="1231623" y="1481578"/>
                  <a:pt x="1232193" y="1484717"/>
                </a:cubicBezTo>
                <a:cubicBezTo>
                  <a:pt x="1232765" y="1486716"/>
                  <a:pt x="1234195" y="1487857"/>
                  <a:pt x="1235623" y="1489284"/>
                </a:cubicBezTo>
                <a:cubicBezTo>
                  <a:pt x="1239339" y="1492710"/>
                  <a:pt x="1241054" y="1496705"/>
                  <a:pt x="1239625" y="1501843"/>
                </a:cubicBezTo>
                <a:lnTo>
                  <a:pt x="1242000" y="1508249"/>
                </a:lnTo>
                <a:lnTo>
                  <a:pt x="1256767" y="1509734"/>
                </a:lnTo>
                <a:cubicBezTo>
                  <a:pt x="1290482" y="1514443"/>
                  <a:pt x="1323953" y="1520249"/>
                  <a:pt x="1357327" y="1526591"/>
                </a:cubicBezTo>
                <a:lnTo>
                  <a:pt x="1433068" y="1541724"/>
                </a:lnTo>
                <a:lnTo>
                  <a:pt x="1434600" y="1537592"/>
                </a:lnTo>
                <a:cubicBezTo>
                  <a:pt x="1432543" y="1530195"/>
                  <a:pt x="1435012" y="1524442"/>
                  <a:pt x="1440361" y="1519510"/>
                </a:cubicBezTo>
                <a:cubicBezTo>
                  <a:pt x="1442418" y="1517454"/>
                  <a:pt x="1444476" y="1515811"/>
                  <a:pt x="1445299" y="1512935"/>
                </a:cubicBezTo>
                <a:cubicBezTo>
                  <a:pt x="1446122" y="1508414"/>
                  <a:pt x="1448590" y="1505948"/>
                  <a:pt x="1453117" y="1506359"/>
                </a:cubicBezTo>
                <a:lnTo>
                  <a:pt x="1454806" y="1505466"/>
                </a:lnTo>
                <a:lnTo>
                  <a:pt x="1357619" y="1488781"/>
                </a:lnTo>
                <a:close/>
                <a:moveTo>
                  <a:pt x="6132368" y="1467768"/>
                </a:moveTo>
                <a:cubicBezTo>
                  <a:pt x="6135126" y="1468871"/>
                  <a:pt x="6138437" y="1471079"/>
                  <a:pt x="6140641" y="1473285"/>
                </a:cubicBezTo>
                <a:lnTo>
                  <a:pt x="6132066" y="1467836"/>
                </a:lnTo>
                <a:close/>
                <a:moveTo>
                  <a:pt x="34570" y="1458927"/>
                </a:moveTo>
                <a:lnTo>
                  <a:pt x="35069" y="1459045"/>
                </a:lnTo>
                <a:lnTo>
                  <a:pt x="34801" y="1459311"/>
                </a:lnTo>
                <a:close/>
                <a:moveTo>
                  <a:pt x="562" y="1449881"/>
                </a:moveTo>
                <a:lnTo>
                  <a:pt x="817" y="1450873"/>
                </a:lnTo>
                <a:cubicBezTo>
                  <a:pt x="2995" y="1454138"/>
                  <a:pt x="3648" y="1457185"/>
                  <a:pt x="1252" y="1461103"/>
                </a:cubicBezTo>
                <a:cubicBezTo>
                  <a:pt x="-1361" y="1465239"/>
                  <a:pt x="163" y="1467633"/>
                  <a:pt x="5390" y="1468503"/>
                </a:cubicBezTo>
                <a:cubicBezTo>
                  <a:pt x="5607" y="1468503"/>
                  <a:pt x="5825" y="1468503"/>
                  <a:pt x="6044" y="1468503"/>
                </a:cubicBezTo>
                <a:cubicBezTo>
                  <a:pt x="8003" y="1468721"/>
                  <a:pt x="9963" y="1469156"/>
                  <a:pt x="10180" y="1471115"/>
                </a:cubicBezTo>
                <a:cubicBezTo>
                  <a:pt x="10616" y="1473074"/>
                  <a:pt x="8221" y="1472856"/>
                  <a:pt x="7132" y="1473509"/>
                </a:cubicBezTo>
                <a:lnTo>
                  <a:pt x="562" y="1486475"/>
                </a:lnTo>
                <a:close/>
                <a:moveTo>
                  <a:pt x="1794068" y="1432985"/>
                </a:moveTo>
                <a:lnTo>
                  <a:pt x="1794536" y="1433095"/>
                </a:lnTo>
                <a:lnTo>
                  <a:pt x="1794285" y="1433345"/>
                </a:lnTo>
                <a:close/>
                <a:moveTo>
                  <a:pt x="4645364" y="1403800"/>
                </a:moveTo>
                <a:lnTo>
                  <a:pt x="4645041" y="1404106"/>
                </a:lnTo>
                <a:cubicBezTo>
                  <a:pt x="4644118" y="1404657"/>
                  <a:pt x="4642792" y="1404949"/>
                  <a:pt x="4641173" y="1403915"/>
                </a:cubicBezTo>
                <a:close/>
                <a:moveTo>
                  <a:pt x="6040339" y="1401066"/>
                </a:moveTo>
                <a:lnTo>
                  <a:pt x="6043550" y="1402671"/>
                </a:lnTo>
                <a:cubicBezTo>
                  <a:pt x="6047963" y="1402671"/>
                  <a:pt x="6047963" y="1402671"/>
                  <a:pt x="6047963" y="1402671"/>
                </a:cubicBezTo>
                <a:cubicBezTo>
                  <a:pt x="6047963" y="1402671"/>
                  <a:pt x="6047963" y="1402671"/>
                  <a:pt x="6052377" y="1407085"/>
                </a:cubicBezTo>
                <a:cubicBezTo>
                  <a:pt x="6047964" y="1407085"/>
                  <a:pt x="6043550" y="1402671"/>
                  <a:pt x="6043549" y="1407085"/>
                </a:cubicBezTo>
                <a:close/>
                <a:moveTo>
                  <a:pt x="6032096" y="1395631"/>
                </a:moveTo>
                <a:lnTo>
                  <a:pt x="6039690" y="1399844"/>
                </a:lnTo>
                <a:lnTo>
                  <a:pt x="6040339" y="1401066"/>
                </a:lnTo>
                <a:lnTo>
                  <a:pt x="6034725" y="1398258"/>
                </a:lnTo>
                <a:close/>
                <a:moveTo>
                  <a:pt x="4827373" y="1390663"/>
                </a:moveTo>
                <a:cubicBezTo>
                  <a:pt x="4771991" y="1391752"/>
                  <a:pt x="4721012" y="1400214"/>
                  <a:pt x="4672101" y="1405439"/>
                </a:cubicBezTo>
                <a:cubicBezTo>
                  <a:pt x="4667830" y="1404990"/>
                  <a:pt x="4662750" y="1404025"/>
                  <a:pt x="4657412" y="1403463"/>
                </a:cubicBezTo>
                <a:lnTo>
                  <a:pt x="4645364" y="1403800"/>
                </a:lnTo>
                <a:lnTo>
                  <a:pt x="4646478" y="1402745"/>
                </a:lnTo>
                <a:cubicBezTo>
                  <a:pt x="4648097" y="1403779"/>
                  <a:pt x="4649423" y="1403487"/>
                  <a:pt x="4649939" y="1402678"/>
                </a:cubicBezTo>
                <a:lnTo>
                  <a:pt x="4649338" y="1401305"/>
                </a:lnTo>
                <a:lnTo>
                  <a:pt x="4492082" y="1420776"/>
                </a:lnTo>
                <a:lnTo>
                  <a:pt x="4490306" y="1426064"/>
                </a:lnTo>
                <a:cubicBezTo>
                  <a:pt x="4444633" y="1433356"/>
                  <a:pt x="4418109" y="1439206"/>
                  <a:pt x="4372435" y="1446498"/>
                </a:cubicBezTo>
                <a:cubicBezTo>
                  <a:pt x="4359757" y="1452076"/>
                  <a:pt x="4352384" y="1456484"/>
                  <a:pt x="4341774" y="1458823"/>
                </a:cubicBezTo>
                <a:cubicBezTo>
                  <a:pt x="4290795" y="1467285"/>
                  <a:pt x="4237748" y="1478986"/>
                  <a:pt x="4185869" y="1495990"/>
                </a:cubicBezTo>
                <a:cubicBezTo>
                  <a:pt x="4160961" y="1502874"/>
                  <a:pt x="4136865" y="1510274"/>
                  <a:pt x="4112623" y="1517012"/>
                </a:cubicBezTo>
                <a:lnTo>
                  <a:pt x="4043942" y="1532803"/>
                </a:lnTo>
                <a:lnTo>
                  <a:pt x="4051181" y="1528477"/>
                </a:lnTo>
                <a:cubicBezTo>
                  <a:pt x="4047945" y="1526410"/>
                  <a:pt x="4044709" y="1524342"/>
                  <a:pt x="4037335" y="1528749"/>
                </a:cubicBezTo>
                <a:cubicBezTo>
                  <a:pt x="4037335" y="1528749"/>
                  <a:pt x="4032030" y="1529920"/>
                  <a:pt x="4032030" y="1529920"/>
                </a:cubicBezTo>
                <a:cubicBezTo>
                  <a:pt x="4028794" y="1527852"/>
                  <a:pt x="4030863" y="1524614"/>
                  <a:pt x="4034099" y="1526682"/>
                </a:cubicBezTo>
                <a:cubicBezTo>
                  <a:pt x="4070065" y="1513187"/>
                  <a:pt x="4126348" y="1503554"/>
                  <a:pt x="4169688" y="1485651"/>
                </a:cubicBezTo>
                <a:cubicBezTo>
                  <a:pt x="4170588" y="1477109"/>
                  <a:pt x="4175894" y="1475939"/>
                  <a:pt x="4162048" y="1476211"/>
                </a:cubicBezTo>
                <a:cubicBezTo>
                  <a:pt x="4157911" y="1482687"/>
                  <a:pt x="4141996" y="1486197"/>
                  <a:pt x="4126083" y="1489706"/>
                </a:cubicBezTo>
                <a:cubicBezTo>
                  <a:pt x="4123748" y="1479095"/>
                  <a:pt x="4092186" y="1499964"/>
                  <a:pt x="4068898" y="1507881"/>
                </a:cubicBezTo>
                <a:cubicBezTo>
                  <a:pt x="4006408" y="1527226"/>
                  <a:pt x="3937445" y="1542436"/>
                  <a:pt x="3874055" y="1570324"/>
                </a:cubicBezTo>
                <a:cubicBezTo>
                  <a:pt x="3866682" y="1574732"/>
                  <a:pt x="3864614" y="1577969"/>
                  <a:pt x="3857240" y="1582377"/>
                </a:cubicBezTo>
                <a:cubicBezTo>
                  <a:pt x="3837188" y="1592361"/>
                  <a:pt x="3792682" y="1604960"/>
                  <a:pt x="3781170" y="1615843"/>
                </a:cubicBezTo>
                <a:cubicBezTo>
                  <a:pt x="3780004" y="1610538"/>
                  <a:pt x="3776768" y="1608470"/>
                  <a:pt x="3767325" y="1616114"/>
                </a:cubicBezTo>
                <a:cubicBezTo>
                  <a:pt x="3762021" y="1617284"/>
                  <a:pt x="3735763" y="1636983"/>
                  <a:pt x="3732527" y="1634915"/>
                </a:cubicBezTo>
                <a:cubicBezTo>
                  <a:pt x="3737831" y="1633745"/>
                  <a:pt x="3734595" y="1631678"/>
                  <a:pt x="3736664" y="1628439"/>
                </a:cubicBezTo>
                <a:cubicBezTo>
                  <a:pt x="3703935" y="1644003"/>
                  <a:pt x="3687119" y="1656056"/>
                  <a:pt x="3657624" y="1673686"/>
                </a:cubicBezTo>
                <a:cubicBezTo>
                  <a:pt x="3668500" y="1685195"/>
                  <a:pt x="3702131" y="1661089"/>
                  <a:pt x="3724251" y="1647866"/>
                </a:cubicBezTo>
                <a:cubicBezTo>
                  <a:pt x="3744436" y="1644805"/>
                  <a:pt x="3764262" y="1636956"/>
                  <a:pt x="3785269" y="1628150"/>
                </a:cubicBezTo>
                <a:lnTo>
                  <a:pt x="3842616" y="1606720"/>
                </a:lnTo>
                <a:lnTo>
                  <a:pt x="3840691" y="1608278"/>
                </a:lnTo>
                <a:cubicBezTo>
                  <a:pt x="3841857" y="1613583"/>
                  <a:pt x="3847162" y="1612414"/>
                  <a:pt x="3849231" y="1609175"/>
                </a:cubicBezTo>
                <a:cubicBezTo>
                  <a:pt x="3852467" y="1611244"/>
                  <a:pt x="3852467" y="1611244"/>
                  <a:pt x="3852467" y="1611244"/>
                </a:cubicBezTo>
                <a:cubicBezTo>
                  <a:pt x="3810294" y="1634452"/>
                  <a:pt x="3757514" y="1660000"/>
                  <a:pt x="3716243" y="1674665"/>
                </a:cubicBezTo>
                <a:cubicBezTo>
                  <a:pt x="3692053" y="1691126"/>
                  <a:pt x="3662559" y="1708756"/>
                  <a:pt x="3650148" y="1728182"/>
                </a:cubicBezTo>
                <a:cubicBezTo>
                  <a:pt x="3745101" y="1679426"/>
                  <a:pt x="3814698" y="1641824"/>
                  <a:pt x="3887797" y="1620139"/>
                </a:cubicBezTo>
                <a:cubicBezTo>
                  <a:pt x="3909918" y="1606917"/>
                  <a:pt x="3942647" y="1591353"/>
                  <a:pt x="3963866" y="1586674"/>
                </a:cubicBezTo>
                <a:cubicBezTo>
                  <a:pt x="3950287" y="1600795"/>
                  <a:pt x="3971505" y="1596116"/>
                  <a:pt x="3970604" y="1604658"/>
                </a:cubicBezTo>
                <a:cubicBezTo>
                  <a:pt x="3981213" y="1602318"/>
                  <a:pt x="3980046" y="1597012"/>
                  <a:pt x="3992724" y="1591434"/>
                </a:cubicBezTo>
                <a:cubicBezTo>
                  <a:pt x="4010707" y="1584688"/>
                  <a:pt x="3971505" y="1596116"/>
                  <a:pt x="3988320" y="1584062"/>
                </a:cubicBezTo>
                <a:cubicBezTo>
                  <a:pt x="4036965" y="1564990"/>
                  <a:pt x="4077333" y="1558867"/>
                  <a:pt x="4124811" y="1534489"/>
                </a:cubicBezTo>
                <a:cubicBezTo>
                  <a:pt x="4145129" y="1538352"/>
                  <a:pt x="4173721" y="1529264"/>
                  <a:pt x="4200245" y="1523415"/>
                </a:cubicBezTo>
                <a:cubicBezTo>
                  <a:pt x="4228838" y="1514327"/>
                  <a:pt x="4257431" y="1505239"/>
                  <a:pt x="4281883" y="1502627"/>
                </a:cubicBezTo>
                <a:cubicBezTo>
                  <a:pt x="4260666" y="1507307"/>
                  <a:pt x="4261832" y="1512612"/>
                  <a:pt x="4256528" y="1513783"/>
                </a:cubicBezTo>
                <a:cubicBezTo>
                  <a:pt x="4265069" y="1514680"/>
                  <a:pt x="4263000" y="1517917"/>
                  <a:pt x="4266236" y="1519986"/>
                </a:cubicBezTo>
                <a:cubicBezTo>
                  <a:pt x="4294830" y="1510898"/>
                  <a:pt x="4301302" y="1515033"/>
                  <a:pt x="4327824" y="1509183"/>
                </a:cubicBezTo>
                <a:cubicBezTo>
                  <a:pt x="4329893" y="1505946"/>
                  <a:pt x="4331961" y="1502708"/>
                  <a:pt x="4337267" y="1501538"/>
                </a:cubicBezTo>
                <a:cubicBezTo>
                  <a:pt x="4332864" y="1494166"/>
                  <a:pt x="4319019" y="1494438"/>
                  <a:pt x="4328461" y="1486792"/>
                </a:cubicBezTo>
                <a:cubicBezTo>
                  <a:pt x="4358220" y="1483010"/>
                  <a:pt x="4377370" y="1481567"/>
                  <a:pt x="4403894" y="1475718"/>
                </a:cubicBezTo>
                <a:cubicBezTo>
                  <a:pt x="4425113" y="1471038"/>
                  <a:pt x="4449568" y="1468425"/>
                  <a:pt x="4488769" y="1456999"/>
                </a:cubicBezTo>
                <a:cubicBezTo>
                  <a:pt x="4488769" y="1456999"/>
                  <a:pt x="4487603" y="1451693"/>
                  <a:pt x="4492907" y="1450523"/>
                </a:cubicBezTo>
                <a:cubicBezTo>
                  <a:pt x="4525902" y="1448808"/>
                  <a:pt x="4517363" y="1447912"/>
                  <a:pt x="4545052" y="1447366"/>
                </a:cubicBezTo>
                <a:cubicBezTo>
                  <a:pt x="4555663" y="1445026"/>
                  <a:pt x="4566272" y="1442687"/>
                  <a:pt x="4582186" y="1439177"/>
                </a:cubicBezTo>
                <a:cubicBezTo>
                  <a:pt x="4647276" y="1444291"/>
                  <a:pt x="4709765" y="1424945"/>
                  <a:pt x="4787533" y="1424481"/>
                </a:cubicBezTo>
                <a:cubicBezTo>
                  <a:pt x="4789604" y="1421244"/>
                  <a:pt x="4803450" y="1420972"/>
                  <a:pt x="4814058" y="1418633"/>
                </a:cubicBezTo>
                <a:cubicBezTo>
                  <a:pt x="4815225" y="1423938"/>
                  <a:pt x="4836443" y="1419257"/>
                  <a:pt x="4834375" y="1422495"/>
                </a:cubicBezTo>
                <a:cubicBezTo>
                  <a:pt x="4821696" y="1428073"/>
                  <a:pt x="4799312" y="1427447"/>
                  <a:pt x="4801647" y="1438057"/>
                </a:cubicBezTo>
                <a:cubicBezTo>
                  <a:pt x="4846418" y="1439309"/>
                  <a:pt x="4867636" y="1434629"/>
                  <a:pt x="4888857" y="1429949"/>
                </a:cubicBezTo>
                <a:cubicBezTo>
                  <a:pt x="4904770" y="1426439"/>
                  <a:pt x="4873842" y="1424915"/>
                  <a:pt x="4872675" y="1419611"/>
                </a:cubicBezTo>
                <a:cubicBezTo>
                  <a:pt x="4872675" y="1419611"/>
                  <a:pt x="4883285" y="1417270"/>
                  <a:pt x="4882118" y="1411966"/>
                </a:cubicBezTo>
                <a:cubicBezTo>
                  <a:pt x="4884187" y="1408728"/>
                  <a:pt x="4855328" y="1403967"/>
                  <a:pt x="4888324" y="1402253"/>
                </a:cubicBezTo>
                <a:cubicBezTo>
                  <a:pt x="4891559" y="1404320"/>
                  <a:pt x="4891559" y="1404320"/>
                  <a:pt x="4891559" y="1404320"/>
                </a:cubicBezTo>
                <a:cubicBezTo>
                  <a:pt x="4886255" y="1405491"/>
                  <a:pt x="4886255" y="1405491"/>
                  <a:pt x="4886255" y="1405491"/>
                </a:cubicBezTo>
                <a:cubicBezTo>
                  <a:pt x="4886255" y="1405491"/>
                  <a:pt x="4886255" y="1405491"/>
                  <a:pt x="4889490" y="1407558"/>
                </a:cubicBezTo>
                <a:cubicBezTo>
                  <a:pt x="4889490" y="1407558"/>
                  <a:pt x="4892727" y="1409625"/>
                  <a:pt x="4892727" y="1409625"/>
                </a:cubicBezTo>
                <a:cubicBezTo>
                  <a:pt x="4894796" y="1406388"/>
                  <a:pt x="4898033" y="1408456"/>
                  <a:pt x="4898033" y="1408456"/>
                </a:cubicBezTo>
                <a:cubicBezTo>
                  <a:pt x="4900100" y="1405217"/>
                  <a:pt x="4900100" y="1405217"/>
                  <a:pt x="4900100" y="1405217"/>
                </a:cubicBezTo>
                <a:cubicBezTo>
                  <a:pt x="4895962" y="1411694"/>
                  <a:pt x="4928960" y="1409979"/>
                  <a:pt x="4925723" y="1407911"/>
                </a:cubicBezTo>
                <a:cubicBezTo>
                  <a:pt x="4922487" y="1405843"/>
                  <a:pt x="4922487" y="1405843"/>
                  <a:pt x="4922487" y="1405843"/>
                </a:cubicBezTo>
                <a:cubicBezTo>
                  <a:pt x="4922487" y="1405843"/>
                  <a:pt x="4925723" y="1407911"/>
                  <a:pt x="4931029" y="1406740"/>
                </a:cubicBezTo>
                <a:cubicBezTo>
                  <a:pt x="4931029" y="1406740"/>
                  <a:pt x="4936333" y="1405571"/>
                  <a:pt x="4936333" y="1405571"/>
                </a:cubicBezTo>
                <a:cubicBezTo>
                  <a:pt x="4936333" y="1405571"/>
                  <a:pt x="4938400" y="1402333"/>
                  <a:pt x="4933097" y="1403503"/>
                </a:cubicBezTo>
                <a:cubicBezTo>
                  <a:pt x="4933097" y="1403503"/>
                  <a:pt x="4929860" y="1401436"/>
                  <a:pt x="4929860" y="1401436"/>
                </a:cubicBezTo>
                <a:cubicBezTo>
                  <a:pt x="4952247" y="1402061"/>
                  <a:pt x="5017069" y="1393327"/>
                  <a:pt x="5035319" y="1400428"/>
                </a:cubicBezTo>
                <a:cubicBezTo>
                  <a:pt x="5017335" y="1407174"/>
                  <a:pt x="5001421" y="1410686"/>
                  <a:pt x="5003757" y="1421295"/>
                </a:cubicBezTo>
                <a:cubicBezTo>
                  <a:pt x="5009061" y="1420125"/>
                  <a:pt x="5031447" y="1420751"/>
                  <a:pt x="5019937" y="1431633"/>
                </a:cubicBezTo>
                <a:cubicBezTo>
                  <a:pt x="5042322" y="1432260"/>
                  <a:pt x="5059404" y="1434055"/>
                  <a:pt x="5076486" y="1435850"/>
                </a:cubicBezTo>
                <a:cubicBezTo>
                  <a:pt x="5078555" y="1432613"/>
                  <a:pt x="5066777" y="1429647"/>
                  <a:pt x="5077387" y="1427307"/>
                </a:cubicBezTo>
                <a:cubicBezTo>
                  <a:pt x="5095634" y="1434408"/>
                  <a:pt x="5111551" y="1430898"/>
                  <a:pt x="5135105" y="1436828"/>
                </a:cubicBezTo>
                <a:cubicBezTo>
                  <a:pt x="5163696" y="1427741"/>
                  <a:pt x="5185180" y="1436909"/>
                  <a:pt x="5236425" y="1442296"/>
                </a:cubicBezTo>
                <a:cubicBezTo>
                  <a:pt x="5232286" y="1448771"/>
                  <a:pt x="5240829" y="1449670"/>
                  <a:pt x="5238761" y="1452907"/>
                </a:cubicBezTo>
                <a:cubicBezTo>
                  <a:pt x="5281464" y="1457396"/>
                  <a:pt x="5320029" y="1468360"/>
                  <a:pt x="5360662" y="1476084"/>
                </a:cubicBezTo>
                <a:cubicBezTo>
                  <a:pt x="5399231" y="1487050"/>
                  <a:pt x="5437796" y="1498013"/>
                  <a:pt x="5468724" y="1499537"/>
                </a:cubicBezTo>
                <a:cubicBezTo>
                  <a:pt x="5451641" y="1497740"/>
                  <a:pt x="5467555" y="1494231"/>
                  <a:pt x="5476098" y="1495129"/>
                </a:cubicBezTo>
                <a:cubicBezTo>
                  <a:pt x="5485804" y="1501332"/>
                  <a:pt x="5508191" y="1501957"/>
                  <a:pt x="5500817" y="1506365"/>
                </a:cubicBezTo>
                <a:cubicBezTo>
                  <a:pt x="5532913" y="1513193"/>
                  <a:pt x="5544686" y="1516158"/>
                  <a:pt x="5580018" y="1525055"/>
                </a:cubicBezTo>
                <a:cubicBezTo>
                  <a:pt x="5589726" y="1531258"/>
                  <a:pt x="5596198" y="1535394"/>
                  <a:pt x="5605907" y="1541597"/>
                </a:cubicBezTo>
                <a:cubicBezTo>
                  <a:pt x="5619753" y="1541324"/>
                  <a:pt x="5638000" y="1548424"/>
                  <a:pt x="5656251" y="1555525"/>
                </a:cubicBezTo>
                <a:cubicBezTo>
                  <a:pt x="5672428" y="1565863"/>
                  <a:pt x="5687443" y="1570897"/>
                  <a:pt x="5698051" y="1568557"/>
                </a:cubicBezTo>
                <a:cubicBezTo>
                  <a:pt x="5698051" y="1568557"/>
                  <a:pt x="5698051" y="1568557"/>
                  <a:pt x="5700120" y="1565319"/>
                </a:cubicBezTo>
                <a:cubicBezTo>
                  <a:pt x="5693649" y="1561183"/>
                  <a:pt x="5690413" y="1559116"/>
                  <a:pt x="5683939" y="1554980"/>
                </a:cubicBezTo>
                <a:cubicBezTo>
                  <a:pt x="5667760" y="1544641"/>
                  <a:pt x="5649511" y="1537542"/>
                  <a:pt x="5629194" y="1533678"/>
                </a:cubicBezTo>
                <a:cubicBezTo>
                  <a:pt x="5599168" y="1523612"/>
                  <a:pt x="5569143" y="1513547"/>
                  <a:pt x="5543521" y="1510854"/>
                </a:cubicBezTo>
                <a:cubicBezTo>
                  <a:pt x="5540285" y="1508785"/>
                  <a:pt x="5528508" y="1505821"/>
                  <a:pt x="5527341" y="1500515"/>
                </a:cubicBezTo>
                <a:cubicBezTo>
                  <a:pt x="5467555" y="1494231"/>
                  <a:pt x="5440501" y="1472384"/>
                  <a:pt x="5386922" y="1456387"/>
                </a:cubicBezTo>
                <a:cubicBezTo>
                  <a:pt x="5324167" y="1461883"/>
                  <a:pt x="5262949" y="1436447"/>
                  <a:pt x="5172236" y="1428639"/>
                </a:cubicBezTo>
                <a:cubicBezTo>
                  <a:pt x="5179611" y="1424231"/>
                  <a:pt x="5161362" y="1417130"/>
                  <a:pt x="5163429" y="1413892"/>
                </a:cubicBezTo>
                <a:cubicBezTo>
                  <a:pt x="5146348" y="1412097"/>
                  <a:pt x="5129268" y="1410302"/>
                  <a:pt x="5112186" y="1408507"/>
                </a:cubicBezTo>
                <a:cubicBezTo>
                  <a:pt x="5117489" y="1407337"/>
                  <a:pt x="5117489" y="1407337"/>
                  <a:pt x="5117489" y="1407337"/>
                </a:cubicBezTo>
                <a:cubicBezTo>
                  <a:pt x="5122797" y="1406166"/>
                  <a:pt x="5122797" y="1406166"/>
                  <a:pt x="5122797" y="1406166"/>
                </a:cubicBezTo>
                <a:cubicBezTo>
                  <a:pt x="5119559" y="1404099"/>
                  <a:pt x="5116323" y="1402032"/>
                  <a:pt x="5113087" y="1399963"/>
                </a:cubicBezTo>
                <a:cubicBezTo>
                  <a:pt x="5107782" y="1401134"/>
                  <a:pt x="5107782" y="1401134"/>
                  <a:pt x="5107782" y="1401134"/>
                </a:cubicBezTo>
                <a:cubicBezTo>
                  <a:pt x="5107782" y="1401134"/>
                  <a:pt x="5107782" y="1401134"/>
                  <a:pt x="5105715" y="1404371"/>
                </a:cubicBezTo>
                <a:cubicBezTo>
                  <a:pt x="5098075" y="1394931"/>
                  <a:pt x="5061843" y="1394577"/>
                  <a:pt x="5017069" y="1393327"/>
                </a:cubicBezTo>
                <a:cubicBezTo>
                  <a:pt x="4972299" y="1392076"/>
                  <a:pt x="4916918" y="1393166"/>
                  <a:pt x="4872144" y="1391914"/>
                </a:cubicBezTo>
                <a:cubicBezTo>
                  <a:pt x="4855061" y="1390119"/>
                  <a:pt x="4841217" y="1390391"/>
                  <a:pt x="4827373" y="1390663"/>
                </a:cubicBezTo>
                <a:close/>
                <a:moveTo>
                  <a:pt x="6010071" y="1385873"/>
                </a:moveTo>
                <a:lnTo>
                  <a:pt x="6017070" y="1388666"/>
                </a:lnTo>
                <a:lnTo>
                  <a:pt x="6017071" y="1389431"/>
                </a:lnTo>
                <a:close/>
                <a:moveTo>
                  <a:pt x="6017071" y="1385018"/>
                </a:moveTo>
                <a:cubicBezTo>
                  <a:pt x="6021485" y="1389430"/>
                  <a:pt x="6025895" y="1393844"/>
                  <a:pt x="6030310" y="1393844"/>
                </a:cubicBezTo>
                <a:lnTo>
                  <a:pt x="6032096" y="1395631"/>
                </a:lnTo>
                <a:lnTo>
                  <a:pt x="6025895" y="1392190"/>
                </a:lnTo>
                <a:lnTo>
                  <a:pt x="6017070" y="1388666"/>
                </a:lnTo>
                <a:close/>
                <a:moveTo>
                  <a:pt x="6102027" y="1366261"/>
                </a:moveTo>
                <a:cubicBezTo>
                  <a:pt x="6103130" y="1367365"/>
                  <a:pt x="6103130" y="1369571"/>
                  <a:pt x="6100923" y="1371777"/>
                </a:cubicBezTo>
                <a:cubicBezTo>
                  <a:pt x="6100923" y="1367365"/>
                  <a:pt x="6100923" y="1367365"/>
                  <a:pt x="6096509" y="1367364"/>
                </a:cubicBezTo>
                <a:cubicBezTo>
                  <a:pt x="6098715" y="1365158"/>
                  <a:pt x="6100922" y="1365158"/>
                  <a:pt x="6102027" y="1366261"/>
                </a:cubicBezTo>
                <a:close/>
                <a:moveTo>
                  <a:pt x="8033215" y="1346577"/>
                </a:moveTo>
                <a:lnTo>
                  <a:pt x="8031841" y="1350007"/>
                </a:lnTo>
                <a:lnTo>
                  <a:pt x="8037040" y="1346609"/>
                </a:lnTo>
                <a:close/>
                <a:moveTo>
                  <a:pt x="169856" y="1343418"/>
                </a:moveTo>
                <a:cubicBezTo>
                  <a:pt x="172479" y="1343212"/>
                  <a:pt x="174845" y="1343418"/>
                  <a:pt x="175669" y="1344856"/>
                </a:cubicBezTo>
                <a:cubicBezTo>
                  <a:pt x="180607" y="1353075"/>
                  <a:pt x="193362" y="1349787"/>
                  <a:pt x="196243" y="1360883"/>
                </a:cubicBezTo>
                <a:cubicBezTo>
                  <a:pt x="197065" y="1364171"/>
                  <a:pt x="202825" y="1366225"/>
                  <a:pt x="197477" y="1370746"/>
                </a:cubicBezTo>
                <a:cubicBezTo>
                  <a:pt x="195831" y="1371979"/>
                  <a:pt x="196243" y="1374444"/>
                  <a:pt x="197887" y="1374854"/>
                </a:cubicBezTo>
                <a:cubicBezTo>
                  <a:pt x="204472" y="1377321"/>
                  <a:pt x="204061" y="1381020"/>
                  <a:pt x="199945" y="1385950"/>
                </a:cubicBezTo>
                <a:cubicBezTo>
                  <a:pt x="198710" y="1387595"/>
                  <a:pt x="200357" y="1389649"/>
                  <a:pt x="201180" y="1391293"/>
                </a:cubicBezTo>
                <a:cubicBezTo>
                  <a:pt x="202825" y="1393759"/>
                  <a:pt x="203237" y="1396225"/>
                  <a:pt x="200768" y="1398280"/>
                </a:cubicBezTo>
                <a:cubicBezTo>
                  <a:pt x="198299" y="1400334"/>
                  <a:pt x="198710" y="1402799"/>
                  <a:pt x="197887" y="1405266"/>
                </a:cubicBezTo>
                <a:cubicBezTo>
                  <a:pt x="195831" y="1411429"/>
                  <a:pt x="193362" y="1419238"/>
                  <a:pt x="188836" y="1422115"/>
                </a:cubicBezTo>
                <a:cubicBezTo>
                  <a:pt x="178960" y="1428279"/>
                  <a:pt x="169496" y="1434854"/>
                  <a:pt x="159620" y="1440607"/>
                </a:cubicBezTo>
                <a:cubicBezTo>
                  <a:pt x="158798" y="1440607"/>
                  <a:pt x="157152" y="1440607"/>
                  <a:pt x="156741" y="1439785"/>
                </a:cubicBezTo>
                <a:cubicBezTo>
                  <a:pt x="152626" y="1436086"/>
                  <a:pt x="148923" y="1432800"/>
                  <a:pt x="143574" y="1438141"/>
                </a:cubicBezTo>
                <a:cubicBezTo>
                  <a:pt x="141928" y="1440196"/>
                  <a:pt x="140693" y="1438141"/>
                  <a:pt x="140282" y="1436497"/>
                </a:cubicBezTo>
                <a:cubicBezTo>
                  <a:pt x="139047" y="1429512"/>
                  <a:pt x="135755" y="1429512"/>
                  <a:pt x="130817" y="1433622"/>
                </a:cubicBezTo>
                <a:cubicBezTo>
                  <a:pt x="127526" y="1436497"/>
                  <a:pt x="125880" y="1435676"/>
                  <a:pt x="125880" y="1431566"/>
                </a:cubicBezTo>
                <a:cubicBezTo>
                  <a:pt x="125880" y="1429101"/>
                  <a:pt x="126703" y="1426223"/>
                  <a:pt x="122999" y="1425812"/>
                </a:cubicBezTo>
                <a:cubicBezTo>
                  <a:pt x="114770" y="1424169"/>
                  <a:pt x="111479" y="1418416"/>
                  <a:pt x="111889" y="1411019"/>
                </a:cubicBezTo>
                <a:cubicBezTo>
                  <a:pt x="112300" y="1405677"/>
                  <a:pt x="110656" y="1403210"/>
                  <a:pt x="106952" y="1401156"/>
                </a:cubicBezTo>
                <a:cubicBezTo>
                  <a:pt x="106952" y="1399512"/>
                  <a:pt x="106952" y="1397870"/>
                  <a:pt x="106952" y="1396225"/>
                </a:cubicBezTo>
                <a:cubicBezTo>
                  <a:pt x="111067" y="1393759"/>
                  <a:pt x="112300" y="1389238"/>
                  <a:pt x="111067" y="1385129"/>
                </a:cubicBezTo>
                <a:cubicBezTo>
                  <a:pt x="109010" y="1377732"/>
                  <a:pt x="111479" y="1371979"/>
                  <a:pt x="116828" y="1367047"/>
                </a:cubicBezTo>
                <a:cubicBezTo>
                  <a:pt x="118885" y="1364993"/>
                  <a:pt x="120942" y="1363348"/>
                  <a:pt x="121765" y="1360473"/>
                </a:cubicBezTo>
                <a:cubicBezTo>
                  <a:pt x="122588" y="1355952"/>
                  <a:pt x="125057" y="1353486"/>
                  <a:pt x="129583" y="1353897"/>
                </a:cubicBezTo>
                <a:cubicBezTo>
                  <a:pt x="132875" y="1353897"/>
                  <a:pt x="135344" y="1351843"/>
                  <a:pt x="136579" y="1350198"/>
                </a:cubicBezTo>
                <a:cubicBezTo>
                  <a:pt x="140076" y="1345266"/>
                  <a:pt x="144397" y="1344136"/>
                  <a:pt x="148923" y="1344085"/>
                </a:cubicBezTo>
                <a:cubicBezTo>
                  <a:pt x="153449" y="1344034"/>
                  <a:pt x="158182" y="1345062"/>
                  <a:pt x="162501" y="1344445"/>
                </a:cubicBezTo>
                <a:cubicBezTo>
                  <a:pt x="164352" y="1344240"/>
                  <a:pt x="167233" y="1343623"/>
                  <a:pt x="169856" y="1343418"/>
                </a:cubicBezTo>
                <a:close/>
                <a:moveTo>
                  <a:pt x="977648" y="1343134"/>
                </a:moveTo>
                <a:cubicBezTo>
                  <a:pt x="981026" y="1343173"/>
                  <a:pt x="984251" y="1344016"/>
                  <a:pt x="986861" y="1347698"/>
                </a:cubicBezTo>
                <a:cubicBezTo>
                  <a:pt x="987782" y="1348924"/>
                  <a:pt x="989626" y="1350458"/>
                  <a:pt x="992081" y="1350458"/>
                </a:cubicBezTo>
                <a:cubicBezTo>
                  <a:pt x="995461" y="1350151"/>
                  <a:pt x="997304" y="1351993"/>
                  <a:pt x="997918" y="1355367"/>
                </a:cubicBezTo>
                <a:cubicBezTo>
                  <a:pt x="998532" y="1357513"/>
                  <a:pt x="1000068" y="1358740"/>
                  <a:pt x="1001603" y="1360274"/>
                </a:cubicBezTo>
                <a:cubicBezTo>
                  <a:pt x="1005596" y="1363953"/>
                  <a:pt x="1007438" y="1368248"/>
                  <a:pt x="1005903" y="1373770"/>
                </a:cubicBezTo>
                <a:cubicBezTo>
                  <a:pt x="1004983" y="1376837"/>
                  <a:pt x="1005903" y="1380211"/>
                  <a:pt x="1008974" y="1382053"/>
                </a:cubicBezTo>
                <a:cubicBezTo>
                  <a:pt x="1008974" y="1383278"/>
                  <a:pt x="1008974" y="1384505"/>
                  <a:pt x="1008974" y="1385733"/>
                </a:cubicBezTo>
                <a:cubicBezTo>
                  <a:pt x="1006211" y="1387266"/>
                  <a:pt x="1004983" y="1389107"/>
                  <a:pt x="1005288" y="1393094"/>
                </a:cubicBezTo>
                <a:cubicBezTo>
                  <a:pt x="1005596" y="1398615"/>
                  <a:pt x="1003139" y="1402910"/>
                  <a:pt x="996996" y="1404138"/>
                </a:cubicBezTo>
                <a:cubicBezTo>
                  <a:pt x="994233" y="1404444"/>
                  <a:pt x="994847" y="1406591"/>
                  <a:pt x="994847" y="1408431"/>
                </a:cubicBezTo>
                <a:cubicBezTo>
                  <a:pt x="994847" y="1411499"/>
                  <a:pt x="993617" y="1412112"/>
                  <a:pt x="991161" y="1409964"/>
                </a:cubicBezTo>
                <a:cubicBezTo>
                  <a:pt x="987474" y="1406898"/>
                  <a:pt x="985019" y="1406898"/>
                  <a:pt x="984097" y="1412112"/>
                </a:cubicBezTo>
                <a:cubicBezTo>
                  <a:pt x="983789" y="1413338"/>
                  <a:pt x="982869" y="1414873"/>
                  <a:pt x="981639" y="1413338"/>
                </a:cubicBezTo>
                <a:cubicBezTo>
                  <a:pt x="977647" y="1409351"/>
                  <a:pt x="974883" y="1411806"/>
                  <a:pt x="971812" y="1414566"/>
                </a:cubicBezTo>
                <a:cubicBezTo>
                  <a:pt x="971505" y="1415180"/>
                  <a:pt x="970276" y="1415180"/>
                  <a:pt x="969662" y="1415180"/>
                </a:cubicBezTo>
                <a:cubicBezTo>
                  <a:pt x="962291" y="1410886"/>
                  <a:pt x="955227" y="1405977"/>
                  <a:pt x="947856" y="1401375"/>
                </a:cubicBezTo>
                <a:cubicBezTo>
                  <a:pt x="944477" y="1399228"/>
                  <a:pt x="942636" y="1393402"/>
                  <a:pt x="941100" y="1388800"/>
                </a:cubicBezTo>
                <a:cubicBezTo>
                  <a:pt x="940484" y="1386960"/>
                  <a:pt x="940792" y="1385119"/>
                  <a:pt x="938949" y="1383586"/>
                </a:cubicBezTo>
                <a:cubicBezTo>
                  <a:pt x="937106" y="1382053"/>
                  <a:pt x="937413" y="1380211"/>
                  <a:pt x="938642" y="1378371"/>
                </a:cubicBezTo>
                <a:cubicBezTo>
                  <a:pt x="939257" y="1377144"/>
                  <a:pt x="940484" y="1375611"/>
                  <a:pt x="939564" y="1374384"/>
                </a:cubicBezTo>
                <a:cubicBezTo>
                  <a:pt x="936493" y="1370703"/>
                  <a:pt x="936185" y="1367942"/>
                  <a:pt x="941100" y="1366101"/>
                </a:cubicBezTo>
                <a:cubicBezTo>
                  <a:pt x="942328" y="1365795"/>
                  <a:pt x="942636" y="1363953"/>
                  <a:pt x="941406" y="1363034"/>
                </a:cubicBezTo>
                <a:cubicBezTo>
                  <a:pt x="937413" y="1359660"/>
                  <a:pt x="941714" y="1358127"/>
                  <a:pt x="942328" y="1355672"/>
                </a:cubicBezTo>
                <a:cubicBezTo>
                  <a:pt x="944477" y="1347391"/>
                  <a:pt x="953999" y="1349845"/>
                  <a:pt x="957685" y="1343709"/>
                </a:cubicBezTo>
                <a:cubicBezTo>
                  <a:pt x="958913" y="1341562"/>
                  <a:pt x="964748" y="1343096"/>
                  <a:pt x="967513" y="1343404"/>
                </a:cubicBezTo>
                <a:cubicBezTo>
                  <a:pt x="970737" y="1343864"/>
                  <a:pt x="974270" y="1343096"/>
                  <a:pt x="977648" y="1343134"/>
                </a:cubicBezTo>
                <a:close/>
                <a:moveTo>
                  <a:pt x="8369829" y="1337567"/>
                </a:moveTo>
                <a:lnTo>
                  <a:pt x="8369629" y="1337966"/>
                </a:lnTo>
                <a:cubicBezTo>
                  <a:pt x="8368950" y="1338797"/>
                  <a:pt x="8367801" y="1339523"/>
                  <a:pt x="8365928" y="1339098"/>
                </a:cubicBezTo>
                <a:close/>
                <a:moveTo>
                  <a:pt x="1901444" y="1325150"/>
                </a:moveTo>
                <a:cubicBezTo>
                  <a:pt x="1905695" y="1325102"/>
                  <a:pt x="1910138" y="1326067"/>
                  <a:pt x="1914194" y="1325488"/>
                </a:cubicBezTo>
                <a:cubicBezTo>
                  <a:pt x="1917671" y="1325102"/>
                  <a:pt x="1925012" y="1323172"/>
                  <a:pt x="1926558" y="1325873"/>
                </a:cubicBezTo>
                <a:cubicBezTo>
                  <a:pt x="1931194" y="1333591"/>
                  <a:pt x="1943172" y="1330503"/>
                  <a:pt x="1945877" y="1340922"/>
                </a:cubicBezTo>
                <a:cubicBezTo>
                  <a:pt x="1946648" y="1344009"/>
                  <a:pt x="1952058" y="1345939"/>
                  <a:pt x="1947036" y="1350184"/>
                </a:cubicBezTo>
                <a:cubicBezTo>
                  <a:pt x="1945490" y="1351342"/>
                  <a:pt x="1945877" y="1353656"/>
                  <a:pt x="1947421" y="1354042"/>
                </a:cubicBezTo>
                <a:cubicBezTo>
                  <a:pt x="1953604" y="1356357"/>
                  <a:pt x="1953218" y="1359831"/>
                  <a:pt x="1949353" y="1364460"/>
                </a:cubicBezTo>
                <a:cubicBezTo>
                  <a:pt x="1948194" y="1366004"/>
                  <a:pt x="1949740" y="1367934"/>
                  <a:pt x="1950513" y="1369477"/>
                </a:cubicBezTo>
                <a:cubicBezTo>
                  <a:pt x="1952058" y="1371793"/>
                  <a:pt x="1952445" y="1374108"/>
                  <a:pt x="1950126" y="1376038"/>
                </a:cubicBezTo>
                <a:cubicBezTo>
                  <a:pt x="1947808" y="1377966"/>
                  <a:pt x="1948194" y="1380282"/>
                  <a:pt x="1947421" y="1382597"/>
                </a:cubicBezTo>
                <a:cubicBezTo>
                  <a:pt x="1945490" y="1388385"/>
                  <a:pt x="1943172" y="1395717"/>
                  <a:pt x="1938921" y="1398419"/>
                </a:cubicBezTo>
                <a:cubicBezTo>
                  <a:pt x="1929649" y="1404206"/>
                  <a:pt x="1920762" y="1410381"/>
                  <a:pt x="1911489" y="1415783"/>
                </a:cubicBezTo>
                <a:cubicBezTo>
                  <a:pt x="1910717" y="1415783"/>
                  <a:pt x="1909171" y="1415783"/>
                  <a:pt x="1908785" y="1415011"/>
                </a:cubicBezTo>
                <a:cubicBezTo>
                  <a:pt x="1904921" y="1411537"/>
                  <a:pt x="1901444" y="1408451"/>
                  <a:pt x="1896421" y="1413467"/>
                </a:cubicBezTo>
                <a:cubicBezTo>
                  <a:pt x="1894876" y="1415397"/>
                  <a:pt x="1893716" y="1413467"/>
                  <a:pt x="1893330" y="1411923"/>
                </a:cubicBezTo>
                <a:cubicBezTo>
                  <a:pt x="1892171" y="1405364"/>
                  <a:pt x="1889080" y="1405364"/>
                  <a:pt x="1884443" y="1409223"/>
                </a:cubicBezTo>
                <a:cubicBezTo>
                  <a:pt x="1881353" y="1411923"/>
                  <a:pt x="1879807" y="1411153"/>
                  <a:pt x="1879807" y="1407294"/>
                </a:cubicBezTo>
                <a:cubicBezTo>
                  <a:pt x="1879807" y="1404978"/>
                  <a:pt x="1880580" y="1402277"/>
                  <a:pt x="1877102" y="1401891"/>
                </a:cubicBezTo>
                <a:cubicBezTo>
                  <a:pt x="1869375" y="1400347"/>
                  <a:pt x="1866284" y="1394945"/>
                  <a:pt x="1866670" y="1387999"/>
                </a:cubicBezTo>
                <a:cubicBezTo>
                  <a:pt x="1867056" y="1382983"/>
                  <a:pt x="1865512" y="1380668"/>
                  <a:pt x="1862034" y="1378738"/>
                </a:cubicBezTo>
                <a:cubicBezTo>
                  <a:pt x="1862034" y="1377194"/>
                  <a:pt x="1862034" y="1375652"/>
                  <a:pt x="1862034" y="1374108"/>
                </a:cubicBezTo>
                <a:cubicBezTo>
                  <a:pt x="1865897" y="1371793"/>
                  <a:pt x="1867056" y="1367548"/>
                  <a:pt x="1865897" y="1363690"/>
                </a:cubicBezTo>
                <a:cubicBezTo>
                  <a:pt x="1863966" y="1356743"/>
                  <a:pt x="1866284" y="1351342"/>
                  <a:pt x="1871307" y="1346711"/>
                </a:cubicBezTo>
                <a:cubicBezTo>
                  <a:pt x="1873239" y="1344781"/>
                  <a:pt x="1875170" y="1343237"/>
                  <a:pt x="1875943" y="1340537"/>
                </a:cubicBezTo>
                <a:cubicBezTo>
                  <a:pt x="1876716" y="1336292"/>
                  <a:pt x="1879034" y="1333977"/>
                  <a:pt x="1883284" y="1334362"/>
                </a:cubicBezTo>
                <a:cubicBezTo>
                  <a:pt x="1886375" y="1334362"/>
                  <a:pt x="1888694" y="1332433"/>
                  <a:pt x="1889853" y="1330889"/>
                </a:cubicBezTo>
                <a:cubicBezTo>
                  <a:pt x="1893137" y="1326259"/>
                  <a:pt x="1897194" y="1325198"/>
                  <a:pt x="1901444" y="1325150"/>
                </a:cubicBezTo>
                <a:close/>
                <a:moveTo>
                  <a:pt x="2679609" y="1324257"/>
                </a:moveTo>
                <a:cubicBezTo>
                  <a:pt x="2682781" y="1324293"/>
                  <a:pt x="2685809" y="1325085"/>
                  <a:pt x="2688260" y="1328541"/>
                </a:cubicBezTo>
                <a:cubicBezTo>
                  <a:pt x="2689125" y="1329693"/>
                  <a:pt x="2690856" y="1331133"/>
                  <a:pt x="2693162" y="1331133"/>
                </a:cubicBezTo>
                <a:cubicBezTo>
                  <a:pt x="2696335" y="1330845"/>
                  <a:pt x="2698066" y="1332574"/>
                  <a:pt x="2698642" y="1335742"/>
                </a:cubicBezTo>
                <a:cubicBezTo>
                  <a:pt x="2699219" y="1337758"/>
                  <a:pt x="2700661" y="1338910"/>
                  <a:pt x="2702103" y="1340350"/>
                </a:cubicBezTo>
                <a:cubicBezTo>
                  <a:pt x="2705852" y="1343806"/>
                  <a:pt x="2707582" y="1347839"/>
                  <a:pt x="2706140" y="1353023"/>
                </a:cubicBezTo>
                <a:cubicBezTo>
                  <a:pt x="2705275" y="1355904"/>
                  <a:pt x="2706140" y="1359072"/>
                  <a:pt x="2709024" y="1360800"/>
                </a:cubicBezTo>
                <a:cubicBezTo>
                  <a:pt x="2709024" y="1361951"/>
                  <a:pt x="2709024" y="1363104"/>
                  <a:pt x="2709024" y="1364256"/>
                </a:cubicBezTo>
                <a:cubicBezTo>
                  <a:pt x="2706429" y="1365696"/>
                  <a:pt x="2705275" y="1367424"/>
                  <a:pt x="2705563" y="1371169"/>
                </a:cubicBezTo>
                <a:cubicBezTo>
                  <a:pt x="2705852" y="1376353"/>
                  <a:pt x="2703545" y="1380386"/>
                  <a:pt x="2697777" y="1381538"/>
                </a:cubicBezTo>
                <a:cubicBezTo>
                  <a:pt x="2695182" y="1381825"/>
                  <a:pt x="2695759" y="1383841"/>
                  <a:pt x="2695759" y="1385570"/>
                </a:cubicBezTo>
                <a:cubicBezTo>
                  <a:pt x="2695759" y="1388450"/>
                  <a:pt x="2694604" y="1389027"/>
                  <a:pt x="2692298" y="1387010"/>
                </a:cubicBezTo>
                <a:cubicBezTo>
                  <a:pt x="2688836" y="1384130"/>
                  <a:pt x="2686530" y="1384130"/>
                  <a:pt x="2685665" y="1389027"/>
                </a:cubicBezTo>
                <a:cubicBezTo>
                  <a:pt x="2685376" y="1390178"/>
                  <a:pt x="2684512" y="1391619"/>
                  <a:pt x="2683357" y="1390178"/>
                </a:cubicBezTo>
                <a:cubicBezTo>
                  <a:pt x="2679608" y="1386433"/>
                  <a:pt x="2677013" y="1388738"/>
                  <a:pt x="2674129" y="1391330"/>
                </a:cubicBezTo>
                <a:cubicBezTo>
                  <a:pt x="2673840" y="1391906"/>
                  <a:pt x="2672687" y="1391906"/>
                  <a:pt x="2672110" y="1391906"/>
                </a:cubicBezTo>
                <a:cubicBezTo>
                  <a:pt x="2665189" y="1387874"/>
                  <a:pt x="2658556" y="1383265"/>
                  <a:pt x="2651635" y="1378945"/>
                </a:cubicBezTo>
                <a:cubicBezTo>
                  <a:pt x="2648462" y="1376929"/>
                  <a:pt x="2646733" y="1371457"/>
                  <a:pt x="2645291" y="1367137"/>
                </a:cubicBezTo>
                <a:cubicBezTo>
                  <a:pt x="2644713" y="1365408"/>
                  <a:pt x="2645002" y="1363680"/>
                  <a:pt x="2643271" y="1362240"/>
                </a:cubicBezTo>
                <a:cubicBezTo>
                  <a:pt x="2641541" y="1360800"/>
                  <a:pt x="2641829" y="1359072"/>
                  <a:pt x="2642983" y="1357343"/>
                </a:cubicBezTo>
                <a:cubicBezTo>
                  <a:pt x="2643560" y="1356191"/>
                  <a:pt x="2644713" y="1354751"/>
                  <a:pt x="2643849" y="1353599"/>
                </a:cubicBezTo>
                <a:cubicBezTo>
                  <a:pt x="2640965" y="1350143"/>
                  <a:pt x="2640676" y="1347550"/>
                  <a:pt x="2645291" y="1345823"/>
                </a:cubicBezTo>
                <a:cubicBezTo>
                  <a:pt x="2646444" y="1345534"/>
                  <a:pt x="2646733" y="1343806"/>
                  <a:pt x="2645578" y="1342942"/>
                </a:cubicBezTo>
                <a:cubicBezTo>
                  <a:pt x="2641829" y="1339774"/>
                  <a:pt x="2645867" y="1338334"/>
                  <a:pt x="2646444" y="1336030"/>
                </a:cubicBezTo>
                <a:cubicBezTo>
                  <a:pt x="2648462" y="1328253"/>
                  <a:pt x="2657403" y="1330557"/>
                  <a:pt x="2660864" y="1324797"/>
                </a:cubicBezTo>
                <a:cubicBezTo>
                  <a:pt x="2662017" y="1322781"/>
                  <a:pt x="2667496" y="1324220"/>
                  <a:pt x="2670092" y="1324509"/>
                </a:cubicBezTo>
                <a:cubicBezTo>
                  <a:pt x="2673120" y="1324941"/>
                  <a:pt x="2676437" y="1324221"/>
                  <a:pt x="2679609" y="1324257"/>
                </a:cubicBezTo>
                <a:close/>
                <a:moveTo>
                  <a:pt x="466848" y="1320313"/>
                </a:moveTo>
                <a:cubicBezTo>
                  <a:pt x="469992" y="1320348"/>
                  <a:pt x="472992" y="1321133"/>
                  <a:pt x="475421" y="1324559"/>
                </a:cubicBezTo>
                <a:cubicBezTo>
                  <a:pt x="476280" y="1325701"/>
                  <a:pt x="477994" y="1327128"/>
                  <a:pt x="480282" y="1327128"/>
                </a:cubicBezTo>
                <a:cubicBezTo>
                  <a:pt x="483424" y="1326842"/>
                  <a:pt x="485140" y="1328556"/>
                  <a:pt x="485711" y="1331694"/>
                </a:cubicBezTo>
                <a:cubicBezTo>
                  <a:pt x="486283" y="1333693"/>
                  <a:pt x="487712" y="1334834"/>
                  <a:pt x="489140" y="1336262"/>
                </a:cubicBezTo>
                <a:cubicBezTo>
                  <a:pt x="492857" y="1339687"/>
                  <a:pt x="494572" y="1343683"/>
                  <a:pt x="493142" y="1348821"/>
                </a:cubicBezTo>
                <a:cubicBezTo>
                  <a:pt x="492285" y="1351675"/>
                  <a:pt x="493142" y="1354816"/>
                  <a:pt x="496000" y="1356528"/>
                </a:cubicBezTo>
                <a:cubicBezTo>
                  <a:pt x="496000" y="1357670"/>
                  <a:pt x="496000" y="1358812"/>
                  <a:pt x="496000" y="1359953"/>
                </a:cubicBezTo>
                <a:cubicBezTo>
                  <a:pt x="493428" y="1361380"/>
                  <a:pt x="492285" y="1363094"/>
                  <a:pt x="492571" y="1366804"/>
                </a:cubicBezTo>
                <a:cubicBezTo>
                  <a:pt x="492857" y="1371942"/>
                  <a:pt x="490571" y="1375938"/>
                  <a:pt x="484854" y="1377080"/>
                </a:cubicBezTo>
                <a:cubicBezTo>
                  <a:pt x="482282" y="1377365"/>
                  <a:pt x="482854" y="1379362"/>
                  <a:pt x="482854" y="1381076"/>
                </a:cubicBezTo>
                <a:cubicBezTo>
                  <a:pt x="482854" y="1383930"/>
                  <a:pt x="481710" y="1384501"/>
                  <a:pt x="479423" y="1382503"/>
                </a:cubicBezTo>
                <a:cubicBezTo>
                  <a:pt x="475993" y="1379649"/>
                  <a:pt x="473707" y="1379649"/>
                  <a:pt x="472849" y="1384501"/>
                </a:cubicBezTo>
                <a:cubicBezTo>
                  <a:pt x="472565" y="1385643"/>
                  <a:pt x="471707" y="1387071"/>
                  <a:pt x="470563" y="1385643"/>
                </a:cubicBezTo>
                <a:cubicBezTo>
                  <a:pt x="466848" y="1381932"/>
                  <a:pt x="464276" y="1384216"/>
                  <a:pt x="461418" y="1386785"/>
                </a:cubicBezTo>
                <a:cubicBezTo>
                  <a:pt x="461131" y="1387356"/>
                  <a:pt x="459988" y="1387356"/>
                  <a:pt x="459417" y="1387356"/>
                </a:cubicBezTo>
                <a:cubicBezTo>
                  <a:pt x="452557" y="1383360"/>
                  <a:pt x="445984" y="1378793"/>
                  <a:pt x="439125" y="1374512"/>
                </a:cubicBezTo>
                <a:cubicBezTo>
                  <a:pt x="435981" y="1372513"/>
                  <a:pt x="434266" y="1367090"/>
                  <a:pt x="432837" y="1362809"/>
                </a:cubicBezTo>
                <a:cubicBezTo>
                  <a:pt x="432266" y="1361096"/>
                  <a:pt x="432551" y="1359383"/>
                  <a:pt x="430836" y="1357955"/>
                </a:cubicBezTo>
                <a:cubicBezTo>
                  <a:pt x="429121" y="1356528"/>
                  <a:pt x="429407" y="1354816"/>
                  <a:pt x="430551" y="1353102"/>
                </a:cubicBezTo>
                <a:cubicBezTo>
                  <a:pt x="431123" y="1351961"/>
                  <a:pt x="432266" y="1350534"/>
                  <a:pt x="431408" y="1349392"/>
                </a:cubicBezTo>
                <a:cubicBezTo>
                  <a:pt x="428550" y="1345967"/>
                  <a:pt x="428264" y="1343397"/>
                  <a:pt x="432837" y="1341685"/>
                </a:cubicBezTo>
                <a:cubicBezTo>
                  <a:pt x="433981" y="1341399"/>
                  <a:pt x="434266" y="1339687"/>
                  <a:pt x="433123" y="1338832"/>
                </a:cubicBezTo>
                <a:cubicBezTo>
                  <a:pt x="429407" y="1335691"/>
                  <a:pt x="433409" y="1334264"/>
                  <a:pt x="433981" y="1331981"/>
                </a:cubicBezTo>
                <a:cubicBezTo>
                  <a:pt x="435981" y="1324274"/>
                  <a:pt x="444841" y="1326557"/>
                  <a:pt x="448271" y="1320848"/>
                </a:cubicBezTo>
                <a:cubicBezTo>
                  <a:pt x="449415" y="1318850"/>
                  <a:pt x="454845" y="1320278"/>
                  <a:pt x="457416" y="1320563"/>
                </a:cubicBezTo>
                <a:cubicBezTo>
                  <a:pt x="460417" y="1320990"/>
                  <a:pt x="463704" y="1320277"/>
                  <a:pt x="466848" y="1320313"/>
                </a:cubicBezTo>
                <a:close/>
                <a:moveTo>
                  <a:pt x="12191438" y="1309133"/>
                </a:moveTo>
                <a:lnTo>
                  <a:pt x="12192528" y="1309308"/>
                </a:lnTo>
                <a:lnTo>
                  <a:pt x="12192528" y="1309531"/>
                </a:lnTo>
                <a:close/>
                <a:moveTo>
                  <a:pt x="2199973" y="1302827"/>
                </a:moveTo>
                <a:cubicBezTo>
                  <a:pt x="2202925" y="1302860"/>
                  <a:pt x="2205742" y="1303598"/>
                  <a:pt x="2208023" y="1306814"/>
                </a:cubicBezTo>
                <a:cubicBezTo>
                  <a:pt x="2208829" y="1307886"/>
                  <a:pt x="2210439" y="1309227"/>
                  <a:pt x="2212587" y="1309227"/>
                </a:cubicBezTo>
                <a:cubicBezTo>
                  <a:pt x="2215538" y="1308959"/>
                  <a:pt x="2217149" y="1310567"/>
                  <a:pt x="2217685" y="1313514"/>
                </a:cubicBezTo>
                <a:cubicBezTo>
                  <a:pt x="2218222" y="1315391"/>
                  <a:pt x="2219564" y="1316463"/>
                  <a:pt x="2220905" y="1317803"/>
                </a:cubicBezTo>
                <a:cubicBezTo>
                  <a:pt x="2224395" y="1321019"/>
                  <a:pt x="2226005" y="1324771"/>
                  <a:pt x="2224662" y="1329596"/>
                </a:cubicBezTo>
                <a:cubicBezTo>
                  <a:pt x="2223858" y="1332277"/>
                  <a:pt x="2224662" y="1335225"/>
                  <a:pt x="2227346" y="1336833"/>
                </a:cubicBezTo>
                <a:cubicBezTo>
                  <a:pt x="2227346" y="1337906"/>
                  <a:pt x="2227346" y="1338977"/>
                  <a:pt x="2227346" y="1340049"/>
                </a:cubicBezTo>
                <a:cubicBezTo>
                  <a:pt x="2224931" y="1341390"/>
                  <a:pt x="2223858" y="1342998"/>
                  <a:pt x="2224126" y="1346482"/>
                </a:cubicBezTo>
                <a:cubicBezTo>
                  <a:pt x="2224395" y="1351307"/>
                  <a:pt x="2222247" y="1355059"/>
                  <a:pt x="2216880" y="1356131"/>
                </a:cubicBezTo>
                <a:cubicBezTo>
                  <a:pt x="2214465" y="1356399"/>
                  <a:pt x="2215001" y="1358275"/>
                  <a:pt x="2215001" y="1359883"/>
                </a:cubicBezTo>
                <a:cubicBezTo>
                  <a:pt x="2215001" y="1362564"/>
                  <a:pt x="2213928" y="1363099"/>
                  <a:pt x="2211781" y="1361223"/>
                </a:cubicBezTo>
                <a:cubicBezTo>
                  <a:pt x="2208560" y="1358544"/>
                  <a:pt x="2206413" y="1358544"/>
                  <a:pt x="2205608" y="1363099"/>
                </a:cubicBezTo>
                <a:cubicBezTo>
                  <a:pt x="2205341" y="1364172"/>
                  <a:pt x="2204535" y="1365512"/>
                  <a:pt x="2203461" y="1364172"/>
                </a:cubicBezTo>
                <a:cubicBezTo>
                  <a:pt x="2199973" y="1360688"/>
                  <a:pt x="2197558" y="1362831"/>
                  <a:pt x="2194874" y="1365244"/>
                </a:cubicBezTo>
                <a:cubicBezTo>
                  <a:pt x="2194605" y="1365780"/>
                  <a:pt x="2193531" y="1365780"/>
                  <a:pt x="2192995" y="1365780"/>
                </a:cubicBezTo>
                <a:cubicBezTo>
                  <a:pt x="2186554" y="1362028"/>
                  <a:pt x="2180382" y="1357739"/>
                  <a:pt x="2173941" y="1353719"/>
                </a:cubicBezTo>
                <a:cubicBezTo>
                  <a:pt x="2170989" y="1351842"/>
                  <a:pt x="2169378" y="1346750"/>
                  <a:pt x="2168037" y="1342730"/>
                </a:cubicBezTo>
                <a:cubicBezTo>
                  <a:pt x="2167500" y="1341122"/>
                  <a:pt x="2167768" y="1339514"/>
                  <a:pt x="2166158" y="1338173"/>
                </a:cubicBezTo>
                <a:cubicBezTo>
                  <a:pt x="2164547" y="1336833"/>
                  <a:pt x="2164816" y="1335225"/>
                  <a:pt x="2165890" y="1333617"/>
                </a:cubicBezTo>
                <a:cubicBezTo>
                  <a:pt x="2166427" y="1332544"/>
                  <a:pt x="2167500" y="1331204"/>
                  <a:pt x="2166695" y="1330133"/>
                </a:cubicBezTo>
                <a:cubicBezTo>
                  <a:pt x="2164011" y="1326916"/>
                  <a:pt x="2163743" y="1324504"/>
                  <a:pt x="2168037" y="1322895"/>
                </a:cubicBezTo>
                <a:cubicBezTo>
                  <a:pt x="2169111" y="1322628"/>
                  <a:pt x="2169378" y="1321019"/>
                  <a:pt x="2168305" y="1320216"/>
                </a:cubicBezTo>
                <a:cubicBezTo>
                  <a:pt x="2164816" y="1317267"/>
                  <a:pt x="2168574" y="1315927"/>
                  <a:pt x="2169111" y="1313783"/>
                </a:cubicBezTo>
                <a:cubicBezTo>
                  <a:pt x="2170989" y="1306546"/>
                  <a:pt x="2179308" y="1308690"/>
                  <a:pt x="2182529" y="1303330"/>
                </a:cubicBezTo>
                <a:cubicBezTo>
                  <a:pt x="2183603" y="1301454"/>
                  <a:pt x="2188701" y="1302794"/>
                  <a:pt x="2191116" y="1303062"/>
                </a:cubicBezTo>
                <a:cubicBezTo>
                  <a:pt x="2193934" y="1303464"/>
                  <a:pt x="2197021" y="1302793"/>
                  <a:pt x="2199973" y="1302827"/>
                </a:cubicBezTo>
                <a:close/>
                <a:moveTo>
                  <a:pt x="8123738" y="1295917"/>
                </a:moveTo>
                <a:lnTo>
                  <a:pt x="8118487" y="1298762"/>
                </a:lnTo>
                <a:cubicBezTo>
                  <a:pt x="8110368" y="1303075"/>
                  <a:pt x="8102756" y="1307224"/>
                  <a:pt x="8096071" y="1311213"/>
                </a:cubicBezTo>
                <a:lnTo>
                  <a:pt x="8089514" y="1315681"/>
                </a:lnTo>
                <a:close/>
                <a:moveTo>
                  <a:pt x="5839320" y="1269662"/>
                </a:moveTo>
                <a:lnTo>
                  <a:pt x="5849364" y="1270271"/>
                </a:lnTo>
                <a:cubicBezTo>
                  <a:pt x="5849364" y="1270271"/>
                  <a:pt x="5849364" y="1270271"/>
                  <a:pt x="5844952" y="1270271"/>
                </a:cubicBezTo>
                <a:cubicBezTo>
                  <a:pt x="5840538" y="1270271"/>
                  <a:pt x="5840538" y="1270271"/>
                  <a:pt x="5840538" y="1270271"/>
                </a:cubicBezTo>
                <a:close/>
                <a:moveTo>
                  <a:pt x="8260284" y="1261482"/>
                </a:moveTo>
                <a:cubicBezTo>
                  <a:pt x="8099248" y="1330563"/>
                  <a:pt x="7953433" y="1430147"/>
                  <a:pt x="7803694" y="1518508"/>
                </a:cubicBezTo>
                <a:lnTo>
                  <a:pt x="7802681" y="1516829"/>
                </a:lnTo>
                <a:lnTo>
                  <a:pt x="7767484" y="1549228"/>
                </a:lnTo>
                <a:cubicBezTo>
                  <a:pt x="7732212" y="1578584"/>
                  <a:pt x="7702306" y="1610681"/>
                  <a:pt x="7676563" y="1627987"/>
                </a:cubicBezTo>
                <a:cubicBezTo>
                  <a:pt x="7681934" y="1630726"/>
                  <a:pt x="7677881" y="1632040"/>
                  <a:pt x="7671090" y="1638722"/>
                </a:cubicBezTo>
                <a:cubicBezTo>
                  <a:pt x="7673829" y="1633355"/>
                  <a:pt x="7672512" y="1629302"/>
                  <a:pt x="7669773" y="1634671"/>
                </a:cubicBezTo>
                <a:cubicBezTo>
                  <a:pt x="7667038" y="1640038"/>
                  <a:pt x="7620918" y="1677390"/>
                  <a:pt x="7630342" y="1678814"/>
                </a:cubicBezTo>
                <a:cubicBezTo>
                  <a:pt x="7614021" y="1697545"/>
                  <a:pt x="7604598" y="1696122"/>
                  <a:pt x="7604598" y="1696122"/>
                </a:cubicBezTo>
                <a:cubicBezTo>
                  <a:pt x="7592331" y="1713538"/>
                  <a:pt x="7605913" y="1700174"/>
                  <a:pt x="7611280" y="1702913"/>
                </a:cubicBezTo>
                <a:cubicBezTo>
                  <a:pt x="7594959" y="1721645"/>
                  <a:pt x="7594959" y="1721645"/>
                  <a:pt x="7594959" y="1721645"/>
                </a:cubicBezTo>
                <a:cubicBezTo>
                  <a:pt x="7599122" y="1706856"/>
                  <a:pt x="7585540" y="1720220"/>
                  <a:pt x="7581487" y="1721535"/>
                </a:cubicBezTo>
                <a:cubicBezTo>
                  <a:pt x="7571848" y="1747057"/>
                  <a:pt x="7531208" y="1773676"/>
                  <a:pt x="7507986" y="1812562"/>
                </a:cubicBezTo>
                <a:cubicBezTo>
                  <a:pt x="7503933" y="1813876"/>
                  <a:pt x="7505250" y="1817929"/>
                  <a:pt x="7501198" y="1819243"/>
                </a:cubicBezTo>
                <a:cubicBezTo>
                  <a:pt x="7497145" y="1820559"/>
                  <a:pt x="7498458" y="1824612"/>
                  <a:pt x="7498458" y="1824612"/>
                </a:cubicBezTo>
                <a:cubicBezTo>
                  <a:pt x="7495720" y="1829979"/>
                  <a:pt x="7499773" y="1828664"/>
                  <a:pt x="7502513" y="1823297"/>
                </a:cubicBezTo>
                <a:cubicBezTo>
                  <a:pt x="7502513" y="1823297"/>
                  <a:pt x="7502513" y="1823297"/>
                  <a:pt x="7506564" y="1821982"/>
                </a:cubicBezTo>
                <a:cubicBezTo>
                  <a:pt x="7475241" y="1863498"/>
                  <a:pt x="7453549" y="1879491"/>
                  <a:pt x="7426279" y="1919691"/>
                </a:cubicBezTo>
                <a:cubicBezTo>
                  <a:pt x="7420913" y="1916953"/>
                  <a:pt x="7418174" y="1922321"/>
                  <a:pt x="7412805" y="1919582"/>
                </a:cubicBezTo>
                <a:lnTo>
                  <a:pt x="7371706" y="1978466"/>
                </a:lnTo>
                <a:lnTo>
                  <a:pt x="7377643" y="1988410"/>
                </a:lnTo>
                <a:lnTo>
                  <a:pt x="7408533" y="1947843"/>
                </a:lnTo>
                <a:cubicBezTo>
                  <a:pt x="7412586" y="1946529"/>
                  <a:pt x="7423432" y="1938532"/>
                  <a:pt x="7423432" y="1938532"/>
                </a:cubicBezTo>
                <a:cubicBezTo>
                  <a:pt x="7442490" y="1914433"/>
                  <a:pt x="7460234" y="1886281"/>
                  <a:pt x="7476552" y="1867550"/>
                </a:cubicBezTo>
                <a:cubicBezTo>
                  <a:pt x="7480604" y="1866235"/>
                  <a:pt x="7477866" y="1871603"/>
                  <a:pt x="7484657" y="1864921"/>
                </a:cubicBezTo>
                <a:cubicBezTo>
                  <a:pt x="7480604" y="1866235"/>
                  <a:pt x="7483346" y="1860870"/>
                  <a:pt x="7482028" y="1856816"/>
                </a:cubicBezTo>
                <a:cubicBezTo>
                  <a:pt x="7507878" y="1826035"/>
                  <a:pt x="7536357" y="1803360"/>
                  <a:pt x="7559467" y="1777947"/>
                </a:cubicBezTo>
                <a:cubicBezTo>
                  <a:pt x="7556729" y="1783314"/>
                  <a:pt x="7552677" y="1784629"/>
                  <a:pt x="7549940" y="1789996"/>
                </a:cubicBezTo>
                <a:cubicBezTo>
                  <a:pt x="7534932" y="1812780"/>
                  <a:pt x="7518612" y="1831512"/>
                  <a:pt x="7525405" y="1824830"/>
                </a:cubicBezTo>
                <a:cubicBezTo>
                  <a:pt x="7509084" y="1843561"/>
                  <a:pt x="7491340" y="1871712"/>
                  <a:pt x="7479071" y="1889129"/>
                </a:cubicBezTo>
                <a:cubicBezTo>
                  <a:pt x="7476335" y="1894497"/>
                  <a:pt x="7476335" y="1894497"/>
                  <a:pt x="7472282" y="1895812"/>
                </a:cubicBezTo>
                <a:cubicBezTo>
                  <a:pt x="7473705" y="1886390"/>
                  <a:pt x="7466808" y="1906546"/>
                  <a:pt x="7464177" y="1898440"/>
                </a:cubicBezTo>
                <a:cubicBezTo>
                  <a:pt x="7458702" y="1909175"/>
                  <a:pt x="7453223" y="1919910"/>
                  <a:pt x="7450485" y="1925278"/>
                </a:cubicBezTo>
                <a:cubicBezTo>
                  <a:pt x="7440958" y="1937326"/>
                  <a:pt x="7434165" y="1944009"/>
                  <a:pt x="7428687" y="1954743"/>
                </a:cubicBezTo>
                <a:cubicBezTo>
                  <a:pt x="7412360" y="1973474"/>
                  <a:pt x="7391997" y="1993521"/>
                  <a:pt x="7385207" y="2000202"/>
                </a:cubicBezTo>
                <a:cubicBezTo>
                  <a:pt x="7387232" y="1999545"/>
                  <a:pt x="7387561" y="2000558"/>
                  <a:pt x="7387380" y="2001736"/>
                </a:cubicBezTo>
                <a:lnTo>
                  <a:pt x="7386735" y="2003634"/>
                </a:lnTo>
                <a:lnTo>
                  <a:pt x="7396409" y="2019844"/>
                </a:lnTo>
                <a:lnTo>
                  <a:pt x="7462534" y="1934806"/>
                </a:lnTo>
                <a:cubicBezTo>
                  <a:pt x="7469327" y="1928125"/>
                  <a:pt x="7484221" y="1918813"/>
                  <a:pt x="7481591" y="1910708"/>
                </a:cubicBezTo>
                <a:cubicBezTo>
                  <a:pt x="7481591" y="1910708"/>
                  <a:pt x="7481591" y="1910708"/>
                  <a:pt x="7485646" y="1909393"/>
                </a:cubicBezTo>
                <a:cubicBezTo>
                  <a:pt x="7489697" y="1908079"/>
                  <a:pt x="7492435" y="1902712"/>
                  <a:pt x="7496487" y="1901397"/>
                </a:cubicBezTo>
                <a:cubicBezTo>
                  <a:pt x="7496487" y="1901397"/>
                  <a:pt x="7499228" y="1896029"/>
                  <a:pt x="7499228" y="1896029"/>
                </a:cubicBezTo>
                <a:cubicBezTo>
                  <a:pt x="7499228" y="1896029"/>
                  <a:pt x="7495175" y="1897344"/>
                  <a:pt x="7495175" y="1897344"/>
                </a:cubicBezTo>
                <a:cubicBezTo>
                  <a:pt x="7511494" y="1878613"/>
                  <a:pt x="7527814" y="1859882"/>
                  <a:pt x="7544135" y="1841151"/>
                </a:cubicBezTo>
                <a:cubicBezTo>
                  <a:pt x="7583568" y="1797006"/>
                  <a:pt x="7583568" y="1797006"/>
                  <a:pt x="7583568" y="1797006"/>
                </a:cubicBezTo>
                <a:lnTo>
                  <a:pt x="7585733" y="1794876"/>
                </a:lnTo>
                <a:lnTo>
                  <a:pt x="7586554" y="1793880"/>
                </a:lnTo>
                <a:lnTo>
                  <a:pt x="7661003" y="1718541"/>
                </a:lnTo>
                <a:lnTo>
                  <a:pt x="7661013" y="1718136"/>
                </a:lnTo>
                <a:lnTo>
                  <a:pt x="7670454" y="1708976"/>
                </a:lnTo>
                <a:lnTo>
                  <a:pt x="7788388" y="1589632"/>
                </a:lnTo>
                <a:cubicBezTo>
                  <a:pt x="7932218" y="1460136"/>
                  <a:pt x="8087344" y="1349920"/>
                  <a:pt x="8260284" y="1261482"/>
                </a:cubicBezTo>
                <a:close/>
                <a:moveTo>
                  <a:pt x="12104980" y="1249920"/>
                </a:moveTo>
                <a:lnTo>
                  <a:pt x="12105097" y="1250254"/>
                </a:lnTo>
                <a:lnTo>
                  <a:pt x="12104628" y="1250151"/>
                </a:lnTo>
                <a:close/>
                <a:moveTo>
                  <a:pt x="8417266" y="1232514"/>
                </a:moveTo>
                <a:lnTo>
                  <a:pt x="8411559" y="1234786"/>
                </a:lnTo>
                <a:lnTo>
                  <a:pt x="8410022" y="1237798"/>
                </a:lnTo>
                <a:cubicBezTo>
                  <a:pt x="8414074" y="1236484"/>
                  <a:pt x="8418129" y="1235169"/>
                  <a:pt x="8418129" y="1235169"/>
                </a:cubicBezTo>
                <a:close/>
                <a:moveTo>
                  <a:pt x="2911864" y="1232309"/>
                </a:moveTo>
                <a:cubicBezTo>
                  <a:pt x="2898331" y="1241075"/>
                  <a:pt x="2871803" y="1274270"/>
                  <a:pt x="2863322" y="1295774"/>
                </a:cubicBezTo>
                <a:lnTo>
                  <a:pt x="2850587" y="1310351"/>
                </a:lnTo>
                <a:lnTo>
                  <a:pt x="2852691" y="1311805"/>
                </a:lnTo>
                <a:cubicBezTo>
                  <a:pt x="2857783" y="1313768"/>
                  <a:pt x="2862737" y="1314142"/>
                  <a:pt x="2867409" y="1313020"/>
                </a:cubicBezTo>
                <a:cubicBezTo>
                  <a:pt x="2876754" y="1310776"/>
                  <a:pt x="2884978" y="1302549"/>
                  <a:pt x="2890959" y="1289088"/>
                </a:cubicBezTo>
                <a:cubicBezTo>
                  <a:pt x="2896940" y="1274132"/>
                  <a:pt x="2899930" y="1259174"/>
                  <a:pt x="2905911" y="1244216"/>
                </a:cubicBezTo>
                <a:lnTo>
                  <a:pt x="2911933" y="1233374"/>
                </a:lnTo>
                <a:close/>
                <a:moveTo>
                  <a:pt x="2155643" y="1216915"/>
                </a:moveTo>
                <a:cubicBezTo>
                  <a:pt x="2158788" y="1216951"/>
                  <a:pt x="2161788" y="1217736"/>
                  <a:pt x="2164217" y="1221161"/>
                </a:cubicBezTo>
                <a:cubicBezTo>
                  <a:pt x="2165075" y="1222303"/>
                  <a:pt x="2166790" y="1223730"/>
                  <a:pt x="2169076" y="1223730"/>
                </a:cubicBezTo>
                <a:cubicBezTo>
                  <a:pt x="2172220" y="1223445"/>
                  <a:pt x="2173936" y="1225158"/>
                  <a:pt x="2174507" y="1228297"/>
                </a:cubicBezTo>
                <a:cubicBezTo>
                  <a:pt x="2175078" y="1230296"/>
                  <a:pt x="2176507" y="1231437"/>
                  <a:pt x="2177936" y="1232864"/>
                </a:cubicBezTo>
                <a:cubicBezTo>
                  <a:pt x="2181651" y="1236290"/>
                  <a:pt x="2183367" y="1240285"/>
                  <a:pt x="2181937" y="1245423"/>
                </a:cubicBezTo>
                <a:cubicBezTo>
                  <a:pt x="2181080" y="1248278"/>
                  <a:pt x="2181937" y="1251418"/>
                  <a:pt x="2184795" y="1253130"/>
                </a:cubicBezTo>
                <a:cubicBezTo>
                  <a:pt x="2184795" y="1254273"/>
                  <a:pt x="2184795" y="1255413"/>
                  <a:pt x="2184795" y="1256556"/>
                </a:cubicBezTo>
                <a:cubicBezTo>
                  <a:pt x="2182223" y="1257983"/>
                  <a:pt x="2181080" y="1259696"/>
                  <a:pt x="2181366" y="1263406"/>
                </a:cubicBezTo>
                <a:cubicBezTo>
                  <a:pt x="2181651" y="1268545"/>
                  <a:pt x="2179365" y="1272540"/>
                  <a:pt x="2173649" y="1273682"/>
                </a:cubicBezTo>
                <a:cubicBezTo>
                  <a:pt x="2171077" y="1273967"/>
                  <a:pt x="2171648" y="1275965"/>
                  <a:pt x="2171648" y="1277678"/>
                </a:cubicBezTo>
                <a:cubicBezTo>
                  <a:pt x="2171648" y="1280533"/>
                  <a:pt x="2170505" y="1281103"/>
                  <a:pt x="2168219" y="1279105"/>
                </a:cubicBezTo>
                <a:cubicBezTo>
                  <a:pt x="2164789" y="1276252"/>
                  <a:pt x="2162502" y="1276252"/>
                  <a:pt x="2161645" y="1281103"/>
                </a:cubicBezTo>
                <a:cubicBezTo>
                  <a:pt x="2161359" y="1282245"/>
                  <a:pt x="2160502" y="1283673"/>
                  <a:pt x="2159358" y="1282245"/>
                </a:cubicBezTo>
                <a:cubicBezTo>
                  <a:pt x="2155644" y="1278535"/>
                  <a:pt x="2153072" y="1280818"/>
                  <a:pt x="2150213" y="1283387"/>
                </a:cubicBezTo>
                <a:cubicBezTo>
                  <a:pt x="2149927" y="1283958"/>
                  <a:pt x="2148783" y="1283958"/>
                  <a:pt x="2148211" y="1283958"/>
                </a:cubicBezTo>
                <a:cubicBezTo>
                  <a:pt x="2141353" y="1279962"/>
                  <a:pt x="2134780" y="1275394"/>
                  <a:pt x="2127919" y="1271113"/>
                </a:cubicBezTo>
                <a:cubicBezTo>
                  <a:pt x="2124777" y="1269114"/>
                  <a:pt x="2123061" y="1263691"/>
                  <a:pt x="2121633" y="1259410"/>
                </a:cubicBezTo>
                <a:cubicBezTo>
                  <a:pt x="2121061" y="1257698"/>
                  <a:pt x="2121346" y="1255985"/>
                  <a:pt x="2119632" y="1254558"/>
                </a:cubicBezTo>
                <a:cubicBezTo>
                  <a:pt x="2117916" y="1253130"/>
                  <a:pt x="2118203" y="1251418"/>
                  <a:pt x="2119346" y="1249705"/>
                </a:cubicBezTo>
                <a:cubicBezTo>
                  <a:pt x="2119918" y="1248564"/>
                  <a:pt x="2121061" y="1247135"/>
                  <a:pt x="2120203" y="1245995"/>
                </a:cubicBezTo>
                <a:cubicBezTo>
                  <a:pt x="2117345" y="1242570"/>
                  <a:pt x="2117060" y="1240000"/>
                  <a:pt x="2121633" y="1238288"/>
                </a:cubicBezTo>
                <a:cubicBezTo>
                  <a:pt x="2122776" y="1238002"/>
                  <a:pt x="2123061" y="1236290"/>
                  <a:pt x="2121918" y="1235433"/>
                </a:cubicBezTo>
                <a:cubicBezTo>
                  <a:pt x="2118203" y="1232294"/>
                  <a:pt x="2122205" y="1230866"/>
                  <a:pt x="2122776" y="1228582"/>
                </a:cubicBezTo>
                <a:cubicBezTo>
                  <a:pt x="2124777" y="1220875"/>
                  <a:pt x="2133636" y="1223159"/>
                  <a:pt x="2137066" y="1217450"/>
                </a:cubicBezTo>
                <a:cubicBezTo>
                  <a:pt x="2138209" y="1215452"/>
                  <a:pt x="2143639" y="1216880"/>
                  <a:pt x="2146211" y="1217165"/>
                </a:cubicBezTo>
                <a:cubicBezTo>
                  <a:pt x="2149212" y="1217593"/>
                  <a:pt x="2152500" y="1216880"/>
                  <a:pt x="2155643" y="1216915"/>
                </a:cubicBezTo>
                <a:close/>
                <a:moveTo>
                  <a:pt x="8275194" y="1215563"/>
                </a:moveTo>
                <a:lnTo>
                  <a:pt x="8263740" y="1220296"/>
                </a:lnTo>
                <a:cubicBezTo>
                  <a:pt x="8254207" y="1224787"/>
                  <a:pt x="8243763" y="1230134"/>
                  <a:pt x="8233022" y="1235857"/>
                </a:cubicBezTo>
                <a:lnTo>
                  <a:pt x="8211486" y="1247811"/>
                </a:lnTo>
                <a:close/>
                <a:moveTo>
                  <a:pt x="7487079" y="1209056"/>
                </a:moveTo>
                <a:lnTo>
                  <a:pt x="7486867" y="1209417"/>
                </a:lnTo>
                <a:lnTo>
                  <a:pt x="7486613" y="1209167"/>
                </a:lnTo>
                <a:close/>
                <a:moveTo>
                  <a:pt x="1563784" y="1205899"/>
                </a:moveTo>
                <a:lnTo>
                  <a:pt x="1563518" y="1206342"/>
                </a:lnTo>
                <a:lnTo>
                  <a:pt x="1563209" y="1206035"/>
                </a:lnTo>
                <a:close/>
                <a:moveTo>
                  <a:pt x="4781344" y="1199658"/>
                </a:moveTo>
                <a:cubicBezTo>
                  <a:pt x="4781344" y="1199658"/>
                  <a:pt x="4781344" y="1199658"/>
                  <a:pt x="4785755" y="1199658"/>
                </a:cubicBezTo>
                <a:cubicBezTo>
                  <a:pt x="4790168" y="1199658"/>
                  <a:pt x="4790168" y="1199658"/>
                  <a:pt x="4790168" y="1199658"/>
                </a:cubicBezTo>
                <a:lnTo>
                  <a:pt x="4794583" y="1199658"/>
                </a:lnTo>
                <a:cubicBezTo>
                  <a:pt x="4794583" y="1199658"/>
                  <a:pt x="4790168" y="1199658"/>
                  <a:pt x="4785755" y="1204071"/>
                </a:cubicBezTo>
                <a:cubicBezTo>
                  <a:pt x="4776928" y="1204071"/>
                  <a:pt x="4772515" y="1204071"/>
                  <a:pt x="4768102" y="1204071"/>
                </a:cubicBezTo>
                <a:cubicBezTo>
                  <a:pt x="4772515" y="1199658"/>
                  <a:pt x="4776928" y="1199658"/>
                  <a:pt x="4781344" y="1199658"/>
                </a:cubicBezTo>
                <a:close/>
                <a:moveTo>
                  <a:pt x="62800" y="1178205"/>
                </a:moveTo>
                <a:cubicBezTo>
                  <a:pt x="66542" y="1179032"/>
                  <a:pt x="69869" y="1179861"/>
                  <a:pt x="73611" y="1179861"/>
                </a:cubicBezTo>
                <a:cubicBezTo>
                  <a:pt x="77354" y="1179861"/>
                  <a:pt x="81096" y="1182346"/>
                  <a:pt x="82760" y="1185657"/>
                </a:cubicBezTo>
                <a:cubicBezTo>
                  <a:pt x="84006" y="1188554"/>
                  <a:pt x="85254" y="1190212"/>
                  <a:pt x="87750" y="1191452"/>
                </a:cubicBezTo>
                <a:cubicBezTo>
                  <a:pt x="87750" y="1196420"/>
                  <a:pt x="87750" y="1201388"/>
                  <a:pt x="87750" y="1206355"/>
                </a:cubicBezTo>
                <a:cubicBezTo>
                  <a:pt x="83591" y="1208426"/>
                  <a:pt x="80265" y="1211737"/>
                  <a:pt x="78601" y="1215463"/>
                </a:cubicBezTo>
                <a:cubicBezTo>
                  <a:pt x="76522" y="1218775"/>
                  <a:pt x="74859" y="1222500"/>
                  <a:pt x="72779" y="1226227"/>
                </a:cubicBezTo>
                <a:cubicBezTo>
                  <a:pt x="70700" y="1229539"/>
                  <a:pt x="68621" y="1233264"/>
                  <a:pt x="68205" y="1237405"/>
                </a:cubicBezTo>
                <a:cubicBezTo>
                  <a:pt x="67373" y="1241130"/>
                  <a:pt x="64879" y="1242786"/>
                  <a:pt x="61967" y="1244856"/>
                </a:cubicBezTo>
                <a:cubicBezTo>
                  <a:pt x="59056" y="1246926"/>
                  <a:pt x="54897" y="1246511"/>
                  <a:pt x="52820" y="1249409"/>
                </a:cubicBezTo>
                <a:cubicBezTo>
                  <a:pt x="49908" y="1249409"/>
                  <a:pt x="47413" y="1249409"/>
                  <a:pt x="44502" y="1249409"/>
                </a:cubicBezTo>
                <a:cubicBezTo>
                  <a:pt x="44502" y="1248167"/>
                  <a:pt x="44087" y="1247754"/>
                  <a:pt x="43255" y="1247754"/>
                </a:cubicBezTo>
                <a:cubicBezTo>
                  <a:pt x="37016" y="1247754"/>
                  <a:pt x="33690" y="1243614"/>
                  <a:pt x="31611" y="1238645"/>
                </a:cubicBezTo>
                <a:cubicBezTo>
                  <a:pt x="29532" y="1234093"/>
                  <a:pt x="27037" y="1229952"/>
                  <a:pt x="27868" y="1224571"/>
                </a:cubicBezTo>
                <a:cubicBezTo>
                  <a:pt x="29116" y="1218775"/>
                  <a:pt x="28700" y="1212565"/>
                  <a:pt x="33690" y="1208011"/>
                </a:cubicBezTo>
                <a:cubicBezTo>
                  <a:pt x="35353" y="1206355"/>
                  <a:pt x="37016" y="1205114"/>
                  <a:pt x="39927" y="1204286"/>
                </a:cubicBezTo>
                <a:cubicBezTo>
                  <a:pt x="44087" y="1203043"/>
                  <a:pt x="49076" y="1200973"/>
                  <a:pt x="47829" y="1194350"/>
                </a:cubicBezTo>
                <a:cubicBezTo>
                  <a:pt x="47413" y="1191866"/>
                  <a:pt x="49908" y="1191039"/>
                  <a:pt x="50324" y="1189796"/>
                </a:cubicBezTo>
                <a:cubicBezTo>
                  <a:pt x="52403" y="1183173"/>
                  <a:pt x="57393" y="1180275"/>
                  <a:pt x="62800" y="1178205"/>
                </a:cubicBezTo>
                <a:close/>
                <a:moveTo>
                  <a:pt x="1179814" y="1173359"/>
                </a:moveTo>
                <a:cubicBezTo>
                  <a:pt x="1183192" y="1173398"/>
                  <a:pt x="1186417" y="1174241"/>
                  <a:pt x="1189028" y="1177922"/>
                </a:cubicBezTo>
                <a:cubicBezTo>
                  <a:pt x="1189948" y="1179150"/>
                  <a:pt x="1191792" y="1180682"/>
                  <a:pt x="1194248" y="1180682"/>
                </a:cubicBezTo>
                <a:cubicBezTo>
                  <a:pt x="1197627" y="1180376"/>
                  <a:pt x="1199470" y="1182217"/>
                  <a:pt x="1200083" y="1185592"/>
                </a:cubicBezTo>
                <a:cubicBezTo>
                  <a:pt x="1200698" y="1187738"/>
                  <a:pt x="1202234" y="1188965"/>
                  <a:pt x="1203769" y="1190499"/>
                </a:cubicBezTo>
                <a:cubicBezTo>
                  <a:pt x="1207762" y="1194179"/>
                  <a:pt x="1209604" y="1198474"/>
                  <a:pt x="1208069" y="1203994"/>
                </a:cubicBezTo>
                <a:cubicBezTo>
                  <a:pt x="1207149" y="1207063"/>
                  <a:pt x="1208069" y="1210436"/>
                  <a:pt x="1211140" y="1212278"/>
                </a:cubicBezTo>
                <a:cubicBezTo>
                  <a:pt x="1211140" y="1213504"/>
                  <a:pt x="1211140" y="1214730"/>
                  <a:pt x="1211140" y="1215957"/>
                </a:cubicBezTo>
                <a:cubicBezTo>
                  <a:pt x="1208377" y="1217491"/>
                  <a:pt x="1207149" y="1219332"/>
                  <a:pt x="1207454" y="1223319"/>
                </a:cubicBezTo>
                <a:cubicBezTo>
                  <a:pt x="1207762" y="1228840"/>
                  <a:pt x="1205305" y="1233135"/>
                  <a:pt x="1199162" y="1234362"/>
                </a:cubicBezTo>
                <a:cubicBezTo>
                  <a:pt x="1196399" y="1234669"/>
                  <a:pt x="1197013" y="1236816"/>
                  <a:pt x="1197013" y="1238656"/>
                </a:cubicBezTo>
                <a:cubicBezTo>
                  <a:pt x="1197013" y="1241724"/>
                  <a:pt x="1195784" y="1242338"/>
                  <a:pt x="1193327" y="1240190"/>
                </a:cubicBezTo>
                <a:cubicBezTo>
                  <a:pt x="1189642" y="1237123"/>
                  <a:pt x="1187185" y="1237123"/>
                  <a:pt x="1186263" y="1242338"/>
                </a:cubicBezTo>
                <a:cubicBezTo>
                  <a:pt x="1185957" y="1243563"/>
                  <a:pt x="1185036" y="1245098"/>
                  <a:pt x="1183805" y="1243563"/>
                </a:cubicBezTo>
                <a:cubicBezTo>
                  <a:pt x="1179814" y="1239576"/>
                  <a:pt x="1177049" y="1242030"/>
                  <a:pt x="1173978" y="1244790"/>
                </a:cubicBezTo>
                <a:cubicBezTo>
                  <a:pt x="1173671" y="1245405"/>
                  <a:pt x="1172442" y="1245405"/>
                  <a:pt x="1171828" y="1245405"/>
                </a:cubicBezTo>
                <a:cubicBezTo>
                  <a:pt x="1164457" y="1241111"/>
                  <a:pt x="1157393" y="1236202"/>
                  <a:pt x="1150022" y="1231601"/>
                </a:cubicBezTo>
                <a:cubicBezTo>
                  <a:pt x="1146643" y="1229454"/>
                  <a:pt x="1144802" y="1223627"/>
                  <a:pt x="1143266" y="1219025"/>
                </a:cubicBezTo>
                <a:cubicBezTo>
                  <a:pt x="1142652" y="1217185"/>
                  <a:pt x="1142958" y="1215344"/>
                  <a:pt x="1141116" y="1213810"/>
                </a:cubicBezTo>
                <a:cubicBezTo>
                  <a:pt x="1139273" y="1212278"/>
                  <a:pt x="1139580" y="1210436"/>
                  <a:pt x="1140808" y="1208596"/>
                </a:cubicBezTo>
                <a:cubicBezTo>
                  <a:pt x="1141423" y="1207369"/>
                  <a:pt x="1142652" y="1205836"/>
                  <a:pt x="1141731" y="1204609"/>
                </a:cubicBezTo>
                <a:cubicBezTo>
                  <a:pt x="1138659" y="1200928"/>
                  <a:pt x="1138351" y="1198167"/>
                  <a:pt x="1143266" y="1196327"/>
                </a:cubicBezTo>
                <a:cubicBezTo>
                  <a:pt x="1144494" y="1196020"/>
                  <a:pt x="1144802" y="1194179"/>
                  <a:pt x="1143572" y="1193259"/>
                </a:cubicBezTo>
                <a:cubicBezTo>
                  <a:pt x="1139580" y="1189885"/>
                  <a:pt x="1143880" y="1188352"/>
                  <a:pt x="1144494" y="1185897"/>
                </a:cubicBezTo>
                <a:cubicBezTo>
                  <a:pt x="1146643" y="1177616"/>
                  <a:pt x="1156165" y="1180069"/>
                  <a:pt x="1159851" y="1173934"/>
                </a:cubicBezTo>
                <a:cubicBezTo>
                  <a:pt x="1161079" y="1171787"/>
                  <a:pt x="1166915" y="1173321"/>
                  <a:pt x="1169678" y="1173629"/>
                </a:cubicBezTo>
                <a:cubicBezTo>
                  <a:pt x="1172904" y="1174088"/>
                  <a:pt x="1176436" y="1173321"/>
                  <a:pt x="1179814" y="1173359"/>
                </a:cubicBezTo>
                <a:close/>
                <a:moveTo>
                  <a:pt x="1820575" y="1169389"/>
                </a:moveTo>
                <a:cubicBezTo>
                  <a:pt x="1824089" y="1170167"/>
                  <a:pt x="1827213" y="1170944"/>
                  <a:pt x="1830727" y="1170944"/>
                </a:cubicBezTo>
                <a:cubicBezTo>
                  <a:pt x="1834242" y="1170944"/>
                  <a:pt x="1837755" y="1173277"/>
                  <a:pt x="1839318" y="1176386"/>
                </a:cubicBezTo>
                <a:cubicBezTo>
                  <a:pt x="1840488" y="1179107"/>
                  <a:pt x="1841660" y="1180663"/>
                  <a:pt x="1844003" y="1181828"/>
                </a:cubicBezTo>
                <a:cubicBezTo>
                  <a:pt x="1844003" y="1186493"/>
                  <a:pt x="1844003" y="1191158"/>
                  <a:pt x="1844003" y="1195823"/>
                </a:cubicBezTo>
                <a:cubicBezTo>
                  <a:pt x="1840098" y="1197767"/>
                  <a:pt x="1836975" y="1200876"/>
                  <a:pt x="1835413" y="1204374"/>
                </a:cubicBezTo>
                <a:cubicBezTo>
                  <a:pt x="1833460" y="1207484"/>
                  <a:pt x="1831899" y="1210983"/>
                  <a:pt x="1829946" y="1214481"/>
                </a:cubicBezTo>
                <a:cubicBezTo>
                  <a:pt x="1827994" y="1217591"/>
                  <a:pt x="1826041" y="1221090"/>
                  <a:pt x="1825651" y="1224977"/>
                </a:cubicBezTo>
                <a:cubicBezTo>
                  <a:pt x="1824870" y="1228476"/>
                  <a:pt x="1822528" y="1230030"/>
                  <a:pt x="1819793" y="1231974"/>
                </a:cubicBezTo>
                <a:cubicBezTo>
                  <a:pt x="1817060" y="1233918"/>
                  <a:pt x="1813155" y="1233529"/>
                  <a:pt x="1811204" y="1236250"/>
                </a:cubicBezTo>
                <a:cubicBezTo>
                  <a:pt x="1808470" y="1236250"/>
                  <a:pt x="1806127" y="1236250"/>
                  <a:pt x="1803394" y="1236250"/>
                </a:cubicBezTo>
                <a:cubicBezTo>
                  <a:pt x="1803394" y="1235083"/>
                  <a:pt x="1803003" y="1234695"/>
                  <a:pt x="1802223" y="1234695"/>
                </a:cubicBezTo>
                <a:cubicBezTo>
                  <a:pt x="1796365" y="1234695"/>
                  <a:pt x="1793242" y="1230808"/>
                  <a:pt x="1791289" y="1226143"/>
                </a:cubicBezTo>
                <a:cubicBezTo>
                  <a:pt x="1789337" y="1221867"/>
                  <a:pt x="1786994" y="1217980"/>
                  <a:pt x="1787775" y="1212927"/>
                </a:cubicBezTo>
                <a:cubicBezTo>
                  <a:pt x="1788947" y="1207484"/>
                  <a:pt x="1788556" y="1201653"/>
                  <a:pt x="1793242" y="1197377"/>
                </a:cubicBezTo>
                <a:cubicBezTo>
                  <a:pt x="1794803" y="1195823"/>
                  <a:pt x="1796365" y="1194656"/>
                  <a:pt x="1799098" y="1193879"/>
                </a:cubicBezTo>
                <a:cubicBezTo>
                  <a:pt x="1803003" y="1192713"/>
                  <a:pt x="1807689" y="1190769"/>
                  <a:pt x="1806518" y="1184549"/>
                </a:cubicBezTo>
                <a:cubicBezTo>
                  <a:pt x="1806127" y="1182217"/>
                  <a:pt x="1808470" y="1181440"/>
                  <a:pt x="1808861" y="1180274"/>
                </a:cubicBezTo>
                <a:cubicBezTo>
                  <a:pt x="1810812" y="1174054"/>
                  <a:pt x="1815498" y="1171333"/>
                  <a:pt x="1820575" y="1169389"/>
                </a:cubicBezTo>
                <a:close/>
                <a:moveTo>
                  <a:pt x="5134407" y="1164351"/>
                </a:moveTo>
                <a:cubicBezTo>
                  <a:pt x="5134407" y="1168764"/>
                  <a:pt x="5134407" y="1168764"/>
                  <a:pt x="5134407" y="1168764"/>
                </a:cubicBezTo>
                <a:cubicBezTo>
                  <a:pt x="5129996" y="1168764"/>
                  <a:pt x="5129996" y="1168764"/>
                  <a:pt x="5129996" y="1168764"/>
                </a:cubicBezTo>
                <a:cubicBezTo>
                  <a:pt x="5134407" y="1168764"/>
                  <a:pt x="5134407" y="1164351"/>
                  <a:pt x="5134407" y="1164351"/>
                </a:cubicBezTo>
                <a:close/>
                <a:moveTo>
                  <a:pt x="12023158" y="1160424"/>
                </a:moveTo>
                <a:cubicBezTo>
                  <a:pt x="12027774" y="1164026"/>
                  <a:pt x="12032422" y="1162875"/>
                  <a:pt x="12036966" y="1160536"/>
                </a:cubicBezTo>
                <a:cubicBezTo>
                  <a:pt x="12039057" y="1159506"/>
                  <a:pt x="12040606" y="1159122"/>
                  <a:pt x="12042462" y="1161385"/>
                </a:cubicBezTo>
                <a:cubicBezTo>
                  <a:pt x="12044604" y="1164468"/>
                  <a:pt x="12048077" y="1164336"/>
                  <a:pt x="12051450" y="1163473"/>
                </a:cubicBezTo>
                <a:cubicBezTo>
                  <a:pt x="12054276" y="1162801"/>
                  <a:pt x="12057281" y="1161759"/>
                  <a:pt x="12060108" y="1161087"/>
                </a:cubicBezTo>
                <a:cubicBezTo>
                  <a:pt x="12061477" y="1160842"/>
                  <a:pt x="12062644" y="1160896"/>
                  <a:pt x="12063348" y="1161436"/>
                </a:cubicBezTo>
                <a:cubicBezTo>
                  <a:pt x="12064052" y="1161976"/>
                  <a:pt x="12064292" y="1163002"/>
                  <a:pt x="12063810" y="1164700"/>
                </a:cubicBezTo>
                <a:cubicBezTo>
                  <a:pt x="12063454" y="1165434"/>
                  <a:pt x="12063280" y="1166260"/>
                  <a:pt x="12063291" y="1167174"/>
                </a:cubicBezTo>
                <a:cubicBezTo>
                  <a:pt x="12063213" y="1168271"/>
                  <a:pt x="12062499" y="1169743"/>
                  <a:pt x="12063698" y="1170551"/>
                </a:cubicBezTo>
                <a:cubicBezTo>
                  <a:pt x="12064802" y="1171086"/>
                  <a:pt x="12065984" y="1170524"/>
                  <a:pt x="12066893" y="1170057"/>
                </a:cubicBezTo>
                <a:cubicBezTo>
                  <a:pt x="12071170" y="1168269"/>
                  <a:pt x="12072183" y="1168988"/>
                  <a:pt x="12071966" y="1173653"/>
                </a:cubicBezTo>
                <a:cubicBezTo>
                  <a:pt x="12071888" y="1174751"/>
                  <a:pt x="12071715" y="1175576"/>
                  <a:pt x="12071910" y="1176580"/>
                </a:cubicBezTo>
                <a:cubicBezTo>
                  <a:pt x="12072111" y="1178039"/>
                  <a:pt x="12072401" y="1179316"/>
                  <a:pt x="12074597" y="1179474"/>
                </a:cubicBezTo>
                <a:cubicBezTo>
                  <a:pt x="12076699" y="1179357"/>
                  <a:pt x="12077056" y="1178621"/>
                  <a:pt x="12077401" y="1176972"/>
                </a:cubicBezTo>
                <a:lnTo>
                  <a:pt x="12078441" y="1174040"/>
                </a:lnTo>
                <a:lnTo>
                  <a:pt x="12085882" y="1195317"/>
                </a:lnTo>
                <a:lnTo>
                  <a:pt x="12084493" y="1196085"/>
                </a:lnTo>
                <a:cubicBezTo>
                  <a:pt x="12083321" y="1197562"/>
                  <a:pt x="12083339" y="1198933"/>
                  <a:pt x="12084454" y="1200383"/>
                </a:cubicBezTo>
                <a:cubicBezTo>
                  <a:pt x="12085291" y="1201470"/>
                  <a:pt x="12086215" y="1202374"/>
                  <a:pt x="12087051" y="1203460"/>
                </a:cubicBezTo>
                <a:cubicBezTo>
                  <a:pt x="12088445" y="1205272"/>
                  <a:pt x="12088557" y="1206916"/>
                  <a:pt x="12087118" y="1208945"/>
                </a:cubicBezTo>
                <a:cubicBezTo>
                  <a:pt x="12082804" y="1215029"/>
                  <a:pt x="12082965" y="1220786"/>
                  <a:pt x="12087424" y="1226585"/>
                </a:cubicBezTo>
                <a:cubicBezTo>
                  <a:pt x="12088077" y="1227583"/>
                  <a:pt x="12090189" y="1228381"/>
                  <a:pt x="12089018" y="1229857"/>
                </a:cubicBezTo>
                <a:cubicBezTo>
                  <a:pt x="12088032" y="1231422"/>
                  <a:pt x="12086197" y="1230987"/>
                  <a:pt x="12084453" y="1230367"/>
                </a:cubicBezTo>
                <a:cubicBezTo>
                  <a:pt x="12084269" y="1230279"/>
                  <a:pt x="12084084" y="1230189"/>
                  <a:pt x="12083902" y="1230099"/>
                </a:cubicBezTo>
                <a:cubicBezTo>
                  <a:pt x="12079130" y="1228693"/>
                  <a:pt x="12076859" y="1230092"/>
                  <a:pt x="12077373" y="1234656"/>
                </a:cubicBezTo>
                <a:cubicBezTo>
                  <a:pt x="12077790" y="1238948"/>
                  <a:pt x="12075990" y="1241254"/>
                  <a:pt x="12072812" y="1243120"/>
                </a:cubicBezTo>
                <a:cubicBezTo>
                  <a:pt x="12068636" y="1245638"/>
                  <a:pt x="12064923" y="1248606"/>
                  <a:pt x="12063796" y="1253739"/>
                </a:cubicBezTo>
                <a:cubicBezTo>
                  <a:pt x="12063366" y="1256029"/>
                  <a:pt x="12060897" y="1255967"/>
                  <a:pt x="12059432" y="1255710"/>
                </a:cubicBezTo>
                <a:cubicBezTo>
                  <a:pt x="12053844" y="1255045"/>
                  <a:pt x="12050122" y="1257099"/>
                  <a:pt x="12047250" y="1261612"/>
                </a:cubicBezTo>
                <a:cubicBezTo>
                  <a:pt x="12045454" y="1264376"/>
                  <a:pt x="12044082" y="1264392"/>
                  <a:pt x="12042032" y="1261126"/>
                </a:cubicBezTo>
                <a:cubicBezTo>
                  <a:pt x="12037649" y="1254229"/>
                  <a:pt x="12027112" y="1252525"/>
                  <a:pt x="12021232" y="1257622"/>
                </a:cubicBezTo>
                <a:cubicBezTo>
                  <a:pt x="12020055" y="1258642"/>
                  <a:pt x="12018516" y="1259939"/>
                  <a:pt x="12019268" y="1261668"/>
                </a:cubicBezTo>
                <a:cubicBezTo>
                  <a:pt x="12020020" y="1263395"/>
                  <a:pt x="12021592" y="1264839"/>
                  <a:pt x="12023783" y="1264540"/>
                </a:cubicBezTo>
                <a:cubicBezTo>
                  <a:pt x="12025155" y="1264523"/>
                  <a:pt x="12026704" y="1264140"/>
                  <a:pt x="12028165" y="1263940"/>
                </a:cubicBezTo>
                <a:cubicBezTo>
                  <a:pt x="12029715" y="1263556"/>
                  <a:pt x="12031087" y="1263539"/>
                  <a:pt x="12031471" y="1265090"/>
                </a:cubicBezTo>
                <a:cubicBezTo>
                  <a:pt x="12031951" y="1266912"/>
                  <a:pt x="12030680" y="1267658"/>
                  <a:pt x="12029315" y="1268131"/>
                </a:cubicBezTo>
                <a:cubicBezTo>
                  <a:pt x="12028132" y="1268694"/>
                  <a:pt x="12026670" y="1268894"/>
                  <a:pt x="12025578" y="1269272"/>
                </a:cubicBezTo>
                <a:cubicBezTo>
                  <a:pt x="12023121" y="1270124"/>
                  <a:pt x="12021129" y="1271884"/>
                  <a:pt x="12021893" y="1274526"/>
                </a:cubicBezTo>
                <a:cubicBezTo>
                  <a:pt x="12022651" y="1276712"/>
                  <a:pt x="12025388" y="1276222"/>
                  <a:pt x="12027395" y="1275833"/>
                </a:cubicBezTo>
                <a:cubicBezTo>
                  <a:pt x="12029130" y="1275538"/>
                  <a:pt x="12030852" y="1274330"/>
                  <a:pt x="12032776" y="1274581"/>
                </a:cubicBezTo>
                <a:cubicBezTo>
                  <a:pt x="12035613" y="1274822"/>
                  <a:pt x="12036906" y="1275904"/>
                  <a:pt x="12035296" y="1278756"/>
                </a:cubicBezTo>
                <a:cubicBezTo>
                  <a:pt x="12033150" y="1282713"/>
                  <a:pt x="12029889" y="1285219"/>
                  <a:pt x="12026163" y="1287275"/>
                </a:cubicBezTo>
                <a:cubicBezTo>
                  <a:pt x="12021442" y="1289980"/>
                  <a:pt x="12020186" y="1292098"/>
                  <a:pt x="12021257" y="1297388"/>
                </a:cubicBezTo>
                <a:cubicBezTo>
                  <a:pt x="12021463" y="1299305"/>
                  <a:pt x="12022311" y="1301306"/>
                  <a:pt x="12022974" y="1303219"/>
                </a:cubicBezTo>
                <a:cubicBezTo>
                  <a:pt x="12023258" y="1304037"/>
                  <a:pt x="12023910" y="1305035"/>
                  <a:pt x="12023097" y="1305777"/>
                </a:cubicBezTo>
                <a:cubicBezTo>
                  <a:pt x="12022195" y="1306702"/>
                  <a:pt x="12021186" y="1306439"/>
                  <a:pt x="12020537" y="1305898"/>
                </a:cubicBezTo>
                <a:cubicBezTo>
                  <a:pt x="12017582" y="1303556"/>
                  <a:pt x="12016133" y="1304670"/>
                  <a:pt x="12014890" y="1307702"/>
                </a:cubicBezTo>
                <a:cubicBezTo>
                  <a:pt x="12013292" y="1311468"/>
                  <a:pt x="12009650" y="1312883"/>
                  <a:pt x="12006092" y="1313656"/>
                </a:cubicBezTo>
                <a:cubicBezTo>
                  <a:pt x="12003266" y="1314329"/>
                  <a:pt x="12002458" y="1315526"/>
                  <a:pt x="12003767" y="1317979"/>
                </a:cubicBezTo>
                <a:cubicBezTo>
                  <a:pt x="12004514" y="1319251"/>
                  <a:pt x="12004893" y="1320343"/>
                  <a:pt x="12003812" y="1321635"/>
                </a:cubicBezTo>
                <a:cubicBezTo>
                  <a:pt x="12002464" y="1323480"/>
                  <a:pt x="12001170" y="1322398"/>
                  <a:pt x="11999702" y="1322141"/>
                </a:cubicBezTo>
                <a:cubicBezTo>
                  <a:pt x="11998878" y="1321968"/>
                  <a:pt x="11997958" y="1321522"/>
                  <a:pt x="11996949" y="1321259"/>
                </a:cubicBezTo>
                <a:cubicBezTo>
                  <a:pt x="11991714" y="1319401"/>
                  <a:pt x="11989272" y="1321624"/>
                  <a:pt x="11990164" y="1327281"/>
                </a:cubicBezTo>
                <a:cubicBezTo>
                  <a:pt x="11990264" y="1328011"/>
                  <a:pt x="11990454" y="1328558"/>
                  <a:pt x="11990371" y="1329198"/>
                </a:cubicBezTo>
                <a:cubicBezTo>
                  <a:pt x="11990387" y="1330569"/>
                  <a:pt x="11990040" y="1332219"/>
                  <a:pt x="11988580" y="1332419"/>
                </a:cubicBezTo>
                <a:cubicBezTo>
                  <a:pt x="11987304" y="1332709"/>
                  <a:pt x="11986373" y="1331348"/>
                  <a:pt x="11985993" y="1330255"/>
                </a:cubicBezTo>
                <a:cubicBezTo>
                  <a:pt x="11985614" y="1329163"/>
                  <a:pt x="11985419" y="1328160"/>
                  <a:pt x="11985314" y="1326972"/>
                </a:cubicBezTo>
                <a:cubicBezTo>
                  <a:pt x="11984834" y="1325150"/>
                  <a:pt x="11983910" y="1324247"/>
                  <a:pt x="11981901" y="1324636"/>
                </a:cubicBezTo>
                <a:cubicBezTo>
                  <a:pt x="11977246" y="1325330"/>
                  <a:pt x="11973204" y="1323824"/>
                  <a:pt x="11969251" y="1322134"/>
                </a:cubicBezTo>
                <a:cubicBezTo>
                  <a:pt x="11964475" y="1320270"/>
                  <a:pt x="11959958" y="1317398"/>
                  <a:pt x="11954824" y="1316270"/>
                </a:cubicBezTo>
                <a:cubicBezTo>
                  <a:pt x="11952990" y="1315834"/>
                  <a:pt x="11952605" y="1314284"/>
                  <a:pt x="11952315" y="1313008"/>
                </a:cubicBezTo>
                <a:cubicBezTo>
                  <a:pt x="11951167" y="1308817"/>
                  <a:pt x="11950204" y="1304714"/>
                  <a:pt x="11944890" y="1303954"/>
                </a:cubicBezTo>
                <a:cubicBezTo>
                  <a:pt x="11943881" y="1303692"/>
                  <a:pt x="11943685" y="1302688"/>
                  <a:pt x="11943674" y="1301774"/>
                </a:cubicBezTo>
                <a:cubicBezTo>
                  <a:pt x="11943435" y="1297115"/>
                  <a:pt x="11941550" y="1292566"/>
                  <a:pt x="11940307" y="1288101"/>
                </a:cubicBezTo>
                <a:cubicBezTo>
                  <a:pt x="11938395" y="1281267"/>
                  <a:pt x="11938590" y="1274775"/>
                  <a:pt x="11943368" y="1269142"/>
                </a:cubicBezTo>
                <a:cubicBezTo>
                  <a:pt x="11945170" y="1266836"/>
                  <a:pt x="11944500" y="1264466"/>
                  <a:pt x="11943742" y="1262282"/>
                </a:cubicBezTo>
                <a:cubicBezTo>
                  <a:pt x="11942125" y="1257181"/>
                  <a:pt x="11943202" y="1255432"/>
                  <a:pt x="11948219" y="1254459"/>
                </a:cubicBezTo>
                <a:cubicBezTo>
                  <a:pt x="11953605" y="1253664"/>
                  <a:pt x="11953605" y="1253664"/>
                  <a:pt x="11952256" y="1248012"/>
                </a:cubicBezTo>
                <a:cubicBezTo>
                  <a:pt x="11951965" y="1246735"/>
                  <a:pt x="11951770" y="1245733"/>
                  <a:pt x="11953409" y="1245164"/>
                </a:cubicBezTo>
                <a:cubicBezTo>
                  <a:pt x="11959141" y="1242721"/>
                  <a:pt x="11964505" y="1240097"/>
                  <a:pt x="11970330" y="1237926"/>
                </a:cubicBezTo>
                <a:cubicBezTo>
                  <a:pt x="11974606" y="1236140"/>
                  <a:pt x="11979083" y="1235813"/>
                  <a:pt x="11983577" y="1236857"/>
                </a:cubicBezTo>
                <a:cubicBezTo>
                  <a:pt x="11986509" y="1237371"/>
                  <a:pt x="11994688" y="1233160"/>
                  <a:pt x="11996210" y="1230492"/>
                </a:cubicBezTo>
                <a:cubicBezTo>
                  <a:pt x="11996657" y="1229572"/>
                  <a:pt x="11997013" y="1228837"/>
                  <a:pt x="11996087" y="1227934"/>
                </a:cubicBezTo>
                <a:cubicBezTo>
                  <a:pt x="11991634" y="1222592"/>
                  <a:pt x="11991282" y="1216289"/>
                  <a:pt x="11991478" y="1209796"/>
                </a:cubicBezTo>
                <a:cubicBezTo>
                  <a:pt x="11991460" y="1208425"/>
                  <a:pt x="11991538" y="1207326"/>
                  <a:pt x="11991432" y="1206140"/>
                </a:cubicBezTo>
                <a:cubicBezTo>
                  <a:pt x="11991020" y="1202305"/>
                  <a:pt x="11991349" y="1199284"/>
                  <a:pt x="11994421" y="1196231"/>
                </a:cubicBezTo>
                <a:cubicBezTo>
                  <a:pt x="11997494" y="1193179"/>
                  <a:pt x="11997255" y="1188519"/>
                  <a:pt x="11997020" y="1184317"/>
                </a:cubicBezTo>
                <a:cubicBezTo>
                  <a:pt x="11997088" y="1182305"/>
                  <a:pt x="11997255" y="1181023"/>
                  <a:pt x="11999344" y="1179993"/>
                </a:cubicBezTo>
                <a:cubicBezTo>
                  <a:pt x="12007886" y="1175504"/>
                  <a:pt x="12015495" y="1169655"/>
                  <a:pt x="12020603" y="1161002"/>
                </a:cubicBezTo>
                <a:cubicBezTo>
                  <a:pt x="12021412" y="1159804"/>
                  <a:pt x="12022047" y="1159431"/>
                  <a:pt x="12023158" y="1160424"/>
                </a:cubicBezTo>
                <a:close/>
                <a:moveTo>
                  <a:pt x="5337420" y="1159731"/>
                </a:moveTo>
                <a:lnTo>
                  <a:pt x="5341835" y="1159938"/>
                </a:lnTo>
                <a:cubicBezTo>
                  <a:pt x="5341835" y="1159938"/>
                  <a:pt x="5341835" y="1159938"/>
                  <a:pt x="5337418" y="1159938"/>
                </a:cubicBezTo>
                <a:close/>
                <a:moveTo>
                  <a:pt x="5341832" y="1155525"/>
                </a:moveTo>
                <a:cubicBezTo>
                  <a:pt x="5341832" y="1155525"/>
                  <a:pt x="5341832" y="1155525"/>
                  <a:pt x="5346247" y="1155525"/>
                </a:cubicBezTo>
                <a:lnTo>
                  <a:pt x="5345978" y="1155793"/>
                </a:lnTo>
                <a:close/>
                <a:moveTo>
                  <a:pt x="8672136" y="1148300"/>
                </a:moveTo>
                <a:cubicBezTo>
                  <a:pt x="8668085" y="1149614"/>
                  <a:pt x="8668085" y="1149614"/>
                  <a:pt x="8668085" y="1149614"/>
                </a:cubicBezTo>
                <a:cubicBezTo>
                  <a:pt x="8668085" y="1149614"/>
                  <a:pt x="8668085" y="1149614"/>
                  <a:pt x="8664032" y="1150928"/>
                </a:cubicBezTo>
                <a:cubicBezTo>
                  <a:pt x="8659978" y="1152243"/>
                  <a:pt x="8651874" y="1154872"/>
                  <a:pt x="8647820" y="1156186"/>
                </a:cubicBezTo>
                <a:lnTo>
                  <a:pt x="8638440" y="1156831"/>
                </a:lnTo>
                <a:close/>
                <a:moveTo>
                  <a:pt x="1907816" y="1140199"/>
                </a:moveTo>
                <a:cubicBezTo>
                  <a:pt x="1910960" y="1140235"/>
                  <a:pt x="1913961" y="1141020"/>
                  <a:pt x="1916390" y="1144445"/>
                </a:cubicBezTo>
                <a:cubicBezTo>
                  <a:pt x="1917248" y="1145588"/>
                  <a:pt x="1918963" y="1147015"/>
                  <a:pt x="1921251" y="1147015"/>
                </a:cubicBezTo>
                <a:cubicBezTo>
                  <a:pt x="1924393" y="1146730"/>
                  <a:pt x="1926109" y="1148443"/>
                  <a:pt x="1926680" y="1151582"/>
                </a:cubicBezTo>
                <a:cubicBezTo>
                  <a:pt x="1927252" y="1153581"/>
                  <a:pt x="1928681" y="1154721"/>
                  <a:pt x="1930109" y="1156149"/>
                </a:cubicBezTo>
                <a:cubicBezTo>
                  <a:pt x="1933826" y="1159574"/>
                  <a:pt x="1935540" y="1163570"/>
                  <a:pt x="1934110" y="1168708"/>
                </a:cubicBezTo>
                <a:cubicBezTo>
                  <a:pt x="1933254" y="1171563"/>
                  <a:pt x="1934110" y="1174703"/>
                  <a:pt x="1936969" y="1176416"/>
                </a:cubicBezTo>
                <a:cubicBezTo>
                  <a:pt x="1936969" y="1177557"/>
                  <a:pt x="1936969" y="1178699"/>
                  <a:pt x="1936969" y="1179841"/>
                </a:cubicBezTo>
                <a:cubicBezTo>
                  <a:pt x="1934397" y="1181268"/>
                  <a:pt x="1933254" y="1182980"/>
                  <a:pt x="1933539" y="1186692"/>
                </a:cubicBezTo>
                <a:cubicBezTo>
                  <a:pt x="1933826" y="1191829"/>
                  <a:pt x="1931539" y="1195825"/>
                  <a:pt x="1925823" y="1196968"/>
                </a:cubicBezTo>
                <a:cubicBezTo>
                  <a:pt x="1923251" y="1197252"/>
                  <a:pt x="1923823" y="1199250"/>
                  <a:pt x="1923823" y="1200963"/>
                </a:cubicBezTo>
                <a:cubicBezTo>
                  <a:pt x="1923823" y="1203818"/>
                  <a:pt x="1922679" y="1204388"/>
                  <a:pt x="1920392" y="1202391"/>
                </a:cubicBezTo>
                <a:cubicBezTo>
                  <a:pt x="1916962" y="1199536"/>
                  <a:pt x="1914675" y="1199536"/>
                  <a:pt x="1913818" y="1204388"/>
                </a:cubicBezTo>
                <a:cubicBezTo>
                  <a:pt x="1913534" y="1205530"/>
                  <a:pt x="1912675" y="1206958"/>
                  <a:pt x="1911532" y="1205530"/>
                </a:cubicBezTo>
                <a:cubicBezTo>
                  <a:pt x="1907817" y="1201820"/>
                  <a:pt x="1905245" y="1204103"/>
                  <a:pt x="1902387" y="1206673"/>
                </a:cubicBezTo>
                <a:cubicBezTo>
                  <a:pt x="1902100" y="1207244"/>
                  <a:pt x="1900956" y="1207244"/>
                  <a:pt x="1900386" y="1207244"/>
                </a:cubicBezTo>
                <a:cubicBezTo>
                  <a:pt x="1893526" y="1203248"/>
                  <a:pt x="1886953" y="1198680"/>
                  <a:pt x="1880094" y="1194399"/>
                </a:cubicBezTo>
                <a:cubicBezTo>
                  <a:pt x="1876950" y="1192400"/>
                  <a:pt x="1875234" y="1186976"/>
                  <a:pt x="1873806" y="1182696"/>
                </a:cubicBezTo>
                <a:cubicBezTo>
                  <a:pt x="1873234" y="1180982"/>
                  <a:pt x="1873519" y="1179270"/>
                  <a:pt x="1871805" y="1177843"/>
                </a:cubicBezTo>
                <a:cubicBezTo>
                  <a:pt x="1870089" y="1176416"/>
                  <a:pt x="1870376" y="1174703"/>
                  <a:pt x="1871520" y="1172990"/>
                </a:cubicBezTo>
                <a:cubicBezTo>
                  <a:pt x="1872091" y="1171848"/>
                  <a:pt x="1873234" y="1170421"/>
                  <a:pt x="1872377" y="1169279"/>
                </a:cubicBezTo>
                <a:cubicBezTo>
                  <a:pt x="1869518" y="1165854"/>
                  <a:pt x="1869233" y="1163285"/>
                  <a:pt x="1873806" y="1161572"/>
                </a:cubicBezTo>
                <a:cubicBezTo>
                  <a:pt x="1874950" y="1161287"/>
                  <a:pt x="1875234" y="1159574"/>
                  <a:pt x="1874091" y="1158718"/>
                </a:cubicBezTo>
                <a:cubicBezTo>
                  <a:pt x="1870376" y="1155579"/>
                  <a:pt x="1874378" y="1154152"/>
                  <a:pt x="1874950" y="1151868"/>
                </a:cubicBezTo>
                <a:cubicBezTo>
                  <a:pt x="1876950" y="1144161"/>
                  <a:pt x="1885809" y="1146443"/>
                  <a:pt x="1889240" y="1140735"/>
                </a:cubicBezTo>
                <a:cubicBezTo>
                  <a:pt x="1890383" y="1138737"/>
                  <a:pt x="1895813" y="1140165"/>
                  <a:pt x="1898384" y="1140450"/>
                </a:cubicBezTo>
                <a:cubicBezTo>
                  <a:pt x="1901386" y="1140878"/>
                  <a:pt x="1904673" y="1140164"/>
                  <a:pt x="1907816" y="1140199"/>
                </a:cubicBezTo>
                <a:close/>
                <a:moveTo>
                  <a:pt x="5240327" y="1137871"/>
                </a:moveTo>
                <a:cubicBezTo>
                  <a:pt x="5262393" y="1133457"/>
                  <a:pt x="5293288" y="1142285"/>
                  <a:pt x="5315354" y="1146697"/>
                </a:cubicBezTo>
                <a:cubicBezTo>
                  <a:pt x="5310940" y="1146697"/>
                  <a:pt x="5310940" y="1146697"/>
                  <a:pt x="5310940" y="1151112"/>
                </a:cubicBezTo>
                <a:cubicBezTo>
                  <a:pt x="5310940" y="1151112"/>
                  <a:pt x="5315354" y="1151110"/>
                  <a:pt x="5315354" y="1151110"/>
                </a:cubicBezTo>
                <a:cubicBezTo>
                  <a:pt x="5333006" y="1155525"/>
                  <a:pt x="5333006" y="1155525"/>
                  <a:pt x="5333006" y="1155525"/>
                </a:cubicBezTo>
                <a:cubicBezTo>
                  <a:pt x="5337420" y="1155525"/>
                  <a:pt x="5337420" y="1155525"/>
                  <a:pt x="5337420" y="1155525"/>
                </a:cubicBezTo>
                <a:lnTo>
                  <a:pt x="5337420" y="1159731"/>
                </a:lnTo>
                <a:lnTo>
                  <a:pt x="5330181" y="1159386"/>
                </a:lnTo>
                <a:cubicBezTo>
                  <a:pt x="5322525" y="1161041"/>
                  <a:pt x="5324179" y="1167661"/>
                  <a:pt x="5310940" y="1164351"/>
                </a:cubicBezTo>
                <a:cubicBezTo>
                  <a:pt x="5310940" y="1159938"/>
                  <a:pt x="5310940" y="1159938"/>
                  <a:pt x="5306526" y="1159938"/>
                </a:cubicBezTo>
                <a:cubicBezTo>
                  <a:pt x="5302115" y="1159938"/>
                  <a:pt x="5302115" y="1159938"/>
                  <a:pt x="5302115" y="1159938"/>
                </a:cubicBezTo>
                <a:cubicBezTo>
                  <a:pt x="5302115" y="1155525"/>
                  <a:pt x="5302115" y="1155525"/>
                  <a:pt x="5297701" y="1155525"/>
                </a:cubicBezTo>
                <a:cubicBezTo>
                  <a:pt x="5297701" y="1155525"/>
                  <a:pt x="5297701" y="1155525"/>
                  <a:pt x="5293288" y="1155525"/>
                </a:cubicBezTo>
                <a:cubicBezTo>
                  <a:pt x="5293288" y="1159938"/>
                  <a:pt x="5297701" y="1159938"/>
                  <a:pt x="5293288" y="1159938"/>
                </a:cubicBezTo>
                <a:cubicBezTo>
                  <a:pt x="5280046" y="1159938"/>
                  <a:pt x="5266807" y="1155525"/>
                  <a:pt x="5257981" y="1164351"/>
                </a:cubicBezTo>
                <a:cubicBezTo>
                  <a:pt x="5262391" y="1159938"/>
                  <a:pt x="5262391" y="1159938"/>
                  <a:pt x="5257981" y="1159938"/>
                </a:cubicBezTo>
                <a:cubicBezTo>
                  <a:pt x="5253567" y="1155525"/>
                  <a:pt x="5249152" y="1159938"/>
                  <a:pt x="5249152" y="1159938"/>
                </a:cubicBezTo>
                <a:cubicBezTo>
                  <a:pt x="5249152" y="1159938"/>
                  <a:pt x="5249152" y="1159938"/>
                  <a:pt x="5244741" y="1159938"/>
                </a:cubicBezTo>
                <a:cubicBezTo>
                  <a:pt x="5231502" y="1151110"/>
                  <a:pt x="5218261" y="1164351"/>
                  <a:pt x="5200609" y="1155525"/>
                </a:cubicBezTo>
                <a:cubicBezTo>
                  <a:pt x="5200607" y="1159938"/>
                  <a:pt x="5200607" y="1159938"/>
                  <a:pt x="5200607" y="1159938"/>
                </a:cubicBezTo>
                <a:cubicBezTo>
                  <a:pt x="5200609" y="1155525"/>
                  <a:pt x="5196195" y="1155525"/>
                  <a:pt x="5196195" y="1155525"/>
                </a:cubicBezTo>
                <a:cubicBezTo>
                  <a:pt x="5191780" y="1155525"/>
                  <a:pt x="5191780" y="1155525"/>
                  <a:pt x="5191780" y="1159939"/>
                </a:cubicBezTo>
                <a:cubicBezTo>
                  <a:pt x="5178541" y="1159938"/>
                  <a:pt x="5165301" y="1159938"/>
                  <a:pt x="5165301" y="1159938"/>
                </a:cubicBezTo>
                <a:cubicBezTo>
                  <a:pt x="5152060" y="1159938"/>
                  <a:pt x="5174127" y="1164351"/>
                  <a:pt x="5152061" y="1164351"/>
                </a:cubicBezTo>
                <a:cubicBezTo>
                  <a:pt x="5156475" y="1159938"/>
                  <a:pt x="5152060" y="1155525"/>
                  <a:pt x="5147646" y="1159938"/>
                </a:cubicBezTo>
                <a:cubicBezTo>
                  <a:pt x="5143235" y="1164351"/>
                  <a:pt x="5165301" y="1168764"/>
                  <a:pt x="5143235" y="1168764"/>
                </a:cubicBezTo>
                <a:cubicBezTo>
                  <a:pt x="5143235" y="1168764"/>
                  <a:pt x="5143235" y="1168764"/>
                  <a:pt x="5143235" y="1164351"/>
                </a:cubicBezTo>
                <a:cubicBezTo>
                  <a:pt x="5143235" y="1164351"/>
                  <a:pt x="5143235" y="1164351"/>
                  <a:pt x="5138821" y="1164351"/>
                </a:cubicBezTo>
                <a:cubicBezTo>
                  <a:pt x="5138821" y="1164351"/>
                  <a:pt x="5134407" y="1164351"/>
                  <a:pt x="5134407" y="1164351"/>
                </a:cubicBezTo>
                <a:cubicBezTo>
                  <a:pt x="5129996" y="1164352"/>
                  <a:pt x="5129996" y="1164352"/>
                  <a:pt x="5129996" y="1164352"/>
                </a:cubicBezTo>
                <a:cubicBezTo>
                  <a:pt x="5125580" y="1164351"/>
                  <a:pt x="5125580" y="1164351"/>
                  <a:pt x="5125580" y="1164351"/>
                </a:cubicBezTo>
                <a:cubicBezTo>
                  <a:pt x="5125580" y="1159938"/>
                  <a:pt x="5121167" y="1159938"/>
                  <a:pt x="5116754" y="1159938"/>
                </a:cubicBezTo>
                <a:cubicBezTo>
                  <a:pt x="5116754" y="1164351"/>
                  <a:pt x="5112341" y="1164351"/>
                  <a:pt x="5107927" y="1164351"/>
                </a:cubicBezTo>
                <a:cubicBezTo>
                  <a:pt x="5103513" y="1159938"/>
                  <a:pt x="5090274" y="1159938"/>
                  <a:pt x="5081448" y="1159938"/>
                </a:cubicBezTo>
                <a:cubicBezTo>
                  <a:pt x="5116754" y="1159938"/>
                  <a:pt x="5129996" y="1159938"/>
                  <a:pt x="5160887" y="1155525"/>
                </a:cubicBezTo>
                <a:cubicBezTo>
                  <a:pt x="5156475" y="1146697"/>
                  <a:pt x="5174127" y="1142285"/>
                  <a:pt x="5196195" y="1142285"/>
                </a:cubicBezTo>
                <a:cubicBezTo>
                  <a:pt x="5218261" y="1142286"/>
                  <a:pt x="5240327" y="1142285"/>
                  <a:pt x="5240327" y="1137871"/>
                </a:cubicBezTo>
                <a:close/>
                <a:moveTo>
                  <a:pt x="9339349" y="1125863"/>
                </a:moveTo>
                <a:cubicBezTo>
                  <a:pt x="9307690" y="1126584"/>
                  <a:pt x="9276030" y="1127304"/>
                  <a:pt x="9251014" y="1133467"/>
                </a:cubicBezTo>
                <a:cubicBezTo>
                  <a:pt x="9247269" y="1132621"/>
                  <a:pt x="9235184" y="1133827"/>
                  <a:pt x="9232286" y="1129233"/>
                </a:cubicBezTo>
                <a:cubicBezTo>
                  <a:pt x="9173917" y="1143611"/>
                  <a:pt x="9141053" y="1132241"/>
                  <a:pt x="9085225" y="1135377"/>
                </a:cubicBezTo>
                <a:cubicBezTo>
                  <a:pt x="9028059" y="1161844"/>
                  <a:pt x="8961842" y="1158692"/>
                  <a:pt x="8873864" y="1182131"/>
                </a:cubicBezTo>
                <a:cubicBezTo>
                  <a:pt x="8879304" y="1175483"/>
                  <a:pt x="8859728" y="1174997"/>
                  <a:pt x="8860575" y="1171249"/>
                </a:cubicBezTo>
                <a:cubicBezTo>
                  <a:pt x="8843898" y="1175357"/>
                  <a:pt x="8827222" y="1179466"/>
                  <a:pt x="8810544" y="1183574"/>
                </a:cubicBezTo>
                <a:cubicBezTo>
                  <a:pt x="8815136" y="1180673"/>
                  <a:pt x="8815136" y="1180673"/>
                  <a:pt x="8815136" y="1180673"/>
                </a:cubicBezTo>
                <a:cubicBezTo>
                  <a:pt x="8819730" y="1177772"/>
                  <a:pt x="8819730" y="1177772"/>
                  <a:pt x="8819730" y="1177772"/>
                </a:cubicBezTo>
                <a:cubicBezTo>
                  <a:pt x="8815984" y="1176925"/>
                  <a:pt x="8812238" y="1176078"/>
                  <a:pt x="8808493" y="1175232"/>
                </a:cubicBezTo>
                <a:cubicBezTo>
                  <a:pt x="8803900" y="1178132"/>
                  <a:pt x="8803900" y="1178132"/>
                  <a:pt x="8803900" y="1178132"/>
                </a:cubicBezTo>
                <a:cubicBezTo>
                  <a:pt x="8803900" y="1178132"/>
                  <a:pt x="8803900" y="1178132"/>
                  <a:pt x="8803052" y="1181880"/>
                </a:cubicBezTo>
                <a:cubicBezTo>
                  <a:pt x="8792663" y="1175592"/>
                  <a:pt x="8758462" y="1187556"/>
                  <a:pt x="8715921" y="1201573"/>
                </a:cubicBezTo>
                <a:cubicBezTo>
                  <a:pt x="8673382" y="1215591"/>
                  <a:pt x="8621656" y="1235410"/>
                  <a:pt x="8579116" y="1249427"/>
                </a:cubicBezTo>
                <a:cubicBezTo>
                  <a:pt x="8562440" y="1253535"/>
                  <a:pt x="8549508" y="1258489"/>
                  <a:pt x="8536577" y="1263444"/>
                </a:cubicBezTo>
                <a:cubicBezTo>
                  <a:pt x="8484850" y="1283263"/>
                  <a:pt x="8439771" y="1308524"/>
                  <a:pt x="8395536" y="1330037"/>
                </a:cubicBezTo>
                <a:cubicBezTo>
                  <a:pt x="8391366" y="1331063"/>
                  <a:pt x="8386261" y="1331879"/>
                  <a:pt x="8381050" y="1333162"/>
                </a:cubicBezTo>
                <a:lnTo>
                  <a:pt x="8369829" y="1337567"/>
                </a:lnTo>
                <a:lnTo>
                  <a:pt x="8370520" y="1336198"/>
                </a:lnTo>
                <a:cubicBezTo>
                  <a:pt x="8372394" y="1336621"/>
                  <a:pt x="8373543" y="1335896"/>
                  <a:pt x="8373754" y="1334960"/>
                </a:cubicBezTo>
                <a:lnTo>
                  <a:pt x="8372721" y="1333873"/>
                </a:lnTo>
                <a:lnTo>
                  <a:pt x="8231404" y="1405556"/>
                </a:lnTo>
                <a:lnTo>
                  <a:pt x="8231531" y="1411132"/>
                </a:lnTo>
                <a:cubicBezTo>
                  <a:pt x="8191043" y="1433492"/>
                  <a:pt x="8168077" y="1447995"/>
                  <a:pt x="8127589" y="1470355"/>
                </a:cubicBezTo>
                <a:cubicBezTo>
                  <a:pt x="8117555" y="1479904"/>
                  <a:pt x="8112116" y="1486552"/>
                  <a:pt x="8102929" y="1492353"/>
                </a:cubicBezTo>
                <a:cubicBezTo>
                  <a:pt x="8057847" y="1517613"/>
                  <a:pt x="8011920" y="1546622"/>
                  <a:pt x="7968889" y="1580223"/>
                </a:cubicBezTo>
                <a:cubicBezTo>
                  <a:pt x="7947798" y="1595151"/>
                  <a:pt x="7927642" y="1610290"/>
                  <a:pt x="7907125" y="1624855"/>
                </a:cubicBezTo>
                <a:lnTo>
                  <a:pt x="7847880" y="1663016"/>
                </a:lnTo>
                <a:lnTo>
                  <a:pt x="7853220" y="1656491"/>
                </a:lnTo>
                <a:cubicBezTo>
                  <a:pt x="7849475" y="1655644"/>
                  <a:pt x="7845730" y="1654797"/>
                  <a:pt x="7840290" y="1661445"/>
                </a:cubicBezTo>
                <a:cubicBezTo>
                  <a:pt x="7840290" y="1661445"/>
                  <a:pt x="7835695" y="1664347"/>
                  <a:pt x="7835695" y="1664347"/>
                </a:cubicBezTo>
                <a:cubicBezTo>
                  <a:pt x="7831950" y="1663500"/>
                  <a:pt x="7832798" y="1659752"/>
                  <a:pt x="7836543" y="1660599"/>
                </a:cubicBezTo>
                <a:cubicBezTo>
                  <a:pt x="7865796" y="1635700"/>
                  <a:pt x="7915469" y="1607538"/>
                  <a:pt x="7950161" y="1575989"/>
                </a:cubicBezTo>
                <a:cubicBezTo>
                  <a:pt x="7948109" y="1567649"/>
                  <a:pt x="7952703" y="1564747"/>
                  <a:pt x="7939771" y="1569703"/>
                </a:cubicBezTo>
                <a:cubicBezTo>
                  <a:pt x="7938075" y="1577197"/>
                  <a:pt x="7924297" y="1585899"/>
                  <a:pt x="7910520" y="1594601"/>
                </a:cubicBezTo>
                <a:cubicBezTo>
                  <a:pt x="7904721" y="1585413"/>
                  <a:pt x="7882114" y="1615755"/>
                  <a:pt x="7862896" y="1631105"/>
                </a:cubicBezTo>
                <a:cubicBezTo>
                  <a:pt x="7810681" y="1670508"/>
                  <a:pt x="7750973" y="1708218"/>
                  <a:pt x="7700808" y="1755965"/>
                </a:cubicBezTo>
                <a:cubicBezTo>
                  <a:pt x="7695368" y="1762613"/>
                  <a:pt x="7694519" y="1766360"/>
                  <a:pt x="7689081" y="1773008"/>
                </a:cubicBezTo>
                <a:cubicBezTo>
                  <a:pt x="7673606" y="1789206"/>
                  <a:pt x="7636018" y="1816159"/>
                  <a:pt x="7628881" y="1830304"/>
                </a:cubicBezTo>
                <a:cubicBezTo>
                  <a:pt x="7625983" y="1825709"/>
                  <a:pt x="7622238" y="1824863"/>
                  <a:pt x="7615952" y="1835257"/>
                </a:cubicBezTo>
                <a:cubicBezTo>
                  <a:pt x="7611357" y="1838159"/>
                  <a:pt x="7593343" y="1865599"/>
                  <a:pt x="7589597" y="1864752"/>
                </a:cubicBezTo>
                <a:cubicBezTo>
                  <a:pt x="7594191" y="1861851"/>
                  <a:pt x="7590445" y="1861004"/>
                  <a:pt x="7591292" y="1857256"/>
                </a:cubicBezTo>
                <a:cubicBezTo>
                  <a:pt x="7565787" y="1883003"/>
                  <a:pt x="7554060" y="1900048"/>
                  <a:pt x="7532298" y="1926641"/>
                </a:cubicBezTo>
                <a:cubicBezTo>
                  <a:pt x="7546433" y="1933777"/>
                  <a:pt x="7569889" y="1899687"/>
                  <a:pt x="7586207" y="1879742"/>
                </a:cubicBezTo>
                <a:cubicBezTo>
                  <a:pt x="7604158" y="1870012"/>
                  <a:pt x="7620143" y="1855901"/>
                  <a:pt x="7636914" y="1840489"/>
                </a:cubicBezTo>
                <a:lnTo>
                  <a:pt x="7683586" y="1800869"/>
                </a:lnTo>
                <a:lnTo>
                  <a:pt x="7682302" y="1802989"/>
                </a:lnTo>
                <a:cubicBezTo>
                  <a:pt x="7685201" y="1807583"/>
                  <a:pt x="7689794" y="1804683"/>
                  <a:pt x="7690641" y="1800935"/>
                </a:cubicBezTo>
                <a:cubicBezTo>
                  <a:pt x="7694387" y="1801781"/>
                  <a:pt x="7694387" y="1801781"/>
                  <a:pt x="7694387" y="1801781"/>
                </a:cubicBezTo>
                <a:cubicBezTo>
                  <a:pt x="7662594" y="1837925"/>
                  <a:pt x="7621616" y="1879868"/>
                  <a:pt x="7587770" y="1907669"/>
                </a:cubicBezTo>
                <a:cubicBezTo>
                  <a:pt x="7570600" y="1931362"/>
                  <a:pt x="7548843" y="1957955"/>
                  <a:pt x="7543759" y="1980440"/>
                </a:cubicBezTo>
                <a:cubicBezTo>
                  <a:pt x="7616529" y="1902354"/>
                  <a:pt x="7669236" y="1843365"/>
                  <a:pt x="7730640" y="1798159"/>
                </a:cubicBezTo>
                <a:cubicBezTo>
                  <a:pt x="7746959" y="1778215"/>
                  <a:pt x="7772466" y="1752468"/>
                  <a:pt x="7790837" y="1740866"/>
                </a:cubicBezTo>
                <a:cubicBezTo>
                  <a:pt x="7782855" y="1758757"/>
                  <a:pt x="7801228" y="1747154"/>
                  <a:pt x="7803279" y="1755496"/>
                </a:cubicBezTo>
                <a:cubicBezTo>
                  <a:pt x="7812463" y="1749694"/>
                  <a:pt x="7809565" y="1745100"/>
                  <a:pt x="7819596" y="1735551"/>
                </a:cubicBezTo>
                <a:cubicBezTo>
                  <a:pt x="7834225" y="1723101"/>
                  <a:pt x="7801228" y="1747154"/>
                  <a:pt x="7812954" y="1730108"/>
                </a:cubicBezTo>
                <a:cubicBezTo>
                  <a:pt x="7852240" y="1695660"/>
                  <a:pt x="7888135" y="1676202"/>
                  <a:pt x="7924521" y="1637158"/>
                </a:cubicBezTo>
                <a:cubicBezTo>
                  <a:pt x="7944945" y="1633897"/>
                  <a:pt x="7968755" y="1615645"/>
                  <a:pt x="7991719" y="1601142"/>
                </a:cubicBezTo>
                <a:cubicBezTo>
                  <a:pt x="8015532" y="1582891"/>
                  <a:pt x="8039343" y="1564639"/>
                  <a:pt x="8061460" y="1553883"/>
                </a:cubicBezTo>
                <a:cubicBezTo>
                  <a:pt x="8043087" y="1565486"/>
                  <a:pt x="8045985" y="1570080"/>
                  <a:pt x="8041395" y="1572980"/>
                </a:cubicBezTo>
                <a:cubicBezTo>
                  <a:pt x="8049733" y="1570926"/>
                  <a:pt x="8048884" y="1574674"/>
                  <a:pt x="8052631" y="1575521"/>
                </a:cubicBezTo>
                <a:cubicBezTo>
                  <a:pt x="8076442" y="1557270"/>
                  <a:pt x="8083935" y="1558963"/>
                  <a:pt x="8106898" y="1544460"/>
                </a:cubicBezTo>
                <a:cubicBezTo>
                  <a:pt x="8107745" y="1540712"/>
                  <a:pt x="8108594" y="1536965"/>
                  <a:pt x="8113187" y="1534063"/>
                </a:cubicBezTo>
                <a:cubicBezTo>
                  <a:pt x="8106541" y="1528622"/>
                  <a:pt x="8093611" y="1533577"/>
                  <a:pt x="8099898" y="1523181"/>
                </a:cubicBezTo>
                <a:cubicBezTo>
                  <a:pt x="8126606" y="1509524"/>
                  <a:pt x="8144131" y="1501668"/>
                  <a:pt x="8167097" y="1487164"/>
                </a:cubicBezTo>
                <a:cubicBezTo>
                  <a:pt x="8185468" y="1475561"/>
                  <a:pt x="8207585" y="1464806"/>
                  <a:pt x="8240583" y="1440752"/>
                </a:cubicBezTo>
                <a:cubicBezTo>
                  <a:pt x="8240583" y="1440752"/>
                  <a:pt x="8237685" y="1436157"/>
                  <a:pt x="8242275" y="1433257"/>
                </a:cubicBezTo>
                <a:cubicBezTo>
                  <a:pt x="8272732" y="1420446"/>
                  <a:pt x="8264395" y="1422502"/>
                  <a:pt x="8290257" y="1412591"/>
                </a:cubicBezTo>
                <a:cubicBezTo>
                  <a:pt x="8299443" y="1406790"/>
                  <a:pt x="8308627" y="1400989"/>
                  <a:pt x="8322408" y="1392286"/>
                </a:cubicBezTo>
                <a:cubicBezTo>
                  <a:pt x="8385370" y="1375007"/>
                  <a:pt x="8437584" y="1335603"/>
                  <a:pt x="8510581" y="1308775"/>
                </a:cubicBezTo>
                <a:cubicBezTo>
                  <a:pt x="8511427" y="1305029"/>
                  <a:pt x="8524359" y="1300073"/>
                  <a:pt x="8533544" y="1294272"/>
                </a:cubicBezTo>
                <a:cubicBezTo>
                  <a:pt x="8536442" y="1298866"/>
                  <a:pt x="8554814" y="1287262"/>
                  <a:pt x="8553968" y="1291010"/>
                </a:cubicBezTo>
                <a:cubicBezTo>
                  <a:pt x="8543934" y="1300560"/>
                  <a:pt x="8522664" y="1307569"/>
                  <a:pt x="8528461" y="1316757"/>
                </a:cubicBezTo>
                <a:cubicBezTo>
                  <a:pt x="8571001" y="1302739"/>
                  <a:pt x="8589373" y="1291136"/>
                  <a:pt x="8607744" y="1279533"/>
                </a:cubicBezTo>
                <a:cubicBezTo>
                  <a:pt x="8621523" y="1270831"/>
                  <a:pt x="8591914" y="1279894"/>
                  <a:pt x="8589016" y="1275299"/>
                </a:cubicBezTo>
                <a:cubicBezTo>
                  <a:pt x="8589016" y="1275299"/>
                  <a:pt x="8598202" y="1269497"/>
                  <a:pt x="8595302" y="1264905"/>
                </a:cubicBezTo>
                <a:cubicBezTo>
                  <a:pt x="8596150" y="1261157"/>
                  <a:pt x="8567389" y="1266471"/>
                  <a:pt x="8597844" y="1253661"/>
                </a:cubicBezTo>
                <a:cubicBezTo>
                  <a:pt x="8601591" y="1254508"/>
                  <a:pt x="8601591" y="1254508"/>
                  <a:pt x="8601591" y="1254508"/>
                </a:cubicBezTo>
                <a:cubicBezTo>
                  <a:pt x="8596997" y="1257408"/>
                  <a:pt x="8596997" y="1257408"/>
                  <a:pt x="8596997" y="1257408"/>
                </a:cubicBezTo>
                <a:cubicBezTo>
                  <a:pt x="8596997" y="1257408"/>
                  <a:pt x="8596997" y="1257408"/>
                  <a:pt x="8600742" y="1258256"/>
                </a:cubicBezTo>
                <a:cubicBezTo>
                  <a:pt x="8600742" y="1258256"/>
                  <a:pt x="8604489" y="1259103"/>
                  <a:pt x="8604489" y="1259103"/>
                </a:cubicBezTo>
                <a:cubicBezTo>
                  <a:pt x="8605336" y="1255355"/>
                  <a:pt x="8609082" y="1256201"/>
                  <a:pt x="8609082" y="1256201"/>
                </a:cubicBezTo>
                <a:cubicBezTo>
                  <a:pt x="8609929" y="1252454"/>
                  <a:pt x="8609929" y="1252454"/>
                  <a:pt x="8609929" y="1252454"/>
                </a:cubicBezTo>
                <a:cubicBezTo>
                  <a:pt x="8608234" y="1259949"/>
                  <a:pt x="8638691" y="1247138"/>
                  <a:pt x="8634944" y="1246291"/>
                </a:cubicBezTo>
                <a:cubicBezTo>
                  <a:pt x="8631199" y="1245445"/>
                  <a:pt x="8631199" y="1245445"/>
                  <a:pt x="8631199" y="1245445"/>
                </a:cubicBezTo>
                <a:cubicBezTo>
                  <a:pt x="8631199" y="1245445"/>
                  <a:pt x="8634944" y="1246291"/>
                  <a:pt x="8639538" y="1243391"/>
                </a:cubicBezTo>
                <a:cubicBezTo>
                  <a:pt x="8639538" y="1243391"/>
                  <a:pt x="8644130" y="1240490"/>
                  <a:pt x="8644130" y="1240490"/>
                </a:cubicBezTo>
                <a:cubicBezTo>
                  <a:pt x="8644130" y="1240490"/>
                  <a:pt x="8644978" y="1236743"/>
                  <a:pt x="8640384" y="1239644"/>
                </a:cubicBezTo>
                <a:cubicBezTo>
                  <a:pt x="8640384" y="1239644"/>
                  <a:pt x="8636638" y="1238797"/>
                  <a:pt x="8636638" y="1238797"/>
                </a:cubicBezTo>
                <a:cubicBezTo>
                  <a:pt x="8657908" y="1231788"/>
                  <a:pt x="8715921" y="1201573"/>
                  <a:pt x="8735498" y="1202060"/>
                </a:cubicBezTo>
                <a:cubicBezTo>
                  <a:pt x="8720872" y="1214510"/>
                  <a:pt x="8707093" y="1223212"/>
                  <a:pt x="8712890" y="1232399"/>
                </a:cubicBezTo>
                <a:cubicBezTo>
                  <a:pt x="8717482" y="1229499"/>
                  <a:pt x="8738752" y="1222491"/>
                  <a:pt x="8731618" y="1236633"/>
                </a:cubicBezTo>
                <a:cubicBezTo>
                  <a:pt x="8752888" y="1229626"/>
                  <a:pt x="8769566" y="1225517"/>
                  <a:pt x="8786242" y="1221409"/>
                </a:cubicBezTo>
                <a:cubicBezTo>
                  <a:pt x="8787088" y="1217662"/>
                  <a:pt x="8775005" y="1218868"/>
                  <a:pt x="8784190" y="1213068"/>
                </a:cubicBezTo>
                <a:cubicBezTo>
                  <a:pt x="8803766" y="1213554"/>
                  <a:pt x="8817545" y="1204852"/>
                  <a:pt x="8841714" y="1202437"/>
                </a:cubicBezTo>
                <a:cubicBezTo>
                  <a:pt x="8865525" y="1184185"/>
                  <a:pt x="8888846" y="1185519"/>
                  <a:pt x="8938877" y="1173195"/>
                </a:cubicBezTo>
                <a:cubicBezTo>
                  <a:pt x="8937182" y="1180690"/>
                  <a:pt x="8945521" y="1178636"/>
                  <a:pt x="8944674" y="1182384"/>
                </a:cubicBezTo>
                <a:cubicBezTo>
                  <a:pt x="8986368" y="1172114"/>
                  <a:pt x="9026365" y="1169339"/>
                  <a:pt x="9067210" y="1162817"/>
                </a:cubicBezTo>
                <a:cubicBezTo>
                  <a:pt x="9107210" y="1160042"/>
                  <a:pt x="9147207" y="1157268"/>
                  <a:pt x="9176815" y="1148205"/>
                </a:cubicBezTo>
                <a:cubicBezTo>
                  <a:pt x="9160139" y="1152312"/>
                  <a:pt x="9173917" y="1143611"/>
                  <a:pt x="9182255" y="1141557"/>
                </a:cubicBezTo>
                <a:cubicBezTo>
                  <a:pt x="9193492" y="1144096"/>
                  <a:pt x="9214762" y="1137087"/>
                  <a:pt x="9209322" y="1143737"/>
                </a:cubicBezTo>
                <a:cubicBezTo>
                  <a:pt x="9241829" y="1139267"/>
                  <a:pt x="9253912" y="1138062"/>
                  <a:pt x="9290166" y="1134440"/>
                </a:cubicBezTo>
                <a:cubicBezTo>
                  <a:pt x="9301403" y="1136979"/>
                  <a:pt x="9308894" y="1138674"/>
                  <a:pt x="9320131" y="1141213"/>
                </a:cubicBezTo>
                <a:cubicBezTo>
                  <a:pt x="9333062" y="1136259"/>
                  <a:pt x="9352638" y="1136745"/>
                  <a:pt x="9372214" y="1137231"/>
                </a:cubicBezTo>
                <a:cubicBezTo>
                  <a:pt x="9390940" y="1141466"/>
                  <a:pt x="9406770" y="1141105"/>
                  <a:pt x="9415957" y="1135303"/>
                </a:cubicBezTo>
                <a:cubicBezTo>
                  <a:pt x="9415957" y="1135303"/>
                  <a:pt x="9415957" y="1135303"/>
                  <a:pt x="9416804" y="1131556"/>
                </a:cubicBezTo>
                <a:cubicBezTo>
                  <a:pt x="9409313" y="1129862"/>
                  <a:pt x="9405567" y="1129016"/>
                  <a:pt x="9398076" y="1127322"/>
                </a:cubicBezTo>
                <a:cubicBezTo>
                  <a:pt x="9379348" y="1123087"/>
                  <a:pt x="9359772" y="1122602"/>
                  <a:pt x="9339349" y="1125863"/>
                </a:cubicBezTo>
                <a:close/>
                <a:moveTo>
                  <a:pt x="1478794" y="1120425"/>
                </a:moveTo>
                <a:cubicBezTo>
                  <a:pt x="1486407" y="1123340"/>
                  <a:pt x="1493433" y="1127421"/>
                  <a:pt x="1496361" y="1136748"/>
                </a:cubicBezTo>
                <a:cubicBezTo>
                  <a:pt x="1496947" y="1138496"/>
                  <a:pt x="1500460" y="1139663"/>
                  <a:pt x="1499875" y="1143161"/>
                </a:cubicBezTo>
                <a:cubicBezTo>
                  <a:pt x="1498118" y="1152489"/>
                  <a:pt x="1505145" y="1155403"/>
                  <a:pt x="1511002" y="1157153"/>
                </a:cubicBezTo>
                <a:cubicBezTo>
                  <a:pt x="1515101" y="1158318"/>
                  <a:pt x="1517442" y="1160066"/>
                  <a:pt x="1519785" y="1162399"/>
                </a:cubicBezTo>
                <a:cubicBezTo>
                  <a:pt x="1526813" y="1168812"/>
                  <a:pt x="1526227" y="1177556"/>
                  <a:pt x="1527983" y="1185718"/>
                </a:cubicBezTo>
                <a:cubicBezTo>
                  <a:pt x="1529155" y="1193297"/>
                  <a:pt x="1525642" y="1199125"/>
                  <a:pt x="1522713" y="1205539"/>
                </a:cubicBezTo>
                <a:cubicBezTo>
                  <a:pt x="1519785" y="1212534"/>
                  <a:pt x="1515101" y="1218364"/>
                  <a:pt x="1506317" y="1218364"/>
                </a:cubicBezTo>
                <a:cubicBezTo>
                  <a:pt x="1505145" y="1218364"/>
                  <a:pt x="1504561" y="1218948"/>
                  <a:pt x="1504561" y="1220696"/>
                </a:cubicBezTo>
                <a:cubicBezTo>
                  <a:pt x="1500460" y="1220696"/>
                  <a:pt x="1496947" y="1220696"/>
                  <a:pt x="1492848" y="1220696"/>
                </a:cubicBezTo>
                <a:cubicBezTo>
                  <a:pt x="1489919" y="1216615"/>
                  <a:pt x="1484064" y="1217199"/>
                  <a:pt x="1479965" y="1214283"/>
                </a:cubicBezTo>
                <a:cubicBezTo>
                  <a:pt x="1475866" y="1211369"/>
                  <a:pt x="1472351" y="1209037"/>
                  <a:pt x="1471180" y="1203790"/>
                </a:cubicBezTo>
                <a:cubicBezTo>
                  <a:pt x="1470594" y="1197960"/>
                  <a:pt x="1467667" y="1192714"/>
                  <a:pt x="1464738" y="1188050"/>
                </a:cubicBezTo>
                <a:cubicBezTo>
                  <a:pt x="1461810" y="1182802"/>
                  <a:pt x="1459467" y="1177556"/>
                  <a:pt x="1456541" y="1172893"/>
                </a:cubicBezTo>
                <a:cubicBezTo>
                  <a:pt x="1454198" y="1167646"/>
                  <a:pt x="1449513" y="1162982"/>
                  <a:pt x="1443657" y="1160066"/>
                </a:cubicBezTo>
                <a:cubicBezTo>
                  <a:pt x="1443657" y="1153071"/>
                  <a:pt x="1443657" y="1146076"/>
                  <a:pt x="1443657" y="1139080"/>
                </a:cubicBezTo>
                <a:cubicBezTo>
                  <a:pt x="1447171" y="1137331"/>
                  <a:pt x="1448927" y="1134999"/>
                  <a:pt x="1450685" y="1130918"/>
                </a:cubicBezTo>
                <a:cubicBezTo>
                  <a:pt x="1453028" y="1126255"/>
                  <a:pt x="1458297" y="1122757"/>
                  <a:pt x="1463567" y="1122757"/>
                </a:cubicBezTo>
                <a:cubicBezTo>
                  <a:pt x="1468838" y="1122757"/>
                  <a:pt x="1473523" y="1121591"/>
                  <a:pt x="1478794" y="1120425"/>
                </a:cubicBezTo>
                <a:close/>
                <a:moveTo>
                  <a:pt x="728989" y="1116721"/>
                </a:moveTo>
                <a:cubicBezTo>
                  <a:pt x="736370" y="1116143"/>
                  <a:pt x="743028" y="1116721"/>
                  <a:pt x="745343" y="1120768"/>
                </a:cubicBezTo>
                <a:lnTo>
                  <a:pt x="755487" y="1129914"/>
                </a:lnTo>
                <a:lnTo>
                  <a:pt x="767755" y="1118514"/>
                </a:lnTo>
                <a:cubicBezTo>
                  <a:pt x="773026" y="1119680"/>
                  <a:pt x="777711" y="1120847"/>
                  <a:pt x="782981" y="1120847"/>
                </a:cubicBezTo>
                <a:cubicBezTo>
                  <a:pt x="788252" y="1120847"/>
                  <a:pt x="793521" y="1124344"/>
                  <a:pt x="795864" y="1129007"/>
                </a:cubicBezTo>
                <a:cubicBezTo>
                  <a:pt x="797621" y="1133088"/>
                  <a:pt x="799378" y="1135421"/>
                  <a:pt x="802891" y="1137169"/>
                </a:cubicBezTo>
                <a:cubicBezTo>
                  <a:pt x="802891" y="1144165"/>
                  <a:pt x="802891" y="1151160"/>
                  <a:pt x="802891" y="1158156"/>
                </a:cubicBezTo>
                <a:lnTo>
                  <a:pt x="800149" y="1160887"/>
                </a:lnTo>
                <a:lnTo>
                  <a:pt x="803231" y="1165863"/>
                </a:lnTo>
                <a:cubicBezTo>
                  <a:pt x="805546" y="1175112"/>
                  <a:pt x="821754" y="1180893"/>
                  <a:pt x="806704" y="1193613"/>
                </a:cubicBezTo>
                <a:cubicBezTo>
                  <a:pt x="802072" y="1197082"/>
                  <a:pt x="803231" y="1204019"/>
                  <a:pt x="807861" y="1205175"/>
                </a:cubicBezTo>
                <a:cubicBezTo>
                  <a:pt x="826385" y="1212114"/>
                  <a:pt x="825228" y="1222520"/>
                  <a:pt x="813650" y="1236395"/>
                </a:cubicBezTo>
                <a:cubicBezTo>
                  <a:pt x="810176" y="1241019"/>
                  <a:pt x="814808" y="1246801"/>
                  <a:pt x="817123" y="1251426"/>
                </a:cubicBezTo>
                <a:cubicBezTo>
                  <a:pt x="821754" y="1258363"/>
                  <a:pt x="822912" y="1265302"/>
                  <a:pt x="815965" y="1271083"/>
                </a:cubicBezTo>
                <a:cubicBezTo>
                  <a:pt x="809019" y="1276864"/>
                  <a:pt x="810176" y="1283802"/>
                  <a:pt x="807861" y="1290740"/>
                </a:cubicBezTo>
                <a:cubicBezTo>
                  <a:pt x="802072" y="1308084"/>
                  <a:pt x="795125" y="1330053"/>
                  <a:pt x="782391" y="1338147"/>
                </a:cubicBezTo>
                <a:cubicBezTo>
                  <a:pt x="754604" y="1355491"/>
                  <a:pt x="727976" y="1373991"/>
                  <a:pt x="700190" y="1390179"/>
                </a:cubicBezTo>
                <a:cubicBezTo>
                  <a:pt x="697874" y="1390179"/>
                  <a:pt x="693242" y="1390179"/>
                  <a:pt x="692086" y="1387867"/>
                </a:cubicBezTo>
                <a:cubicBezTo>
                  <a:pt x="680507" y="1377460"/>
                  <a:pt x="670088" y="1368210"/>
                  <a:pt x="655038" y="1383241"/>
                </a:cubicBezTo>
                <a:cubicBezTo>
                  <a:pt x="650406" y="1389023"/>
                  <a:pt x="646933" y="1383241"/>
                  <a:pt x="645776" y="1378617"/>
                </a:cubicBezTo>
                <a:cubicBezTo>
                  <a:pt x="642303" y="1358961"/>
                  <a:pt x="633040" y="1358961"/>
                  <a:pt x="619146" y="1370523"/>
                </a:cubicBezTo>
                <a:cubicBezTo>
                  <a:pt x="609885" y="1378617"/>
                  <a:pt x="605254" y="1376305"/>
                  <a:pt x="605254" y="1364740"/>
                </a:cubicBezTo>
                <a:cubicBezTo>
                  <a:pt x="605254" y="1357803"/>
                  <a:pt x="607569" y="1349710"/>
                  <a:pt x="597150" y="1348553"/>
                </a:cubicBezTo>
                <a:cubicBezTo>
                  <a:pt x="573994" y="1343929"/>
                  <a:pt x="564732" y="1327740"/>
                  <a:pt x="565890" y="1306928"/>
                </a:cubicBezTo>
                <a:cubicBezTo>
                  <a:pt x="567047" y="1291896"/>
                  <a:pt x="562417" y="1284958"/>
                  <a:pt x="551997" y="1279177"/>
                </a:cubicBezTo>
                <a:cubicBezTo>
                  <a:pt x="551997" y="1274552"/>
                  <a:pt x="551997" y="1269926"/>
                  <a:pt x="551997" y="1265302"/>
                </a:cubicBezTo>
                <a:cubicBezTo>
                  <a:pt x="563575" y="1258363"/>
                  <a:pt x="567047" y="1245645"/>
                  <a:pt x="563575" y="1234082"/>
                </a:cubicBezTo>
                <a:cubicBezTo>
                  <a:pt x="557785" y="1213269"/>
                  <a:pt x="564732" y="1197082"/>
                  <a:pt x="579783" y="1183207"/>
                </a:cubicBezTo>
                <a:cubicBezTo>
                  <a:pt x="585573" y="1177425"/>
                  <a:pt x="591361" y="1172799"/>
                  <a:pt x="593677" y="1164706"/>
                </a:cubicBezTo>
                <a:cubicBezTo>
                  <a:pt x="595991" y="1151986"/>
                  <a:pt x="602938" y="1145049"/>
                  <a:pt x="615673" y="1146205"/>
                </a:cubicBezTo>
                <a:cubicBezTo>
                  <a:pt x="624936" y="1146205"/>
                  <a:pt x="631882" y="1140424"/>
                  <a:pt x="635355" y="1135799"/>
                </a:cubicBezTo>
                <a:cubicBezTo>
                  <a:pt x="655038" y="1108049"/>
                  <a:pt x="683981" y="1123080"/>
                  <a:pt x="708295" y="1119611"/>
                </a:cubicBezTo>
                <a:cubicBezTo>
                  <a:pt x="713505" y="1119033"/>
                  <a:pt x="721608" y="1117298"/>
                  <a:pt x="728989" y="1116721"/>
                </a:cubicBezTo>
                <a:close/>
                <a:moveTo>
                  <a:pt x="4481236" y="1115804"/>
                </a:moveTo>
                <a:cubicBezTo>
                  <a:pt x="4463584" y="1124631"/>
                  <a:pt x="4432690" y="1129045"/>
                  <a:pt x="4428277" y="1137871"/>
                </a:cubicBezTo>
                <a:cubicBezTo>
                  <a:pt x="4428277" y="1137871"/>
                  <a:pt x="4423862" y="1137871"/>
                  <a:pt x="4419450" y="1137871"/>
                </a:cubicBezTo>
                <a:cubicBezTo>
                  <a:pt x="4419450" y="1137871"/>
                  <a:pt x="4415036" y="1137871"/>
                  <a:pt x="4415036" y="1142285"/>
                </a:cubicBezTo>
                <a:cubicBezTo>
                  <a:pt x="4388557" y="1142285"/>
                  <a:pt x="4366490" y="1155525"/>
                  <a:pt x="4344424" y="1164352"/>
                </a:cubicBezTo>
                <a:lnTo>
                  <a:pt x="4201432" y="1218455"/>
                </a:lnTo>
                <a:lnTo>
                  <a:pt x="4204241" y="1236168"/>
                </a:lnTo>
                <a:lnTo>
                  <a:pt x="4207611" y="1234964"/>
                </a:lnTo>
                <a:cubicBezTo>
                  <a:pt x="4207611" y="1234964"/>
                  <a:pt x="4212023" y="1234965"/>
                  <a:pt x="4212023" y="1234965"/>
                </a:cubicBezTo>
                <a:cubicBezTo>
                  <a:pt x="4216438" y="1234965"/>
                  <a:pt x="4216438" y="1234965"/>
                  <a:pt x="4220849" y="1234965"/>
                </a:cubicBezTo>
                <a:cubicBezTo>
                  <a:pt x="4220850" y="1230551"/>
                  <a:pt x="4220850" y="1230551"/>
                  <a:pt x="4220850" y="1230551"/>
                </a:cubicBezTo>
                <a:cubicBezTo>
                  <a:pt x="4247330" y="1217312"/>
                  <a:pt x="4269398" y="1204071"/>
                  <a:pt x="4287051" y="1199658"/>
                </a:cubicBezTo>
                <a:cubicBezTo>
                  <a:pt x="4300289" y="1186418"/>
                  <a:pt x="4340009" y="1177592"/>
                  <a:pt x="4375317" y="1164351"/>
                </a:cubicBezTo>
                <a:cubicBezTo>
                  <a:pt x="4384144" y="1155525"/>
                  <a:pt x="4415036" y="1151110"/>
                  <a:pt x="4423862" y="1146697"/>
                </a:cubicBezTo>
                <a:cubicBezTo>
                  <a:pt x="4423862" y="1146697"/>
                  <a:pt x="4428277" y="1146697"/>
                  <a:pt x="4428277" y="1146697"/>
                </a:cubicBezTo>
                <a:cubicBezTo>
                  <a:pt x="4428277" y="1146697"/>
                  <a:pt x="4432690" y="1146697"/>
                  <a:pt x="4432690" y="1146697"/>
                </a:cubicBezTo>
                <a:cubicBezTo>
                  <a:pt x="4437104" y="1146697"/>
                  <a:pt x="4437104" y="1146697"/>
                  <a:pt x="4437104" y="1146697"/>
                </a:cubicBezTo>
                <a:cubicBezTo>
                  <a:pt x="4441515" y="1142285"/>
                  <a:pt x="4441515" y="1142285"/>
                  <a:pt x="4437104" y="1142285"/>
                </a:cubicBezTo>
                <a:cubicBezTo>
                  <a:pt x="4450344" y="1137871"/>
                  <a:pt x="4441516" y="1137871"/>
                  <a:pt x="4441516" y="1133457"/>
                </a:cubicBezTo>
                <a:cubicBezTo>
                  <a:pt x="4454756" y="1137872"/>
                  <a:pt x="4454756" y="1124631"/>
                  <a:pt x="4472409" y="1124632"/>
                </a:cubicBezTo>
                <a:cubicBezTo>
                  <a:pt x="4467996" y="1120218"/>
                  <a:pt x="4481236" y="1120219"/>
                  <a:pt x="4481236" y="1115804"/>
                </a:cubicBezTo>
                <a:close/>
                <a:moveTo>
                  <a:pt x="2482521" y="1113340"/>
                </a:moveTo>
                <a:cubicBezTo>
                  <a:pt x="2487471" y="1114436"/>
                  <a:pt x="2491870" y="1115530"/>
                  <a:pt x="2496819" y="1115530"/>
                </a:cubicBezTo>
                <a:cubicBezTo>
                  <a:pt x="2501768" y="1115530"/>
                  <a:pt x="2506716" y="1118814"/>
                  <a:pt x="2508916" y="1123194"/>
                </a:cubicBezTo>
                <a:cubicBezTo>
                  <a:pt x="2510565" y="1127025"/>
                  <a:pt x="2512215" y="1129215"/>
                  <a:pt x="2515514" y="1130857"/>
                </a:cubicBezTo>
                <a:cubicBezTo>
                  <a:pt x="2515514" y="1137426"/>
                  <a:pt x="2515514" y="1143995"/>
                  <a:pt x="2515514" y="1150564"/>
                </a:cubicBezTo>
                <a:cubicBezTo>
                  <a:pt x="2510015" y="1153301"/>
                  <a:pt x="2505616" y="1157681"/>
                  <a:pt x="2503417" y="1162607"/>
                </a:cubicBezTo>
                <a:cubicBezTo>
                  <a:pt x="2500668" y="1166986"/>
                  <a:pt x="2498469" y="1171913"/>
                  <a:pt x="2495719" y="1176840"/>
                </a:cubicBezTo>
                <a:cubicBezTo>
                  <a:pt x="2492970" y="1181219"/>
                  <a:pt x="2490220" y="1186145"/>
                  <a:pt x="2489670" y="1191619"/>
                </a:cubicBezTo>
                <a:cubicBezTo>
                  <a:pt x="2488570" y="1196547"/>
                  <a:pt x="2485271" y="1198736"/>
                  <a:pt x="2481422" y="1201473"/>
                </a:cubicBezTo>
                <a:cubicBezTo>
                  <a:pt x="2477572" y="1204210"/>
                  <a:pt x="2472074" y="1203662"/>
                  <a:pt x="2469325" y="1207494"/>
                </a:cubicBezTo>
                <a:cubicBezTo>
                  <a:pt x="2465476" y="1207494"/>
                  <a:pt x="2462176" y="1207494"/>
                  <a:pt x="2458327" y="1207494"/>
                </a:cubicBezTo>
                <a:cubicBezTo>
                  <a:pt x="2458327" y="1205852"/>
                  <a:pt x="2457777" y="1205304"/>
                  <a:pt x="2456677" y="1205304"/>
                </a:cubicBezTo>
                <a:cubicBezTo>
                  <a:pt x="2448430" y="1205304"/>
                  <a:pt x="2444031" y="1199831"/>
                  <a:pt x="2441281" y="1193261"/>
                </a:cubicBezTo>
                <a:cubicBezTo>
                  <a:pt x="2438532" y="1187240"/>
                  <a:pt x="2435232" y="1181766"/>
                  <a:pt x="2436332" y="1174650"/>
                </a:cubicBezTo>
                <a:cubicBezTo>
                  <a:pt x="2437982" y="1166986"/>
                  <a:pt x="2437432" y="1158775"/>
                  <a:pt x="2444031" y="1152754"/>
                </a:cubicBezTo>
                <a:cubicBezTo>
                  <a:pt x="2446230" y="1150564"/>
                  <a:pt x="2448430" y="1148922"/>
                  <a:pt x="2452278" y="1147827"/>
                </a:cubicBezTo>
                <a:cubicBezTo>
                  <a:pt x="2457777" y="1146184"/>
                  <a:pt x="2464376" y="1143448"/>
                  <a:pt x="2462726" y="1134689"/>
                </a:cubicBezTo>
                <a:cubicBezTo>
                  <a:pt x="2462176" y="1131405"/>
                  <a:pt x="2465476" y="1130309"/>
                  <a:pt x="2466026" y="1128667"/>
                </a:cubicBezTo>
                <a:cubicBezTo>
                  <a:pt x="2468775" y="1119909"/>
                  <a:pt x="2475373" y="1116078"/>
                  <a:pt x="2482521" y="1113340"/>
                </a:cubicBezTo>
                <a:close/>
                <a:moveTo>
                  <a:pt x="8962880" y="1089485"/>
                </a:moveTo>
                <a:lnTo>
                  <a:pt x="8767012" y="1125151"/>
                </a:lnTo>
                <a:lnTo>
                  <a:pt x="8743275" y="1130603"/>
                </a:lnTo>
                <a:lnTo>
                  <a:pt x="8739829" y="1132153"/>
                </a:lnTo>
                <a:cubicBezTo>
                  <a:pt x="8724946" y="1136769"/>
                  <a:pt x="8701166" y="1141124"/>
                  <a:pt x="8703136" y="1147203"/>
                </a:cubicBezTo>
                <a:lnTo>
                  <a:pt x="8699085" y="1148518"/>
                </a:lnTo>
                <a:cubicBezTo>
                  <a:pt x="8693717" y="1145780"/>
                  <a:pt x="8685611" y="1148409"/>
                  <a:pt x="8681560" y="1149723"/>
                </a:cubicBezTo>
                <a:cubicBezTo>
                  <a:pt x="8680243" y="1145670"/>
                  <a:pt x="8680243" y="1145670"/>
                  <a:pt x="8680243" y="1145670"/>
                </a:cubicBezTo>
                <a:lnTo>
                  <a:pt x="8680065" y="1145122"/>
                </a:lnTo>
                <a:lnTo>
                  <a:pt x="8648083" y="1152467"/>
                </a:lnTo>
                <a:lnTo>
                  <a:pt x="8631892" y="1157282"/>
                </a:lnTo>
                <a:lnTo>
                  <a:pt x="8638440" y="1156831"/>
                </a:lnTo>
                <a:lnTo>
                  <a:pt x="8604542" y="1165415"/>
                </a:lnTo>
                <a:lnTo>
                  <a:pt x="8570032" y="1175677"/>
                </a:lnTo>
                <a:lnTo>
                  <a:pt x="8557093" y="1180504"/>
                </a:lnTo>
                <a:cubicBezTo>
                  <a:pt x="8550672" y="1182937"/>
                  <a:pt x="8545182" y="1184996"/>
                  <a:pt x="8541130" y="1186312"/>
                </a:cubicBezTo>
                <a:cubicBezTo>
                  <a:pt x="8541130" y="1186312"/>
                  <a:pt x="8537077" y="1187626"/>
                  <a:pt x="8537077" y="1187626"/>
                </a:cubicBezTo>
                <a:lnTo>
                  <a:pt x="8493924" y="1202024"/>
                </a:lnTo>
                <a:lnTo>
                  <a:pt x="8438330" y="1224137"/>
                </a:lnTo>
                <a:lnTo>
                  <a:pt x="8450062" y="1220332"/>
                </a:lnTo>
                <a:cubicBezTo>
                  <a:pt x="8480647" y="1210412"/>
                  <a:pt x="8504962" y="1202524"/>
                  <a:pt x="8538392" y="1191679"/>
                </a:cubicBezTo>
                <a:cubicBezTo>
                  <a:pt x="8535654" y="1197047"/>
                  <a:pt x="8539705" y="1195732"/>
                  <a:pt x="8545074" y="1198470"/>
                </a:cubicBezTo>
                <a:cubicBezTo>
                  <a:pt x="8549126" y="1197155"/>
                  <a:pt x="8549126" y="1197155"/>
                  <a:pt x="8549126" y="1197155"/>
                </a:cubicBezTo>
                <a:cubicBezTo>
                  <a:pt x="8547812" y="1193103"/>
                  <a:pt x="8547812" y="1193103"/>
                  <a:pt x="8547812" y="1193103"/>
                </a:cubicBezTo>
                <a:cubicBezTo>
                  <a:pt x="8582973" y="1177219"/>
                  <a:pt x="8624708" y="1181601"/>
                  <a:pt x="8632924" y="1165497"/>
                </a:cubicBezTo>
                <a:cubicBezTo>
                  <a:pt x="8631608" y="1161445"/>
                  <a:pt x="8631608" y="1161445"/>
                  <a:pt x="8631608" y="1161445"/>
                </a:cubicBezTo>
                <a:cubicBezTo>
                  <a:pt x="8636976" y="1164183"/>
                  <a:pt x="8645081" y="1161554"/>
                  <a:pt x="8649135" y="1160240"/>
                </a:cubicBezTo>
                <a:cubicBezTo>
                  <a:pt x="8653188" y="1158925"/>
                  <a:pt x="8657240" y="1157611"/>
                  <a:pt x="8657240" y="1157611"/>
                </a:cubicBezTo>
                <a:cubicBezTo>
                  <a:pt x="8658554" y="1161662"/>
                  <a:pt x="8661184" y="1169769"/>
                  <a:pt x="8658447" y="1175135"/>
                </a:cubicBezTo>
                <a:cubicBezTo>
                  <a:pt x="8654392" y="1176451"/>
                  <a:pt x="8646287" y="1179080"/>
                  <a:pt x="8642234" y="1180394"/>
                </a:cubicBezTo>
                <a:cubicBezTo>
                  <a:pt x="8634127" y="1183023"/>
                  <a:pt x="8624708" y="1181601"/>
                  <a:pt x="8617916" y="1188282"/>
                </a:cubicBezTo>
                <a:cubicBezTo>
                  <a:pt x="8617916" y="1188282"/>
                  <a:pt x="8613864" y="1189596"/>
                  <a:pt x="8613864" y="1189596"/>
                </a:cubicBezTo>
                <a:cubicBezTo>
                  <a:pt x="8613864" y="1189596"/>
                  <a:pt x="8613864" y="1189596"/>
                  <a:pt x="8609810" y="1190910"/>
                </a:cubicBezTo>
                <a:cubicBezTo>
                  <a:pt x="8605758" y="1192225"/>
                  <a:pt x="8605758" y="1192225"/>
                  <a:pt x="8601704" y="1193539"/>
                </a:cubicBezTo>
                <a:cubicBezTo>
                  <a:pt x="8597652" y="1194854"/>
                  <a:pt x="8597652" y="1194854"/>
                  <a:pt x="8597652" y="1194854"/>
                </a:cubicBezTo>
                <a:lnTo>
                  <a:pt x="8598521" y="1195297"/>
                </a:lnTo>
                <a:lnTo>
                  <a:pt x="8676247" y="1172771"/>
                </a:lnTo>
                <a:lnTo>
                  <a:pt x="8688108" y="1169975"/>
                </a:lnTo>
                <a:lnTo>
                  <a:pt x="8682763" y="1167249"/>
                </a:lnTo>
                <a:cubicBezTo>
                  <a:pt x="8666552" y="1172506"/>
                  <a:pt x="8666552" y="1172506"/>
                  <a:pt x="8666552" y="1172506"/>
                </a:cubicBezTo>
                <a:cubicBezTo>
                  <a:pt x="8669290" y="1167141"/>
                  <a:pt x="8670714" y="1157719"/>
                  <a:pt x="8669400" y="1153666"/>
                </a:cubicBezTo>
                <a:cubicBezTo>
                  <a:pt x="8673453" y="1152352"/>
                  <a:pt x="8677506" y="1151038"/>
                  <a:pt x="8677506" y="1151038"/>
                </a:cubicBezTo>
                <a:cubicBezTo>
                  <a:pt x="8681560" y="1149723"/>
                  <a:pt x="8681560" y="1149723"/>
                  <a:pt x="8681560" y="1149723"/>
                </a:cubicBezTo>
                <a:cubicBezTo>
                  <a:pt x="8678820" y="1155090"/>
                  <a:pt x="8678820" y="1155090"/>
                  <a:pt x="8678820" y="1155090"/>
                </a:cubicBezTo>
                <a:cubicBezTo>
                  <a:pt x="8678820" y="1155090"/>
                  <a:pt x="8682872" y="1153776"/>
                  <a:pt x="8684188" y="1157828"/>
                </a:cubicBezTo>
                <a:cubicBezTo>
                  <a:pt x="8688240" y="1156514"/>
                  <a:pt x="8686925" y="1152462"/>
                  <a:pt x="8690978" y="1151147"/>
                </a:cubicBezTo>
                <a:cubicBezTo>
                  <a:pt x="8690978" y="1151147"/>
                  <a:pt x="8695032" y="1149831"/>
                  <a:pt x="8695032" y="1149831"/>
                </a:cubicBezTo>
                <a:cubicBezTo>
                  <a:pt x="8699085" y="1148518"/>
                  <a:pt x="8704452" y="1151256"/>
                  <a:pt x="8712558" y="1148627"/>
                </a:cubicBezTo>
                <a:cubicBezTo>
                  <a:pt x="8728770" y="1143368"/>
                  <a:pt x="8709818" y="1153994"/>
                  <a:pt x="8723292" y="1154103"/>
                </a:cubicBezTo>
                <a:cubicBezTo>
                  <a:pt x="8728770" y="1143368"/>
                  <a:pt x="8743557" y="1147530"/>
                  <a:pt x="8752976" y="1148955"/>
                </a:cubicBezTo>
                <a:cubicBezTo>
                  <a:pt x="8751662" y="1144901"/>
                  <a:pt x="8750347" y="1140848"/>
                  <a:pt x="8754400" y="1139534"/>
                </a:cubicBezTo>
                <a:cubicBezTo>
                  <a:pt x="8755715" y="1143587"/>
                  <a:pt x="8757029" y="1147641"/>
                  <a:pt x="8761082" y="1146325"/>
                </a:cubicBezTo>
                <a:cubicBezTo>
                  <a:pt x="8763819" y="1140958"/>
                  <a:pt x="8775980" y="1137014"/>
                  <a:pt x="8784086" y="1134385"/>
                </a:cubicBezTo>
                <a:cubicBezTo>
                  <a:pt x="8782661" y="1143805"/>
                  <a:pt x="8811030" y="1134604"/>
                  <a:pt x="8813769" y="1129236"/>
                </a:cubicBezTo>
                <a:cubicBezTo>
                  <a:pt x="8817822" y="1127922"/>
                  <a:pt x="8817822" y="1127922"/>
                  <a:pt x="8817822" y="1127922"/>
                </a:cubicBezTo>
                <a:cubicBezTo>
                  <a:pt x="8829980" y="1123977"/>
                  <a:pt x="8820451" y="1136027"/>
                  <a:pt x="8832611" y="1132084"/>
                </a:cubicBezTo>
                <a:cubicBezTo>
                  <a:pt x="8839401" y="1125402"/>
                  <a:pt x="8842140" y="1120034"/>
                  <a:pt x="8863719" y="1117514"/>
                </a:cubicBezTo>
                <a:cubicBezTo>
                  <a:pt x="8873140" y="1118939"/>
                  <a:pt x="8886614" y="1119047"/>
                  <a:pt x="8898772" y="1115104"/>
                </a:cubicBezTo>
                <a:cubicBezTo>
                  <a:pt x="8902824" y="1113789"/>
                  <a:pt x="8910930" y="1111160"/>
                  <a:pt x="8916297" y="1113899"/>
                </a:cubicBezTo>
                <a:cubicBezTo>
                  <a:pt x="8941930" y="1110064"/>
                  <a:pt x="8921666" y="1116637"/>
                  <a:pt x="8940506" y="1119484"/>
                </a:cubicBezTo>
                <a:cubicBezTo>
                  <a:pt x="8943900" y="1116143"/>
                  <a:pt x="8949982" y="1114171"/>
                  <a:pt x="8957422" y="1112948"/>
                </a:cubicBezTo>
                <a:lnTo>
                  <a:pt x="8958432" y="1112866"/>
                </a:lnTo>
                <a:lnTo>
                  <a:pt x="8958301" y="1110616"/>
                </a:lnTo>
                <a:cubicBezTo>
                  <a:pt x="8958838" y="1109543"/>
                  <a:pt x="8959911" y="1108203"/>
                  <a:pt x="8959105" y="1107132"/>
                </a:cubicBezTo>
                <a:cubicBezTo>
                  <a:pt x="8956422" y="1103915"/>
                  <a:pt x="8956156" y="1101503"/>
                  <a:pt x="8960449" y="1099894"/>
                </a:cubicBezTo>
                <a:cubicBezTo>
                  <a:pt x="8961522" y="1099627"/>
                  <a:pt x="8961790" y="1098018"/>
                  <a:pt x="8960717" y="1097215"/>
                </a:cubicBezTo>
                <a:cubicBezTo>
                  <a:pt x="8957228" y="1094266"/>
                  <a:pt x="8960986" y="1092926"/>
                  <a:pt x="8961522" y="1090782"/>
                </a:cubicBezTo>
                <a:close/>
                <a:moveTo>
                  <a:pt x="9007281" y="1081399"/>
                </a:moveTo>
                <a:lnTo>
                  <a:pt x="8998709" y="1082960"/>
                </a:lnTo>
                <a:lnTo>
                  <a:pt x="9000433" y="1083813"/>
                </a:lnTo>
                <a:cubicBezTo>
                  <a:pt x="9001239" y="1084885"/>
                  <a:pt x="9002848" y="1086226"/>
                  <a:pt x="9004995" y="1086226"/>
                </a:cubicBezTo>
                <a:cubicBezTo>
                  <a:pt x="9007949" y="1085958"/>
                  <a:pt x="9009560" y="1087566"/>
                  <a:pt x="9010095" y="1090513"/>
                </a:cubicBezTo>
                <a:cubicBezTo>
                  <a:pt x="9010631" y="1092390"/>
                  <a:pt x="9011974" y="1093462"/>
                  <a:pt x="9013316" y="1094802"/>
                </a:cubicBezTo>
                <a:lnTo>
                  <a:pt x="9017024" y="1106446"/>
                </a:lnTo>
                <a:lnTo>
                  <a:pt x="9025506" y="1105352"/>
                </a:lnTo>
                <a:cubicBezTo>
                  <a:pt x="9006666" y="1102504"/>
                  <a:pt x="9041718" y="1100093"/>
                  <a:pt x="9041718" y="1100093"/>
                </a:cubicBezTo>
                <a:lnTo>
                  <a:pt x="9046778" y="1098452"/>
                </a:lnTo>
                <a:lnTo>
                  <a:pt x="9034686" y="1083029"/>
                </a:lnTo>
                <a:cubicBezTo>
                  <a:pt x="9027798" y="1079547"/>
                  <a:pt x="9018979" y="1079156"/>
                  <a:pt x="9007281" y="1081399"/>
                </a:cubicBezTo>
                <a:close/>
                <a:moveTo>
                  <a:pt x="11971024" y="1080295"/>
                </a:moveTo>
                <a:lnTo>
                  <a:pt x="11970808" y="1080656"/>
                </a:lnTo>
                <a:lnTo>
                  <a:pt x="11970556" y="1080405"/>
                </a:lnTo>
                <a:close/>
                <a:moveTo>
                  <a:pt x="4566882" y="1057328"/>
                </a:moveTo>
                <a:cubicBezTo>
                  <a:pt x="4566743" y="1057052"/>
                  <a:pt x="4565089" y="1057328"/>
                  <a:pt x="4560676" y="1058431"/>
                </a:cubicBezTo>
                <a:cubicBezTo>
                  <a:pt x="4560677" y="1062845"/>
                  <a:pt x="4547437" y="1062845"/>
                  <a:pt x="4547437" y="1062845"/>
                </a:cubicBezTo>
                <a:cubicBezTo>
                  <a:pt x="4556262" y="1058431"/>
                  <a:pt x="4551850" y="1058431"/>
                  <a:pt x="4547437" y="1058431"/>
                </a:cubicBezTo>
                <a:cubicBezTo>
                  <a:pt x="4543022" y="1067257"/>
                  <a:pt x="4525369" y="1067257"/>
                  <a:pt x="4512129" y="1076085"/>
                </a:cubicBezTo>
                <a:cubicBezTo>
                  <a:pt x="4512129" y="1076085"/>
                  <a:pt x="4507717" y="1076085"/>
                  <a:pt x="4503304" y="1076085"/>
                </a:cubicBezTo>
                <a:cubicBezTo>
                  <a:pt x="4503304" y="1076085"/>
                  <a:pt x="4498889" y="1076085"/>
                  <a:pt x="4498889" y="1076085"/>
                </a:cubicBezTo>
                <a:cubicBezTo>
                  <a:pt x="4494475" y="1076085"/>
                  <a:pt x="4494475" y="1076085"/>
                  <a:pt x="4494475" y="1076085"/>
                </a:cubicBezTo>
                <a:cubicBezTo>
                  <a:pt x="4494475" y="1076085"/>
                  <a:pt x="4494477" y="1080499"/>
                  <a:pt x="4494477" y="1080499"/>
                </a:cubicBezTo>
                <a:cubicBezTo>
                  <a:pt x="4490062" y="1080498"/>
                  <a:pt x="4490062" y="1080498"/>
                  <a:pt x="4485649" y="1080498"/>
                </a:cubicBezTo>
                <a:cubicBezTo>
                  <a:pt x="4481236" y="1076085"/>
                  <a:pt x="4490063" y="1076085"/>
                  <a:pt x="4490065" y="1071670"/>
                </a:cubicBezTo>
                <a:cubicBezTo>
                  <a:pt x="4481236" y="1071670"/>
                  <a:pt x="4481236" y="1076085"/>
                  <a:pt x="4476823" y="1076085"/>
                </a:cubicBezTo>
                <a:cubicBezTo>
                  <a:pt x="4476823" y="1076085"/>
                  <a:pt x="4476823" y="1076085"/>
                  <a:pt x="4472409" y="1076085"/>
                </a:cubicBezTo>
                <a:cubicBezTo>
                  <a:pt x="4472409" y="1076085"/>
                  <a:pt x="4467995" y="1076085"/>
                  <a:pt x="4467995" y="1076085"/>
                </a:cubicBezTo>
                <a:cubicBezTo>
                  <a:pt x="4463584" y="1076085"/>
                  <a:pt x="4463584" y="1076085"/>
                  <a:pt x="4463584" y="1076085"/>
                </a:cubicBezTo>
                <a:cubicBezTo>
                  <a:pt x="4445930" y="1080499"/>
                  <a:pt x="4445930" y="1080499"/>
                  <a:pt x="4445930" y="1080499"/>
                </a:cubicBezTo>
                <a:cubicBezTo>
                  <a:pt x="4441516" y="1084912"/>
                  <a:pt x="4441516" y="1084912"/>
                  <a:pt x="4441516" y="1084912"/>
                </a:cubicBezTo>
                <a:cubicBezTo>
                  <a:pt x="4437104" y="1080498"/>
                  <a:pt x="4437102" y="1084912"/>
                  <a:pt x="4437102" y="1084912"/>
                </a:cubicBezTo>
                <a:lnTo>
                  <a:pt x="4441516" y="1084912"/>
                </a:lnTo>
                <a:cubicBezTo>
                  <a:pt x="4415036" y="1093738"/>
                  <a:pt x="4423862" y="1093737"/>
                  <a:pt x="4397383" y="1098151"/>
                </a:cubicBezTo>
                <a:cubicBezTo>
                  <a:pt x="4392970" y="1098151"/>
                  <a:pt x="4392970" y="1098151"/>
                  <a:pt x="4388557" y="1098152"/>
                </a:cubicBezTo>
                <a:cubicBezTo>
                  <a:pt x="4384144" y="1102564"/>
                  <a:pt x="4384144" y="1102564"/>
                  <a:pt x="4388556" y="1102564"/>
                </a:cubicBezTo>
                <a:cubicBezTo>
                  <a:pt x="4375317" y="1102564"/>
                  <a:pt x="4353250" y="1106977"/>
                  <a:pt x="4348838" y="1115804"/>
                </a:cubicBezTo>
                <a:cubicBezTo>
                  <a:pt x="4357663" y="1111391"/>
                  <a:pt x="4357664" y="1115804"/>
                  <a:pt x="4348838" y="1120218"/>
                </a:cubicBezTo>
                <a:lnTo>
                  <a:pt x="4344424" y="1120218"/>
                </a:lnTo>
                <a:cubicBezTo>
                  <a:pt x="4344424" y="1115804"/>
                  <a:pt x="4344424" y="1115804"/>
                  <a:pt x="4344424" y="1115804"/>
                </a:cubicBezTo>
                <a:cubicBezTo>
                  <a:pt x="4344424" y="1115804"/>
                  <a:pt x="4344424" y="1115804"/>
                  <a:pt x="4340009" y="1115804"/>
                </a:cubicBezTo>
                <a:cubicBezTo>
                  <a:pt x="4340009" y="1115804"/>
                  <a:pt x="4340009" y="1115804"/>
                  <a:pt x="4335598" y="1120218"/>
                </a:cubicBezTo>
                <a:cubicBezTo>
                  <a:pt x="4309117" y="1120218"/>
                  <a:pt x="4242917" y="1151112"/>
                  <a:pt x="4212024" y="1159938"/>
                </a:cubicBezTo>
                <a:lnTo>
                  <a:pt x="4204720" y="1160981"/>
                </a:lnTo>
                <a:lnTo>
                  <a:pt x="4203153" y="1182170"/>
                </a:lnTo>
                <a:lnTo>
                  <a:pt x="4247332" y="1164351"/>
                </a:lnTo>
                <a:cubicBezTo>
                  <a:pt x="4260571" y="1159938"/>
                  <a:pt x="4273810" y="1151110"/>
                  <a:pt x="4282636" y="1146697"/>
                </a:cubicBezTo>
                <a:cubicBezTo>
                  <a:pt x="4282636" y="1146697"/>
                  <a:pt x="4278222" y="1151110"/>
                  <a:pt x="4278222" y="1151110"/>
                </a:cubicBezTo>
                <a:cubicBezTo>
                  <a:pt x="4295877" y="1146697"/>
                  <a:pt x="4313531" y="1137871"/>
                  <a:pt x="4326770" y="1133457"/>
                </a:cubicBezTo>
                <a:cubicBezTo>
                  <a:pt x="4331184" y="1133457"/>
                  <a:pt x="4340009" y="1133457"/>
                  <a:pt x="4340009" y="1133457"/>
                </a:cubicBezTo>
                <a:cubicBezTo>
                  <a:pt x="4384144" y="1120218"/>
                  <a:pt x="4441516" y="1102564"/>
                  <a:pt x="4481236" y="1089325"/>
                </a:cubicBezTo>
                <a:cubicBezTo>
                  <a:pt x="4481236" y="1089325"/>
                  <a:pt x="4481236" y="1089325"/>
                  <a:pt x="4481236" y="1093737"/>
                </a:cubicBezTo>
                <a:cubicBezTo>
                  <a:pt x="4481236" y="1093737"/>
                  <a:pt x="4485649" y="1093737"/>
                  <a:pt x="4485649" y="1093737"/>
                </a:cubicBezTo>
                <a:cubicBezTo>
                  <a:pt x="4485649" y="1093737"/>
                  <a:pt x="4490063" y="1089326"/>
                  <a:pt x="4490063" y="1089326"/>
                </a:cubicBezTo>
                <a:cubicBezTo>
                  <a:pt x="4503304" y="1084912"/>
                  <a:pt x="4551850" y="1080498"/>
                  <a:pt x="4538609" y="1076085"/>
                </a:cubicBezTo>
                <a:cubicBezTo>
                  <a:pt x="4543022" y="1076085"/>
                  <a:pt x="4543022" y="1076085"/>
                  <a:pt x="4543022" y="1076085"/>
                </a:cubicBezTo>
                <a:cubicBezTo>
                  <a:pt x="4547437" y="1076085"/>
                  <a:pt x="4547437" y="1076085"/>
                  <a:pt x="4547437" y="1076085"/>
                </a:cubicBezTo>
                <a:cubicBezTo>
                  <a:pt x="4547437" y="1071670"/>
                  <a:pt x="4547437" y="1071670"/>
                  <a:pt x="4547437" y="1071670"/>
                </a:cubicBezTo>
                <a:cubicBezTo>
                  <a:pt x="4543022" y="1071670"/>
                  <a:pt x="4543022" y="1071670"/>
                  <a:pt x="4543022" y="1071670"/>
                </a:cubicBezTo>
                <a:cubicBezTo>
                  <a:pt x="4538609" y="1062845"/>
                  <a:pt x="4556262" y="1067257"/>
                  <a:pt x="4560677" y="1067258"/>
                </a:cubicBezTo>
                <a:cubicBezTo>
                  <a:pt x="4554056" y="1063948"/>
                  <a:pt x="4567295" y="1058156"/>
                  <a:pt x="4566882" y="1057328"/>
                </a:cubicBezTo>
                <a:close/>
                <a:moveTo>
                  <a:pt x="1693947" y="1052444"/>
                </a:moveTo>
                <a:cubicBezTo>
                  <a:pt x="1696208" y="1051941"/>
                  <a:pt x="1697466" y="1053449"/>
                  <a:pt x="1698471" y="1054704"/>
                </a:cubicBezTo>
                <a:cubicBezTo>
                  <a:pt x="1701987" y="1058722"/>
                  <a:pt x="1705255" y="1062741"/>
                  <a:pt x="1711537" y="1060731"/>
                </a:cubicBezTo>
                <a:cubicBezTo>
                  <a:pt x="1712794" y="1060481"/>
                  <a:pt x="1713547" y="1061486"/>
                  <a:pt x="1714049" y="1062489"/>
                </a:cubicBezTo>
                <a:cubicBezTo>
                  <a:pt x="1716814" y="1067513"/>
                  <a:pt x="1721337" y="1071531"/>
                  <a:pt x="1725107" y="1075800"/>
                </a:cubicBezTo>
                <a:cubicBezTo>
                  <a:pt x="1730886" y="1082331"/>
                  <a:pt x="1734152" y="1089614"/>
                  <a:pt x="1731891" y="1098404"/>
                </a:cubicBezTo>
                <a:cubicBezTo>
                  <a:pt x="1731137" y="1101921"/>
                  <a:pt x="1733148" y="1104182"/>
                  <a:pt x="1735158" y="1106190"/>
                </a:cubicBezTo>
                <a:cubicBezTo>
                  <a:pt x="1739681" y="1110963"/>
                  <a:pt x="1739430" y="1113474"/>
                  <a:pt x="1734403" y="1117242"/>
                </a:cubicBezTo>
                <a:cubicBezTo>
                  <a:pt x="1728876" y="1121010"/>
                  <a:pt x="1728876" y="1121010"/>
                  <a:pt x="1733399" y="1126534"/>
                </a:cubicBezTo>
                <a:cubicBezTo>
                  <a:pt x="1734403" y="1127790"/>
                  <a:pt x="1735158" y="1128794"/>
                  <a:pt x="1733650" y="1130301"/>
                </a:cubicBezTo>
                <a:cubicBezTo>
                  <a:pt x="1728623" y="1136078"/>
                  <a:pt x="1724100" y="1141854"/>
                  <a:pt x="1718825" y="1147379"/>
                </a:cubicBezTo>
                <a:cubicBezTo>
                  <a:pt x="1715056" y="1151649"/>
                  <a:pt x="1710280" y="1154412"/>
                  <a:pt x="1704753" y="1155668"/>
                </a:cubicBezTo>
                <a:cubicBezTo>
                  <a:pt x="1701235" y="1156672"/>
                  <a:pt x="1694451" y="1165714"/>
                  <a:pt x="1694198" y="1169481"/>
                </a:cubicBezTo>
                <a:cubicBezTo>
                  <a:pt x="1694198" y="1170737"/>
                  <a:pt x="1694198" y="1171741"/>
                  <a:pt x="1695706" y="1172244"/>
                </a:cubicBezTo>
                <a:cubicBezTo>
                  <a:pt x="1703495" y="1175760"/>
                  <a:pt x="1707265" y="1182541"/>
                  <a:pt x="1710533" y="1189825"/>
                </a:cubicBezTo>
                <a:cubicBezTo>
                  <a:pt x="1711286" y="1191331"/>
                  <a:pt x="1711788" y="1192587"/>
                  <a:pt x="1712541" y="1193843"/>
                </a:cubicBezTo>
                <a:cubicBezTo>
                  <a:pt x="1715056" y="1197861"/>
                  <a:pt x="1716311" y="1201378"/>
                  <a:pt x="1714552" y="1206401"/>
                </a:cubicBezTo>
                <a:cubicBezTo>
                  <a:pt x="1712794" y="1211424"/>
                  <a:pt x="1715557" y="1216447"/>
                  <a:pt x="1718070" y="1220968"/>
                </a:cubicBezTo>
                <a:cubicBezTo>
                  <a:pt x="1719076" y="1223229"/>
                  <a:pt x="1719578" y="1224735"/>
                  <a:pt x="1717819" y="1226995"/>
                </a:cubicBezTo>
                <a:cubicBezTo>
                  <a:pt x="1710783" y="1236540"/>
                  <a:pt x="1705506" y="1247087"/>
                  <a:pt x="1704502" y="1259394"/>
                </a:cubicBezTo>
                <a:cubicBezTo>
                  <a:pt x="1704249" y="1261153"/>
                  <a:pt x="1703747" y="1261906"/>
                  <a:pt x="1701987" y="1261404"/>
                </a:cubicBezTo>
                <a:cubicBezTo>
                  <a:pt x="1694952" y="1259896"/>
                  <a:pt x="1690429" y="1263664"/>
                  <a:pt x="1686660" y="1268686"/>
                </a:cubicBezTo>
                <a:cubicBezTo>
                  <a:pt x="1684901" y="1270947"/>
                  <a:pt x="1683393" y="1272203"/>
                  <a:pt x="1680128" y="1270696"/>
                </a:cubicBezTo>
                <a:cubicBezTo>
                  <a:pt x="1676106" y="1268436"/>
                  <a:pt x="1672338" y="1270444"/>
                  <a:pt x="1669070" y="1273207"/>
                </a:cubicBezTo>
                <a:cubicBezTo>
                  <a:pt x="1666306" y="1275468"/>
                  <a:pt x="1663542" y="1278230"/>
                  <a:pt x="1660778" y="1280490"/>
                </a:cubicBezTo>
                <a:cubicBezTo>
                  <a:pt x="1659396" y="1281496"/>
                  <a:pt x="1658077" y="1282060"/>
                  <a:pt x="1657009" y="1281842"/>
                </a:cubicBezTo>
                <a:cubicBezTo>
                  <a:pt x="1655941" y="1281621"/>
                  <a:pt x="1655124" y="1280617"/>
                  <a:pt x="1654747" y="1278482"/>
                </a:cubicBezTo>
                <a:cubicBezTo>
                  <a:pt x="1654747" y="1277476"/>
                  <a:pt x="1654496" y="1276473"/>
                  <a:pt x="1653994" y="1275468"/>
                </a:cubicBezTo>
                <a:cubicBezTo>
                  <a:pt x="1653491" y="1274212"/>
                  <a:pt x="1653491" y="1272203"/>
                  <a:pt x="1651732" y="1271952"/>
                </a:cubicBezTo>
                <a:cubicBezTo>
                  <a:pt x="1650224" y="1271952"/>
                  <a:pt x="1649219" y="1273207"/>
                  <a:pt x="1648465" y="1274212"/>
                </a:cubicBezTo>
                <a:cubicBezTo>
                  <a:pt x="1644696" y="1278482"/>
                  <a:pt x="1643188" y="1278230"/>
                  <a:pt x="1640927" y="1272957"/>
                </a:cubicBezTo>
                <a:cubicBezTo>
                  <a:pt x="1640424" y="1271700"/>
                  <a:pt x="1640173" y="1270696"/>
                  <a:pt x="1639420" y="1269692"/>
                </a:cubicBezTo>
                <a:cubicBezTo>
                  <a:pt x="1638414" y="1268185"/>
                  <a:pt x="1637410" y="1266928"/>
                  <a:pt x="1634896" y="1267933"/>
                </a:cubicBezTo>
                <a:cubicBezTo>
                  <a:pt x="1632634" y="1269189"/>
                  <a:pt x="1632634" y="1270194"/>
                  <a:pt x="1633137" y="1272203"/>
                </a:cubicBezTo>
                <a:lnTo>
                  <a:pt x="1633561" y="1276001"/>
                </a:lnTo>
                <a:lnTo>
                  <a:pt x="1613922" y="1256470"/>
                </a:lnTo>
                <a:lnTo>
                  <a:pt x="1615045" y="1254873"/>
                </a:lnTo>
                <a:cubicBezTo>
                  <a:pt x="1615548" y="1252614"/>
                  <a:pt x="1614794" y="1251106"/>
                  <a:pt x="1612783" y="1250101"/>
                </a:cubicBezTo>
                <a:cubicBezTo>
                  <a:pt x="1611276" y="1249347"/>
                  <a:pt x="1609768" y="1248846"/>
                  <a:pt x="1608260" y="1248093"/>
                </a:cubicBezTo>
                <a:cubicBezTo>
                  <a:pt x="1605748" y="1246836"/>
                  <a:pt x="1604744" y="1245078"/>
                  <a:pt x="1605245" y="1242064"/>
                </a:cubicBezTo>
                <a:cubicBezTo>
                  <a:pt x="1606752" y="1233023"/>
                  <a:pt x="1603486" y="1226744"/>
                  <a:pt x="1595445" y="1222725"/>
                </a:cubicBezTo>
                <a:cubicBezTo>
                  <a:pt x="1594189" y="1221972"/>
                  <a:pt x="1591425" y="1222224"/>
                  <a:pt x="1591927" y="1219963"/>
                </a:cubicBezTo>
                <a:cubicBezTo>
                  <a:pt x="1592178" y="1217703"/>
                  <a:pt x="1594440" y="1217200"/>
                  <a:pt x="1596702" y="1216950"/>
                </a:cubicBezTo>
                <a:cubicBezTo>
                  <a:pt x="1596953" y="1216950"/>
                  <a:pt x="1597205" y="1216950"/>
                  <a:pt x="1597456" y="1216950"/>
                </a:cubicBezTo>
                <a:cubicBezTo>
                  <a:pt x="1603486" y="1215944"/>
                  <a:pt x="1605245" y="1213182"/>
                  <a:pt x="1602229" y="1208410"/>
                </a:cubicBezTo>
                <a:cubicBezTo>
                  <a:pt x="1599466" y="1203889"/>
                  <a:pt x="1600220" y="1200372"/>
                  <a:pt x="1602733" y="1196607"/>
                </a:cubicBezTo>
                <a:cubicBezTo>
                  <a:pt x="1605999" y="1191582"/>
                  <a:pt x="1608511" y="1186308"/>
                  <a:pt x="1607005" y="1180029"/>
                </a:cubicBezTo>
                <a:cubicBezTo>
                  <a:pt x="1606250" y="1177267"/>
                  <a:pt x="1609015" y="1176011"/>
                  <a:pt x="1610773" y="1175508"/>
                </a:cubicBezTo>
                <a:cubicBezTo>
                  <a:pt x="1617307" y="1173249"/>
                  <a:pt x="1620322" y="1168979"/>
                  <a:pt x="1621076" y="1162449"/>
                </a:cubicBezTo>
                <a:cubicBezTo>
                  <a:pt x="1621579" y="1158431"/>
                  <a:pt x="1623087" y="1157677"/>
                  <a:pt x="1627106" y="1160189"/>
                </a:cubicBezTo>
                <a:cubicBezTo>
                  <a:pt x="1635650" y="1165464"/>
                  <a:pt x="1648215" y="1161696"/>
                  <a:pt x="1651984" y="1152905"/>
                </a:cubicBezTo>
                <a:cubicBezTo>
                  <a:pt x="1652737" y="1151147"/>
                  <a:pt x="1653743" y="1148886"/>
                  <a:pt x="1651984" y="1147379"/>
                </a:cubicBezTo>
                <a:cubicBezTo>
                  <a:pt x="1650224" y="1145873"/>
                  <a:pt x="1647712" y="1145118"/>
                  <a:pt x="1645451" y="1146626"/>
                </a:cubicBezTo>
                <a:cubicBezTo>
                  <a:pt x="1643943" y="1147379"/>
                  <a:pt x="1642435" y="1148636"/>
                  <a:pt x="1640927" y="1149639"/>
                </a:cubicBezTo>
                <a:cubicBezTo>
                  <a:pt x="1639420" y="1150896"/>
                  <a:pt x="1637912" y="1151649"/>
                  <a:pt x="1636655" y="1150143"/>
                </a:cubicBezTo>
                <a:cubicBezTo>
                  <a:pt x="1635147" y="1148385"/>
                  <a:pt x="1636153" y="1146877"/>
                  <a:pt x="1637410" y="1145622"/>
                </a:cubicBezTo>
                <a:cubicBezTo>
                  <a:pt x="1638414" y="1144365"/>
                  <a:pt x="1639922" y="1143361"/>
                  <a:pt x="1640927" y="1142357"/>
                </a:cubicBezTo>
                <a:cubicBezTo>
                  <a:pt x="1643188" y="1140096"/>
                  <a:pt x="1644445" y="1137082"/>
                  <a:pt x="1642184" y="1134571"/>
                </a:cubicBezTo>
                <a:cubicBezTo>
                  <a:pt x="1640173" y="1132562"/>
                  <a:pt x="1637410" y="1134571"/>
                  <a:pt x="1635399" y="1136078"/>
                </a:cubicBezTo>
                <a:cubicBezTo>
                  <a:pt x="1633641" y="1137333"/>
                  <a:pt x="1632383" y="1139594"/>
                  <a:pt x="1630122" y="1140347"/>
                </a:cubicBezTo>
                <a:cubicBezTo>
                  <a:pt x="1626855" y="1141603"/>
                  <a:pt x="1624845" y="1141101"/>
                  <a:pt x="1625095" y="1137082"/>
                </a:cubicBezTo>
                <a:cubicBezTo>
                  <a:pt x="1625348" y="1131557"/>
                  <a:pt x="1627610" y="1127036"/>
                  <a:pt x="1630625" y="1122767"/>
                </a:cubicBezTo>
                <a:cubicBezTo>
                  <a:pt x="1634393" y="1117242"/>
                  <a:pt x="1634645" y="1114227"/>
                  <a:pt x="1630625" y="1108953"/>
                </a:cubicBezTo>
                <a:cubicBezTo>
                  <a:pt x="1629369" y="1106943"/>
                  <a:pt x="1627358" y="1105185"/>
                  <a:pt x="1625599" y="1103428"/>
                </a:cubicBezTo>
                <a:cubicBezTo>
                  <a:pt x="1624845" y="1102674"/>
                  <a:pt x="1623589" y="1101921"/>
                  <a:pt x="1624091" y="1100664"/>
                </a:cubicBezTo>
                <a:cubicBezTo>
                  <a:pt x="1624594" y="1099158"/>
                  <a:pt x="1625850" y="1098907"/>
                  <a:pt x="1626855" y="1099158"/>
                </a:cubicBezTo>
                <a:cubicBezTo>
                  <a:pt x="1631379" y="1100163"/>
                  <a:pt x="1632383" y="1098153"/>
                  <a:pt x="1632133" y="1094135"/>
                </a:cubicBezTo>
                <a:cubicBezTo>
                  <a:pt x="1631881" y="1089111"/>
                  <a:pt x="1635147" y="1085596"/>
                  <a:pt x="1638665" y="1082833"/>
                </a:cubicBezTo>
                <a:cubicBezTo>
                  <a:pt x="1641430" y="1080572"/>
                  <a:pt x="1641681" y="1078814"/>
                  <a:pt x="1638916" y="1076806"/>
                </a:cubicBezTo>
                <a:cubicBezTo>
                  <a:pt x="1637410" y="1075800"/>
                  <a:pt x="1636404" y="1074797"/>
                  <a:pt x="1636906" y="1072788"/>
                </a:cubicBezTo>
                <a:cubicBezTo>
                  <a:pt x="1637410" y="1070025"/>
                  <a:pt x="1639420" y="1070527"/>
                  <a:pt x="1641177" y="1070025"/>
                </a:cubicBezTo>
                <a:cubicBezTo>
                  <a:pt x="1642184" y="1069773"/>
                  <a:pt x="1643441" y="1069773"/>
                  <a:pt x="1644696" y="1069521"/>
                </a:cubicBezTo>
                <a:cubicBezTo>
                  <a:pt x="1651480" y="1068768"/>
                  <a:pt x="1652988" y="1065002"/>
                  <a:pt x="1648968" y="1059225"/>
                </a:cubicBezTo>
                <a:cubicBezTo>
                  <a:pt x="1648465" y="1058471"/>
                  <a:pt x="1647964" y="1057970"/>
                  <a:pt x="1647712" y="1057216"/>
                </a:cubicBezTo>
                <a:cubicBezTo>
                  <a:pt x="1646957" y="1055709"/>
                  <a:pt x="1646456" y="1053699"/>
                  <a:pt x="1647964" y="1052695"/>
                </a:cubicBezTo>
                <a:cubicBezTo>
                  <a:pt x="1649219" y="1051690"/>
                  <a:pt x="1650978" y="1052695"/>
                  <a:pt x="1651984" y="1053699"/>
                </a:cubicBezTo>
                <a:cubicBezTo>
                  <a:pt x="1652988" y="1054704"/>
                  <a:pt x="1653743" y="1055709"/>
                  <a:pt x="1654496" y="1056965"/>
                </a:cubicBezTo>
                <a:cubicBezTo>
                  <a:pt x="1656004" y="1058722"/>
                  <a:pt x="1657511" y="1059225"/>
                  <a:pt x="1659522" y="1057718"/>
                </a:cubicBezTo>
                <a:cubicBezTo>
                  <a:pt x="1664297" y="1054454"/>
                  <a:pt x="1669573" y="1053950"/>
                  <a:pt x="1674850" y="1053699"/>
                </a:cubicBezTo>
                <a:cubicBezTo>
                  <a:pt x="1681132" y="1053197"/>
                  <a:pt x="1687665" y="1053950"/>
                  <a:pt x="1693947" y="1052444"/>
                </a:cubicBezTo>
                <a:close/>
                <a:moveTo>
                  <a:pt x="7349352" y="1039895"/>
                </a:moveTo>
                <a:cubicBezTo>
                  <a:pt x="7354428" y="1041839"/>
                  <a:pt x="7359116" y="1044560"/>
                  <a:pt x="7361073" y="1050780"/>
                </a:cubicBezTo>
                <a:cubicBezTo>
                  <a:pt x="7361457" y="1051946"/>
                  <a:pt x="7363803" y="1052723"/>
                  <a:pt x="7363413" y="1055055"/>
                </a:cubicBezTo>
                <a:cubicBezTo>
                  <a:pt x="7362245" y="1061275"/>
                  <a:pt x="7366926" y="1063218"/>
                  <a:pt x="7370829" y="1064385"/>
                </a:cubicBezTo>
                <a:cubicBezTo>
                  <a:pt x="7373565" y="1065162"/>
                  <a:pt x="7375124" y="1066329"/>
                  <a:pt x="7376689" y="1067883"/>
                </a:cubicBezTo>
                <a:cubicBezTo>
                  <a:pt x="7381374" y="1072159"/>
                  <a:pt x="7380981" y="1077990"/>
                  <a:pt x="7382160" y="1083432"/>
                </a:cubicBezTo>
                <a:cubicBezTo>
                  <a:pt x="7382932" y="1088485"/>
                  <a:pt x="7380591" y="1092373"/>
                  <a:pt x="7378638" y="1096649"/>
                </a:cubicBezTo>
                <a:cubicBezTo>
                  <a:pt x="7376689" y="1101313"/>
                  <a:pt x="7373565" y="1105201"/>
                  <a:pt x="7367704" y="1105201"/>
                </a:cubicBezTo>
                <a:cubicBezTo>
                  <a:pt x="7366926" y="1105201"/>
                  <a:pt x="7366532" y="1105589"/>
                  <a:pt x="7366532" y="1106756"/>
                </a:cubicBezTo>
                <a:cubicBezTo>
                  <a:pt x="7363803" y="1106756"/>
                  <a:pt x="7361457" y="1106756"/>
                  <a:pt x="7358727" y="1106756"/>
                </a:cubicBezTo>
                <a:cubicBezTo>
                  <a:pt x="7356776" y="1104034"/>
                  <a:pt x="7352871" y="1104424"/>
                  <a:pt x="7350130" y="1102480"/>
                </a:cubicBezTo>
                <a:cubicBezTo>
                  <a:pt x="7347399" y="1100536"/>
                  <a:pt x="7345054" y="1098982"/>
                  <a:pt x="7344276" y="1095483"/>
                </a:cubicBezTo>
                <a:cubicBezTo>
                  <a:pt x="7343887" y="1091596"/>
                  <a:pt x="7341934" y="1088097"/>
                  <a:pt x="7339978" y="1084987"/>
                </a:cubicBezTo>
                <a:cubicBezTo>
                  <a:pt x="7338024" y="1081489"/>
                  <a:pt x="7336469" y="1077990"/>
                  <a:pt x="7334513" y="1074880"/>
                </a:cubicBezTo>
                <a:cubicBezTo>
                  <a:pt x="7332948" y="1071382"/>
                  <a:pt x="7329829" y="1068272"/>
                  <a:pt x="7325926" y="1066329"/>
                </a:cubicBezTo>
                <a:cubicBezTo>
                  <a:pt x="7325926" y="1061664"/>
                  <a:pt x="7325926" y="1056999"/>
                  <a:pt x="7325926" y="1052334"/>
                </a:cubicBezTo>
                <a:cubicBezTo>
                  <a:pt x="7328270" y="1051169"/>
                  <a:pt x="7329440" y="1049613"/>
                  <a:pt x="7330610" y="1046892"/>
                </a:cubicBezTo>
                <a:cubicBezTo>
                  <a:pt x="7332172" y="1043783"/>
                  <a:pt x="7335683" y="1041450"/>
                  <a:pt x="7339202" y="1041450"/>
                </a:cubicBezTo>
                <a:cubicBezTo>
                  <a:pt x="7342715" y="1041450"/>
                  <a:pt x="7345839" y="1040673"/>
                  <a:pt x="7349352" y="1039895"/>
                </a:cubicBezTo>
                <a:close/>
                <a:moveTo>
                  <a:pt x="11847267" y="1037896"/>
                </a:moveTo>
                <a:cubicBezTo>
                  <a:pt x="11854197" y="1037353"/>
                  <a:pt x="11860447" y="1037896"/>
                  <a:pt x="11862621" y="1041696"/>
                </a:cubicBezTo>
                <a:cubicBezTo>
                  <a:pt x="11875668" y="1063410"/>
                  <a:pt x="11909368" y="1054724"/>
                  <a:pt x="11916978" y="1084039"/>
                </a:cubicBezTo>
                <a:cubicBezTo>
                  <a:pt x="11919152" y="1092725"/>
                  <a:pt x="11934372" y="1098153"/>
                  <a:pt x="11920240" y="1110097"/>
                </a:cubicBezTo>
                <a:cubicBezTo>
                  <a:pt x="11915890" y="1113354"/>
                  <a:pt x="11916978" y="1119868"/>
                  <a:pt x="11921326" y="1120954"/>
                </a:cubicBezTo>
                <a:cubicBezTo>
                  <a:pt x="11938720" y="1127468"/>
                  <a:pt x="11937633" y="1137240"/>
                  <a:pt x="11926762" y="1150269"/>
                </a:cubicBezTo>
                <a:cubicBezTo>
                  <a:pt x="11923502" y="1154611"/>
                  <a:pt x="11927849" y="1160040"/>
                  <a:pt x="11930023" y="1164383"/>
                </a:cubicBezTo>
                <a:cubicBezTo>
                  <a:pt x="11934372" y="1170897"/>
                  <a:pt x="11935459" y="1177412"/>
                  <a:pt x="11928936" y="1182841"/>
                </a:cubicBezTo>
                <a:cubicBezTo>
                  <a:pt x="11922414" y="1188269"/>
                  <a:pt x="11923502" y="1194783"/>
                  <a:pt x="11921326" y="1201298"/>
                </a:cubicBezTo>
                <a:cubicBezTo>
                  <a:pt x="11915890" y="1217584"/>
                  <a:pt x="11909368" y="1238212"/>
                  <a:pt x="11897409" y="1245813"/>
                </a:cubicBezTo>
                <a:cubicBezTo>
                  <a:pt x="11871319" y="1262099"/>
                  <a:pt x="11846314" y="1279470"/>
                  <a:pt x="11820226" y="1294670"/>
                </a:cubicBezTo>
                <a:cubicBezTo>
                  <a:pt x="11818051" y="1294670"/>
                  <a:pt x="11813702" y="1294670"/>
                  <a:pt x="11812615" y="1292499"/>
                </a:cubicBezTo>
                <a:cubicBezTo>
                  <a:pt x="11801744" y="1282728"/>
                  <a:pt x="11791959" y="1274042"/>
                  <a:pt x="11777828" y="1288156"/>
                </a:cubicBezTo>
                <a:cubicBezTo>
                  <a:pt x="11773478" y="1293585"/>
                  <a:pt x="11770217" y="1288156"/>
                  <a:pt x="11769130" y="1283814"/>
                </a:cubicBezTo>
                <a:cubicBezTo>
                  <a:pt x="11765868" y="1265356"/>
                  <a:pt x="11757172" y="1265356"/>
                  <a:pt x="11744125" y="1276213"/>
                </a:cubicBezTo>
                <a:cubicBezTo>
                  <a:pt x="11735430" y="1283814"/>
                  <a:pt x="11731080" y="1281642"/>
                  <a:pt x="11731080" y="1270784"/>
                </a:cubicBezTo>
                <a:cubicBezTo>
                  <a:pt x="11731080" y="1264270"/>
                  <a:pt x="11733255" y="1256671"/>
                  <a:pt x="11723470" y="1255584"/>
                </a:cubicBezTo>
                <a:cubicBezTo>
                  <a:pt x="11701727" y="1251242"/>
                  <a:pt x="11693032" y="1236041"/>
                  <a:pt x="11694119" y="1216498"/>
                </a:cubicBezTo>
                <a:cubicBezTo>
                  <a:pt x="11695206" y="1202384"/>
                  <a:pt x="11690857" y="1195869"/>
                  <a:pt x="11681074" y="1190441"/>
                </a:cubicBezTo>
                <a:cubicBezTo>
                  <a:pt x="11681074" y="1186098"/>
                  <a:pt x="11681074" y="1181754"/>
                  <a:pt x="11681074" y="1177412"/>
                </a:cubicBezTo>
                <a:cubicBezTo>
                  <a:pt x="11691945" y="1170897"/>
                  <a:pt x="11695206" y="1158955"/>
                  <a:pt x="11691945" y="1148097"/>
                </a:cubicBezTo>
                <a:cubicBezTo>
                  <a:pt x="11686509" y="1128554"/>
                  <a:pt x="11693032" y="1113354"/>
                  <a:pt x="11707164" y="1100325"/>
                </a:cubicBezTo>
                <a:cubicBezTo>
                  <a:pt x="11712600" y="1094896"/>
                  <a:pt x="11718035" y="1090553"/>
                  <a:pt x="11720209" y="1082954"/>
                </a:cubicBezTo>
                <a:cubicBezTo>
                  <a:pt x="11722384" y="1071010"/>
                  <a:pt x="11728906" y="1064496"/>
                  <a:pt x="11740864" y="1065581"/>
                </a:cubicBezTo>
                <a:cubicBezTo>
                  <a:pt x="11749561" y="1065581"/>
                  <a:pt x="11756085" y="1060153"/>
                  <a:pt x="11759346" y="1055810"/>
                </a:cubicBezTo>
                <a:cubicBezTo>
                  <a:pt x="11777828" y="1029752"/>
                  <a:pt x="11805005" y="1043867"/>
                  <a:pt x="11827836" y="1040609"/>
                </a:cubicBezTo>
                <a:cubicBezTo>
                  <a:pt x="11832727" y="1040067"/>
                  <a:pt x="11840336" y="1038438"/>
                  <a:pt x="11847267" y="1037896"/>
                </a:cubicBezTo>
                <a:close/>
                <a:moveTo>
                  <a:pt x="3112015" y="1034215"/>
                </a:moveTo>
                <a:lnTo>
                  <a:pt x="3084844" y="1059412"/>
                </a:lnTo>
                <a:cubicBezTo>
                  <a:pt x="3064415" y="1082251"/>
                  <a:pt x="3044782" y="1101374"/>
                  <a:pt x="3027532" y="1109347"/>
                </a:cubicBezTo>
                <a:lnTo>
                  <a:pt x="3017812" y="1121249"/>
                </a:lnTo>
                <a:lnTo>
                  <a:pt x="3073376" y="1117080"/>
                </a:lnTo>
                <a:cubicBezTo>
                  <a:pt x="3083468" y="1115958"/>
                  <a:pt x="3093561" y="1115211"/>
                  <a:pt x="3103561" y="1115679"/>
                </a:cubicBezTo>
                <a:lnTo>
                  <a:pt x="3130140" y="1120962"/>
                </a:lnTo>
                <a:lnTo>
                  <a:pt x="3132652" y="1119370"/>
                </a:lnTo>
                <a:lnTo>
                  <a:pt x="3121223" y="1072209"/>
                </a:lnTo>
                <a:close/>
                <a:moveTo>
                  <a:pt x="6719746" y="1025507"/>
                </a:moveTo>
                <a:lnTo>
                  <a:pt x="6723785" y="1028671"/>
                </a:lnTo>
                <a:cubicBezTo>
                  <a:pt x="6720182" y="1028671"/>
                  <a:pt x="6720182" y="1028671"/>
                  <a:pt x="6720182" y="1028671"/>
                </a:cubicBezTo>
                <a:cubicBezTo>
                  <a:pt x="6720182" y="1028671"/>
                  <a:pt x="6716582" y="1028671"/>
                  <a:pt x="6716582" y="1028671"/>
                </a:cubicBezTo>
                <a:close/>
                <a:moveTo>
                  <a:pt x="12192528" y="991088"/>
                </a:moveTo>
                <a:lnTo>
                  <a:pt x="12192528" y="998161"/>
                </a:lnTo>
                <a:lnTo>
                  <a:pt x="12191272" y="994787"/>
                </a:lnTo>
                <a:close/>
                <a:moveTo>
                  <a:pt x="10459204" y="986789"/>
                </a:moveTo>
                <a:lnTo>
                  <a:pt x="10458834" y="991796"/>
                </a:lnTo>
                <a:lnTo>
                  <a:pt x="10464841" y="989354"/>
                </a:lnTo>
                <a:close/>
                <a:moveTo>
                  <a:pt x="12076946" y="955420"/>
                </a:moveTo>
                <a:cubicBezTo>
                  <a:pt x="12078786" y="955011"/>
                  <a:pt x="12079808" y="956238"/>
                  <a:pt x="12080627" y="957259"/>
                </a:cubicBezTo>
                <a:cubicBezTo>
                  <a:pt x="12083488" y="960530"/>
                  <a:pt x="12086147" y="963800"/>
                  <a:pt x="12091259" y="962164"/>
                </a:cubicBezTo>
                <a:cubicBezTo>
                  <a:pt x="12092281" y="961960"/>
                  <a:pt x="12092895" y="962777"/>
                  <a:pt x="12093304" y="963595"/>
                </a:cubicBezTo>
                <a:cubicBezTo>
                  <a:pt x="12095553" y="967683"/>
                  <a:pt x="12099234" y="970953"/>
                  <a:pt x="12102301" y="974427"/>
                </a:cubicBezTo>
                <a:cubicBezTo>
                  <a:pt x="12107004" y="979741"/>
                  <a:pt x="12109663" y="985668"/>
                  <a:pt x="12107822" y="992821"/>
                </a:cubicBezTo>
                <a:cubicBezTo>
                  <a:pt x="12107208" y="995683"/>
                  <a:pt x="12108846" y="997522"/>
                  <a:pt x="12110480" y="999157"/>
                </a:cubicBezTo>
                <a:cubicBezTo>
                  <a:pt x="12114161" y="1003040"/>
                  <a:pt x="12113957" y="1005083"/>
                  <a:pt x="12109867" y="1008149"/>
                </a:cubicBezTo>
                <a:cubicBezTo>
                  <a:pt x="12105370" y="1011214"/>
                  <a:pt x="12105370" y="1011214"/>
                  <a:pt x="12109050" y="1015711"/>
                </a:cubicBezTo>
                <a:cubicBezTo>
                  <a:pt x="12109867" y="1016733"/>
                  <a:pt x="12110480" y="1017551"/>
                  <a:pt x="12109254" y="1018777"/>
                </a:cubicBezTo>
                <a:cubicBezTo>
                  <a:pt x="12105165" y="1023477"/>
                  <a:pt x="12101484" y="1028178"/>
                  <a:pt x="12097189" y="1032675"/>
                </a:cubicBezTo>
                <a:cubicBezTo>
                  <a:pt x="12094122" y="1036149"/>
                  <a:pt x="12090237" y="1038398"/>
                  <a:pt x="12085738" y="1039419"/>
                </a:cubicBezTo>
                <a:cubicBezTo>
                  <a:pt x="12082875" y="1040237"/>
                  <a:pt x="12077355" y="1047594"/>
                  <a:pt x="12077151" y="1050660"/>
                </a:cubicBezTo>
                <a:cubicBezTo>
                  <a:pt x="12077151" y="1051682"/>
                  <a:pt x="12077151" y="1052499"/>
                  <a:pt x="12078377" y="1052908"/>
                </a:cubicBezTo>
                <a:cubicBezTo>
                  <a:pt x="12084717" y="1055769"/>
                  <a:pt x="12087783" y="1061288"/>
                  <a:pt x="12090441" y="1067214"/>
                </a:cubicBezTo>
                <a:cubicBezTo>
                  <a:pt x="12091055" y="1068441"/>
                  <a:pt x="12091464" y="1069463"/>
                  <a:pt x="12092077" y="1070484"/>
                </a:cubicBezTo>
                <a:cubicBezTo>
                  <a:pt x="12094122" y="1073754"/>
                  <a:pt x="12095144" y="1076616"/>
                  <a:pt x="12093712" y="1080704"/>
                </a:cubicBezTo>
                <a:cubicBezTo>
                  <a:pt x="12092281" y="1084792"/>
                  <a:pt x="12094531" y="1088879"/>
                  <a:pt x="12096576" y="1092558"/>
                </a:cubicBezTo>
                <a:cubicBezTo>
                  <a:pt x="12097393" y="1094397"/>
                  <a:pt x="12097803" y="1095623"/>
                  <a:pt x="12096371" y="1097462"/>
                </a:cubicBezTo>
                <a:cubicBezTo>
                  <a:pt x="12090646" y="1105229"/>
                  <a:pt x="12086352" y="1113813"/>
                  <a:pt x="12085534" y="1123828"/>
                </a:cubicBezTo>
                <a:cubicBezTo>
                  <a:pt x="12085329" y="1125258"/>
                  <a:pt x="12084922" y="1125871"/>
                  <a:pt x="12083488" y="1125462"/>
                </a:cubicBezTo>
                <a:cubicBezTo>
                  <a:pt x="12077764" y="1124237"/>
                  <a:pt x="12074083" y="1127302"/>
                  <a:pt x="12071016" y="1131390"/>
                </a:cubicBezTo>
                <a:cubicBezTo>
                  <a:pt x="12069584" y="1133229"/>
                  <a:pt x="12068357" y="1134251"/>
                  <a:pt x="12065699" y="1133024"/>
                </a:cubicBezTo>
                <a:cubicBezTo>
                  <a:pt x="12062427" y="1131185"/>
                  <a:pt x="12059359" y="1132820"/>
                  <a:pt x="12056703" y="1135069"/>
                </a:cubicBezTo>
                <a:cubicBezTo>
                  <a:pt x="12054452" y="1136907"/>
                  <a:pt x="12052203" y="1139156"/>
                  <a:pt x="12049954" y="1140995"/>
                </a:cubicBezTo>
                <a:cubicBezTo>
                  <a:pt x="12048830" y="1141813"/>
                  <a:pt x="12047756" y="1142273"/>
                  <a:pt x="12046887" y="1142094"/>
                </a:cubicBezTo>
                <a:cubicBezTo>
                  <a:pt x="12046018" y="1141914"/>
                  <a:pt x="12045354" y="1141098"/>
                  <a:pt x="12045047" y="1139361"/>
                </a:cubicBezTo>
                <a:cubicBezTo>
                  <a:pt x="12045047" y="1138543"/>
                  <a:pt x="12044842" y="1137725"/>
                  <a:pt x="12044434" y="1136907"/>
                </a:cubicBezTo>
                <a:cubicBezTo>
                  <a:pt x="12044024" y="1135885"/>
                  <a:pt x="12044024" y="1134251"/>
                  <a:pt x="12042592" y="1134046"/>
                </a:cubicBezTo>
                <a:cubicBezTo>
                  <a:pt x="12041366" y="1134046"/>
                  <a:pt x="12040548" y="1135069"/>
                  <a:pt x="12039936" y="1135885"/>
                </a:cubicBezTo>
                <a:cubicBezTo>
                  <a:pt x="12036868" y="1139361"/>
                  <a:pt x="12035642" y="1139156"/>
                  <a:pt x="12033800" y="1134864"/>
                </a:cubicBezTo>
                <a:cubicBezTo>
                  <a:pt x="12033392" y="1133842"/>
                  <a:pt x="12033187" y="1133024"/>
                  <a:pt x="12032574" y="1132206"/>
                </a:cubicBezTo>
                <a:cubicBezTo>
                  <a:pt x="12031755" y="1130981"/>
                  <a:pt x="12030936" y="1129959"/>
                  <a:pt x="12028893" y="1130776"/>
                </a:cubicBezTo>
                <a:cubicBezTo>
                  <a:pt x="12027052" y="1131798"/>
                  <a:pt x="12027052" y="1132615"/>
                  <a:pt x="12027461" y="1134251"/>
                </a:cubicBezTo>
                <a:lnTo>
                  <a:pt x="12027805" y="1137341"/>
                </a:lnTo>
                <a:lnTo>
                  <a:pt x="12011823" y="1121447"/>
                </a:lnTo>
                <a:lnTo>
                  <a:pt x="12012739" y="1120149"/>
                </a:lnTo>
                <a:cubicBezTo>
                  <a:pt x="12013147" y="1118309"/>
                  <a:pt x="12012535" y="1117083"/>
                  <a:pt x="12010898" y="1116266"/>
                </a:cubicBezTo>
                <a:cubicBezTo>
                  <a:pt x="12009671" y="1115653"/>
                  <a:pt x="12008445" y="1115244"/>
                  <a:pt x="12007217" y="1114630"/>
                </a:cubicBezTo>
                <a:cubicBezTo>
                  <a:pt x="12005173" y="1113608"/>
                  <a:pt x="12004354" y="1112178"/>
                  <a:pt x="12004764" y="1109725"/>
                </a:cubicBezTo>
                <a:cubicBezTo>
                  <a:pt x="12005990" y="1102368"/>
                  <a:pt x="12003332" y="1097258"/>
                  <a:pt x="11996789" y="1093988"/>
                </a:cubicBezTo>
                <a:cubicBezTo>
                  <a:pt x="11995766" y="1093375"/>
                  <a:pt x="11993517" y="1093579"/>
                  <a:pt x="11993926" y="1091740"/>
                </a:cubicBezTo>
                <a:cubicBezTo>
                  <a:pt x="11994130" y="1089900"/>
                  <a:pt x="11995970" y="1089491"/>
                  <a:pt x="11997811" y="1089287"/>
                </a:cubicBezTo>
                <a:cubicBezTo>
                  <a:pt x="11998016" y="1089287"/>
                  <a:pt x="11998220" y="1089287"/>
                  <a:pt x="11998424" y="1089287"/>
                </a:cubicBezTo>
                <a:cubicBezTo>
                  <a:pt x="12003332" y="1088470"/>
                  <a:pt x="12004764" y="1086222"/>
                  <a:pt x="12002310" y="1082338"/>
                </a:cubicBezTo>
                <a:cubicBezTo>
                  <a:pt x="12000060" y="1078660"/>
                  <a:pt x="12000673" y="1075799"/>
                  <a:pt x="12002719" y="1072733"/>
                </a:cubicBezTo>
                <a:cubicBezTo>
                  <a:pt x="12005378" y="1068646"/>
                  <a:pt x="12007422" y="1064353"/>
                  <a:pt x="12006195" y="1059244"/>
                </a:cubicBezTo>
                <a:cubicBezTo>
                  <a:pt x="12005582" y="1056996"/>
                  <a:pt x="12007831" y="1055974"/>
                  <a:pt x="12009263" y="1055565"/>
                </a:cubicBezTo>
                <a:cubicBezTo>
                  <a:pt x="12014578" y="1053726"/>
                  <a:pt x="12017032" y="1050251"/>
                  <a:pt x="12017646" y="1044938"/>
                </a:cubicBezTo>
                <a:cubicBezTo>
                  <a:pt x="12018055" y="1041668"/>
                  <a:pt x="12019281" y="1041054"/>
                  <a:pt x="12022553" y="1043098"/>
                </a:cubicBezTo>
                <a:cubicBezTo>
                  <a:pt x="12029506" y="1047390"/>
                  <a:pt x="12039731" y="1044324"/>
                  <a:pt x="12042797" y="1037171"/>
                </a:cubicBezTo>
                <a:cubicBezTo>
                  <a:pt x="12043410" y="1035740"/>
                  <a:pt x="12044228" y="1033901"/>
                  <a:pt x="12042797" y="1032675"/>
                </a:cubicBezTo>
                <a:cubicBezTo>
                  <a:pt x="12041366" y="1031448"/>
                  <a:pt x="12039322" y="1030835"/>
                  <a:pt x="12037480" y="1032061"/>
                </a:cubicBezTo>
                <a:cubicBezTo>
                  <a:pt x="12036255" y="1032675"/>
                  <a:pt x="12035027" y="1033697"/>
                  <a:pt x="12033800" y="1034515"/>
                </a:cubicBezTo>
                <a:cubicBezTo>
                  <a:pt x="12032574" y="1035536"/>
                  <a:pt x="12031346" y="1036149"/>
                  <a:pt x="12030324" y="1034922"/>
                </a:cubicBezTo>
                <a:cubicBezTo>
                  <a:pt x="12029098" y="1033492"/>
                  <a:pt x="12029915" y="1032266"/>
                  <a:pt x="12030936" y="1031244"/>
                </a:cubicBezTo>
                <a:cubicBezTo>
                  <a:pt x="12031755" y="1030223"/>
                  <a:pt x="12032983" y="1029405"/>
                  <a:pt x="12033800" y="1028587"/>
                </a:cubicBezTo>
                <a:cubicBezTo>
                  <a:pt x="12035642" y="1026748"/>
                  <a:pt x="12036664" y="1024295"/>
                  <a:pt x="12034822" y="1022252"/>
                </a:cubicBezTo>
                <a:cubicBezTo>
                  <a:pt x="12033187" y="1020616"/>
                  <a:pt x="12030936" y="1022252"/>
                  <a:pt x="12029302" y="1023477"/>
                </a:cubicBezTo>
                <a:cubicBezTo>
                  <a:pt x="12027870" y="1024499"/>
                  <a:pt x="12026848" y="1026339"/>
                  <a:pt x="12025007" y="1026952"/>
                </a:cubicBezTo>
                <a:cubicBezTo>
                  <a:pt x="12022349" y="1027974"/>
                  <a:pt x="12020714" y="1027565"/>
                  <a:pt x="12020918" y="1024295"/>
                </a:cubicBezTo>
                <a:cubicBezTo>
                  <a:pt x="12021122" y="1019798"/>
                  <a:pt x="12022962" y="1016120"/>
                  <a:pt x="12025417" y="1012645"/>
                </a:cubicBezTo>
                <a:cubicBezTo>
                  <a:pt x="12028483" y="1008149"/>
                  <a:pt x="12028689" y="1005697"/>
                  <a:pt x="12025417" y="1001405"/>
                </a:cubicBezTo>
                <a:cubicBezTo>
                  <a:pt x="12024393" y="999769"/>
                  <a:pt x="12022758" y="998339"/>
                  <a:pt x="12021327" y="996908"/>
                </a:cubicBezTo>
                <a:cubicBezTo>
                  <a:pt x="12020714" y="996295"/>
                  <a:pt x="12019690" y="995683"/>
                  <a:pt x="12020099" y="994661"/>
                </a:cubicBezTo>
                <a:cubicBezTo>
                  <a:pt x="12020509" y="993434"/>
                  <a:pt x="12021531" y="993230"/>
                  <a:pt x="12022349" y="993434"/>
                </a:cubicBezTo>
                <a:cubicBezTo>
                  <a:pt x="12026030" y="994252"/>
                  <a:pt x="12026848" y="992616"/>
                  <a:pt x="12026643" y="989346"/>
                </a:cubicBezTo>
                <a:cubicBezTo>
                  <a:pt x="12026439" y="985259"/>
                  <a:pt x="12029098" y="982398"/>
                  <a:pt x="12031960" y="980149"/>
                </a:cubicBezTo>
                <a:cubicBezTo>
                  <a:pt x="12034208" y="978310"/>
                  <a:pt x="12034413" y="976879"/>
                  <a:pt x="12032165" y="975245"/>
                </a:cubicBezTo>
                <a:cubicBezTo>
                  <a:pt x="12030936" y="974427"/>
                  <a:pt x="12030119" y="973609"/>
                  <a:pt x="12030528" y="971975"/>
                </a:cubicBezTo>
                <a:cubicBezTo>
                  <a:pt x="12030936" y="969726"/>
                  <a:pt x="12032574" y="970135"/>
                  <a:pt x="12034004" y="969726"/>
                </a:cubicBezTo>
                <a:cubicBezTo>
                  <a:pt x="12034822" y="969522"/>
                  <a:pt x="12035846" y="969522"/>
                  <a:pt x="12036868" y="969317"/>
                </a:cubicBezTo>
                <a:cubicBezTo>
                  <a:pt x="12042388" y="968704"/>
                  <a:pt x="12043615" y="965638"/>
                  <a:pt x="12040344" y="960937"/>
                </a:cubicBezTo>
                <a:cubicBezTo>
                  <a:pt x="12039936" y="960325"/>
                  <a:pt x="12039525" y="959916"/>
                  <a:pt x="12039322" y="959303"/>
                </a:cubicBezTo>
                <a:cubicBezTo>
                  <a:pt x="12038707" y="958076"/>
                  <a:pt x="12038298" y="956442"/>
                  <a:pt x="12039525" y="955624"/>
                </a:cubicBezTo>
                <a:cubicBezTo>
                  <a:pt x="12040548" y="954807"/>
                  <a:pt x="12041979" y="955624"/>
                  <a:pt x="12042797" y="956442"/>
                </a:cubicBezTo>
                <a:cubicBezTo>
                  <a:pt x="12043615" y="957259"/>
                  <a:pt x="12044228" y="958076"/>
                  <a:pt x="12044842" y="959099"/>
                </a:cubicBezTo>
                <a:cubicBezTo>
                  <a:pt x="12046069" y="960530"/>
                  <a:pt x="12047296" y="960937"/>
                  <a:pt x="12048931" y="959712"/>
                </a:cubicBezTo>
                <a:cubicBezTo>
                  <a:pt x="12052818" y="957054"/>
                  <a:pt x="12057112" y="956646"/>
                  <a:pt x="12061405" y="956442"/>
                </a:cubicBezTo>
                <a:cubicBezTo>
                  <a:pt x="12066517" y="956033"/>
                  <a:pt x="12071833" y="956646"/>
                  <a:pt x="12076946" y="955420"/>
                </a:cubicBezTo>
                <a:close/>
                <a:moveTo>
                  <a:pt x="2111583" y="948085"/>
                </a:moveTo>
                <a:cubicBezTo>
                  <a:pt x="2115834" y="948037"/>
                  <a:pt x="2120277" y="949002"/>
                  <a:pt x="2124333" y="948423"/>
                </a:cubicBezTo>
                <a:cubicBezTo>
                  <a:pt x="2127810" y="948037"/>
                  <a:pt x="2135151" y="946107"/>
                  <a:pt x="2136697" y="948809"/>
                </a:cubicBezTo>
                <a:cubicBezTo>
                  <a:pt x="2141334" y="956526"/>
                  <a:pt x="2153311" y="953439"/>
                  <a:pt x="2156016" y="963857"/>
                </a:cubicBezTo>
                <a:cubicBezTo>
                  <a:pt x="2156788" y="966945"/>
                  <a:pt x="2162197" y="968874"/>
                  <a:pt x="2157175" y="973119"/>
                </a:cubicBezTo>
                <a:cubicBezTo>
                  <a:pt x="2155629" y="974277"/>
                  <a:pt x="2156016" y="976591"/>
                  <a:pt x="2157561" y="976977"/>
                </a:cubicBezTo>
                <a:cubicBezTo>
                  <a:pt x="2163743" y="979293"/>
                  <a:pt x="2163357" y="982766"/>
                  <a:pt x="2159492" y="987396"/>
                </a:cubicBezTo>
                <a:cubicBezTo>
                  <a:pt x="2158333" y="988939"/>
                  <a:pt x="2159879" y="990869"/>
                  <a:pt x="2160652" y="992413"/>
                </a:cubicBezTo>
                <a:cubicBezTo>
                  <a:pt x="2162197" y="994728"/>
                  <a:pt x="2162584" y="997044"/>
                  <a:pt x="2160265" y="998973"/>
                </a:cubicBezTo>
                <a:cubicBezTo>
                  <a:pt x="2157948" y="1000902"/>
                  <a:pt x="2158333" y="1003217"/>
                  <a:pt x="2157561" y="1005533"/>
                </a:cubicBezTo>
                <a:cubicBezTo>
                  <a:pt x="2155629" y="1011320"/>
                  <a:pt x="2153311" y="1018653"/>
                  <a:pt x="2149061" y="1021354"/>
                </a:cubicBezTo>
                <a:cubicBezTo>
                  <a:pt x="2139788" y="1027142"/>
                  <a:pt x="2130901" y="1033316"/>
                  <a:pt x="2121628" y="1038718"/>
                </a:cubicBezTo>
                <a:cubicBezTo>
                  <a:pt x="2120856" y="1038718"/>
                  <a:pt x="2119310" y="1038718"/>
                  <a:pt x="2118924" y="1037946"/>
                </a:cubicBezTo>
                <a:cubicBezTo>
                  <a:pt x="2115060" y="1034473"/>
                  <a:pt x="2111583" y="1031387"/>
                  <a:pt x="2106560" y="1036402"/>
                </a:cubicBezTo>
                <a:cubicBezTo>
                  <a:pt x="2105015" y="1038332"/>
                  <a:pt x="2103855" y="1036402"/>
                  <a:pt x="2103469" y="1034859"/>
                </a:cubicBezTo>
                <a:cubicBezTo>
                  <a:pt x="2102310" y="1028299"/>
                  <a:pt x="2099219" y="1028299"/>
                  <a:pt x="2094582" y="1032158"/>
                </a:cubicBezTo>
                <a:cubicBezTo>
                  <a:pt x="2091492" y="1034859"/>
                  <a:pt x="2089946" y="1034088"/>
                  <a:pt x="2089946" y="1030229"/>
                </a:cubicBezTo>
                <a:cubicBezTo>
                  <a:pt x="2089946" y="1027913"/>
                  <a:pt x="2090719" y="1025212"/>
                  <a:pt x="2087241" y="1024826"/>
                </a:cubicBezTo>
                <a:cubicBezTo>
                  <a:pt x="2079514" y="1023282"/>
                  <a:pt x="2076424" y="1017881"/>
                  <a:pt x="2076810" y="1010934"/>
                </a:cubicBezTo>
                <a:cubicBezTo>
                  <a:pt x="2077195" y="1005918"/>
                  <a:pt x="2075651" y="1003603"/>
                  <a:pt x="2072173" y="1001673"/>
                </a:cubicBezTo>
                <a:cubicBezTo>
                  <a:pt x="2072173" y="1000130"/>
                  <a:pt x="2072173" y="998587"/>
                  <a:pt x="2072173" y="997044"/>
                </a:cubicBezTo>
                <a:cubicBezTo>
                  <a:pt x="2076037" y="994728"/>
                  <a:pt x="2077195" y="990483"/>
                  <a:pt x="2076037" y="986625"/>
                </a:cubicBezTo>
                <a:cubicBezTo>
                  <a:pt x="2074105" y="979679"/>
                  <a:pt x="2076424" y="974277"/>
                  <a:pt x="2081446" y="969646"/>
                </a:cubicBezTo>
                <a:cubicBezTo>
                  <a:pt x="2083378" y="967716"/>
                  <a:pt x="2085309" y="966173"/>
                  <a:pt x="2086082" y="963472"/>
                </a:cubicBezTo>
                <a:cubicBezTo>
                  <a:pt x="2086855" y="959227"/>
                  <a:pt x="2089173" y="956912"/>
                  <a:pt x="2093423" y="957298"/>
                </a:cubicBezTo>
                <a:cubicBezTo>
                  <a:pt x="2096514" y="957298"/>
                  <a:pt x="2098833" y="955368"/>
                  <a:pt x="2099992" y="953825"/>
                </a:cubicBezTo>
                <a:cubicBezTo>
                  <a:pt x="2103276" y="949194"/>
                  <a:pt x="2107333" y="948133"/>
                  <a:pt x="2111583" y="948085"/>
                </a:cubicBezTo>
                <a:close/>
                <a:moveTo>
                  <a:pt x="393648" y="941854"/>
                </a:moveTo>
                <a:cubicBezTo>
                  <a:pt x="396271" y="941649"/>
                  <a:pt x="398638" y="941853"/>
                  <a:pt x="399461" y="943292"/>
                </a:cubicBezTo>
                <a:cubicBezTo>
                  <a:pt x="404399" y="951512"/>
                  <a:pt x="417155" y="948223"/>
                  <a:pt x="420035" y="959319"/>
                </a:cubicBezTo>
                <a:cubicBezTo>
                  <a:pt x="420857" y="962606"/>
                  <a:pt x="426618" y="964662"/>
                  <a:pt x="421270" y="969183"/>
                </a:cubicBezTo>
                <a:cubicBezTo>
                  <a:pt x="419623" y="970415"/>
                  <a:pt x="420035" y="972880"/>
                  <a:pt x="421681" y="973291"/>
                </a:cubicBezTo>
                <a:cubicBezTo>
                  <a:pt x="428264" y="975757"/>
                  <a:pt x="427853" y="979455"/>
                  <a:pt x="423737" y="984386"/>
                </a:cubicBezTo>
                <a:cubicBezTo>
                  <a:pt x="422504" y="986031"/>
                  <a:pt x="424149" y="988086"/>
                  <a:pt x="424972" y="989729"/>
                </a:cubicBezTo>
                <a:cubicBezTo>
                  <a:pt x="426618" y="992196"/>
                  <a:pt x="427030" y="994661"/>
                  <a:pt x="424560" y="996716"/>
                </a:cubicBezTo>
                <a:cubicBezTo>
                  <a:pt x="422093" y="998770"/>
                  <a:pt x="422504" y="1001236"/>
                  <a:pt x="421681" y="1003702"/>
                </a:cubicBezTo>
                <a:cubicBezTo>
                  <a:pt x="419623" y="1009866"/>
                  <a:pt x="417155" y="1017674"/>
                  <a:pt x="412628" y="1020552"/>
                </a:cubicBezTo>
                <a:cubicBezTo>
                  <a:pt x="402753" y="1026715"/>
                  <a:pt x="393288" y="1033291"/>
                  <a:pt x="383413" y="1039043"/>
                </a:cubicBezTo>
                <a:cubicBezTo>
                  <a:pt x="382591" y="1039043"/>
                  <a:pt x="380944" y="1039043"/>
                  <a:pt x="380533" y="1038222"/>
                </a:cubicBezTo>
                <a:cubicBezTo>
                  <a:pt x="376418" y="1034522"/>
                  <a:pt x="372715" y="1031235"/>
                  <a:pt x="367366" y="1036577"/>
                </a:cubicBezTo>
                <a:cubicBezTo>
                  <a:pt x="365721" y="1038633"/>
                  <a:pt x="364485" y="1036577"/>
                  <a:pt x="364074" y="1034933"/>
                </a:cubicBezTo>
                <a:cubicBezTo>
                  <a:pt x="362840" y="1027948"/>
                  <a:pt x="359548" y="1027948"/>
                  <a:pt x="354610" y="1032058"/>
                </a:cubicBezTo>
                <a:cubicBezTo>
                  <a:pt x="351319" y="1034933"/>
                  <a:pt x="349672" y="1034113"/>
                  <a:pt x="349672" y="1030002"/>
                </a:cubicBezTo>
                <a:cubicBezTo>
                  <a:pt x="349672" y="1027537"/>
                  <a:pt x="350496" y="1024660"/>
                  <a:pt x="346792" y="1024249"/>
                </a:cubicBezTo>
                <a:cubicBezTo>
                  <a:pt x="338563" y="1022605"/>
                  <a:pt x="335272" y="1016852"/>
                  <a:pt x="335683" y="1009455"/>
                </a:cubicBezTo>
                <a:cubicBezTo>
                  <a:pt x="336094" y="1004113"/>
                  <a:pt x="334449" y="1001647"/>
                  <a:pt x="330745" y="999592"/>
                </a:cubicBezTo>
                <a:cubicBezTo>
                  <a:pt x="330745" y="997948"/>
                  <a:pt x="330745" y="996305"/>
                  <a:pt x="330745" y="994661"/>
                </a:cubicBezTo>
                <a:cubicBezTo>
                  <a:pt x="334860" y="992196"/>
                  <a:pt x="336094" y="987675"/>
                  <a:pt x="334860" y="983566"/>
                </a:cubicBezTo>
                <a:cubicBezTo>
                  <a:pt x="332802" y="976168"/>
                  <a:pt x="335272" y="970415"/>
                  <a:pt x="340620" y="965484"/>
                </a:cubicBezTo>
                <a:cubicBezTo>
                  <a:pt x="342678" y="963429"/>
                  <a:pt x="344735" y="961784"/>
                  <a:pt x="345557" y="958909"/>
                </a:cubicBezTo>
                <a:cubicBezTo>
                  <a:pt x="346381" y="954388"/>
                  <a:pt x="348849" y="951922"/>
                  <a:pt x="353376" y="952333"/>
                </a:cubicBezTo>
                <a:cubicBezTo>
                  <a:pt x="356667" y="952333"/>
                  <a:pt x="359137" y="950278"/>
                  <a:pt x="360371" y="948634"/>
                </a:cubicBezTo>
                <a:cubicBezTo>
                  <a:pt x="363868" y="943703"/>
                  <a:pt x="368189" y="942573"/>
                  <a:pt x="372715" y="942521"/>
                </a:cubicBezTo>
                <a:cubicBezTo>
                  <a:pt x="377243" y="942470"/>
                  <a:pt x="381974" y="943498"/>
                  <a:pt x="386294" y="942881"/>
                </a:cubicBezTo>
                <a:cubicBezTo>
                  <a:pt x="388146" y="942675"/>
                  <a:pt x="391026" y="942060"/>
                  <a:pt x="393648" y="941854"/>
                </a:cubicBezTo>
                <a:close/>
                <a:moveTo>
                  <a:pt x="9365385" y="936777"/>
                </a:moveTo>
                <a:lnTo>
                  <a:pt x="9381236" y="939927"/>
                </a:lnTo>
                <a:lnTo>
                  <a:pt x="9381824" y="939901"/>
                </a:lnTo>
                <a:lnTo>
                  <a:pt x="9387862" y="940236"/>
                </a:lnTo>
                <a:lnTo>
                  <a:pt x="9387435" y="938477"/>
                </a:lnTo>
                <a:close/>
                <a:moveTo>
                  <a:pt x="9222336" y="925048"/>
                </a:moveTo>
                <a:cubicBezTo>
                  <a:pt x="9187286" y="927459"/>
                  <a:pt x="9138760" y="929761"/>
                  <a:pt x="9099659" y="933486"/>
                </a:cubicBezTo>
                <a:cubicBezTo>
                  <a:pt x="9075451" y="927901"/>
                  <a:pt x="9045766" y="933049"/>
                  <a:pt x="9016083" y="938199"/>
                </a:cubicBezTo>
                <a:cubicBezTo>
                  <a:pt x="8999979" y="929983"/>
                  <a:pt x="8956822" y="935023"/>
                  <a:pt x="8913666" y="940063"/>
                </a:cubicBezTo>
                <a:cubicBezTo>
                  <a:pt x="8870508" y="945104"/>
                  <a:pt x="8827348" y="950143"/>
                  <a:pt x="8811247" y="941928"/>
                </a:cubicBezTo>
                <a:cubicBezTo>
                  <a:pt x="8799088" y="945871"/>
                  <a:pt x="8777508" y="948390"/>
                  <a:pt x="8772140" y="945654"/>
                </a:cubicBezTo>
                <a:cubicBezTo>
                  <a:pt x="8762611" y="957702"/>
                  <a:pt x="8715400" y="964057"/>
                  <a:pt x="8708721" y="957265"/>
                </a:cubicBezTo>
                <a:cubicBezTo>
                  <a:pt x="8704668" y="958580"/>
                  <a:pt x="8696560" y="961209"/>
                  <a:pt x="8692508" y="962525"/>
                </a:cubicBezTo>
                <a:cubicBezTo>
                  <a:pt x="8688564" y="950364"/>
                  <a:pt x="8654718" y="970303"/>
                  <a:pt x="8623717" y="971397"/>
                </a:cubicBezTo>
                <a:cubicBezTo>
                  <a:pt x="8619664" y="972712"/>
                  <a:pt x="8619664" y="972712"/>
                  <a:pt x="8619664" y="972712"/>
                </a:cubicBezTo>
                <a:cubicBezTo>
                  <a:pt x="8619664" y="972712"/>
                  <a:pt x="8618350" y="968660"/>
                  <a:pt x="8618350" y="968660"/>
                </a:cubicBezTo>
                <a:cubicBezTo>
                  <a:pt x="8614296" y="969974"/>
                  <a:pt x="8614296" y="969974"/>
                  <a:pt x="8610245" y="971289"/>
                </a:cubicBezTo>
                <a:cubicBezTo>
                  <a:pt x="8610245" y="971289"/>
                  <a:pt x="8610245" y="971289"/>
                  <a:pt x="8611559" y="975342"/>
                </a:cubicBezTo>
                <a:cubicBezTo>
                  <a:pt x="8611559" y="975342"/>
                  <a:pt x="8615612" y="974027"/>
                  <a:pt x="8615612" y="974027"/>
                </a:cubicBezTo>
                <a:cubicBezTo>
                  <a:pt x="8607506" y="976656"/>
                  <a:pt x="8595348" y="980599"/>
                  <a:pt x="8596662" y="984653"/>
                </a:cubicBezTo>
                <a:cubicBezTo>
                  <a:pt x="8525132" y="998894"/>
                  <a:pt x="8454926" y="1017189"/>
                  <a:pt x="8383293" y="1044904"/>
                </a:cubicBezTo>
                <a:cubicBezTo>
                  <a:pt x="8356236" y="1058158"/>
                  <a:pt x="8335968" y="1064730"/>
                  <a:pt x="8303549" y="1075246"/>
                </a:cubicBezTo>
                <a:cubicBezTo>
                  <a:pt x="8268387" y="1091131"/>
                  <a:pt x="8218327" y="1116326"/>
                  <a:pt x="8171009" y="1136153"/>
                </a:cubicBezTo>
                <a:cubicBezTo>
                  <a:pt x="8120951" y="1161346"/>
                  <a:pt x="8074943" y="1185229"/>
                  <a:pt x="8037045" y="1206479"/>
                </a:cubicBezTo>
                <a:cubicBezTo>
                  <a:pt x="8005937" y="1221049"/>
                  <a:pt x="7991041" y="1230360"/>
                  <a:pt x="7957190" y="1250296"/>
                </a:cubicBezTo>
                <a:cubicBezTo>
                  <a:pt x="7950404" y="1256979"/>
                  <a:pt x="7938246" y="1260922"/>
                  <a:pt x="7930136" y="1263551"/>
                </a:cubicBezTo>
                <a:cubicBezTo>
                  <a:pt x="7911187" y="1274176"/>
                  <a:pt x="7898919" y="1291593"/>
                  <a:pt x="7878653" y="1298165"/>
                </a:cubicBezTo>
                <a:cubicBezTo>
                  <a:pt x="7878653" y="1298165"/>
                  <a:pt x="7877341" y="1294113"/>
                  <a:pt x="7877341" y="1294113"/>
                </a:cubicBezTo>
                <a:cubicBezTo>
                  <a:pt x="7881394" y="1292799"/>
                  <a:pt x="7876027" y="1290060"/>
                  <a:pt x="7873288" y="1295428"/>
                </a:cubicBezTo>
                <a:cubicBezTo>
                  <a:pt x="7869234" y="1296743"/>
                  <a:pt x="7865183" y="1298057"/>
                  <a:pt x="7865183" y="1298057"/>
                </a:cubicBezTo>
                <a:cubicBezTo>
                  <a:pt x="7866495" y="1302110"/>
                  <a:pt x="7862443" y="1303424"/>
                  <a:pt x="7862443" y="1303424"/>
                </a:cubicBezTo>
                <a:cubicBezTo>
                  <a:pt x="7861130" y="1299372"/>
                  <a:pt x="7857077" y="1300686"/>
                  <a:pt x="7853024" y="1302000"/>
                </a:cubicBezTo>
                <a:cubicBezTo>
                  <a:pt x="7850285" y="1307367"/>
                  <a:pt x="7854337" y="1306053"/>
                  <a:pt x="7855654" y="1310106"/>
                </a:cubicBezTo>
                <a:cubicBezTo>
                  <a:pt x="7855654" y="1310106"/>
                  <a:pt x="7851601" y="1311421"/>
                  <a:pt x="7851601" y="1311421"/>
                </a:cubicBezTo>
                <a:cubicBezTo>
                  <a:pt x="7847549" y="1312735"/>
                  <a:pt x="7844810" y="1318103"/>
                  <a:pt x="7844810" y="1318103"/>
                </a:cubicBezTo>
                <a:cubicBezTo>
                  <a:pt x="7846125" y="1322154"/>
                  <a:pt x="7850175" y="1320840"/>
                  <a:pt x="7854228" y="1319525"/>
                </a:cubicBezTo>
                <a:cubicBezTo>
                  <a:pt x="7852915" y="1315473"/>
                  <a:pt x="7852915" y="1315473"/>
                  <a:pt x="7852915" y="1315473"/>
                </a:cubicBezTo>
                <a:cubicBezTo>
                  <a:pt x="7858281" y="1318211"/>
                  <a:pt x="7858281" y="1318211"/>
                  <a:pt x="7858281" y="1318211"/>
                </a:cubicBezTo>
                <a:cubicBezTo>
                  <a:pt x="7827175" y="1332782"/>
                  <a:pt x="7782485" y="1360714"/>
                  <a:pt x="7767479" y="1383498"/>
                </a:cubicBezTo>
                <a:cubicBezTo>
                  <a:pt x="7733632" y="1403434"/>
                  <a:pt x="7687513" y="1440788"/>
                  <a:pt x="7631870" y="1490192"/>
                </a:cubicBezTo>
                <a:cubicBezTo>
                  <a:pt x="7630557" y="1486138"/>
                  <a:pt x="7630557" y="1486138"/>
                  <a:pt x="7630557" y="1486138"/>
                </a:cubicBezTo>
                <a:cubicBezTo>
                  <a:pt x="7630557" y="1486138"/>
                  <a:pt x="7634610" y="1484824"/>
                  <a:pt x="7634610" y="1484824"/>
                </a:cubicBezTo>
                <a:cubicBezTo>
                  <a:pt x="7637348" y="1479455"/>
                  <a:pt x="7641401" y="1478141"/>
                  <a:pt x="7636032" y="1475403"/>
                </a:cubicBezTo>
                <a:cubicBezTo>
                  <a:pt x="7636032" y="1475403"/>
                  <a:pt x="7631980" y="1476717"/>
                  <a:pt x="7629243" y="1482084"/>
                </a:cubicBezTo>
                <a:cubicBezTo>
                  <a:pt x="7625188" y="1483399"/>
                  <a:pt x="7625188" y="1483399"/>
                  <a:pt x="7622452" y="1488767"/>
                </a:cubicBezTo>
                <a:cubicBezTo>
                  <a:pt x="7621135" y="1484713"/>
                  <a:pt x="7617083" y="1486029"/>
                  <a:pt x="7608977" y="1488657"/>
                </a:cubicBezTo>
                <a:cubicBezTo>
                  <a:pt x="7609632" y="1490684"/>
                  <a:pt x="7610292" y="1492712"/>
                  <a:pt x="7611633" y="1493396"/>
                </a:cubicBezTo>
                <a:lnTo>
                  <a:pt x="7613886" y="1492291"/>
                </a:lnTo>
                <a:lnTo>
                  <a:pt x="7608866" y="1502131"/>
                </a:lnTo>
                <a:cubicBezTo>
                  <a:pt x="7612918" y="1500816"/>
                  <a:pt x="7616971" y="1499502"/>
                  <a:pt x="7621024" y="1498186"/>
                </a:cubicBezTo>
                <a:cubicBezTo>
                  <a:pt x="7612810" y="1514289"/>
                  <a:pt x="7607334" y="1525024"/>
                  <a:pt x="7589697" y="1539702"/>
                </a:cubicBezTo>
                <a:cubicBezTo>
                  <a:pt x="7592436" y="1534336"/>
                  <a:pt x="7588383" y="1535650"/>
                  <a:pt x="7584329" y="1536965"/>
                </a:cubicBezTo>
                <a:cubicBezTo>
                  <a:pt x="7566692" y="1551643"/>
                  <a:pt x="7553001" y="1578479"/>
                  <a:pt x="7542158" y="1586476"/>
                </a:cubicBezTo>
                <a:cubicBezTo>
                  <a:pt x="7542158" y="1586476"/>
                  <a:pt x="7540843" y="1582423"/>
                  <a:pt x="7544896" y="1581109"/>
                </a:cubicBezTo>
                <a:cubicBezTo>
                  <a:pt x="7520468" y="1602469"/>
                  <a:pt x="7506779" y="1629306"/>
                  <a:pt x="7493304" y="1629197"/>
                </a:cubicBezTo>
                <a:cubicBezTo>
                  <a:pt x="7497357" y="1627882"/>
                  <a:pt x="7494620" y="1633251"/>
                  <a:pt x="7490567" y="1634564"/>
                </a:cubicBezTo>
                <a:cubicBezTo>
                  <a:pt x="7486407" y="1649353"/>
                  <a:pt x="7502726" y="1630620"/>
                  <a:pt x="7506779" y="1629306"/>
                </a:cubicBezTo>
                <a:cubicBezTo>
                  <a:pt x="7486407" y="1649353"/>
                  <a:pt x="7478301" y="1651981"/>
                  <a:pt x="7474140" y="1666768"/>
                </a:cubicBezTo>
                <a:cubicBezTo>
                  <a:pt x="7468771" y="1664031"/>
                  <a:pt x="7474249" y="1653295"/>
                  <a:pt x="7464718" y="1665345"/>
                </a:cubicBezTo>
                <a:cubicBezTo>
                  <a:pt x="7463292" y="1674765"/>
                  <a:pt x="7466035" y="1669398"/>
                  <a:pt x="7460559" y="1680132"/>
                </a:cubicBezTo>
                <a:cubicBezTo>
                  <a:pt x="7461870" y="1684186"/>
                  <a:pt x="7457818" y="1685500"/>
                  <a:pt x="7457818" y="1685500"/>
                </a:cubicBezTo>
                <a:cubicBezTo>
                  <a:pt x="7455081" y="1690868"/>
                  <a:pt x="7451029" y="1692182"/>
                  <a:pt x="7452343" y="1696235"/>
                </a:cubicBezTo>
                <a:cubicBezTo>
                  <a:pt x="7453656" y="1700287"/>
                  <a:pt x="7457707" y="1698974"/>
                  <a:pt x="7460448" y="1693606"/>
                </a:cubicBezTo>
                <a:cubicBezTo>
                  <a:pt x="7460448" y="1693606"/>
                  <a:pt x="7460448" y="1693606"/>
                  <a:pt x="7464501" y="1692291"/>
                </a:cubicBezTo>
                <a:cubicBezTo>
                  <a:pt x="7434600" y="1724386"/>
                  <a:pt x="7430435" y="1739174"/>
                  <a:pt x="7395059" y="1782003"/>
                </a:cubicBezTo>
                <a:cubicBezTo>
                  <a:pt x="7376214" y="1779157"/>
                  <a:pt x="7392318" y="1787371"/>
                  <a:pt x="7365262" y="1800626"/>
                </a:cubicBezTo>
                <a:cubicBezTo>
                  <a:pt x="7363946" y="1796573"/>
                  <a:pt x="7363946" y="1796573"/>
                  <a:pt x="7363946" y="1796573"/>
                </a:cubicBezTo>
                <a:cubicBezTo>
                  <a:pt x="7366685" y="1791205"/>
                  <a:pt x="7362629" y="1792520"/>
                  <a:pt x="7359893" y="1797888"/>
                </a:cubicBezTo>
                <a:cubicBezTo>
                  <a:pt x="7355842" y="1799202"/>
                  <a:pt x="7353104" y="1804569"/>
                  <a:pt x="7354417" y="1808623"/>
                </a:cubicBezTo>
                <a:cubicBezTo>
                  <a:pt x="7351676" y="1813990"/>
                  <a:pt x="7351676" y="1813990"/>
                  <a:pt x="7351676" y="1813990"/>
                </a:cubicBezTo>
                <a:cubicBezTo>
                  <a:pt x="7344885" y="1820671"/>
                  <a:pt x="7346203" y="1824724"/>
                  <a:pt x="7351569" y="1827464"/>
                </a:cubicBezTo>
                <a:cubicBezTo>
                  <a:pt x="7343464" y="1830093"/>
                  <a:pt x="7342038" y="1839513"/>
                  <a:pt x="7339300" y="1844880"/>
                </a:cubicBezTo>
                <a:cubicBezTo>
                  <a:pt x="7346093" y="1838197"/>
                  <a:pt x="7352884" y="1831516"/>
                  <a:pt x="7359677" y="1824834"/>
                </a:cubicBezTo>
                <a:cubicBezTo>
                  <a:pt x="7358360" y="1820781"/>
                  <a:pt x="7357043" y="1816728"/>
                  <a:pt x="7357043" y="1816728"/>
                </a:cubicBezTo>
                <a:cubicBezTo>
                  <a:pt x="7357043" y="1816728"/>
                  <a:pt x="7361097" y="1815414"/>
                  <a:pt x="7359784" y="1811361"/>
                </a:cubicBezTo>
                <a:cubicBezTo>
                  <a:pt x="7359784" y="1811361"/>
                  <a:pt x="7363836" y="1810046"/>
                  <a:pt x="7363836" y="1810046"/>
                </a:cubicBezTo>
                <a:cubicBezTo>
                  <a:pt x="7367889" y="1808733"/>
                  <a:pt x="7366577" y="1804679"/>
                  <a:pt x="7365262" y="1800626"/>
                </a:cubicBezTo>
                <a:cubicBezTo>
                  <a:pt x="7388154" y="1802159"/>
                  <a:pt x="7411161" y="1790219"/>
                  <a:pt x="7430329" y="1752647"/>
                </a:cubicBezTo>
                <a:cubicBezTo>
                  <a:pt x="7434384" y="1751333"/>
                  <a:pt x="7437117" y="1745965"/>
                  <a:pt x="7438434" y="1750017"/>
                </a:cubicBezTo>
                <a:cubicBezTo>
                  <a:pt x="7434384" y="1751333"/>
                  <a:pt x="7435693" y="1755385"/>
                  <a:pt x="7439749" y="1754071"/>
                </a:cubicBezTo>
                <a:cubicBezTo>
                  <a:pt x="7439749" y="1754071"/>
                  <a:pt x="7439749" y="1754071"/>
                  <a:pt x="7442487" y="1748703"/>
                </a:cubicBezTo>
                <a:cubicBezTo>
                  <a:pt x="7442487" y="1748703"/>
                  <a:pt x="7446539" y="1747388"/>
                  <a:pt x="7446539" y="1747388"/>
                </a:cubicBezTo>
                <a:cubicBezTo>
                  <a:pt x="7440348" y="1762835"/>
                  <a:pt x="7433176" y="1775239"/>
                  <a:pt x="7423480" y="1786783"/>
                </a:cubicBezTo>
                <a:lnTo>
                  <a:pt x="7388777" y="1817888"/>
                </a:lnTo>
                <a:lnTo>
                  <a:pt x="7388045" y="1815632"/>
                </a:lnTo>
                <a:cubicBezTo>
                  <a:pt x="7383992" y="1816948"/>
                  <a:pt x="7383992" y="1816948"/>
                  <a:pt x="7385312" y="1821000"/>
                </a:cubicBezTo>
                <a:cubicBezTo>
                  <a:pt x="7377202" y="1823628"/>
                  <a:pt x="7378514" y="1827681"/>
                  <a:pt x="7371723" y="1834363"/>
                </a:cubicBezTo>
                <a:cubicBezTo>
                  <a:pt x="7371723" y="1834363"/>
                  <a:pt x="7370409" y="1830310"/>
                  <a:pt x="7374461" y="1828995"/>
                </a:cubicBezTo>
                <a:cubicBezTo>
                  <a:pt x="7374461" y="1828995"/>
                  <a:pt x="7370409" y="1830310"/>
                  <a:pt x="7370409" y="1830310"/>
                </a:cubicBezTo>
                <a:cubicBezTo>
                  <a:pt x="7370409" y="1830310"/>
                  <a:pt x="7367670" y="1835678"/>
                  <a:pt x="7367670" y="1835678"/>
                </a:cubicBezTo>
                <a:cubicBezTo>
                  <a:pt x="7357484" y="1845701"/>
                  <a:pt x="7347323" y="1852355"/>
                  <a:pt x="7337999" y="1859858"/>
                </a:cubicBezTo>
                <a:lnTo>
                  <a:pt x="7316293" y="1885631"/>
                </a:lnTo>
                <a:lnTo>
                  <a:pt x="7359341" y="1957756"/>
                </a:lnTo>
                <a:lnTo>
                  <a:pt x="7389584" y="1917036"/>
                </a:lnTo>
                <a:cubicBezTo>
                  <a:pt x="7405902" y="1898305"/>
                  <a:pt x="7423923" y="1877903"/>
                  <a:pt x="7440297" y="1852435"/>
                </a:cubicBezTo>
                <a:cubicBezTo>
                  <a:pt x="7451250" y="1830966"/>
                  <a:pt x="7441722" y="1843015"/>
                  <a:pt x="7462093" y="1822969"/>
                </a:cubicBezTo>
                <a:cubicBezTo>
                  <a:pt x="7475675" y="1809605"/>
                  <a:pt x="7483885" y="1793503"/>
                  <a:pt x="7497472" y="1780139"/>
                </a:cubicBezTo>
                <a:cubicBezTo>
                  <a:pt x="7543692" y="1729314"/>
                  <a:pt x="7591234" y="1682538"/>
                  <a:pt x="7631981" y="1642447"/>
                </a:cubicBezTo>
                <a:cubicBezTo>
                  <a:pt x="7648304" y="1623717"/>
                  <a:pt x="7663203" y="1614404"/>
                  <a:pt x="7671417" y="1598303"/>
                </a:cubicBezTo>
                <a:cubicBezTo>
                  <a:pt x="7675469" y="1596989"/>
                  <a:pt x="7675469" y="1596989"/>
                  <a:pt x="7679522" y="1595674"/>
                </a:cubicBezTo>
                <a:cubicBezTo>
                  <a:pt x="7683575" y="1594359"/>
                  <a:pt x="7695735" y="1590415"/>
                  <a:pt x="7712055" y="1571684"/>
                </a:cubicBezTo>
                <a:cubicBezTo>
                  <a:pt x="7718846" y="1565003"/>
                  <a:pt x="7728376" y="1552952"/>
                  <a:pt x="7735169" y="1546272"/>
                </a:cubicBezTo>
                <a:cubicBezTo>
                  <a:pt x="7767704" y="1522281"/>
                  <a:pt x="7808336" y="1495662"/>
                  <a:pt x="7816553" y="1479561"/>
                </a:cubicBezTo>
                <a:cubicBezTo>
                  <a:pt x="7812392" y="1494349"/>
                  <a:pt x="7853139" y="1454257"/>
                  <a:pt x="7862667" y="1442208"/>
                </a:cubicBezTo>
                <a:cubicBezTo>
                  <a:pt x="7880191" y="1441002"/>
                  <a:pt x="7901988" y="1411536"/>
                  <a:pt x="7933097" y="1396968"/>
                </a:cubicBezTo>
                <a:cubicBezTo>
                  <a:pt x="7937150" y="1395652"/>
                  <a:pt x="7930469" y="1388862"/>
                  <a:pt x="7942629" y="1384918"/>
                </a:cubicBezTo>
                <a:cubicBezTo>
                  <a:pt x="7952048" y="1386342"/>
                  <a:pt x="7977788" y="1369033"/>
                  <a:pt x="7972422" y="1366296"/>
                </a:cubicBezTo>
                <a:cubicBezTo>
                  <a:pt x="7987208" y="1370458"/>
                  <a:pt x="8006269" y="1346359"/>
                  <a:pt x="8015686" y="1347783"/>
                </a:cubicBezTo>
                <a:cubicBezTo>
                  <a:pt x="8013060" y="1339678"/>
                  <a:pt x="8015797" y="1334311"/>
                  <a:pt x="8018537" y="1328942"/>
                </a:cubicBezTo>
                <a:cubicBezTo>
                  <a:pt x="8025324" y="1322260"/>
                  <a:pt x="8029377" y="1320945"/>
                  <a:pt x="8036172" y="1314265"/>
                </a:cubicBezTo>
                <a:cubicBezTo>
                  <a:pt x="8061911" y="1296956"/>
                  <a:pt x="8097071" y="1281073"/>
                  <a:pt x="8128179" y="1266503"/>
                </a:cubicBezTo>
                <a:cubicBezTo>
                  <a:pt x="8136285" y="1263874"/>
                  <a:pt x="8145707" y="1265298"/>
                  <a:pt x="8145707" y="1265298"/>
                </a:cubicBezTo>
                <a:cubicBezTo>
                  <a:pt x="8148445" y="1259930"/>
                  <a:pt x="8152497" y="1258615"/>
                  <a:pt x="8155237" y="1253248"/>
                </a:cubicBezTo>
                <a:cubicBezTo>
                  <a:pt x="8159290" y="1251933"/>
                  <a:pt x="8159290" y="1251933"/>
                  <a:pt x="8159290" y="1251933"/>
                </a:cubicBezTo>
                <a:cubicBezTo>
                  <a:pt x="8190289" y="1250838"/>
                  <a:pt x="8226875" y="1225535"/>
                  <a:pt x="8256670" y="1206912"/>
                </a:cubicBezTo>
                <a:cubicBezTo>
                  <a:pt x="8257984" y="1210965"/>
                  <a:pt x="8257984" y="1210965"/>
                  <a:pt x="8257984" y="1210965"/>
                </a:cubicBezTo>
                <a:cubicBezTo>
                  <a:pt x="8271456" y="1211075"/>
                  <a:pt x="8270248" y="1193548"/>
                  <a:pt x="8278249" y="1204393"/>
                </a:cubicBezTo>
                <a:cubicBezTo>
                  <a:pt x="8298513" y="1197820"/>
                  <a:pt x="8283724" y="1193658"/>
                  <a:pt x="8299937" y="1188400"/>
                </a:cubicBezTo>
                <a:cubicBezTo>
                  <a:pt x="8301249" y="1192451"/>
                  <a:pt x="8309354" y="1189822"/>
                  <a:pt x="8314723" y="1192562"/>
                </a:cubicBezTo>
                <a:cubicBezTo>
                  <a:pt x="8328306" y="1179198"/>
                  <a:pt x="8344518" y="1173939"/>
                  <a:pt x="8366098" y="1171418"/>
                </a:cubicBezTo>
                <a:cubicBezTo>
                  <a:pt x="8370261" y="1156631"/>
                  <a:pt x="8397204" y="1156850"/>
                  <a:pt x="8403996" y="1150168"/>
                </a:cubicBezTo>
                <a:cubicBezTo>
                  <a:pt x="8405310" y="1154222"/>
                  <a:pt x="8409362" y="1152907"/>
                  <a:pt x="8409362" y="1152907"/>
                </a:cubicBezTo>
                <a:cubicBezTo>
                  <a:pt x="8431052" y="1136914"/>
                  <a:pt x="8452630" y="1134394"/>
                  <a:pt x="8472895" y="1127821"/>
                </a:cubicBezTo>
                <a:lnTo>
                  <a:pt x="8480896" y="1125227"/>
                </a:lnTo>
                <a:lnTo>
                  <a:pt x="8523648" y="1109160"/>
                </a:lnTo>
                <a:lnTo>
                  <a:pt x="8532365" y="1104050"/>
                </a:lnTo>
                <a:lnTo>
                  <a:pt x="8530202" y="1106697"/>
                </a:lnTo>
                <a:lnTo>
                  <a:pt x="8585206" y="1086029"/>
                </a:lnTo>
                <a:lnTo>
                  <a:pt x="8726041" y="1043572"/>
                </a:lnTo>
                <a:lnTo>
                  <a:pt x="8725860" y="1043138"/>
                </a:lnTo>
                <a:cubicBezTo>
                  <a:pt x="8724250" y="1041797"/>
                  <a:pt x="8724520" y="1040189"/>
                  <a:pt x="8725594" y="1038581"/>
                </a:cubicBezTo>
                <a:cubicBezTo>
                  <a:pt x="8726130" y="1037509"/>
                  <a:pt x="8727202" y="1036168"/>
                  <a:pt x="8726398" y="1035097"/>
                </a:cubicBezTo>
                <a:cubicBezTo>
                  <a:pt x="8723714" y="1031881"/>
                  <a:pt x="8723446" y="1029468"/>
                  <a:pt x="8727741" y="1027860"/>
                </a:cubicBezTo>
                <a:cubicBezTo>
                  <a:pt x="8728814" y="1027592"/>
                  <a:pt x="8729082" y="1025984"/>
                  <a:pt x="8728010" y="1025180"/>
                </a:cubicBezTo>
                <a:cubicBezTo>
                  <a:pt x="8724520" y="1022232"/>
                  <a:pt x="8728276" y="1020891"/>
                  <a:pt x="8728814" y="1018748"/>
                </a:cubicBezTo>
                <a:cubicBezTo>
                  <a:pt x="8730692" y="1011510"/>
                  <a:pt x="8739011" y="1013654"/>
                  <a:pt x="8742234" y="1008294"/>
                </a:cubicBezTo>
                <a:cubicBezTo>
                  <a:pt x="8743308" y="1006418"/>
                  <a:pt x="8748404" y="1007758"/>
                  <a:pt x="8750820" y="1008026"/>
                </a:cubicBezTo>
                <a:cubicBezTo>
                  <a:pt x="8756456" y="1008830"/>
                  <a:pt x="8763168" y="1005346"/>
                  <a:pt x="8767728" y="1011778"/>
                </a:cubicBezTo>
                <a:cubicBezTo>
                  <a:pt x="8768532" y="1012851"/>
                  <a:pt x="8770146" y="1014191"/>
                  <a:pt x="8772290" y="1014191"/>
                </a:cubicBezTo>
                <a:cubicBezTo>
                  <a:pt x="8775244" y="1013923"/>
                  <a:pt x="8776854" y="1015531"/>
                  <a:pt x="8777390" y="1018479"/>
                </a:cubicBezTo>
                <a:cubicBezTo>
                  <a:pt x="8777927" y="1020356"/>
                  <a:pt x="8779268" y="1021427"/>
                  <a:pt x="8780610" y="1022767"/>
                </a:cubicBezTo>
                <a:lnTo>
                  <a:pt x="8781875" y="1026738"/>
                </a:lnTo>
                <a:lnTo>
                  <a:pt x="8800367" y="1021164"/>
                </a:lnTo>
                <a:cubicBezTo>
                  <a:pt x="8873189" y="1002290"/>
                  <a:pt x="8947097" y="986148"/>
                  <a:pt x="9022051" y="972694"/>
                </a:cubicBezTo>
                <a:cubicBezTo>
                  <a:pt x="9081906" y="961815"/>
                  <a:pt x="9141856" y="953495"/>
                  <a:pt x="9201839" y="947956"/>
                </a:cubicBezTo>
                <a:lnTo>
                  <a:pt x="9249722" y="945813"/>
                </a:lnTo>
                <a:lnTo>
                  <a:pt x="9256912" y="940922"/>
                </a:lnTo>
                <a:cubicBezTo>
                  <a:pt x="9261025" y="939799"/>
                  <a:pt x="9265511" y="939799"/>
                  <a:pt x="9268501" y="941296"/>
                </a:cubicBezTo>
                <a:cubicBezTo>
                  <a:pt x="9287938" y="942792"/>
                  <a:pt x="9308124" y="939052"/>
                  <a:pt x="9328310" y="936808"/>
                </a:cubicBezTo>
                <a:lnTo>
                  <a:pt x="9351707" y="935722"/>
                </a:lnTo>
                <a:lnTo>
                  <a:pt x="9300098" y="931742"/>
                </a:lnTo>
                <a:cubicBezTo>
                  <a:pt x="9272836" y="928827"/>
                  <a:pt x="9247258" y="925924"/>
                  <a:pt x="9222336" y="925048"/>
                </a:cubicBezTo>
                <a:close/>
                <a:moveTo>
                  <a:pt x="11833298" y="911134"/>
                </a:moveTo>
                <a:cubicBezTo>
                  <a:pt x="11838374" y="913078"/>
                  <a:pt x="11843062" y="915799"/>
                  <a:pt x="11845014" y="922018"/>
                </a:cubicBezTo>
                <a:cubicBezTo>
                  <a:pt x="11845405" y="923185"/>
                  <a:pt x="11847748" y="923962"/>
                  <a:pt x="11847356" y="926294"/>
                </a:cubicBezTo>
                <a:cubicBezTo>
                  <a:pt x="11846184" y="932513"/>
                  <a:pt x="11850870" y="934457"/>
                  <a:pt x="11854775" y="935623"/>
                </a:cubicBezTo>
                <a:cubicBezTo>
                  <a:pt x="11857509" y="936401"/>
                  <a:pt x="11859070" y="937567"/>
                  <a:pt x="11860632" y="939122"/>
                </a:cubicBezTo>
                <a:cubicBezTo>
                  <a:pt x="11865317" y="943397"/>
                  <a:pt x="11864928" y="949229"/>
                  <a:pt x="11866099" y="954671"/>
                </a:cubicBezTo>
                <a:cubicBezTo>
                  <a:pt x="11866879" y="959724"/>
                  <a:pt x="11864537" y="963611"/>
                  <a:pt x="11862585" y="967887"/>
                </a:cubicBezTo>
                <a:cubicBezTo>
                  <a:pt x="11860632" y="972552"/>
                  <a:pt x="11857509" y="976440"/>
                  <a:pt x="11851651" y="976440"/>
                </a:cubicBezTo>
                <a:cubicBezTo>
                  <a:pt x="11850870" y="976440"/>
                  <a:pt x="11850481" y="976828"/>
                  <a:pt x="11850481" y="977994"/>
                </a:cubicBezTo>
                <a:cubicBezTo>
                  <a:pt x="11847748" y="977994"/>
                  <a:pt x="11845405" y="977994"/>
                  <a:pt x="11842671" y="977994"/>
                </a:cubicBezTo>
                <a:cubicBezTo>
                  <a:pt x="11840718" y="975273"/>
                  <a:pt x="11836813" y="975662"/>
                  <a:pt x="11834081" y="973718"/>
                </a:cubicBezTo>
                <a:cubicBezTo>
                  <a:pt x="11831346" y="971775"/>
                  <a:pt x="11829005" y="970220"/>
                  <a:pt x="11828225" y="966722"/>
                </a:cubicBezTo>
                <a:cubicBezTo>
                  <a:pt x="11827833" y="962834"/>
                  <a:pt x="11825880" y="959336"/>
                  <a:pt x="11823927" y="956226"/>
                </a:cubicBezTo>
                <a:cubicBezTo>
                  <a:pt x="11821975" y="952727"/>
                  <a:pt x="11820415" y="949229"/>
                  <a:pt x="11818462" y="946119"/>
                </a:cubicBezTo>
                <a:cubicBezTo>
                  <a:pt x="11816899" y="942620"/>
                  <a:pt x="11813776" y="939511"/>
                  <a:pt x="11809871" y="937567"/>
                </a:cubicBezTo>
                <a:cubicBezTo>
                  <a:pt x="11809871" y="932902"/>
                  <a:pt x="11809871" y="928238"/>
                  <a:pt x="11809871" y="923573"/>
                </a:cubicBezTo>
                <a:cubicBezTo>
                  <a:pt x="11812214" y="922407"/>
                  <a:pt x="11813385" y="920852"/>
                  <a:pt x="11814557" y="918131"/>
                </a:cubicBezTo>
                <a:cubicBezTo>
                  <a:pt x="11816118" y="915021"/>
                  <a:pt x="11819632" y="912688"/>
                  <a:pt x="11823147" y="912688"/>
                </a:cubicBezTo>
                <a:cubicBezTo>
                  <a:pt x="11826660" y="912688"/>
                  <a:pt x="11829785" y="911911"/>
                  <a:pt x="11833298" y="911134"/>
                </a:cubicBezTo>
                <a:close/>
                <a:moveTo>
                  <a:pt x="5160887" y="886310"/>
                </a:moveTo>
                <a:cubicBezTo>
                  <a:pt x="5160887" y="886310"/>
                  <a:pt x="5156475" y="886310"/>
                  <a:pt x="5156475" y="890724"/>
                </a:cubicBezTo>
                <a:lnTo>
                  <a:pt x="5032900" y="890724"/>
                </a:lnTo>
                <a:cubicBezTo>
                  <a:pt x="4935809" y="895137"/>
                  <a:pt x="4843129" y="903964"/>
                  <a:pt x="4746036" y="917204"/>
                </a:cubicBezTo>
                <a:cubicBezTo>
                  <a:pt x="4589362" y="939271"/>
                  <a:pt x="4437102" y="974578"/>
                  <a:pt x="4290911" y="1022573"/>
                </a:cubicBezTo>
                <a:lnTo>
                  <a:pt x="4168852" y="1068909"/>
                </a:lnTo>
                <a:lnTo>
                  <a:pt x="4169889" y="1071705"/>
                </a:lnTo>
                <a:lnTo>
                  <a:pt x="4169889" y="1075807"/>
                </a:lnTo>
                <a:lnTo>
                  <a:pt x="4416692" y="997748"/>
                </a:lnTo>
                <a:cubicBezTo>
                  <a:pt x="4607016" y="949201"/>
                  <a:pt x="4805616" y="921618"/>
                  <a:pt x="5010835" y="917204"/>
                </a:cubicBezTo>
                <a:cubicBezTo>
                  <a:pt x="5010834" y="921618"/>
                  <a:pt x="5010834" y="921618"/>
                  <a:pt x="5010835" y="926031"/>
                </a:cubicBezTo>
                <a:cubicBezTo>
                  <a:pt x="4949048" y="930443"/>
                  <a:pt x="4922568" y="956925"/>
                  <a:pt x="4882850" y="974578"/>
                </a:cubicBezTo>
                <a:cubicBezTo>
                  <a:pt x="4882850" y="974578"/>
                  <a:pt x="4891675" y="978991"/>
                  <a:pt x="4900502" y="978991"/>
                </a:cubicBezTo>
                <a:cubicBezTo>
                  <a:pt x="4882850" y="987818"/>
                  <a:pt x="4847542" y="983404"/>
                  <a:pt x="4821063" y="987818"/>
                </a:cubicBezTo>
                <a:cubicBezTo>
                  <a:pt x="4798997" y="996645"/>
                  <a:pt x="4763690" y="1009885"/>
                  <a:pt x="4763690" y="1009885"/>
                </a:cubicBezTo>
                <a:cubicBezTo>
                  <a:pt x="4768103" y="1018712"/>
                  <a:pt x="4785755" y="1018712"/>
                  <a:pt x="4807823" y="1018712"/>
                </a:cubicBezTo>
                <a:cubicBezTo>
                  <a:pt x="4807823" y="1023125"/>
                  <a:pt x="4803408" y="1023125"/>
                  <a:pt x="4803408" y="1023125"/>
                </a:cubicBezTo>
                <a:cubicBezTo>
                  <a:pt x="4798997" y="1023125"/>
                  <a:pt x="4798997" y="1023125"/>
                  <a:pt x="4798997" y="1023125"/>
                </a:cubicBezTo>
                <a:cubicBezTo>
                  <a:pt x="4798997" y="1023125"/>
                  <a:pt x="4794581" y="1023125"/>
                  <a:pt x="4794581" y="1023125"/>
                </a:cubicBezTo>
                <a:cubicBezTo>
                  <a:pt x="4794581" y="1023125"/>
                  <a:pt x="4790168" y="1023125"/>
                  <a:pt x="4785755" y="1023125"/>
                </a:cubicBezTo>
                <a:cubicBezTo>
                  <a:pt x="4785755" y="1027538"/>
                  <a:pt x="4785755" y="1027538"/>
                  <a:pt x="4790168" y="1027537"/>
                </a:cubicBezTo>
                <a:cubicBezTo>
                  <a:pt x="4790168" y="1027537"/>
                  <a:pt x="4794584" y="1027537"/>
                  <a:pt x="4794584" y="1027537"/>
                </a:cubicBezTo>
                <a:cubicBezTo>
                  <a:pt x="4798997" y="1027537"/>
                  <a:pt x="4798997" y="1027537"/>
                  <a:pt x="4798997" y="1027537"/>
                </a:cubicBezTo>
                <a:cubicBezTo>
                  <a:pt x="4772515" y="1036364"/>
                  <a:pt x="4807823" y="1036364"/>
                  <a:pt x="4812237" y="1031951"/>
                </a:cubicBezTo>
                <a:cubicBezTo>
                  <a:pt x="4816648" y="1031951"/>
                  <a:pt x="4816648" y="1027537"/>
                  <a:pt x="4816648" y="1027537"/>
                </a:cubicBezTo>
                <a:cubicBezTo>
                  <a:pt x="4816648" y="1027537"/>
                  <a:pt x="4812237" y="1027537"/>
                  <a:pt x="4812237" y="1027537"/>
                </a:cubicBezTo>
                <a:cubicBezTo>
                  <a:pt x="4807823" y="1023125"/>
                  <a:pt x="4807823" y="1023125"/>
                  <a:pt x="4807823" y="1023125"/>
                </a:cubicBezTo>
                <a:cubicBezTo>
                  <a:pt x="4807823" y="1023125"/>
                  <a:pt x="4816650" y="1023125"/>
                  <a:pt x="4821062" y="1023125"/>
                </a:cubicBezTo>
                <a:cubicBezTo>
                  <a:pt x="4825476" y="1023125"/>
                  <a:pt x="4825476" y="1023125"/>
                  <a:pt x="4825476" y="1023125"/>
                </a:cubicBezTo>
                <a:cubicBezTo>
                  <a:pt x="4856368" y="1023125"/>
                  <a:pt x="4878436" y="1031951"/>
                  <a:pt x="4860781" y="1045192"/>
                </a:cubicBezTo>
                <a:cubicBezTo>
                  <a:pt x="4838716" y="1045191"/>
                  <a:pt x="4838716" y="1049604"/>
                  <a:pt x="4807823" y="1049604"/>
                </a:cubicBezTo>
                <a:cubicBezTo>
                  <a:pt x="4803408" y="1058431"/>
                  <a:pt x="4821062" y="1058431"/>
                  <a:pt x="4825476" y="1067257"/>
                </a:cubicBezTo>
                <a:cubicBezTo>
                  <a:pt x="4785755" y="1080498"/>
                  <a:pt x="4719556" y="1089325"/>
                  <a:pt x="4719556" y="1111391"/>
                </a:cubicBezTo>
                <a:cubicBezTo>
                  <a:pt x="4719556" y="1111391"/>
                  <a:pt x="4715141" y="1111391"/>
                  <a:pt x="4715141" y="1111391"/>
                </a:cubicBezTo>
                <a:cubicBezTo>
                  <a:pt x="4715141" y="1111391"/>
                  <a:pt x="4706316" y="1111391"/>
                  <a:pt x="4706316" y="1111391"/>
                </a:cubicBezTo>
                <a:cubicBezTo>
                  <a:pt x="4701900" y="1115804"/>
                  <a:pt x="4697488" y="1115804"/>
                  <a:pt x="4701900" y="1115804"/>
                </a:cubicBezTo>
                <a:cubicBezTo>
                  <a:pt x="4693076" y="1120218"/>
                  <a:pt x="4679837" y="1120218"/>
                  <a:pt x="4653355" y="1129045"/>
                </a:cubicBezTo>
                <a:cubicBezTo>
                  <a:pt x="4644528" y="1133457"/>
                  <a:pt x="4640115" y="1133457"/>
                  <a:pt x="4635703" y="1133457"/>
                </a:cubicBezTo>
                <a:cubicBezTo>
                  <a:pt x="4635703" y="1133457"/>
                  <a:pt x="4631288" y="1137871"/>
                  <a:pt x="4631288" y="1137871"/>
                </a:cubicBezTo>
                <a:cubicBezTo>
                  <a:pt x="4626876" y="1137871"/>
                  <a:pt x="4626876" y="1137871"/>
                  <a:pt x="4626876" y="1137871"/>
                </a:cubicBezTo>
                <a:cubicBezTo>
                  <a:pt x="4622462" y="1137871"/>
                  <a:pt x="4626876" y="1142285"/>
                  <a:pt x="4626876" y="1142285"/>
                </a:cubicBezTo>
                <a:cubicBezTo>
                  <a:pt x="4622463" y="1142285"/>
                  <a:pt x="4622463" y="1142285"/>
                  <a:pt x="4622463" y="1142285"/>
                </a:cubicBezTo>
                <a:cubicBezTo>
                  <a:pt x="4622463" y="1146697"/>
                  <a:pt x="4604809" y="1146697"/>
                  <a:pt x="4604810" y="1151112"/>
                </a:cubicBezTo>
                <a:cubicBezTo>
                  <a:pt x="4626875" y="1146697"/>
                  <a:pt x="4609223" y="1151110"/>
                  <a:pt x="4618049" y="1155525"/>
                </a:cubicBezTo>
                <a:cubicBezTo>
                  <a:pt x="4591570" y="1159938"/>
                  <a:pt x="4626875" y="1159938"/>
                  <a:pt x="4609223" y="1164351"/>
                </a:cubicBezTo>
                <a:cubicBezTo>
                  <a:pt x="4582743" y="1168764"/>
                  <a:pt x="4582743" y="1173179"/>
                  <a:pt x="4569503" y="1168764"/>
                </a:cubicBezTo>
                <a:cubicBezTo>
                  <a:pt x="4569503" y="1182004"/>
                  <a:pt x="4507717" y="1190832"/>
                  <a:pt x="4463584" y="1204071"/>
                </a:cubicBezTo>
                <a:cubicBezTo>
                  <a:pt x="4459170" y="1204071"/>
                  <a:pt x="4450343" y="1208486"/>
                  <a:pt x="4437102" y="1212897"/>
                </a:cubicBezTo>
                <a:cubicBezTo>
                  <a:pt x="4397383" y="1226137"/>
                  <a:pt x="4370904" y="1234964"/>
                  <a:pt x="4348838" y="1243791"/>
                </a:cubicBezTo>
                <a:cubicBezTo>
                  <a:pt x="4340009" y="1248203"/>
                  <a:pt x="4344424" y="1243791"/>
                  <a:pt x="4335598" y="1243791"/>
                </a:cubicBezTo>
                <a:cubicBezTo>
                  <a:pt x="4335595" y="1248204"/>
                  <a:pt x="4331184" y="1252617"/>
                  <a:pt x="4326771" y="1252618"/>
                </a:cubicBezTo>
                <a:cubicBezTo>
                  <a:pt x="4322356" y="1252618"/>
                  <a:pt x="4335598" y="1243791"/>
                  <a:pt x="4322356" y="1248203"/>
                </a:cubicBezTo>
                <a:cubicBezTo>
                  <a:pt x="4300290" y="1261445"/>
                  <a:pt x="4295877" y="1257032"/>
                  <a:pt x="4260571" y="1274684"/>
                </a:cubicBezTo>
                <a:cubicBezTo>
                  <a:pt x="4260571" y="1265858"/>
                  <a:pt x="4260571" y="1265858"/>
                  <a:pt x="4260571" y="1265858"/>
                </a:cubicBezTo>
                <a:cubicBezTo>
                  <a:pt x="4238504" y="1274685"/>
                  <a:pt x="4229678" y="1279098"/>
                  <a:pt x="4247332" y="1279098"/>
                </a:cubicBezTo>
                <a:lnTo>
                  <a:pt x="4238193" y="1282035"/>
                </a:lnTo>
                <a:lnTo>
                  <a:pt x="4249592" y="1287860"/>
                </a:lnTo>
                <a:lnTo>
                  <a:pt x="4297332" y="1271163"/>
                </a:lnTo>
                <a:cubicBezTo>
                  <a:pt x="4390734" y="1244551"/>
                  <a:pt x="4486365" y="1223196"/>
                  <a:pt x="4584250" y="1207034"/>
                </a:cubicBezTo>
                <a:cubicBezTo>
                  <a:pt x="4658491" y="1194535"/>
                  <a:pt x="4729381" y="1174680"/>
                  <a:pt x="4804569" y="1175960"/>
                </a:cubicBezTo>
                <a:cubicBezTo>
                  <a:pt x="4811795" y="1176222"/>
                  <a:pt x="4819149" y="1172871"/>
                  <a:pt x="4824643" y="1181029"/>
                </a:cubicBezTo>
                <a:cubicBezTo>
                  <a:pt x="4826521" y="1189055"/>
                  <a:pt x="4819967" y="1190264"/>
                  <a:pt x="4816353" y="1190133"/>
                </a:cubicBezTo>
                <a:cubicBezTo>
                  <a:pt x="4696559" y="1202064"/>
                  <a:pt x="4579951" y="1225868"/>
                  <a:pt x="4465087" y="1256427"/>
                </a:cubicBezTo>
                <a:lnTo>
                  <a:pt x="4296734" y="1305865"/>
                </a:lnTo>
                <a:lnTo>
                  <a:pt x="4312540" y="1310402"/>
                </a:lnTo>
                <a:lnTo>
                  <a:pt x="4335142" y="1318492"/>
                </a:lnTo>
                <a:lnTo>
                  <a:pt x="4414434" y="1295504"/>
                </a:lnTo>
                <a:lnTo>
                  <a:pt x="4444757" y="1289120"/>
                </a:lnTo>
                <a:lnTo>
                  <a:pt x="4459170" y="1279098"/>
                </a:lnTo>
                <a:cubicBezTo>
                  <a:pt x="4472409" y="1283510"/>
                  <a:pt x="4476822" y="1279098"/>
                  <a:pt x="4481236" y="1270271"/>
                </a:cubicBezTo>
                <a:cubicBezTo>
                  <a:pt x="4490063" y="1270271"/>
                  <a:pt x="4498889" y="1270270"/>
                  <a:pt x="4507717" y="1265858"/>
                </a:cubicBezTo>
                <a:cubicBezTo>
                  <a:pt x="4516542" y="1261445"/>
                  <a:pt x="4529782" y="1261445"/>
                  <a:pt x="4538608" y="1257032"/>
                </a:cubicBezTo>
                <a:cubicBezTo>
                  <a:pt x="4551850" y="1252618"/>
                  <a:pt x="4569502" y="1252618"/>
                  <a:pt x="4582743" y="1248204"/>
                </a:cubicBezTo>
                <a:cubicBezTo>
                  <a:pt x="4591570" y="1248204"/>
                  <a:pt x="4604809" y="1243791"/>
                  <a:pt x="4609223" y="1239379"/>
                </a:cubicBezTo>
                <a:cubicBezTo>
                  <a:pt x="4613636" y="1239379"/>
                  <a:pt x="4613636" y="1239379"/>
                  <a:pt x="4613636" y="1239379"/>
                </a:cubicBezTo>
                <a:cubicBezTo>
                  <a:pt x="4626876" y="1234965"/>
                  <a:pt x="4635703" y="1234965"/>
                  <a:pt x="4648942" y="1230551"/>
                </a:cubicBezTo>
                <a:cubicBezTo>
                  <a:pt x="4657767" y="1230551"/>
                  <a:pt x="4666594" y="1226137"/>
                  <a:pt x="4679836" y="1221725"/>
                </a:cubicBezTo>
                <a:cubicBezTo>
                  <a:pt x="4693075" y="1226137"/>
                  <a:pt x="4693075" y="1221725"/>
                  <a:pt x="4693076" y="1217313"/>
                </a:cubicBezTo>
                <a:cubicBezTo>
                  <a:pt x="4697488" y="1217312"/>
                  <a:pt x="4697488" y="1217312"/>
                  <a:pt x="4697488" y="1217312"/>
                </a:cubicBezTo>
                <a:cubicBezTo>
                  <a:pt x="4701902" y="1217312"/>
                  <a:pt x="4706316" y="1221725"/>
                  <a:pt x="4710729" y="1221725"/>
                </a:cubicBezTo>
                <a:cubicBezTo>
                  <a:pt x="4710729" y="1221725"/>
                  <a:pt x="4715141" y="1221725"/>
                  <a:pt x="4715141" y="1221725"/>
                </a:cubicBezTo>
                <a:cubicBezTo>
                  <a:pt x="4719556" y="1221725"/>
                  <a:pt x="4719556" y="1221725"/>
                  <a:pt x="4723970" y="1217312"/>
                </a:cubicBezTo>
                <a:cubicBezTo>
                  <a:pt x="4723970" y="1217312"/>
                  <a:pt x="4723970" y="1217312"/>
                  <a:pt x="4723970" y="1212897"/>
                </a:cubicBezTo>
                <a:cubicBezTo>
                  <a:pt x="4746036" y="1212897"/>
                  <a:pt x="4746036" y="1212897"/>
                  <a:pt x="4746036" y="1212897"/>
                </a:cubicBezTo>
                <a:cubicBezTo>
                  <a:pt x="4746036" y="1212897"/>
                  <a:pt x="4750449" y="1208485"/>
                  <a:pt x="4750449" y="1208485"/>
                </a:cubicBezTo>
                <a:cubicBezTo>
                  <a:pt x="4750449" y="1208485"/>
                  <a:pt x="4746036" y="1208485"/>
                  <a:pt x="4746036" y="1208485"/>
                </a:cubicBezTo>
                <a:cubicBezTo>
                  <a:pt x="4723970" y="1212897"/>
                  <a:pt x="4723970" y="1212897"/>
                  <a:pt x="4723970" y="1212897"/>
                </a:cubicBezTo>
                <a:cubicBezTo>
                  <a:pt x="4723970" y="1212897"/>
                  <a:pt x="4723970" y="1208485"/>
                  <a:pt x="4723970" y="1208485"/>
                </a:cubicBezTo>
                <a:cubicBezTo>
                  <a:pt x="4728383" y="1208485"/>
                  <a:pt x="4732795" y="1208485"/>
                  <a:pt x="4732795" y="1208485"/>
                </a:cubicBezTo>
                <a:cubicBezTo>
                  <a:pt x="4737209" y="1208485"/>
                  <a:pt x="4737209" y="1208485"/>
                  <a:pt x="4737209" y="1208485"/>
                </a:cubicBezTo>
                <a:cubicBezTo>
                  <a:pt x="4741622" y="1208485"/>
                  <a:pt x="4746034" y="1204071"/>
                  <a:pt x="4750449" y="1204071"/>
                </a:cubicBezTo>
                <a:cubicBezTo>
                  <a:pt x="4754860" y="1204071"/>
                  <a:pt x="4759276" y="1204071"/>
                  <a:pt x="4768102" y="1204071"/>
                </a:cubicBezTo>
                <a:cubicBezTo>
                  <a:pt x="4763690" y="1204071"/>
                  <a:pt x="4763689" y="1208486"/>
                  <a:pt x="4763689" y="1208486"/>
                </a:cubicBezTo>
                <a:cubicBezTo>
                  <a:pt x="4763689" y="1208486"/>
                  <a:pt x="4768103" y="1208485"/>
                  <a:pt x="4772515" y="1208485"/>
                </a:cubicBezTo>
                <a:cubicBezTo>
                  <a:pt x="4772515" y="1208485"/>
                  <a:pt x="4776928" y="1208486"/>
                  <a:pt x="4781344" y="1208485"/>
                </a:cubicBezTo>
                <a:cubicBezTo>
                  <a:pt x="4785755" y="1204071"/>
                  <a:pt x="4790168" y="1204071"/>
                  <a:pt x="4794584" y="1204071"/>
                </a:cubicBezTo>
                <a:cubicBezTo>
                  <a:pt x="4798997" y="1204071"/>
                  <a:pt x="4798997" y="1204071"/>
                  <a:pt x="4803408" y="1204071"/>
                </a:cubicBezTo>
                <a:cubicBezTo>
                  <a:pt x="4807823" y="1199658"/>
                  <a:pt x="4807823" y="1199658"/>
                  <a:pt x="4807823" y="1199658"/>
                </a:cubicBezTo>
                <a:cubicBezTo>
                  <a:pt x="4812237" y="1199658"/>
                  <a:pt x="4816650" y="1195245"/>
                  <a:pt x="4821063" y="1195245"/>
                </a:cubicBezTo>
                <a:cubicBezTo>
                  <a:pt x="4825476" y="1195245"/>
                  <a:pt x="4829889" y="1195245"/>
                  <a:pt x="4829889" y="1195245"/>
                </a:cubicBezTo>
                <a:cubicBezTo>
                  <a:pt x="4829889" y="1199658"/>
                  <a:pt x="4829889" y="1199658"/>
                  <a:pt x="4834302" y="1199658"/>
                </a:cubicBezTo>
                <a:cubicBezTo>
                  <a:pt x="4834302" y="1199658"/>
                  <a:pt x="4838716" y="1199658"/>
                  <a:pt x="4838716" y="1195245"/>
                </a:cubicBezTo>
                <a:cubicBezTo>
                  <a:pt x="4838716" y="1195245"/>
                  <a:pt x="4843129" y="1195245"/>
                  <a:pt x="4847542" y="1199658"/>
                </a:cubicBezTo>
                <a:cubicBezTo>
                  <a:pt x="4856368" y="1195245"/>
                  <a:pt x="4856368" y="1195245"/>
                  <a:pt x="4856368" y="1195245"/>
                </a:cubicBezTo>
                <a:cubicBezTo>
                  <a:pt x="4856368" y="1195245"/>
                  <a:pt x="4851957" y="1195245"/>
                  <a:pt x="4851957" y="1190831"/>
                </a:cubicBezTo>
                <a:cubicBezTo>
                  <a:pt x="4856368" y="1190831"/>
                  <a:pt x="4860781" y="1190831"/>
                  <a:pt x="4865196" y="1190831"/>
                </a:cubicBezTo>
                <a:cubicBezTo>
                  <a:pt x="4869610" y="1190832"/>
                  <a:pt x="4869610" y="1190832"/>
                  <a:pt x="4869610" y="1190832"/>
                </a:cubicBezTo>
                <a:cubicBezTo>
                  <a:pt x="4878436" y="1186418"/>
                  <a:pt x="4882848" y="1186418"/>
                  <a:pt x="4887261" y="1186418"/>
                </a:cubicBezTo>
                <a:cubicBezTo>
                  <a:pt x="4896089" y="1186418"/>
                  <a:pt x="4900502" y="1186418"/>
                  <a:pt x="4904916" y="1186418"/>
                </a:cubicBezTo>
                <a:cubicBezTo>
                  <a:pt x="4909329" y="1186418"/>
                  <a:pt x="4909329" y="1186418"/>
                  <a:pt x="4918155" y="1186418"/>
                </a:cubicBezTo>
                <a:cubicBezTo>
                  <a:pt x="4922569" y="1190831"/>
                  <a:pt x="4935809" y="1186418"/>
                  <a:pt x="4944634" y="1186418"/>
                </a:cubicBezTo>
                <a:cubicBezTo>
                  <a:pt x="4949048" y="1186419"/>
                  <a:pt x="4953461" y="1190831"/>
                  <a:pt x="4957877" y="1190831"/>
                </a:cubicBezTo>
                <a:cubicBezTo>
                  <a:pt x="4957877" y="1190831"/>
                  <a:pt x="4953461" y="1195245"/>
                  <a:pt x="4953461" y="1195245"/>
                </a:cubicBezTo>
                <a:cubicBezTo>
                  <a:pt x="4949048" y="1195245"/>
                  <a:pt x="4949048" y="1199659"/>
                  <a:pt x="4949048" y="1199659"/>
                </a:cubicBezTo>
                <a:cubicBezTo>
                  <a:pt x="4949048" y="1199659"/>
                  <a:pt x="4949048" y="1199659"/>
                  <a:pt x="4953461" y="1199658"/>
                </a:cubicBezTo>
                <a:cubicBezTo>
                  <a:pt x="4957874" y="1199658"/>
                  <a:pt x="4957874" y="1199658"/>
                  <a:pt x="4957874" y="1199658"/>
                </a:cubicBezTo>
                <a:cubicBezTo>
                  <a:pt x="4962288" y="1199658"/>
                  <a:pt x="4962288" y="1199658"/>
                  <a:pt x="4962288" y="1195245"/>
                </a:cubicBezTo>
                <a:cubicBezTo>
                  <a:pt x="4962288" y="1195245"/>
                  <a:pt x="4966702" y="1190831"/>
                  <a:pt x="4966702" y="1190831"/>
                </a:cubicBezTo>
                <a:cubicBezTo>
                  <a:pt x="4966702" y="1186418"/>
                  <a:pt x="4966702" y="1186418"/>
                  <a:pt x="4966702" y="1186418"/>
                </a:cubicBezTo>
                <a:cubicBezTo>
                  <a:pt x="4962288" y="1186418"/>
                  <a:pt x="4953461" y="1182004"/>
                  <a:pt x="4944634" y="1182004"/>
                </a:cubicBezTo>
                <a:cubicBezTo>
                  <a:pt x="4940224" y="1182005"/>
                  <a:pt x="4940224" y="1182005"/>
                  <a:pt x="4940224" y="1182005"/>
                </a:cubicBezTo>
                <a:cubicBezTo>
                  <a:pt x="4935809" y="1182004"/>
                  <a:pt x="4926984" y="1186418"/>
                  <a:pt x="4922569" y="1182004"/>
                </a:cubicBezTo>
                <a:cubicBezTo>
                  <a:pt x="4918155" y="1182004"/>
                  <a:pt x="4918155" y="1182004"/>
                  <a:pt x="4913741" y="1182004"/>
                </a:cubicBezTo>
                <a:cubicBezTo>
                  <a:pt x="4918155" y="1177592"/>
                  <a:pt x="4926982" y="1177592"/>
                  <a:pt x="4935808" y="1177592"/>
                </a:cubicBezTo>
                <a:cubicBezTo>
                  <a:pt x="4944634" y="1177592"/>
                  <a:pt x="4953461" y="1177592"/>
                  <a:pt x="4962288" y="1173177"/>
                </a:cubicBezTo>
                <a:cubicBezTo>
                  <a:pt x="4966702" y="1173177"/>
                  <a:pt x="4966702" y="1177592"/>
                  <a:pt x="4971116" y="1177592"/>
                </a:cubicBezTo>
                <a:cubicBezTo>
                  <a:pt x="4979942" y="1177592"/>
                  <a:pt x="4979942" y="1177592"/>
                  <a:pt x="4979942" y="1177592"/>
                </a:cubicBezTo>
                <a:cubicBezTo>
                  <a:pt x="4988766" y="1177592"/>
                  <a:pt x="4993181" y="1177592"/>
                  <a:pt x="5002008" y="1177592"/>
                </a:cubicBezTo>
                <a:cubicBezTo>
                  <a:pt x="4997595" y="1182004"/>
                  <a:pt x="4997595" y="1182004"/>
                  <a:pt x="4997595" y="1182004"/>
                </a:cubicBezTo>
                <a:cubicBezTo>
                  <a:pt x="4993181" y="1182004"/>
                  <a:pt x="4993181" y="1182004"/>
                  <a:pt x="4997596" y="1186418"/>
                </a:cubicBezTo>
                <a:cubicBezTo>
                  <a:pt x="4997596" y="1186418"/>
                  <a:pt x="4997596" y="1186418"/>
                  <a:pt x="5002008" y="1186418"/>
                </a:cubicBezTo>
                <a:cubicBezTo>
                  <a:pt x="5002008" y="1186418"/>
                  <a:pt x="5006420" y="1186418"/>
                  <a:pt x="5006420" y="1186418"/>
                </a:cubicBezTo>
                <a:cubicBezTo>
                  <a:pt x="5010834" y="1182004"/>
                  <a:pt x="5010834" y="1182004"/>
                  <a:pt x="5010834" y="1182004"/>
                </a:cubicBezTo>
                <a:cubicBezTo>
                  <a:pt x="5010834" y="1182004"/>
                  <a:pt x="5015251" y="1182004"/>
                  <a:pt x="5015251" y="1182004"/>
                </a:cubicBezTo>
                <a:cubicBezTo>
                  <a:pt x="5015251" y="1182004"/>
                  <a:pt x="5015251" y="1182004"/>
                  <a:pt x="5019661" y="1182004"/>
                </a:cubicBezTo>
                <a:cubicBezTo>
                  <a:pt x="5024074" y="1182004"/>
                  <a:pt x="5032901" y="1177592"/>
                  <a:pt x="5037315" y="1177592"/>
                </a:cubicBezTo>
                <a:cubicBezTo>
                  <a:pt x="5050554" y="1177592"/>
                  <a:pt x="5054969" y="1173177"/>
                  <a:pt x="5059383" y="1177592"/>
                </a:cubicBezTo>
                <a:cubicBezTo>
                  <a:pt x="5059380" y="1182004"/>
                  <a:pt x="5063793" y="1182004"/>
                  <a:pt x="5063793" y="1182004"/>
                </a:cubicBezTo>
                <a:cubicBezTo>
                  <a:pt x="5063793" y="1182004"/>
                  <a:pt x="5063793" y="1186419"/>
                  <a:pt x="5059383" y="1186419"/>
                </a:cubicBezTo>
                <a:cubicBezTo>
                  <a:pt x="5041727" y="1186418"/>
                  <a:pt x="5024076" y="1186418"/>
                  <a:pt x="5006420" y="1190831"/>
                </a:cubicBezTo>
                <a:cubicBezTo>
                  <a:pt x="5002006" y="1190831"/>
                  <a:pt x="5002006" y="1190831"/>
                  <a:pt x="5002006" y="1190831"/>
                </a:cubicBezTo>
                <a:cubicBezTo>
                  <a:pt x="5002006" y="1195245"/>
                  <a:pt x="5006420" y="1195245"/>
                  <a:pt x="5006420" y="1195245"/>
                </a:cubicBezTo>
                <a:cubicBezTo>
                  <a:pt x="5024076" y="1190831"/>
                  <a:pt x="5041729" y="1190831"/>
                  <a:pt x="5059383" y="1190831"/>
                </a:cubicBezTo>
                <a:cubicBezTo>
                  <a:pt x="5059383" y="1195245"/>
                  <a:pt x="5059380" y="1199658"/>
                  <a:pt x="5068208" y="1204071"/>
                </a:cubicBezTo>
                <a:cubicBezTo>
                  <a:pt x="5090274" y="1204071"/>
                  <a:pt x="5094688" y="1212897"/>
                  <a:pt x="5116754" y="1212897"/>
                </a:cubicBezTo>
                <a:cubicBezTo>
                  <a:pt x="5174127" y="1234965"/>
                  <a:pt x="5244741" y="1243791"/>
                  <a:pt x="5293286" y="1248204"/>
                </a:cubicBezTo>
                <a:cubicBezTo>
                  <a:pt x="5297701" y="1248204"/>
                  <a:pt x="5297701" y="1248204"/>
                  <a:pt x="5297701" y="1248204"/>
                </a:cubicBezTo>
                <a:cubicBezTo>
                  <a:pt x="5297701" y="1248204"/>
                  <a:pt x="5302115" y="1248204"/>
                  <a:pt x="5302115" y="1248204"/>
                </a:cubicBezTo>
                <a:cubicBezTo>
                  <a:pt x="5302115" y="1243791"/>
                  <a:pt x="5302115" y="1243791"/>
                  <a:pt x="5297699" y="1243791"/>
                </a:cubicBezTo>
                <a:cubicBezTo>
                  <a:pt x="5249152" y="1239379"/>
                  <a:pt x="5182954" y="1230551"/>
                  <a:pt x="5125580" y="1208485"/>
                </a:cubicBezTo>
                <a:cubicBezTo>
                  <a:pt x="5129996" y="1208485"/>
                  <a:pt x="5129996" y="1208485"/>
                  <a:pt x="5129996" y="1208485"/>
                </a:cubicBezTo>
                <a:cubicBezTo>
                  <a:pt x="5129996" y="1204071"/>
                  <a:pt x="5125582" y="1204071"/>
                  <a:pt x="5121166" y="1199658"/>
                </a:cubicBezTo>
                <a:cubicBezTo>
                  <a:pt x="5125582" y="1199658"/>
                  <a:pt x="5129996" y="1199658"/>
                  <a:pt x="5134406" y="1199658"/>
                </a:cubicBezTo>
                <a:cubicBezTo>
                  <a:pt x="5134406" y="1199658"/>
                  <a:pt x="5134406" y="1199658"/>
                  <a:pt x="5134407" y="1204071"/>
                </a:cubicBezTo>
                <a:cubicBezTo>
                  <a:pt x="5138821" y="1204071"/>
                  <a:pt x="5138821" y="1204071"/>
                  <a:pt x="5138821" y="1204071"/>
                </a:cubicBezTo>
                <a:cubicBezTo>
                  <a:pt x="5138821" y="1204071"/>
                  <a:pt x="5138821" y="1204071"/>
                  <a:pt x="5143235" y="1204071"/>
                </a:cubicBezTo>
                <a:cubicBezTo>
                  <a:pt x="5143235" y="1204071"/>
                  <a:pt x="5143235" y="1199658"/>
                  <a:pt x="5143235" y="1199658"/>
                </a:cubicBezTo>
                <a:cubicBezTo>
                  <a:pt x="5152060" y="1204072"/>
                  <a:pt x="5160887" y="1204071"/>
                  <a:pt x="5165300" y="1204071"/>
                </a:cubicBezTo>
                <a:cubicBezTo>
                  <a:pt x="5169714" y="1204071"/>
                  <a:pt x="5169714" y="1204071"/>
                  <a:pt x="5174127" y="1204071"/>
                </a:cubicBezTo>
                <a:cubicBezTo>
                  <a:pt x="5178539" y="1204071"/>
                  <a:pt x="5182956" y="1204072"/>
                  <a:pt x="5187368" y="1204071"/>
                </a:cubicBezTo>
                <a:lnTo>
                  <a:pt x="5191780" y="1204071"/>
                </a:lnTo>
                <a:cubicBezTo>
                  <a:pt x="5191780" y="1208486"/>
                  <a:pt x="5191780" y="1208486"/>
                  <a:pt x="5196195" y="1208485"/>
                </a:cubicBezTo>
                <a:cubicBezTo>
                  <a:pt x="5200607" y="1208485"/>
                  <a:pt x="5200607" y="1208485"/>
                  <a:pt x="5205019" y="1208485"/>
                </a:cubicBezTo>
                <a:cubicBezTo>
                  <a:pt x="5205019" y="1208485"/>
                  <a:pt x="5209434" y="1204071"/>
                  <a:pt x="5209434" y="1204071"/>
                </a:cubicBezTo>
                <a:cubicBezTo>
                  <a:pt x="5244741" y="1199658"/>
                  <a:pt x="5280046" y="1199658"/>
                  <a:pt x="5315354" y="1204071"/>
                </a:cubicBezTo>
                <a:cubicBezTo>
                  <a:pt x="5333006" y="1208485"/>
                  <a:pt x="5346247" y="1208485"/>
                  <a:pt x="5363899" y="1212897"/>
                </a:cubicBezTo>
                <a:cubicBezTo>
                  <a:pt x="5363899" y="1212897"/>
                  <a:pt x="5363899" y="1208485"/>
                  <a:pt x="5359489" y="1208485"/>
                </a:cubicBezTo>
                <a:cubicBezTo>
                  <a:pt x="5390381" y="1212897"/>
                  <a:pt x="5416862" y="1212897"/>
                  <a:pt x="5447752" y="1217312"/>
                </a:cubicBezTo>
                <a:cubicBezTo>
                  <a:pt x="5452166" y="1217312"/>
                  <a:pt x="5452166" y="1217312"/>
                  <a:pt x="5452166" y="1212897"/>
                </a:cubicBezTo>
                <a:cubicBezTo>
                  <a:pt x="5460991" y="1212897"/>
                  <a:pt x="5465405" y="1217312"/>
                  <a:pt x="5474234" y="1217312"/>
                </a:cubicBezTo>
                <a:cubicBezTo>
                  <a:pt x="5469821" y="1217312"/>
                  <a:pt x="5474234" y="1221725"/>
                  <a:pt x="5478645" y="1221725"/>
                </a:cubicBezTo>
                <a:cubicBezTo>
                  <a:pt x="5478644" y="1217312"/>
                  <a:pt x="5483059" y="1217312"/>
                  <a:pt x="5487473" y="1217312"/>
                </a:cubicBezTo>
                <a:cubicBezTo>
                  <a:pt x="5496298" y="1217312"/>
                  <a:pt x="5505127" y="1221726"/>
                  <a:pt x="5513952" y="1221725"/>
                </a:cubicBezTo>
                <a:cubicBezTo>
                  <a:pt x="5513952" y="1221725"/>
                  <a:pt x="5518366" y="1221726"/>
                  <a:pt x="5518366" y="1221726"/>
                </a:cubicBezTo>
                <a:cubicBezTo>
                  <a:pt x="5522778" y="1221725"/>
                  <a:pt x="5527193" y="1226137"/>
                  <a:pt x="5531607" y="1226137"/>
                </a:cubicBezTo>
                <a:cubicBezTo>
                  <a:pt x="5536018" y="1226137"/>
                  <a:pt x="5536018" y="1226137"/>
                  <a:pt x="5536018" y="1226137"/>
                </a:cubicBezTo>
                <a:cubicBezTo>
                  <a:pt x="5536018" y="1226137"/>
                  <a:pt x="5540432" y="1226137"/>
                  <a:pt x="5540432" y="1226137"/>
                </a:cubicBezTo>
                <a:cubicBezTo>
                  <a:pt x="5566913" y="1230551"/>
                  <a:pt x="5593392" y="1239379"/>
                  <a:pt x="5615460" y="1243791"/>
                </a:cubicBezTo>
                <a:cubicBezTo>
                  <a:pt x="5615460" y="1243791"/>
                  <a:pt x="5624284" y="1239379"/>
                  <a:pt x="5628699" y="1243791"/>
                </a:cubicBezTo>
                <a:cubicBezTo>
                  <a:pt x="5628699" y="1243791"/>
                  <a:pt x="5633113" y="1243790"/>
                  <a:pt x="5633113" y="1243790"/>
                </a:cubicBezTo>
                <a:cubicBezTo>
                  <a:pt x="5628699" y="1243791"/>
                  <a:pt x="5641938" y="1243791"/>
                  <a:pt x="5650765" y="1243790"/>
                </a:cubicBezTo>
                <a:cubicBezTo>
                  <a:pt x="5668417" y="1248204"/>
                  <a:pt x="5686072" y="1257031"/>
                  <a:pt x="5699311" y="1261445"/>
                </a:cubicBezTo>
                <a:cubicBezTo>
                  <a:pt x="5774339" y="1283512"/>
                  <a:pt x="5831713" y="1301165"/>
                  <a:pt x="5884670" y="1318819"/>
                </a:cubicBezTo>
                <a:cubicBezTo>
                  <a:pt x="5889085" y="1318819"/>
                  <a:pt x="5889085" y="1318819"/>
                  <a:pt x="5889085" y="1318819"/>
                </a:cubicBezTo>
                <a:cubicBezTo>
                  <a:pt x="5893498" y="1323231"/>
                  <a:pt x="5893498" y="1323231"/>
                  <a:pt x="5893498" y="1323231"/>
                </a:cubicBezTo>
                <a:cubicBezTo>
                  <a:pt x="5913358" y="1334265"/>
                  <a:pt x="5932113" y="1345298"/>
                  <a:pt x="5951973" y="1356331"/>
                </a:cubicBezTo>
                <a:lnTo>
                  <a:pt x="6010071" y="1385873"/>
                </a:lnTo>
                <a:lnTo>
                  <a:pt x="6008796" y="1385363"/>
                </a:lnTo>
                <a:cubicBezTo>
                  <a:pt x="6003279" y="1383363"/>
                  <a:pt x="5998314" y="1381708"/>
                  <a:pt x="5995002" y="1380605"/>
                </a:cubicBezTo>
                <a:cubicBezTo>
                  <a:pt x="5990591" y="1380605"/>
                  <a:pt x="5986176" y="1376192"/>
                  <a:pt x="5986176" y="1376192"/>
                </a:cubicBezTo>
                <a:cubicBezTo>
                  <a:pt x="5968523" y="1367365"/>
                  <a:pt x="5959698" y="1358538"/>
                  <a:pt x="5955283" y="1362951"/>
                </a:cubicBezTo>
                <a:cubicBezTo>
                  <a:pt x="5950870" y="1354125"/>
                  <a:pt x="5924391" y="1345298"/>
                  <a:pt x="5902324" y="1340885"/>
                </a:cubicBezTo>
                <a:cubicBezTo>
                  <a:pt x="5897909" y="1340885"/>
                  <a:pt x="5893496" y="1340885"/>
                  <a:pt x="5893498" y="1336472"/>
                </a:cubicBezTo>
                <a:cubicBezTo>
                  <a:pt x="5893498" y="1336472"/>
                  <a:pt x="5889084" y="1332058"/>
                  <a:pt x="5884670" y="1332058"/>
                </a:cubicBezTo>
                <a:cubicBezTo>
                  <a:pt x="5880257" y="1332058"/>
                  <a:pt x="5875844" y="1332058"/>
                  <a:pt x="5880257" y="1336472"/>
                </a:cubicBezTo>
                <a:cubicBezTo>
                  <a:pt x="5880257" y="1340884"/>
                  <a:pt x="5889085" y="1345298"/>
                  <a:pt x="5897909" y="1349712"/>
                </a:cubicBezTo>
                <a:cubicBezTo>
                  <a:pt x="5902324" y="1349712"/>
                  <a:pt x="5902324" y="1349712"/>
                  <a:pt x="5902324" y="1349712"/>
                </a:cubicBezTo>
                <a:cubicBezTo>
                  <a:pt x="5937631" y="1367365"/>
                  <a:pt x="5950870" y="1376192"/>
                  <a:pt x="5981762" y="1385019"/>
                </a:cubicBezTo>
                <a:cubicBezTo>
                  <a:pt x="5981762" y="1385019"/>
                  <a:pt x="5986176" y="1385019"/>
                  <a:pt x="5986176" y="1385019"/>
                </a:cubicBezTo>
                <a:cubicBezTo>
                  <a:pt x="5990591" y="1389430"/>
                  <a:pt x="6003831" y="1398259"/>
                  <a:pt x="6008241" y="1402671"/>
                </a:cubicBezTo>
                <a:cubicBezTo>
                  <a:pt x="6017071" y="1398258"/>
                  <a:pt x="6017071" y="1407085"/>
                  <a:pt x="6034725" y="1415913"/>
                </a:cubicBezTo>
                <a:cubicBezTo>
                  <a:pt x="6050170" y="1422531"/>
                  <a:pt x="6068928" y="1430255"/>
                  <a:pt x="6087683" y="1439633"/>
                </a:cubicBezTo>
                <a:lnTo>
                  <a:pt x="6132066" y="1467836"/>
                </a:lnTo>
                <a:lnTo>
                  <a:pt x="6127403" y="1468871"/>
                </a:lnTo>
                <a:cubicBezTo>
                  <a:pt x="6198016" y="1504179"/>
                  <a:pt x="6259801" y="1543898"/>
                  <a:pt x="6330415" y="1592446"/>
                </a:cubicBezTo>
                <a:cubicBezTo>
                  <a:pt x="6330415" y="1592446"/>
                  <a:pt x="6330415" y="1596858"/>
                  <a:pt x="6330415" y="1596858"/>
                </a:cubicBezTo>
                <a:cubicBezTo>
                  <a:pt x="6334829" y="1596859"/>
                  <a:pt x="6334829" y="1596859"/>
                  <a:pt x="6334829" y="1596859"/>
                </a:cubicBezTo>
                <a:cubicBezTo>
                  <a:pt x="6334829" y="1596859"/>
                  <a:pt x="6334829" y="1596859"/>
                  <a:pt x="6339242" y="1596859"/>
                </a:cubicBezTo>
                <a:cubicBezTo>
                  <a:pt x="6343655" y="1601272"/>
                  <a:pt x="6348069" y="1610098"/>
                  <a:pt x="6352483" y="1614513"/>
                </a:cubicBezTo>
                <a:cubicBezTo>
                  <a:pt x="6365723" y="1605686"/>
                  <a:pt x="6392202" y="1636580"/>
                  <a:pt x="6414267" y="1649819"/>
                </a:cubicBezTo>
                <a:cubicBezTo>
                  <a:pt x="6409855" y="1654232"/>
                  <a:pt x="6401029" y="1645405"/>
                  <a:pt x="6401029" y="1649818"/>
                </a:cubicBezTo>
                <a:cubicBezTo>
                  <a:pt x="6423096" y="1671886"/>
                  <a:pt x="6405441" y="1640991"/>
                  <a:pt x="6431922" y="1663059"/>
                </a:cubicBezTo>
                <a:cubicBezTo>
                  <a:pt x="6431922" y="1667472"/>
                  <a:pt x="6427507" y="1663059"/>
                  <a:pt x="6427507" y="1667472"/>
                </a:cubicBezTo>
                <a:cubicBezTo>
                  <a:pt x="6458402" y="1685126"/>
                  <a:pt x="6480469" y="1711605"/>
                  <a:pt x="6502532" y="1720433"/>
                </a:cubicBezTo>
                <a:cubicBezTo>
                  <a:pt x="6502532" y="1720433"/>
                  <a:pt x="6493708" y="1716020"/>
                  <a:pt x="6502532" y="1724846"/>
                </a:cubicBezTo>
                <a:cubicBezTo>
                  <a:pt x="6524602" y="1729259"/>
                  <a:pt x="6537839" y="1755738"/>
                  <a:pt x="6555490" y="1773392"/>
                </a:cubicBezTo>
                <a:cubicBezTo>
                  <a:pt x="6581975" y="1786632"/>
                  <a:pt x="6604038" y="1808699"/>
                  <a:pt x="6621689" y="1830765"/>
                </a:cubicBezTo>
                <a:cubicBezTo>
                  <a:pt x="6630516" y="1841799"/>
                  <a:pt x="6639347" y="1852832"/>
                  <a:pt x="6649828" y="1864417"/>
                </a:cubicBezTo>
                <a:lnTo>
                  <a:pt x="6683345" y="1896966"/>
                </a:lnTo>
                <a:lnTo>
                  <a:pt x="6679066" y="1896966"/>
                </a:lnTo>
                <a:cubicBezTo>
                  <a:pt x="6679065" y="1901380"/>
                  <a:pt x="6679065" y="1901380"/>
                  <a:pt x="6683479" y="1901380"/>
                </a:cubicBezTo>
                <a:cubicBezTo>
                  <a:pt x="6692305" y="1905793"/>
                  <a:pt x="6692305" y="1905793"/>
                  <a:pt x="6692305" y="1905793"/>
                </a:cubicBezTo>
                <a:cubicBezTo>
                  <a:pt x="6687890" y="1905793"/>
                  <a:pt x="6687890" y="1905793"/>
                  <a:pt x="6687890" y="1905793"/>
                </a:cubicBezTo>
                <a:cubicBezTo>
                  <a:pt x="6692305" y="1914619"/>
                  <a:pt x="6701129" y="1923447"/>
                  <a:pt x="6714370" y="1932272"/>
                </a:cubicBezTo>
                <a:cubicBezTo>
                  <a:pt x="6714370" y="1932272"/>
                  <a:pt x="6718784" y="1932272"/>
                  <a:pt x="6718784" y="1932272"/>
                </a:cubicBezTo>
                <a:cubicBezTo>
                  <a:pt x="6723198" y="1932271"/>
                  <a:pt x="6723198" y="1936686"/>
                  <a:pt x="6727610" y="1936686"/>
                </a:cubicBezTo>
                <a:cubicBezTo>
                  <a:pt x="6723198" y="1936686"/>
                  <a:pt x="6718784" y="1932272"/>
                  <a:pt x="6718784" y="1936686"/>
                </a:cubicBezTo>
                <a:cubicBezTo>
                  <a:pt x="6723198" y="1941100"/>
                  <a:pt x="6727610" y="1945513"/>
                  <a:pt x="6732024" y="1949926"/>
                </a:cubicBezTo>
                <a:cubicBezTo>
                  <a:pt x="6727608" y="1949926"/>
                  <a:pt x="6727608" y="1949926"/>
                  <a:pt x="6727608" y="1949926"/>
                </a:cubicBezTo>
                <a:cubicBezTo>
                  <a:pt x="6727608" y="1949926"/>
                  <a:pt x="6727608" y="1949926"/>
                  <a:pt x="6723198" y="1949926"/>
                </a:cubicBezTo>
                <a:cubicBezTo>
                  <a:pt x="6723198" y="1949926"/>
                  <a:pt x="6723198" y="1949926"/>
                  <a:pt x="6723198" y="1954339"/>
                </a:cubicBezTo>
                <a:cubicBezTo>
                  <a:pt x="6727610" y="1954339"/>
                  <a:pt x="6732024" y="1954339"/>
                  <a:pt x="6732024" y="1954339"/>
                </a:cubicBezTo>
                <a:cubicBezTo>
                  <a:pt x="6732024" y="1954339"/>
                  <a:pt x="6732024" y="1954339"/>
                  <a:pt x="6736436" y="1954338"/>
                </a:cubicBezTo>
                <a:cubicBezTo>
                  <a:pt x="6736436" y="1954338"/>
                  <a:pt x="6740851" y="1958753"/>
                  <a:pt x="6740851" y="1958753"/>
                </a:cubicBezTo>
                <a:cubicBezTo>
                  <a:pt x="6740851" y="1958753"/>
                  <a:pt x="6740851" y="1963166"/>
                  <a:pt x="6740851" y="1963166"/>
                </a:cubicBezTo>
                <a:cubicBezTo>
                  <a:pt x="6740851" y="1963166"/>
                  <a:pt x="6740851" y="1967580"/>
                  <a:pt x="6740851" y="1967580"/>
                </a:cubicBezTo>
                <a:cubicBezTo>
                  <a:pt x="6745263" y="1967580"/>
                  <a:pt x="6745263" y="1967580"/>
                  <a:pt x="6745263" y="1967580"/>
                </a:cubicBezTo>
                <a:cubicBezTo>
                  <a:pt x="6749678" y="1967580"/>
                  <a:pt x="6749678" y="1967580"/>
                  <a:pt x="6749678" y="1967580"/>
                </a:cubicBezTo>
                <a:cubicBezTo>
                  <a:pt x="6754092" y="1971993"/>
                  <a:pt x="6758501" y="1976406"/>
                  <a:pt x="6758503" y="1980820"/>
                </a:cubicBezTo>
                <a:cubicBezTo>
                  <a:pt x="6758503" y="1980820"/>
                  <a:pt x="6758503" y="1980820"/>
                  <a:pt x="6754092" y="1980819"/>
                </a:cubicBezTo>
                <a:cubicBezTo>
                  <a:pt x="6754092" y="1980819"/>
                  <a:pt x="6758503" y="1985233"/>
                  <a:pt x="6758503" y="1985233"/>
                </a:cubicBezTo>
                <a:cubicBezTo>
                  <a:pt x="6762917" y="1989647"/>
                  <a:pt x="6762917" y="1989647"/>
                  <a:pt x="6762917" y="1989647"/>
                </a:cubicBezTo>
                <a:cubicBezTo>
                  <a:pt x="6762917" y="1989647"/>
                  <a:pt x="6767331" y="1994059"/>
                  <a:pt x="6771744" y="1994059"/>
                </a:cubicBezTo>
                <a:cubicBezTo>
                  <a:pt x="6767331" y="1994059"/>
                  <a:pt x="6767331" y="1994059"/>
                  <a:pt x="6767331" y="1994059"/>
                </a:cubicBezTo>
                <a:cubicBezTo>
                  <a:pt x="6767331" y="1998473"/>
                  <a:pt x="6771744" y="2002887"/>
                  <a:pt x="6776157" y="2011713"/>
                </a:cubicBezTo>
                <a:cubicBezTo>
                  <a:pt x="6767331" y="2007300"/>
                  <a:pt x="6776156" y="2016126"/>
                  <a:pt x="6767331" y="2011713"/>
                </a:cubicBezTo>
                <a:cubicBezTo>
                  <a:pt x="6780571" y="2029366"/>
                  <a:pt x="6780571" y="2029366"/>
                  <a:pt x="6780571" y="2029366"/>
                </a:cubicBezTo>
                <a:cubicBezTo>
                  <a:pt x="6780571" y="2029366"/>
                  <a:pt x="6776157" y="2029366"/>
                  <a:pt x="6776157" y="2029366"/>
                </a:cubicBezTo>
                <a:cubicBezTo>
                  <a:pt x="6771744" y="2024953"/>
                  <a:pt x="6771744" y="2024953"/>
                  <a:pt x="6771744" y="2024953"/>
                </a:cubicBezTo>
                <a:cubicBezTo>
                  <a:pt x="6771744" y="2024953"/>
                  <a:pt x="6771743" y="2020540"/>
                  <a:pt x="6767331" y="2024953"/>
                </a:cubicBezTo>
                <a:cubicBezTo>
                  <a:pt x="6767331" y="2024953"/>
                  <a:pt x="6767331" y="2024953"/>
                  <a:pt x="6771744" y="2029366"/>
                </a:cubicBezTo>
                <a:cubicBezTo>
                  <a:pt x="6776157" y="2033780"/>
                  <a:pt x="6776157" y="2033780"/>
                  <a:pt x="6776157" y="2033780"/>
                </a:cubicBezTo>
                <a:cubicBezTo>
                  <a:pt x="6780571" y="2033780"/>
                  <a:pt x="6780571" y="2038193"/>
                  <a:pt x="6784983" y="2038193"/>
                </a:cubicBezTo>
                <a:cubicBezTo>
                  <a:pt x="6784983" y="2038193"/>
                  <a:pt x="6789396" y="2033780"/>
                  <a:pt x="6784983" y="2029366"/>
                </a:cubicBezTo>
                <a:cubicBezTo>
                  <a:pt x="6789396" y="2033780"/>
                  <a:pt x="6789396" y="2033780"/>
                  <a:pt x="6789396" y="2033780"/>
                </a:cubicBezTo>
                <a:cubicBezTo>
                  <a:pt x="6807051" y="2047020"/>
                  <a:pt x="6802634" y="2051433"/>
                  <a:pt x="6815876" y="2055847"/>
                </a:cubicBezTo>
                <a:cubicBezTo>
                  <a:pt x="6807051" y="2047020"/>
                  <a:pt x="6811465" y="2042606"/>
                  <a:pt x="6811465" y="2038193"/>
                </a:cubicBezTo>
                <a:cubicBezTo>
                  <a:pt x="6815876" y="2042606"/>
                  <a:pt x="6820290" y="2051433"/>
                  <a:pt x="6824703" y="2055847"/>
                </a:cubicBezTo>
                <a:lnTo>
                  <a:pt x="6830026" y="2061170"/>
                </a:lnTo>
                <a:lnTo>
                  <a:pt x="6832873" y="2056131"/>
                </a:lnTo>
                <a:lnTo>
                  <a:pt x="6829114" y="2051433"/>
                </a:lnTo>
                <a:cubicBezTo>
                  <a:pt x="6824703" y="2047019"/>
                  <a:pt x="6815876" y="2038193"/>
                  <a:pt x="6811465" y="2029366"/>
                </a:cubicBezTo>
                <a:cubicBezTo>
                  <a:pt x="6798224" y="2016126"/>
                  <a:pt x="6793810" y="2002887"/>
                  <a:pt x="6776157" y="1989647"/>
                </a:cubicBezTo>
                <a:cubicBezTo>
                  <a:pt x="6771744" y="1985233"/>
                  <a:pt x="6767331" y="1976406"/>
                  <a:pt x="6767331" y="1976406"/>
                </a:cubicBezTo>
                <a:cubicBezTo>
                  <a:pt x="6762917" y="1971993"/>
                  <a:pt x="6762917" y="1967580"/>
                  <a:pt x="6758503" y="1967580"/>
                </a:cubicBezTo>
                <a:cubicBezTo>
                  <a:pt x="6758503" y="1963166"/>
                  <a:pt x="6758503" y="1963166"/>
                  <a:pt x="6754092" y="1958754"/>
                </a:cubicBezTo>
                <a:cubicBezTo>
                  <a:pt x="6749678" y="1958754"/>
                  <a:pt x="6745263" y="1949926"/>
                  <a:pt x="6740851" y="1945513"/>
                </a:cubicBezTo>
                <a:cubicBezTo>
                  <a:pt x="6745263" y="1945513"/>
                  <a:pt x="6732024" y="1932272"/>
                  <a:pt x="6732024" y="1932272"/>
                </a:cubicBezTo>
                <a:cubicBezTo>
                  <a:pt x="6727610" y="1927860"/>
                  <a:pt x="6723198" y="1923447"/>
                  <a:pt x="6718784" y="1923447"/>
                </a:cubicBezTo>
                <a:cubicBezTo>
                  <a:pt x="6718784" y="1919033"/>
                  <a:pt x="6718784" y="1919033"/>
                  <a:pt x="6718784" y="1919033"/>
                </a:cubicBezTo>
                <a:cubicBezTo>
                  <a:pt x="6687890" y="1874899"/>
                  <a:pt x="6639347" y="1821939"/>
                  <a:pt x="6604038" y="1786632"/>
                </a:cubicBezTo>
                <a:cubicBezTo>
                  <a:pt x="6604038" y="1782220"/>
                  <a:pt x="6604038" y="1782220"/>
                  <a:pt x="6604038" y="1782220"/>
                </a:cubicBezTo>
                <a:cubicBezTo>
                  <a:pt x="6604038" y="1782220"/>
                  <a:pt x="6604038" y="1782220"/>
                  <a:pt x="6604038" y="1777806"/>
                </a:cubicBezTo>
                <a:cubicBezTo>
                  <a:pt x="6608454" y="1782219"/>
                  <a:pt x="6608454" y="1782219"/>
                  <a:pt x="6612866" y="1786632"/>
                </a:cubicBezTo>
                <a:cubicBezTo>
                  <a:pt x="6612866" y="1786632"/>
                  <a:pt x="6617277" y="1791046"/>
                  <a:pt x="6621689" y="1795460"/>
                </a:cubicBezTo>
                <a:cubicBezTo>
                  <a:pt x="6626106" y="1799873"/>
                  <a:pt x="6626106" y="1799873"/>
                  <a:pt x="6630516" y="1804286"/>
                </a:cubicBezTo>
                <a:cubicBezTo>
                  <a:pt x="6630516" y="1804286"/>
                  <a:pt x="6630516" y="1804286"/>
                  <a:pt x="6634931" y="1804286"/>
                </a:cubicBezTo>
                <a:cubicBezTo>
                  <a:pt x="6639347" y="1813113"/>
                  <a:pt x="6648172" y="1817526"/>
                  <a:pt x="6656998" y="1826353"/>
                </a:cubicBezTo>
                <a:cubicBezTo>
                  <a:pt x="6656998" y="1826353"/>
                  <a:pt x="6661412" y="1830766"/>
                  <a:pt x="6661411" y="1826353"/>
                </a:cubicBezTo>
                <a:cubicBezTo>
                  <a:pt x="6665824" y="1826353"/>
                  <a:pt x="6661412" y="1821938"/>
                  <a:pt x="6661412" y="1821938"/>
                </a:cubicBezTo>
                <a:cubicBezTo>
                  <a:pt x="6656998" y="1817525"/>
                  <a:pt x="6656998" y="1817525"/>
                  <a:pt x="6656998" y="1817525"/>
                </a:cubicBezTo>
                <a:cubicBezTo>
                  <a:pt x="6656998" y="1817525"/>
                  <a:pt x="6656998" y="1813113"/>
                  <a:pt x="6652584" y="1813113"/>
                </a:cubicBezTo>
                <a:cubicBezTo>
                  <a:pt x="6648172" y="1808699"/>
                  <a:pt x="6648172" y="1808699"/>
                  <a:pt x="6648172" y="1808699"/>
                </a:cubicBezTo>
                <a:cubicBezTo>
                  <a:pt x="6643759" y="1808698"/>
                  <a:pt x="6643759" y="1804286"/>
                  <a:pt x="6639347" y="1799873"/>
                </a:cubicBezTo>
                <a:cubicBezTo>
                  <a:pt x="6643759" y="1804286"/>
                  <a:pt x="6648999" y="1809251"/>
                  <a:pt x="6653964" y="1814078"/>
                </a:cubicBezTo>
                <a:lnTo>
                  <a:pt x="6665783" y="1826272"/>
                </a:lnTo>
                <a:lnTo>
                  <a:pt x="6665824" y="1826353"/>
                </a:lnTo>
                <a:lnTo>
                  <a:pt x="6665872" y="1826366"/>
                </a:lnTo>
                <a:lnTo>
                  <a:pt x="6666928" y="1827456"/>
                </a:lnTo>
                <a:cubicBezTo>
                  <a:pt x="6673549" y="1835180"/>
                  <a:pt x="6674652" y="1839593"/>
                  <a:pt x="6661412" y="1835179"/>
                </a:cubicBezTo>
                <a:cubicBezTo>
                  <a:pt x="6687890" y="1852832"/>
                  <a:pt x="6692305" y="1861660"/>
                  <a:pt x="6709958" y="1879314"/>
                </a:cubicBezTo>
                <a:cubicBezTo>
                  <a:pt x="6709956" y="1874899"/>
                  <a:pt x="6709956" y="1874899"/>
                  <a:pt x="6709956" y="1874899"/>
                </a:cubicBezTo>
                <a:cubicBezTo>
                  <a:pt x="6723198" y="1888139"/>
                  <a:pt x="6723198" y="1888139"/>
                  <a:pt x="6723198" y="1888139"/>
                </a:cubicBezTo>
                <a:cubicBezTo>
                  <a:pt x="6723198" y="1892553"/>
                  <a:pt x="6723198" y="1892553"/>
                  <a:pt x="6723198" y="1892553"/>
                </a:cubicBezTo>
                <a:cubicBezTo>
                  <a:pt x="6727610" y="1892553"/>
                  <a:pt x="6727610" y="1892553"/>
                  <a:pt x="6727610" y="1892553"/>
                </a:cubicBezTo>
                <a:cubicBezTo>
                  <a:pt x="6727610" y="1896965"/>
                  <a:pt x="6727610" y="1896965"/>
                  <a:pt x="6727610" y="1896965"/>
                </a:cubicBezTo>
                <a:cubicBezTo>
                  <a:pt x="6732024" y="1901378"/>
                  <a:pt x="6736436" y="1901380"/>
                  <a:pt x="6736436" y="1905792"/>
                </a:cubicBezTo>
                <a:cubicBezTo>
                  <a:pt x="6740851" y="1905793"/>
                  <a:pt x="6740851" y="1910206"/>
                  <a:pt x="6745263" y="1910205"/>
                </a:cubicBezTo>
                <a:cubicBezTo>
                  <a:pt x="6745263" y="1914619"/>
                  <a:pt x="6749678" y="1914619"/>
                  <a:pt x="6749678" y="1914619"/>
                </a:cubicBezTo>
                <a:cubicBezTo>
                  <a:pt x="6754092" y="1919033"/>
                  <a:pt x="6758503" y="1923447"/>
                  <a:pt x="6762917" y="1927860"/>
                </a:cubicBezTo>
                <a:cubicBezTo>
                  <a:pt x="6767331" y="1927859"/>
                  <a:pt x="6767331" y="1927859"/>
                  <a:pt x="6767331" y="1927859"/>
                </a:cubicBezTo>
                <a:cubicBezTo>
                  <a:pt x="6767331" y="1927859"/>
                  <a:pt x="6767329" y="1932272"/>
                  <a:pt x="6771744" y="1932272"/>
                </a:cubicBezTo>
                <a:cubicBezTo>
                  <a:pt x="6780571" y="1945513"/>
                  <a:pt x="6793810" y="1958754"/>
                  <a:pt x="6807051" y="1971993"/>
                </a:cubicBezTo>
                <a:cubicBezTo>
                  <a:pt x="6802634" y="1971993"/>
                  <a:pt x="6802634" y="1971993"/>
                  <a:pt x="6802634" y="1976406"/>
                </a:cubicBezTo>
                <a:cubicBezTo>
                  <a:pt x="6798220" y="1971993"/>
                  <a:pt x="6798220" y="1971993"/>
                  <a:pt x="6798220" y="1971993"/>
                </a:cubicBezTo>
                <a:cubicBezTo>
                  <a:pt x="6798224" y="1967580"/>
                  <a:pt x="6793810" y="1967580"/>
                  <a:pt x="6793810" y="1967580"/>
                </a:cubicBezTo>
                <a:cubicBezTo>
                  <a:pt x="6793810" y="1967580"/>
                  <a:pt x="6793810" y="1971993"/>
                  <a:pt x="6793810" y="1971993"/>
                </a:cubicBezTo>
                <a:cubicBezTo>
                  <a:pt x="6798224" y="1976406"/>
                  <a:pt x="6798224" y="1976406"/>
                  <a:pt x="6798224" y="1976406"/>
                </a:cubicBezTo>
                <a:cubicBezTo>
                  <a:pt x="6798224" y="1976406"/>
                  <a:pt x="6802634" y="1980820"/>
                  <a:pt x="6802634" y="1980820"/>
                </a:cubicBezTo>
                <a:cubicBezTo>
                  <a:pt x="6807051" y="1980820"/>
                  <a:pt x="6807051" y="1980820"/>
                  <a:pt x="6807051" y="1980820"/>
                </a:cubicBezTo>
                <a:cubicBezTo>
                  <a:pt x="6807051" y="1980820"/>
                  <a:pt x="6807051" y="1980820"/>
                  <a:pt x="6811465" y="1980820"/>
                </a:cubicBezTo>
                <a:cubicBezTo>
                  <a:pt x="6820290" y="1994059"/>
                  <a:pt x="6833529" y="2007300"/>
                  <a:pt x="6842356" y="2020539"/>
                </a:cubicBezTo>
                <a:cubicBezTo>
                  <a:pt x="6842356" y="2020539"/>
                  <a:pt x="6842356" y="2020539"/>
                  <a:pt x="6846767" y="2020540"/>
                </a:cubicBezTo>
                <a:lnTo>
                  <a:pt x="6850210" y="2025459"/>
                </a:lnTo>
                <a:lnTo>
                  <a:pt x="6856480" y="2014366"/>
                </a:lnTo>
                <a:lnTo>
                  <a:pt x="6851182" y="2007300"/>
                </a:lnTo>
                <a:cubicBezTo>
                  <a:pt x="6846767" y="2002887"/>
                  <a:pt x="6837943" y="1994058"/>
                  <a:pt x="6833529" y="1985233"/>
                </a:cubicBezTo>
                <a:cubicBezTo>
                  <a:pt x="6833529" y="1985233"/>
                  <a:pt x="6833529" y="1980820"/>
                  <a:pt x="6833529" y="1980820"/>
                </a:cubicBezTo>
                <a:cubicBezTo>
                  <a:pt x="6829114" y="1980820"/>
                  <a:pt x="6829114" y="1976406"/>
                  <a:pt x="6829114" y="1976406"/>
                </a:cubicBezTo>
                <a:cubicBezTo>
                  <a:pt x="6824703" y="1976406"/>
                  <a:pt x="6824703" y="1976406"/>
                  <a:pt x="6824703" y="1976406"/>
                </a:cubicBezTo>
                <a:cubicBezTo>
                  <a:pt x="6824703" y="1976406"/>
                  <a:pt x="6824703" y="1976406"/>
                  <a:pt x="6824703" y="1971993"/>
                </a:cubicBezTo>
                <a:cubicBezTo>
                  <a:pt x="6798224" y="1941100"/>
                  <a:pt x="6771744" y="1910206"/>
                  <a:pt x="6749678" y="1888139"/>
                </a:cubicBezTo>
                <a:cubicBezTo>
                  <a:pt x="6749678" y="1883726"/>
                  <a:pt x="6749678" y="1879314"/>
                  <a:pt x="6745263" y="1879314"/>
                </a:cubicBezTo>
                <a:cubicBezTo>
                  <a:pt x="6745263" y="1874899"/>
                  <a:pt x="6745263" y="1874899"/>
                  <a:pt x="6745263" y="1874899"/>
                </a:cubicBezTo>
                <a:cubicBezTo>
                  <a:pt x="6745263" y="1874899"/>
                  <a:pt x="6745263" y="1870486"/>
                  <a:pt x="6740851" y="1870485"/>
                </a:cubicBezTo>
                <a:cubicBezTo>
                  <a:pt x="6736436" y="1870486"/>
                  <a:pt x="6736436" y="1870486"/>
                  <a:pt x="6736436" y="1870486"/>
                </a:cubicBezTo>
                <a:cubicBezTo>
                  <a:pt x="6723198" y="1857246"/>
                  <a:pt x="6696717" y="1826352"/>
                  <a:pt x="6701129" y="1839592"/>
                </a:cubicBezTo>
                <a:cubicBezTo>
                  <a:pt x="6701129" y="1839592"/>
                  <a:pt x="6701129" y="1839592"/>
                  <a:pt x="6696717" y="1835180"/>
                </a:cubicBezTo>
                <a:cubicBezTo>
                  <a:pt x="6696717" y="1830766"/>
                  <a:pt x="6687890" y="1830765"/>
                  <a:pt x="6687890" y="1830765"/>
                </a:cubicBezTo>
                <a:lnTo>
                  <a:pt x="6687890" y="1839408"/>
                </a:lnTo>
                <a:lnTo>
                  <a:pt x="6679066" y="1830214"/>
                </a:lnTo>
                <a:lnTo>
                  <a:pt x="6665872" y="1826366"/>
                </a:lnTo>
                <a:lnTo>
                  <a:pt x="6665783" y="1826272"/>
                </a:lnTo>
                <a:lnTo>
                  <a:pt x="6657551" y="1810905"/>
                </a:lnTo>
                <a:cubicBezTo>
                  <a:pt x="6652584" y="1806493"/>
                  <a:pt x="6645964" y="1802079"/>
                  <a:pt x="6639347" y="1795459"/>
                </a:cubicBezTo>
                <a:cubicBezTo>
                  <a:pt x="6639347" y="1795459"/>
                  <a:pt x="6639347" y="1791046"/>
                  <a:pt x="6639347" y="1791046"/>
                </a:cubicBezTo>
                <a:cubicBezTo>
                  <a:pt x="6634931" y="1791044"/>
                  <a:pt x="6634931" y="1786632"/>
                  <a:pt x="6634931" y="1791044"/>
                </a:cubicBezTo>
                <a:cubicBezTo>
                  <a:pt x="6634931" y="1791044"/>
                  <a:pt x="6634931" y="1791044"/>
                  <a:pt x="6630516" y="1791046"/>
                </a:cubicBezTo>
                <a:cubicBezTo>
                  <a:pt x="6626106" y="1786632"/>
                  <a:pt x="6626106" y="1782220"/>
                  <a:pt x="6626106" y="1777806"/>
                </a:cubicBezTo>
                <a:cubicBezTo>
                  <a:pt x="6630516" y="1782220"/>
                  <a:pt x="6630516" y="1782220"/>
                  <a:pt x="6630516" y="1782220"/>
                </a:cubicBezTo>
                <a:cubicBezTo>
                  <a:pt x="6634931" y="1786632"/>
                  <a:pt x="6639347" y="1786632"/>
                  <a:pt x="6639347" y="1786632"/>
                </a:cubicBezTo>
                <a:cubicBezTo>
                  <a:pt x="6639347" y="1782219"/>
                  <a:pt x="6639346" y="1777806"/>
                  <a:pt x="6634931" y="1777805"/>
                </a:cubicBezTo>
                <a:cubicBezTo>
                  <a:pt x="6634931" y="1773392"/>
                  <a:pt x="6634931" y="1773392"/>
                  <a:pt x="6634931" y="1773392"/>
                </a:cubicBezTo>
                <a:cubicBezTo>
                  <a:pt x="6639347" y="1773392"/>
                  <a:pt x="6652584" y="1795460"/>
                  <a:pt x="6656998" y="1791046"/>
                </a:cubicBezTo>
                <a:cubicBezTo>
                  <a:pt x="6612866" y="1751326"/>
                  <a:pt x="6564318" y="1698366"/>
                  <a:pt x="6515773" y="1654232"/>
                </a:cubicBezTo>
                <a:cubicBezTo>
                  <a:pt x="6511361" y="1649819"/>
                  <a:pt x="6502532" y="1645405"/>
                  <a:pt x="6498119" y="1640992"/>
                </a:cubicBezTo>
                <a:cubicBezTo>
                  <a:pt x="6493708" y="1640992"/>
                  <a:pt x="6498119" y="1640992"/>
                  <a:pt x="6493708" y="1636580"/>
                </a:cubicBezTo>
                <a:cubicBezTo>
                  <a:pt x="6453988" y="1601272"/>
                  <a:pt x="6401029" y="1561552"/>
                  <a:pt x="6343655" y="1526246"/>
                </a:cubicBezTo>
                <a:cubicBezTo>
                  <a:pt x="6339239" y="1521832"/>
                  <a:pt x="6339242" y="1517419"/>
                  <a:pt x="6334829" y="1517419"/>
                </a:cubicBezTo>
                <a:cubicBezTo>
                  <a:pt x="6339242" y="1517419"/>
                  <a:pt x="6343654" y="1517418"/>
                  <a:pt x="6348068" y="1526246"/>
                </a:cubicBezTo>
                <a:cubicBezTo>
                  <a:pt x="6348069" y="1521832"/>
                  <a:pt x="6352482" y="1521832"/>
                  <a:pt x="6356895" y="1526246"/>
                </a:cubicBezTo>
                <a:cubicBezTo>
                  <a:pt x="6352483" y="1530658"/>
                  <a:pt x="6370136" y="1535072"/>
                  <a:pt x="6374548" y="1535072"/>
                </a:cubicBezTo>
                <a:cubicBezTo>
                  <a:pt x="6374548" y="1535072"/>
                  <a:pt x="6374548" y="1539486"/>
                  <a:pt x="6378962" y="1539486"/>
                </a:cubicBezTo>
                <a:cubicBezTo>
                  <a:pt x="6378962" y="1539486"/>
                  <a:pt x="6383376" y="1539486"/>
                  <a:pt x="6383376" y="1539486"/>
                </a:cubicBezTo>
                <a:cubicBezTo>
                  <a:pt x="6396615" y="1543899"/>
                  <a:pt x="6427507" y="1561552"/>
                  <a:pt x="6423095" y="1557139"/>
                </a:cubicBezTo>
                <a:cubicBezTo>
                  <a:pt x="6418682" y="1557139"/>
                  <a:pt x="6418682" y="1552725"/>
                  <a:pt x="6414267" y="1552725"/>
                </a:cubicBezTo>
                <a:cubicBezTo>
                  <a:pt x="6418682" y="1552725"/>
                  <a:pt x="6423096" y="1552725"/>
                  <a:pt x="6423096" y="1552725"/>
                </a:cubicBezTo>
                <a:cubicBezTo>
                  <a:pt x="6423096" y="1552725"/>
                  <a:pt x="6423096" y="1548312"/>
                  <a:pt x="6418682" y="1543899"/>
                </a:cubicBezTo>
                <a:cubicBezTo>
                  <a:pt x="6418682" y="1543899"/>
                  <a:pt x="6418682" y="1543899"/>
                  <a:pt x="6423096" y="1543898"/>
                </a:cubicBezTo>
                <a:cubicBezTo>
                  <a:pt x="6423096" y="1543898"/>
                  <a:pt x="6423096" y="1548312"/>
                  <a:pt x="6427507" y="1548312"/>
                </a:cubicBezTo>
                <a:cubicBezTo>
                  <a:pt x="6427507" y="1548312"/>
                  <a:pt x="6427507" y="1548312"/>
                  <a:pt x="6431921" y="1548310"/>
                </a:cubicBezTo>
                <a:cubicBezTo>
                  <a:pt x="6445161" y="1557139"/>
                  <a:pt x="6453988" y="1561552"/>
                  <a:pt x="6458401" y="1561552"/>
                </a:cubicBezTo>
                <a:cubicBezTo>
                  <a:pt x="6462814" y="1561552"/>
                  <a:pt x="6462814" y="1561552"/>
                  <a:pt x="6462814" y="1561552"/>
                </a:cubicBezTo>
                <a:cubicBezTo>
                  <a:pt x="6462814" y="1561552"/>
                  <a:pt x="6462814" y="1561552"/>
                  <a:pt x="6458402" y="1557138"/>
                </a:cubicBezTo>
                <a:cubicBezTo>
                  <a:pt x="6462814" y="1561552"/>
                  <a:pt x="6462814" y="1557139"/>
                  <a:pt x="6458402" y="1552725"/>
                </a:cubicBezTo>
                <a:cubicBezTo>
                  <a:pt x="6489293" y="1574792"/>
                  <a:pt x="6511362" y="1583619"/>
                  <a:pt x="6537839" y="1596859"/>
                </a:cubicBezTo>
                <a:cubicBezTo>
                  <a:pt x="6559906" y="1610098"/>
                  <a:pt x="6581975" y="1623339"/>
                  <a:pt x="6612866" y="1645405"/>
                </a:cubicBezTo>
                <a:cubicBezTo>
                  <a:pt x="6608452" y="1640992"/>
                  <a:pt x="6612866" y="1640992"/>
                  <a:pt x="6617277" y="1645405"/>
                </a:cubicBezTo>
                <a:cubicBezTo>
                  <a:pt x="6617277" y="1645405"/>
                  <a:pt x="6617277" y="1645405"/>
                  <a:pt x="6617277" y="1649819"/>
                </a:cubicBezTo>
                <a:cubicBezTo>
                  <a:pt x="6617277" y="1649819"/>
                  <a:pt x="6621689" y="1649819"/>
                  <a:pt x="6621689" y="1649819"/>
                </a:cubicBezTo>
                <a:cubicBezTo>
                  <a:pt x="6626106" y="1654232"/>
                  <a:pt x="6626106" y="1654232"/>
                  <a:pt x="6626106" y="1654232"/>
                </a:cubicBezTo>
                <a:cubicBezTo>
                  <a:pt x="6639346" y="1663059"/>
                  <a:pt x="6639346" y="1663059"/>
                  <a:pt x="6639346" y="1663059"/>
                </a:cubicBezTo>
                <a:cubicBezTo>
                  <a:pt x="6639347" y="1658646"/>
                  <a:pt x="6643759" y="1663059"/>
                  <a:pt x="6648172" y="1663058"/>
                </a:cubicBezTo>
                <a:cubicBezTo>
                  <a:pt x="6639347" y="1654232"/>
                  <a:pt x="6639347" y="1658646"/>
                  <a:pt x="6630516" y="1654232"/>
                </a:cubicBezTo>
                <a:cubicBezTo>
                  <a:pt x="6630516" y="1654232"/>
                  <a:pt x="6630516" y="1649818"/>
                  <a:pt x="6630516" y="1649818"/>
                </a:cubicBezTo>
                <a:cubicBezTo>
                  <a:pt x="6630516" y="1649818"/>
                  <a:pt x="6630516" y="1649818"/>
                  <a:pt x="6634931" y="1649819"/>
                </a:cubicBezTo>
                <a:cubicBezTo>
                  <a:pt x="6634931" y="1645405"/>
                  <a:pt x="6630516" y="1645405"/>
                  <a:pt x="6630516" y="1645405"/>
                </a:cubicBezTo>
                <a:cubicBezTo>
                  <a:pt x="6630516" y="1645405"/>
                  <a:pt x="6626106" y="1645405"/>
                  <a:pt x="6626106" y="1645405"/>
                </a:cubicBezTo>
                <a:cubicBezTo>
                  <a:pt x="6621689" y="1640992"/>
                  <a:pt x="6621689" y="1640992"/>
                  <a:pt x="6621689" y="1640992"/>
                </a:cubicBezTo>
                <a:cubicBezTo>
                  <a:pt x="6617277" y="1636580"/>
                  <a:pt x="6604038" y="1636580"/>
                  <a:pt x="6608454" y="1632165"/>
                </a:cubicBezTo>
                <a:cubicBezTo>
                  <a:pt x="6604038" y="1623339"/>
                  <a:pt x="6604038" y="1636580"/>
                  <a:pt x="6599624" y="1632165"/>
                </a:cubicBezTo>
                <a:cubicBezTo>
                  <a:pt x="6595215" y="1627752"/>
                  <a:pt x="6599624" y="1627752"/>
                  <a:pt x="6599624" y="1623339"/>
                </a:cubicBezTo>
                <a:cubicBezTo>
                  <a:pt x="6590799" y="1618926"/>
                  <a:pt x="6568731" y="1610098"/>
                  <a:pt x="6568731" y="1610098"/>
                </a:cubicBezTo>
                <a:cubicBezTo>
                  <a:pt x="6551080" y="1601271"/>
                  <a:pt x="6524602" y="1579205"/>
                  <a:pt x="6515773" y="1574792"/>
                </a:cubicBezTo>
                <a:cubicBezTo>
                  <a:pt x="6511362" y="1570379"/>
                  <a:pt x="6515773" y="1574792"/>
                  <a:pt x="6515773" y="1579205"/>
                </a:cubicBezTo>
                <a:cubicBezTo>
                  <a:pt x="6515773" y="1574792"/>
                  <a:pt x="6506947" y="1570379"/>
                  <a:pt x="6506947" y="1570379"/>
                </a:cubicBezTo>
                <a:cubicBezTo>
                  <a:pt x="6506947" y="1570379"/>
                  <a:pt x="6498119" y="1570379"/>
                  <a:pt x="6498119" y="1570379"/>
                </a:cubicBezTo>
                <a:cubicBezTo>
                  <a:pt x="6493708" y="1565965"/>
                  <a:pt x="6502532" y="1565964"/>
                  <a:pt x="6498119" y="1565965"/>
                </a:cubicBezTo>
                <a:cubicBezTo>
                  <a:pt x="6493708" y="1557139"/>
                  <a:pt x="6484877" y="1565965"/>
                  <a:pt x="6489293" y="1557139"/>
                </a:cubicBezTo>
                <a:cubicBezTo>
                  <a:pt x="6471640" y="1552725"/>
                  <a:pt x="6436335" y="1539485"/>
                  <a:pt x="6427507" y="1526246"/>
                </a:cubicBezTo>
                <a:cubicBezTo>
                  <a:pt x="6431922" y="1526246"/>
                  <a:pt x="6431921" y="1530658"/>
                  <a:pt x="6427507" y="1535072"/>
                </a:cubicBezTo>
                <a:cubicBezTo>
                  <a:pt x="6396616" y="1513005"/>
                  <a:pt x="6348069" y="1486524"/>
                  <a:pt x="6330415" y="1482112"/>
                </a:cubicBezTo>
                <a:cubicBezTo>
                  <a:pt x="6321590" y="1477698"/>
                  <a:pt x="6273042" y="1442392"/>
                  <a:pt x="6250975" y="1442392"/>
                </a:cubicBezTo>
                <a:cubicBezTo>
                  <a:pt x="6242148" y="1437979"/>
                  <a:pt x="6250975" y="1442392"/>
                  <a:pt x="6250977" y="1437977"/>
                </a:cubicBezTo>
                <a:cubicBezTo>
                  <a:pt x="6237737" y="1437977"/>
                  <a:pt x="6211254" y="1420325"/>
                  <a:pt x="6198016" y="1411498"/>
                </a:cubicBezTo>
                <a:cubicBezTo>
                  <a:pt x="6198016" y="1411498"/>
                  <a:pt x="6206844" y="1415912"/>
                  <a:pt x="6211253" y="1411498"/>
                </a:cubicBezTo>
                <a:cubicBezTo>
                  <a:pt x="6180364" y="1402671"/>
                  <a:pt x="6189189" y="1407085"/>
                  <a:pt x="6193603" y="1415913"/>
                </a:cubicBezTo>
                <a:cubicBezTo>
                  <a:pt x="6158297" y="1398259"/>
                  <a:pt x="6153884" y="1398259"/>
                  <a:pt x="6136229" y="1380605"/>
                </a:cubicBezTo>
                <a:cubicBezTo>
                  <a:pt x="6136229" y="1380605"/>
                  <a:pt x="6131816" y="1376192"/>
                  <a:pt x="6131816" y="1376192"/>
                </a:cubicBezTo>
                <a:cubicBezTo>
                  <a:pt x="6131816" y="1376192"/>
                  <a:pt x="6131816" y="1376192"/>
                  <a:pt x="6127403" y="1376192"/>
                </a:cubicBezTo>
                <a:cubicBezTo>
                  <a:pt x="6127403" y="1376192"/>
                  <a:pt x="6127403" y="1380604"/>
                  <a:pt x="6127403" y="1380604"/>
                </a:cubicBezTo>
                <a:cubicBezTo>
                  <a:pt x="6127403" y="1380604"/>
                  <a:pt x="6122989" y="1380605"/>
                  <a:pt x="6118577" y="1376192"/>
                </a:cubicBezTo>
                <a:cubicBezTo>
                  <a:pt x="6118577" y="1376192"/>
                  <a:pt x="6118577" y="1376192"/>
                  <a:pt x="6122990" y="1376191"/>
                </a:cubicBezTo>
                <a:cubicBezTo>
                  <a:pt x="6122990" y="1376191"/>
                  <a:pt x="6122990" y="1376191"/>
                  <a:pt x="6122990" y="1371777"/>
                </a:cubicBezTo>
                <a:cubicBezTo>
                  <a:pt x="6118577" y="1371777"/>
                  <a:pt x="6118577" y="1371777"/>
                  <a:pt x="6114162" y="1371777"/>
                </a:cubicBezTo>
                <a:cubicBezTo>
                  <a:pt x="6109748" y="1367364"/>
                  <a:pt x="6109748" y="1367364"/>
                  <a:pt x="6109748" y="1367364"/>
                </a:cubicBezTo>
                <a:cubicBezTo>
                  <a:pt x="6105338" y="1362952"/>
                  <a:pt x="6083269" y="1354125"/>
                  <a:pt x="6096509" y="1367364"/>
                </a:cubicBezTo>
                <a:cubicBezTo>
                  <a:pt x="6092098" y="1362952"/>
                  <a:pt x="6092098" y="1362952"/>
                  <a:pt x="6087683" y="1362951"/>
                </a:cubicBezTo>
                <a:cubicBezTo>
                  <a:pt x="6087683" y="1362951"/>
                  <a:pt x="6087683" y="1367365"/>
                  <a:pt x="6092098" y="1367364"/>
                </a:cubicBezTo>
                <a:cubicBezTo>
                  <a:pt x="6092098" y="1367364"/>
                  <a:pt x="6092098" y="1371777"/>
                  <a:pt x="6096508" y="1371777"/>
                </a:cubicBezTo>
                <a:cubicBezTo>
                  <a:pt x="6092098" y="1371777"/>
                  <a:pt x="6087683" y="1371777"/>
                  <a:pt x="6087683" y="1371777"/>
                </a:cubicBezTo>
                <a:cubicBezTo>
                  <a:pt x="6083269" y="1367365"/>
                  <a:pt x="6074443" y="1362952"/>
                  <a:pt x="6061203" y="1358538"/>
                </a:cubicBezTo>
                <a:cubicBezTo>
                  <a:pt x="6043550" y="1349712"/>
                  <a:pt x="6025896" y="1340884"/>
                  <a:pt x="6012656" y="1336472"/>
                </a:cubicBezTo>
                <a:cubicBezTo>
                  <a:pt x="6008241" y="1336472"/>
                  <a:pt x="6008244" y="1332058"/>
                  <a:pt x="6008244" y="1332058"/>
                </a:cubicBezTo>
                <a:cubicBezTo>
                  <a:pt x="6008244" y="1332058"/>
                  <a:pt x="6003831" y="1332058"/>
                  <a:pt x="6003831" y="1332058"/>
                </a:cubicBezTo>
                <a:cubicBezTo>
                  <a:pt x="5995002" y="1332058"/>
                  <a:pt x="5986176" y="1327644"/>
                  <a:pt x="5981763" y="1323231"/>
                </a:cubicBezTo>
                <a:cubicBezTo>
                  <a:pt x="5977350" y="1323231"/>
                  <a:pt x="5968523" y="1318819"/>
                  <a:pt x="5964112" y="1318819"/>
                </a:cubicBezTo>
                <a:cubicBezTo>
                  <a:pt x="5955283" y="1314404"/>
                  <a:pt x="5942044" y="1305577"/>
                  <a:pt x="5933218" y="1301165"/>
                </a:cubicBezTo>
                <a:cubicBezTo>
                  <a:pt x="5933218" y="1296751"/>
                  <a:pt x="5933218" y="1296751"/>
                  <a:pt x="5933218" y="1296751"/>
                </a:cubicBezTo>
                <a:cubicBezTo>
                  <a:pt x="5928803" y="1296752"/>
                  <a:pt x="5928803" y="1296752"/>
                  <a:pt x="5924391" y="1296752"/>
                </a:cubicBezTo>
                <a:cubicBezTo>
                  <a:pt x="5919978" y="1292337"/>
                  <a:pt x="5919979" y="1296752"/>
                  <a:pt x="5919979" y="1296752"/>
                </a:cubicBezTo>
                <a:cubicBezTo>
                  <a:pt x="5924391" y="1301164"/>
                  <a:pt x="5924391" y="1301164"/>
                  <a:pt x="5924391" y="1301164"/>
                </a:cubicBezTo>
                <a:cubicBezTo>
                  <a:pt x="5915563" y="1296752"/>
                  <a:pt x="5902324" y="1283510"/>
                  <a:pt x="5893498" y="1287925"/>
                </a:cubicBezTo>
                <a:cubicBezTo>
                  <a:pt x="5893498" y="1283512"/>
                  <a:pt x="5893498" y="1283512"/>
                  <a:pt x="5889084" y="1283512"/>
                </a:cubicBezTo>
                <a:cubicBezTo>
                  <a:pt x="5884670" y="1279098"/>
                  <a:pt x="5884670" y="1283510"/>
                  <a:pt x="5884670" y="1283510"/>
                </a:cubicBezTo>
                <a:cubicBezTo>
                  <a:pt x="5871431" y="1274684"/>
                  <a:pt x="5858191" y="1283512"/>
                  <a:pt x="5853777" y="1274685"/>
                </a:cubicBezTo>
                <a:cubicBezTo>
                  <a:pt x="5858191" y="1274685"/>
                  <a:pt x="5858191" y="1274685"/>
                  <a:pt x="5858191" y="1274685"/>
                </a:cubicBezTo>
                <a:cubicBezTo>
                  <a:pt x="5867017" y="1279098"/>
                  <a:pt x="5871431" y="1279098"/>
                  <a:pt x="5871431" y="1274684"/>
                </a:cubicBezTo>
                <a:cubicBezTo>
                  <a:pt x="5871431" y="1274684"/>
                  <a:pt x="5867017" y="1270270"/>
                  <a:pt x="5862604" y="1270271"/>
                </a:cubicBezTo>
                <a:cubicBezTo>
                  <a:pt x="5858191" y="1265858"/>
                  <a:pt x="5858191" y="1265858"/>
                  <a:pt x="5858191" y="1265858"/>
                </a:cubicBezTo>
                <a:cubicBezTo>
                  <a:pt x="5858191" y="1257032"/>
                  <a:pt x="5871431" y="1261445"/>
                  <a:pt x="5875845" y="1270271"/>
                </a:cubicBezTo>
                <a:cubicBezTo>
                  <a:pt x="5871431" y="1261445"/>
                  <a:pt x="5893498" y="1265858"/>
                  <a:pt x="5880257" y="1261445"/>
                </a:cubicBezTo>
                <a:cubicBezTo>
                  <a:pt x="5871431" y="1270271"/>
                  <a:pt x="5867017" y="1243791"/>
                  <a:pt x="5849364" y="1248204"/>
                </a:cubicBezTo>
                <a:cubicBezTo>
                  <a:pt x="5844951" y="1243791"/>
                  <a:pt x="5844951" y="1243791"/>
                  <a:pt x="5844951" y="1243791"/>
                </a:cubicBezTo>
                <a:cubicBezTo>
                  <a:pt x="5844951" y="1243791"/>
                  <a:pt x="5840538" y="1243791"/>
                  <a:pt x="5840538" y="1243791"/>
                </a:cubicBezTo>
                <a:cubicBezTo>
                  <a:pt x="5836125" y="1239379"/>
                  <a:pt x="5836125" y="1243791"/>
                  <a:pt x="5836125" y="1243791"/>
                </a:cubicBezTo>
                <a:cubicBezTo>
                  <a:pt x="5840538" y="1243791"/>
                  <a:pt x="5840538" y="1248204"/>
                  <a:pt x="5840538" y="1248204"/>
                </a:cubicBezTo>
                <a:cubicBezTo>
                  <a:pt x="5836125" y="1248204"/>
                  <a:pt x="5827298" y="1243791"/>
                  <a:pt x="5827298" y="1248204"/>
                </a:cubicBezTo>
                <a:cubicBezTo>
                  <a:pt x="5831713" y="1252618"/>
                  <a:pt x="5822884" y="1248204"/>
                  <a:pt x="5822882" y="1252618"/>
                </a:cubicBezTo>
                <a:cubicBezTo>
                  <a:pt x="5831713" y="1257031"/>
                  <a:pt x="5836125" y="1257032"/>
                  <a:pt x="5844951" y="1261445"/>
                </a:cubicBezTo>
                <a:cubicBezTo>
                  <a:pt x="5840538" y="1261445"/>
                  <a:pt x="5840538" y="1261445"/>
                  <a:pt x="5840538" y="1261445"/>
                </a:cubicBezTo>
                <a:cubicBezTo>
                  <a:pt x="5836125" y="1261445"/>
                  <a:pt x="5831711" y="1261445"/>
                  <a:pt x="5831713" y="1265858"/>
                </a:cubicBezTo>
                <a:lnTo>
                  <a:pt x="5839320" y="1269662"/>
                </a:lnTo>
                <a:lnTo>
                  <a:pt x="5831160" y="1269168"/>
                </a:lnTo>
                <a:cubicBezTo>
                  <a:pt x="5825091" y="1266961"/>
                  <a:pt x="5818471" y="1263651"/>
                  <a:pt x="5809645" y="1261445"/>
                </a:cubicBezTo>
                <a:cubicBezTo>
                  <a:pt x="5836125" y="1279098"/>
                  <a:pt x="5805232" y="1265858"/>
                  <a:pt x="5796403" y="1274685"/>
                </a:cubicBezTo>
                <a:cubicBezTo>
                  <a:pt x="5791991" y="1270271"/>
                  <a:pt x="5800818" y="1270270"/>
                  <a:pt x="5800818" y="1270270"/>
                </a:cubicBezTo>
                <a:cubicBezTo>
                  <a:pt x="5800818" y="1265858"/>
                  <a:pt x="5800818" y="1265858"/>
                  <a:pt x="5800818" y="1265858"/>
                </a:cubicBezTo>
                <a:cubicBezTo>
                  <a:pt x="5805232" y="1265858"/>
                  <a:pt x="5805232" y="1265858"/>
                  <a:pt x="5800818" y="1261445"/>
                </a:cubicBezTo>
                <a:cubicBezTo>
                  <a:pt x="5800818" y="1261445"/>
                  <a:pt x="5796403" y="1261445"/>
                  <a:pt x="5791991" y="1261443"/>
                </a:cubicBezTo>
                <a:cubicBezTo>
                  <a:pt x="5787579" y="1261443"/>
                  <a:pt x="5787579" y="1261443"/>
                  <a:pt x="5787579" y="1261443"/>
                </a:cubicBezTo>
                <a:cubicBezTo>
                  <a:pt x="5783164" y="1257031"/>
                  <a:pt x="5787579" y="1252618"/>
                  <a:pt x="5778750" y="1252618"/>
                </a:cubicBezTo>
                <a:cubicBezTo>
                  <a:pt x="5783165" y="1252618"/>
                  <a:pt x="5783165" y="1252618"/>
                  <a:pt x="5787579" y="1252618"/>
                </a:cubicBezTo>
                <a:cubicBezTo>
                  <a:pt x="5791991" y="1252618"/>
                  <a:pt x="5791989" y="1248203"/>
                  <a:pt x="5787579" y="1248203"/>
                </a:cubicBezTo>
                <a:cubicBezTo>
                  <a:pt x="5787579" y="1243791"/>
                  <a:pt x="5783164" y="1243790"/>
                  <a:pt x="5778750" y="1243791"/>
                </a:cubicBezTo>
                <a:cubicBezTo>
                  <a:pt x="5774339" y="1243791"/>
                  <a:pt x="5774339" y="1243791"/>
                  <a:pt x="5769923" y="1243791"/>
                </a:cubicBezTo>
                <a:cubicBezTo>
                  <a:pt x="5761100" y="1243791"/>
                  <a:pt x="5752269" y="1248204"/>
                  <a:pt x="5761100" y="1252617"/>
                </a:cubicBezTo>
                <a:cubicBezTo>
                  <a:pt x="5756685" y="1252618"/>
                  <a:pt x="5756685" y="1252618"/>
                  <a:pt x="5756685" y="1257032"/>
                </a:cubicBezTo>
                <a:cubicBezTo>
                  <a:pt x="5756685" y="1257032"/>
                  <a:pt x="5756685" y="1257032"/>
                  <a:pt x="5761100" y="1261445"/>
                </a:cubicBezTo>
                <a:cubicBezTo>
                  <a:pt x="5756684" y="1261443"/>
                  <a:pt x="5747859" y="1257031"/>
                  <a:pt x="5739030" y="1257032"/>
                </a:cubicBezTo>
                <a:cubicBezTo>
                  <a:pt x="5747859" y="1257031"/>
                  <a:pt x="5756684" y="1261443"/>
                  <a:pt x="5752271" y="1257032"/>
                </a:cubicBezTo>
                <a:cubicBezTo>
                  <a:pt x="5747859" y="1248204"/>
                  <a:pt x="5739030" y="1257032"/>
                  <a:pt x="5734619" y="1248204"/>
                </a:cubicBezTo>
                <a:cubicBezTo>
                  <a:pt x="5734616" y="1243790"/>
                  <a:pt x="5734616" y="1243790"/>
                  <a:pt x="5734616" y="1243790"/>
                </a:cubicBezTo>
                <a:cubicBezTo>
                  <a:pt x="5734616" y="1243790"/>
                  <a:pt x="5734616" y="1243790"/>
                  <a:pt x="5730206" y="1243791"/>
                </a:cubicBezTo>
                <a:cubicBezTo>
                  <a:pt x="5730206" y="1243791"/>
                  <a:pt x="5730206" y="1243791"/>
                  <a:pt x="5725793" y="1243791"/>
                </a:cubicBezTo>
                <a:cubicBezTo>
                  <a:pt x="5725793" y="1248204"/>
                  <a:pt x="5725793" y="1248204"/>
                  <a:pt x="5725793" y="1248204"/>
                </a:cubicBezTo>
                <a:cubicBezTo>
                  <a:pt x="5721376" y="1243791"/>
                  <a:pt x="5721376" y="1243791"/>
                  <a:pt x="5716966" y="1239379"/>
                </a:cubicBezTo>
                <a:cubicBezTo>
                  <a:pt x="5708137" y="1243791"/>
                  <a:pt x="5699311" y="1239379"/>
                  <a:pt x="5690487" y="1239379"/>
                </a:cubicBezTo>
                <a:cubicBezTo>
                  <a:pt x="5694898" y="1239377"/>
                  <a:pt x="5699311" y="1239379"/>
                  <a:pt x="5699311" y="1239379"/>
                </a:cubicBezTo>
                <a:cubicBezTo>
                  <a:pt x="5681658" y="1234965"/>
                  <a:pt x="5686072" y="1239379"/>
                  <a:pt x="5672833" y="1230551"/>
                </a:cubicBezTo>
                <a:cubicBezTo>
                  <a:pt x="5677245" y="1230551"/>
                  <a:pt x="5677245" y="1226137"/>
                  <a:pt x="5677245" y="1226137"/>
                </a:cubicBezTo>
                <a:cubicBezTo>
                  <a:pt x="5677245" y="1226137"/>
                  <a:pt x="5672832" y="1226137"/>
                  <a:pt x="5672832" y="1226137"/>
                </a:cubicBezTo>
                <a:cubicBezTo>
                  <a:pt x="5672833" y="1221725"/>
                  <a:pt x="5672833" y="1221725"/>
                  <a:pt x="5672833" y="1221725"/>
                </a:cubicBezTo>
                <a:cubicBezTo>
                  <a:pt x="5699311" y="1230551"/>
                  <a:pt x="5677245" y="1221725"/>
                  <a:pt x="5677245" y="1217312"/>
                </a:cubicBezTo>
                <a:cubicBezTo>
                  <a:pt x="5690487" y="1221725"/>
                  <a:pt x="5703727" y="1226137"/>
                  <a:pt x="5716966" y="1226137"/>
                </a:cubicBezTo>
                <a:cubicBezTo>
                  <a:pt x="5716966" y="1230551"/>
                  <a:pt x="5716966" y="1230551"/>
                  <a:pt x="5716966" y="1230551"/>
                </a:cubicBezTo>
                <a:cubicBezTo>
                  <a:pt x="5725791" y="1234965"/>
                  <a:pt x="5730206" y="1234965"/>
                  <a:pt x="5734619" y="1234965"/>
                </a:cubicBezTo>
                <a:cubicBezTo>
                  <a:pt x="5725793" y="1230551"/>
                  <a:pt x="5721380" y="1230551"/>
                  <a:pt x="5721376" y="1226137"/>
                </a:cubicBezTo>
                <a:cubicBezTo>
                  <a:pt x="5734619" y="1230551"/>
                  <a:pt x="5734616" y="1226137"/>
                  <a:pt x="5743445" y="1230551"/>
                </a:cubicBezTo>
                <a:cubicBezTo>
                  <a:pt x="5743445" y="1230551"/>
                  <a:pt x="5747859" y="1230551"/>
                  <a:pt x="5747859" y="1234965"/>
                </a:cubicBezTo>
                <a:cubicBezTo>
                  <a:pt x="5752269" y="1234965"/>
                  <a:pt x="5752269" y="1234965"/>
                  <a:pt x="5752269" y="1234965"/>
                </a:cubicBezTo>
                <a:cubicBezTo>
                  <a:pt x="5756685" y="1234965"/>
                  <a:pt x="5761100" y="1234965"/>
                  <a:pt x="5756684" y="1230551"/>
                </a:cubicBezTo>
                <a:cubicBezTo>
                  <a:pt x="5752271" y="1226137"/>
                  <a:pt x="5752271" y="1226137"/>
                  <a:pt x="5752271" y="1226137"/>
                </a:cubicBezTo>
                <a:cubicBezTo>
                  <a:pt x="5752271" y="1221726"/>
                  <a:pt x="5747859" y="1221725"/>
                  <a:pt x="5743445" y="1221725"/>
                </a:cubicBezTo>
                <a:cubicBezTo>
                  <a:pt x="5739030" y="1221725"/>
                  <a:pt x="5739030" y="1221725"/>
                  <a:pt x="5739030" y="1221725"/>
                </a:cubicBezTo>
                <a:cubicBezTo>
                  <a:pt x="5739030" y="1226137"/>
                  <a:pt x="5739030" y="1226137"/>
                  <a:pt x="5739030" y="1226137"/>
                </a:cubicBezTo>
                <a:cubicBezTo>
                  <a:pt x="5725793" y="1226137"/>
                  <a:pt x="5694897" y="1212897"/>
                  <a:pt x="5677245" y="1212897"/>
                </a:cubicBezTo>
                <a:cubicBezTo>
                  <a:pt x="5672832" y="1208485"/>
                  <a:pt x="5672832" y="1208485"/>
                  <a:pt x="5672832" y="1208485"/>
                </a:cubicBezTo>
                <a:cubicBezTo>
                  <a:pt x="5672832" y="1208485"/>
                  <a:pt x="5672832" y="1208485"/>
                  <a:pt x="5668419" y="1208486"/>
                </a:cubicBezTo>
                <a:cubicBezTo>
                  <a:pt x="5668419" y="1208486"/>
                  <a:pt x="5664006" y="1208485"/>
                  <a:pt x="5664006" y="1208485"/>
                </a:cubicBezTo>
                <a:cubicBezTo>
                  <a:pt x="5655178" y="1208485"/>
                  <a:pt x="5641938" y="1204071"/>
                  <a:pt x="5637526" y="1199658"/>
                </a:cubicBezTo>
                <a:cubicBezTo>
                  <a:pt x="5637524" y="1204071"/>
                  <a:pt x="5637524" y="1204071"/>
                  <a:pt x="5637524" y="1204071"/>
                </a:cubicBezTo>
                <a:cubicBezTo>
                  <a:pt x="5633113" y="1199658"/>
                  <a:pt x="5633113" y="1199658"/>
                  <a:pt x="5633113" y="1199658"/>
                </a:cubicBezTo>
                <a:cubicBezTo>
                  <a:pt x="5633113" y="1199658"/>
                  <a:pt x="5628699" y="1195245"/>
                  <a:pt x="5624284" y="1195245"/>
                </a:cubicBezTo>
                <a:cubicBezTo>
                  <a:pt x="5624284" y="1195245"/>
                  <a:pt x="5619871" y="1195245"/>
                  <a:pt x="5619871" y="1199658"/>
                </a:cubicBezTo>
                <a:cubicBezTo>
                  <a:pt x="5575740" y="1195245"/>
                  <a:pt x="5553672" y="1182004"/>
                  <a:pt x="5522778" y="1186418"/>
                </a:cubicBezTo>
                <a:cubicBezTo>
                  <a:pt x="5522778" y="1182004"/>
                  <a:pt x="5518366" y="1182004"/>
                  <a:pt x="5513954" y="1182004"/>
                </a:cubicBezTo>
                <a:cubicBezTo>
                  <a:pt x="5513954" y="1182004"/>
                  <a:pt x="5509539" y="1182004"/>
                  <a:pt x="5509539" y="1182004"/>
                </a:cubicBezTo>
                <a:cubicBezTo>
                  <a:pt x="5509539" y="1186418"/>
                  <a:pt x="5509539" y="1186418"/>
                  <a:pt x="5509539" y="1186418"/>
                </a:cubicBezTo>
                <a:cubicBezTo>
                  <a:pt x="5505127" y="1177592"/>
                  <a:pt x="5491886" y="1177592"/>
                  <a:pt x="5483059" y="1177592"/>
                </a:cubicBezTo>
                <a:cubicBezTo>
                  <a:pt x="5483059" y="1177592"/>
                  <a:pt x="5478645" y="1177592"/>
                  <a:pt x="5478645" y="1177592"/>
                </a:cubicBezTo>
                <a:cubicBezTo>
                  <a:pt x="5474234" y="1173177"/>
                  <a:pt x="5474234" y="1173177"/>
                  <a:pt x="5469821" y="1177592"/>
                </a:cubicBezTo>
                <a:cubicBezTo>
                  <a:pt x="5465407" y="1177592"/>
                  <a:pt x="5465407" y="1177592"/>
                  <a:pt x="5465407" y="1177592"/>
                </a:cubicBezTo>
                <a:cubicBezTo>
                  <a:pt x="5465407" y="1177592"/>
                  <a:pt x="5465405" y="1173177"/>
                  <a:pt x="5460994" y="1173177"/>
                </a:cubicBezTo>
                <a:cubicBezTo>
                  <a:pt x="5460994" y="1173177"/>
                  <a:pt x="5460994" y="1173177"/>
                  <a:pt x="5456580" y="1173179"/>
                </a:cubicBezTo>
                <a:cubicBezTo>
                  <a:pt x="5447751" y="1177592"/>
                  <a:pt x="5430102" y="1164351"/>
                  <a:pt x="5430102" y="1173177"/>
                </a:cubicBezTo>
                <a:cubicBezTo>
                  <a:pt x="5430102" y="1173177"/>
                  <a:pt x="5430102" y="1173177"/>
                  <a:pt x="5425686" y="1173177"/>
                </a:cubicBezTo>
                <a:cubicBezTo>
                  <a:pt x="5421273" y="1173177"/>
                  <a:pt x="5416862" y="1173177"/>
                  <a:pt x="5416862" y="1173177"/>
                </a:cubicBezTo>
                <a:cubicBezTo>
                  <a:pt x="5416862" y="1173177"/>
                  <a:pt x="5412447" y="1173177"/>
                  <a:pt x="5412447" y="1173177"/>
                </a:cubicBezTo>
                <a:cubicBezTo>
                  <a:pt x="5408031" y="1164351"/>
                  <a:pt x="5390378" y="1173177"/>
                  <a:pt x="5381553" y="1173177"/>
                </a:cubicBezTo>
                <a:cubicBezTo>
                  <a:pt x="5368313" y="1173177"/>
                  <a:pt x="5377139" y="1164351"/>
                  <a:pt x="5363899" y="1164352"/>
                </a:cubicBezTo>
                <a:cubicBezTo>
                  <a:pt x="5363899" y="1164352"/>
                  <a:pt x="5359487" y="1164351"/>
                  <a:pt x="5359489" y="1159938"/>
                </a:cubicBezTo>
                <a:cubicBezTo>
                  <a:pt x="5359489" y="1159938"/>
                  <a:pt x="5355074" y="1159938"/>
                  <a:pt x="5355074" y="1159938"/>
                </a:cubicBezTo>
                <a:cubicBezTo>
                  <a:pt x="5350658" y="1159938"/>
                  <a:pt x="5350658" y="1159938"/>
                  <a:pt x="5355074" y="1164351"/>
                </a:cubicBezTo>
                <a:cubicBezTo>
                  <a:pt x="5355074" y="1164351"/>
                  <a:pt x="5355074" y="1164351"/>
                  <a:pt x="5359487" y="1164351"/>
                </a:cubicBezTo>
                <a:cubicBezTo>
                  <a:pt x="5350660" y="1168764"/>
                  <a:pt x="5341835" y="1164351"/>
                  <a:pt x="5341835" y="1168764"/>
                </a:cubicBezTo>
                <a:cubicBezTo>
                  <a:pt x="5328594" y="1164352"/>
                  <a:pt x="5341835" y="1164351"/>
                  <a:pt x="5341835" y="1159938"/>
                </a:cubicBezTo>
                <a:lnTo>
                  <a:pt x="5345978" y="1155793"/>
                </a:lnTo>
                <a:lnTo>
                  <a:pt x="5370589" y="1157387"/>
                </a:lnTo>
                <a:cubicBezTo>
                  <a:pt x="5395622" y="1158008"/>
                  <a:pt x="5411342" y="1155525"/>
                  <a:pt x="5434512" y="1155525"/>
                </a:cubicBezTo>
                <a:cubicBezTo>
                  <a:pt x="5434512" y="1155525"/>
                  <a:pt x="5434512" y="1159938"/>
                  <a:pt x="5438926" y="1159939"/>
                </a:cubicBezTo>
                <a:cubicBezTo>
                  <a:pt x="5438926" y="1159939"/>
                  <a:pt x="5443341" y="1159938"/>
                  <a:pt x="5443341" y="1159938"/>
                </a:cubicBezTo>
                <a:cubicBezTo>
                  <a:pt x="5456580" y="1159938"/>
                  <a:pt x="5460991" y="1159938"/>
                  <a:pt x="5465405" y="1155525"/>
                </a:cubicBezTo>
                <a:cubicBezTo>
                  <a:pt x="5447752" y="1155525"/>
                  <a:pt x="5447752" y="1155525"/>
                  <a:pt x="5447752" y="1155525"/>
                </a:cubicBezTo>
                <a:cubicBezTo>
                  <a:pt x="5447752" y="1155525"/>
                  <a:pt x="5452165" y="1155525"/>
                  <a:pt x="5452166" y="1151110"/>
                </a:cubicBezTo>
                <a:cubicBezTo>
                  <a:pt x="5452166" y="1151110"/>
                  <a:pt x="5447752" y="1151110"/>
                  <a:pt x="5447752" y="1151110"/>
                </a:cubicBezTo>
                <a:cubicBezTo>
                  <a:pt x="5443339" y="1151110"/>
                  <a:pt x="5443339" y="1151110"/>
                  <a:pt x="5443339" y="1151110"/>
                </a:cubicBezTo>
                <a:cubicBezTo>
                  <a:pt x="5438926" y="1151110"/>
                  <a:pt x="5438926" y="1151110"/>
                  <a:pt x="5438926" y="1151110"/>
                </a:cubicBezTo>
                <a:cubicBezTo>
                  <a:pt x="5430102" y="1142286"/>
                  <a:pt x="5425686" y="1133457"/>
                  <a:pt x="5394794" y="1129045"/>
                </a:cubicBezTo>
                <a:cubicBezTo>
                  <a:pt x="5372726" y="1111391"/>
                  <a:pt x="5328594" y="1098151"/>
                  <a:pt x="5297701" y="1089325"/>
                </a:cubicBezTo>
                <a:cubicBezTo>
                  <a:pt x="5293288" y="1089325"/>
                  <a:pt x="5293288" y="1084912"/>
                  <a:pt x="5293288" y="1084912"/>
                </a:cubicBezTo>
                <a:cubicBezTo>
                  <a:pt x="5293288" y="1084912"/>
                  <a:pt x="5293288" y="1080498"/>
                  <a:pt x="5288875" y="1080498"/>
                </a:cubicBezTo>
                <a:cubicBezTo>
                  <a:pt x="5288875" y="1080498"/>
                  <a:pt x="5293288" y="1080498"/>
                  <a:pt x="5293288" y="1076085"/>
                </a:cubicBezTo>
                <a:cubicBezTo>
                  <a:pt x="5284461" y="1076085"/>
                  <a:pt x="5280046" y="1076085"/>
                  <a:pt x="5280046" y="1076085"/>
                </a:cubicBezTo>
                <a:cubicBezTo>
                  <a:pt x="5253568" y="1067257"/>
                  <a:pt x="5218261" y="1062845"/>
                  <a:pt x="5196195" y="1058431"/>
                </a:cubicBezTo>
                <a:cubicBezTo>
                  <a:pt x="5191780" y="1054018"/>
                  <a:pt x="5200609" y="1054018"/>
                  <a:pt x="5205019" y="1054018"/>
                </a:cubicBezTo>
                <a:cubicBezTo>
                  <a:pt x="5191780" y="1049604"/>
                  <a:pt x="5138821" y="1040777"/>
                  <a:pt x="5152061" y="1027537"/>
                </a:cubicBezTo>
                <a:cubicBezTo>
                  <a:pt x="5160887" y="1027537"/>
                  <a:pt x="5160887" y="1027537"/>
                  <a:pt x="5160887" y="1027537"/>
                </a:cubicBezTo>
                <a:cubicBezTo>
                  <a:pt x="5165300" y="1027537"/>
                  <a:pt x="5165300" y="1027537"/>
                  <a:pt x="5165300" y="1027537"/>
                </a:cubicBezTo>
                <a:cubicBezTo>
                  <a:pt x="5165300" y="1027537"/>
                  <a:pt x="5165301" y="1023125"/>
                  <a:pt x="5160887" y="1023126"/>
                </a:cubicBezTo>
                <a:cubicBezTo>
                  <a:pt x="5152061" y="1023125"/>
                  <a:pt x="5152061" y="1023125"/>
                  <a:pt x="5152061" y="1023125"/>
                </a:cubicBezTo>
                <a:cubicBezTo>
                  <a:pt x="5169714" y="1018713"/>
                  <a:pt x="5196195" y="1023125"/>
                  <a:pt x="5222673" y="1023125"/>
                </a:cubicBezTo>
                <a:cubicBezTo>
                  <a:pt x="5244741" y="1001058"/>
                  <a:pt x="5169714" y="983404"/>
                  <a:pt x="5107927" y="978991"/>
                </a:cubicBezTo>
                <a:cubicBezTo>
                  <a:pt x="5103513" y="974578"/>
                  <a:pt x="5107927" y="970163"/>
                  <a:pt x="5094688" y="961339"/>
                </a:cubicBezTo>
                <a:cubicBezTo>
                  <a:pt x="5107927" y="965751"/>
                  <a:pt x="5107927" y="961338"/>
                  <a:pt x="5107927" y="956925"/>
                </a:cubicBezTo>
                <a:cubicBezTo>
                  <a:pt x="5143235" y="956925"/>
                  <a:pt x="5178539" y="961338"/>
                  <a:pt x="5213849" y="961338"/>
                </a:cubicBezTo>
                <a:cubicBezTo>
                  <a:pt x="5235913" y="961338"/>
                  <a:pt x="5213849" y="952510"/>
                  <a:pt x="5231500" y="943684"/>
                </a:cubicBezTo>
                <a:cubicBezTo>
                  <a:pt x="5253567" y="948097"/>
                  <a:pt x="5262393" y="943684"/>
                  <a:pt x="5288875" y="948097"/>
                </a:cubicBezTo>
                <a:cubicBezTo>
                  <a:pt x="5288875" y="943684"/>
                  <a:pt x="5280046" y="939271"/>
                  <a:pt x="5262391" y="939270"/>
                </a:cubicBezTo>
                <a:cubicBezTo>
                  <a:pt x="5271222" y="939270"/>
                  <a:pt x="5280046" y="934857"/>
                  <a:pt x="5297699" y="939270"/>
                </a:cubicBezTo>
                <a:cubicBezTo>
                  <a:pt x="5288875" y="934857"/>
                  <a:pt x="5293286" y="930443"/>
                  <a:pt x="5280046" y="926031"/>
                </a:cubicBezTo>
                <a:cubicBezTo>
                  <a:pt x="5355074" y="934858"/>
                  <a:pt x="5430099" y="943684"/>
                  <a:pt x="5505125" y="956925"/>
                </a:cubicBezTo>
                <a:cubicBezTo>
                  <a:pt x="5513954" y="956925"/>
                  <a:pt x="5522778" y="956925"/>
                  <a:pt x="5527193" y="961338"/>
                </a:cubicBezTo>
                <a:cubicBezTo>
                  <a:pt x="6084373" y="1060637"/>
                  <a:pt x="6577765" y="1337506"/>
                  <a:pt x="6950266" y="1731604"/>
                </a:cubicBezTo>
                <a:lnTo>
                  <a:pt x="7005077" y="1797325"/>
                </a:lnTo>
                <a:lnTo>
                  <a:pt x="7035558" y="1754456"/>
                </a:lnTo>
                <a:lnTo>
                  <a:pt x="7040425" y="1748894"/>
                </a:lnTo>
                <a:lnTo>
                  <a:pt x="6944966" y="1643060"/>
                </a:lnTo>
                <a:cubicBezTo>
                  <a:pt x="6521290" y="1223931"/>
                  <a:pt x="5958596" y="952509"/>
                  <a:pt x="5346247" y="899551"/>
                </a:cubicBezTo>
                <a:cubicBezTo>
                  <a:pt x="5288875" y="895137"/>
                  <a:pt x="5235912" y="890724"/>
                  <a:pt x="5178541" y="890724"/>
                </a:cubicBezTo>
                <a:cubicBezTo>
                  <a:pt x="5178541" y="890724"/>
                  <a:pt x="5178541" y="886310"/>
                  <a:pt x="5174127" y="886310"/>
                </a:cubicBezTo>
                <a:cubicBezTo>
                  <a:pt x="5160887" y="886310"/>
                  <a:pt x="5160887" y="886310"/>
                  <a:pt x="5160887" y="886310"/>
                </a:cubicBezTo>
                <a:close/>
                <a:moveTo>
                  <a:pt x="3392143" y="884238"/>
                </a:moveTo>
                <a:cubicBezTo>
                  <a:pt x="3395095" y="884271"/>
                  <a:pt x="3397912" y="885008"/>
                  <a:pt x="3400193" y="888225"/>
                </a:cubicBezTo>
                <a:cubicBezTo>
                  <a:pt x="3400999" y="889297"/>
                  <a:pt x="3402608" y="890638"/>
                  <a:pt x="3404755" y="890638"/>
                </a:cubicBezTo>
                <a:cubicBezTo>
                  <a:pt x="3407708" y="890370"/>
                  <a:pt x="3409317" y="891978"/>
                  <a:pt x="3409854" y="894925"/>
                </a:cubicBezTo>
                <a:cubicBezTo>
                  <a:pt x="3410391" y="896802"/>
                  <a:pt x="3411733" y="897874"/>
                  <a:pt x="3413074" y="899214"/>
                </a:cubicBezTo>
                <a:cubicBezTo>
                  <a:pt x="3416563" y="902430"/>
                  <a:pt x="3418173" y="906182"/>
                  <a:pt x="3416832" y="911007"/>
                </a:cubicBezTo>
                <a:cubicBezTo>
                  <a:pt x="3416026" y="913687"/>
                  <a:pt x="3416832" y="916636"/>
                  <a:pt x="3419516" y="918244"/>
                </a:cubicBezTo>
                <a:cubicBezTo>
                  <a:pt x="3419516" y="919316"/>
                  <a:pt x="3419516" y="920388"/>
                  <a:pt x="3419516" y="921460"/>
                </a:cubicBezTo>
                <a:cubicBezTo>
                  <a:pt x="3417100" y="922801"/>
                  <a:pt x="3416026" y="924409"/>
                  <a:pt x="3416295" y="927893"/>
                </a:cubicBezTo>
                <a:cubicBezTo>
                  <a:pt x="3416563" y="932717"/>
                  <a:pt x="3414417" y="936469"/>
                  <a:pt x="3409049" y="937542"/>
                </a:cubicBezTo>
                <a:cubicBezTo>
                  <a:pt x="3406634" y="937810"/>
                  <a:pt x="3407171" y="939686"/>
                  <a:pt x="3407171" y="941294"/>
                </a:cubicBezTo>
                <a:cubicBezTo>
                  <a:pt x="3407171" y="943974"/>
                  <a:pt x="3406097" y="944510"/>
                  <a:pt x="3403950" y="942634"/>
                </a:cubicBezTo>
                <a:cubicBezTo>
                  <a:pt x="3400730" y="939955"/>
                  <a:pt x="3398582" y="939955"/>
                  <a:pt x="3397778" y="944510"/>
                </a:cubicBezTo>
                <a:cubicBezTo>
                  <a:pt x="3397509" y="945583"/>
                  <a:pt x="3396704" y="946923"/>
                  <a:pt x="3395631" y="945583"/>
                </a:cubicBezTo>
                <a:cubicBezTo>
                  <a:pt x="3392142" y="942098"/>
                  <a:pt x="3389726" y="944242"/>
                  <a:pt x="3387043" y="946655"/>
                </a:cubicBezTo>
                <a:cubicBezTo>
                  <a:pt x="3386774" y="947191"/>
                  <a:pt x="3385701" y="947191"/>
                  <a:pt x="3385164" y="947191"/>
                </a:cubicBezTo>
                <a:cubicBezTo>
                  <a:pt x="3378724" y="943439"/>
                  <a:pt x="3372551" y="939150"/>
                  <a:pt x="3366110" y="935130"/>
                </a:cubicBezTo>
                <a:cubicBezTo>
                  <a:pt x="3363158" y="933253"/>
                  <a:pt x="3361548" y="928161"/>
                  <a:pt x="3360205" y="924141"/>
                </a:cubicBezTo>
                <a:cubicBezTo>
                  <a:pt x="3359669" y="922533"/>
                  <a:pt x="3359938" y="920925"/>
                  <a:pt x="3358327" y="919584"/>
                </a:cubicBezTo>
                <a:cubicBezTo>
                  <a:pt x="3356717" y="918244"/>
                  <a:pt x="3356986" y="916636"/>
                  <a:pt x="3358059" y="915028"/>
                </a:cubicBezTo>
                <a:cubicBezTo>
                  <a:pt x="3358596" y="913955"/>
                  <a:pt x="3359669" y="912615"/>
                  <a:pt x="3358864" y="911544"/>
                </a:cubicBezTo>
                <a:cubicBezTo>
                  <a:pt x="3356180" y="908327"/>
                  <a:pt x="3355912" y="905914"/>
                  <a:pt x="3360205" y="904306"/>
                </a:cubicBezTo>
                <a:cubicBezTo>
                  <a:pt x="3361279" y="904038"/>
                  <a:pt x="3361548" y="902430"/>
                  <a:pt x="3360474" y="901627"/>
                </a:cubicBezTo>
                <a:cubicBezTo>
                  <a:pt x="3356986" y="898678"/>
                  <a:pt x="3360742" y="897338"/>
                  <a:pt x="3361279" y="895194"/>
                </a:cubicBezTo>
                <a:cubicBezTo>
                  <a:pt x="3363158" y="887957"/>
                  <a:pt x="3371478" y="890101"/>
                  <a:pt x="3374697" y="884741"/>
                </a:cubicBezTo>
                <a:cubicBezTo>
                  <a:pt x="3375771" y="882865"/>
                  <a:pt x="3380870" y="884205"/>
                  <a:pt x="3383286" y="884473"/>
                </a:cubicBezTo>
                <a:cubicBezTo>
                  <a:pt x="3386104" y="884875"/>
                  <a:pt x="3389191" y="884204"/>
                  <a:pt x="3392143" y="884238"/>
                </a:cubicBezTo>
                <a:close/>
                <a:moveTo>
                  <a:pt x="1910634" y="866913"/>
                </a:moveTo>
                <a:lnTo>
                  <a:pt x="1911132" y="867030"/>
                </a:lnTo>
                <a:lnTo>
                  <a:pt x="1910865" y="867297"/>
                </a:lnTo>
                <a:close/>
                <a:moveTo>
                  <a:pt x="9115444" y="772706"/>
                </a:moveTo>
                <a:cubicBezTo>
                  <a:pt x="8765545" y="781637"/>
                  <a:pt x="8412139" y="863970"/>
                  <a:pt x="8077569" y="1027604"/>
                </a:cubicBezTo>
                <a:cubicBezTo>
                  <a:pt x="7748856" y="1187974"/>
                  <a:pt x="7470848" y="1408041"/>
                  <a:pt x="7251775" y="1671704"/>
                </a:cubicBezTo>
                <a:lnTo>
                  <a:pt x="7205815" y="1733750"/>
                </a:lnTo>
                <a:lnTo>
                  <a:pt x="7242727" y="1783425"/>
                </a:lnTo>
                <a:lnTo>
                  <a:pt x="7382865" y="1612347"/>
                </a:lnTo>
                <a:cubicBezTo>
                  <a:pt x="7454809" y="1534884"/>
                  <a:pt x="7531886" y="1461591"/>
                  <a:pt x="7613795" y="1393033"/>
                </a:cubicBezTo>
                <a:cubicBezTo>
                  <a:pt x="7613795" y="1393033"/>
                  <a:pt x="7613795" y="1393033"/>
                  <a:pt x="7617848" y="1391717"/>
                </a:cubicBezTo>
                <a:cubicBezTo>
                  <a:pt x="7617848" y="1391717"/>
                  <a:pt x="7621901" y="1390403"/>
                  <a:pt x="7621901" y="1390403"/>
                </a:cubicBezTo>
                <a:cubicBezTo>
                  <a:pt x="7615109" y="1397084"/>
                  <a:pt x="7620475" y="1399822"/>
                  <a:pt x="7627267" y="1393140"/>
                </a:cubicBezTo>
                <a:cubicBezTo>
                  <a:pt x="7620475" y="1399822"/>
                  <a:pt x="7620475" y="1399822"/>
                  <a:pt x="7620475" y="1399822"/>
                </a:cubicBezTo>
                <a:cubicBezTo>
                  <a:pt x="7617737" y="1405191"/>
                  <a:pt x="7617737" y="1405191"/>
                  <a:pt x="7623104" y="1407929"/>
                </a:cubicBezTo>
                <a:cubicBezTo>
                  <a:pt x="7623104" y="1407929"/>
                  <a:pt x="7627157" y="1406615"/>
                  <a:pt x="7629895" y="1401247"/>
                </a:cubicBezTo>
                <a:cubicBezTo>
                  <a:pt x="7632633" y="1395880"/>
                  <a:pt x="7632633" y="1395880"/>
                  <a:pt x="7632633" y="1395880"/>
                </a:cubicBezTo>
                <a:cubicBezTo>
                  <a:pt x="7636688" y="1394565"/>
                  <a:pt x="7636688" y="1394565"/>
                  <a:pt x="7636688" y="1394565"/>
                </a:cubicBezTo>
                <a:cubicBezTo>
                  <a:pt x="7639315" y="1402671"/>
                  <a:pt x="7643370" y="1401356"/>
                  <a:pt x="7650160" y="1394674"/>
                </a:cubicBezTo>
                <a:cubicBezTo>
                  <a:pt x="7655640" y="1383939"/>
                  <a:pt x="7648846" y="1390622"/>
                  <a:pt x="7650272" y="1381201"/>
                </a:cubicBezTo>
                <a:cubicBezTo>
                  <a:pt x="7643478" y="1387882"/>
                  <a:pt x="7643478" y="1387882"/>
                  <a:pt x="7643478" y="1387882"/>
                </a:cubicBezTo>
                <a:cubicBezTo>
                  <a:pt x="7646219" y="1382515"/>
                  <a:pt x="7650272" y="1381201"/>
                  <a:pt x="7644902" y="1378463"/>
                </a:cubicBezTo>
                <a:cubicBezTo>
                  <a:pt x="7640847" y="1379777"/>
                  <a:pt x="7636797" y="1381092"/>
                  <a:pt x="7634061" y="1386459"/>
                </a:cubicBezTo>
                <a:cubicBezTo>
                  <a:pt x="7631320" y="1391825"/>
                  <a:pt x="7631320" y="1391825"/>
                  <a:pt x="7631320" y="1391825"/>
                </a:cubicBezTo>
                <a:cubicBezTo>
                  <a:pt x="7630006" y="1387775"/>
                  <a:pt x="7634061" y="1386459"/>
                  <a:pt x="7632745" y="1382406"/>
                </a:cubicBezTo>
                <a:cubicBezTo>
                  <a:pt x="7636797" y="1381092"/>
                  <a:pt x="7636797" y="1381092"/>
                  <a:pt x="7636797" y="1381092"/>
                </a:cubicBezTo>
                <a:cubicBezTo>
                  <a:pt x="7639534" y="1375724"/>
                  <a:pt x="7639534" y="1375724"/>
                  <a:pt x="7639534" y="1375724"/>
                </a:cubicBezTo>
                <a:cubicBezTo>
                  <a:pt x="7638222" y="1371671"/>
                  <a:pt x="7638222" y="1371671"/>
                  <a:pt x="7638222" y="1371671"/>
                </a:cubicBezTo>
                <a:cubicBezTo>
                  <a:pt x="7691129" y="1327637"/>
                  <a:pt x="7749405" y="1286339"/>
                  <a:pt x="7807676" y="1245043"/>
                </a:cubicBezTo>
                <a:cubicBezTo>
                  <a:pt x="7808991" y="1249094"/>
                  <a:pt x="7814357" y="1251834"/>
                  <a:pt x="7821147" y="1245151"/>
                </a:cubicBezTo>
                <a:cubicBezTo>
                  <a:pt x="7819835" y="1241098"/>
                  <a:pt x="7819835" y="1241098"/>
                  <a:pt x="7819835" y="1241098"/>
                </a:cubicBezTo>
                <a:cubicBezTo>
                  <a:pt x="8006809" y="1113264"/>
                  <a:pt x="8219200" y="1008541"/>
                  <a:pt x="8446164" y="934926"/>
                </a:cubicBezTo>
                <a:cubicBezTo>
                  <a:pt x="8646774" y="869856"/>
                  <a:pt x="8849640" y="831141"/>
                  <a:pt x="9051144" y="817119"/>
                </a:cubicBezTo>
                <a:lnTo>
                  <a:pt x="9238369" y="811665"/>
                </a:lnTo>
                <a:lnTo>
                  <a:pt x="9243782" y="808270"/>
                </a:lnTo>
                <a:cubicBezTo>
                  <a:pt x="9244935" y="806254"/>
                  <a:pt x="9250415" y="807693"/>
                  <a:pt x="9253012" y="807982"/>
                </a:cubicBezTo>
                <a:cubicBezTo>
                  <a:pt x="9259066" y="808846"/>
                  <a:pt x="9266277" y="805101"/>
                  <a:pt x="9271179" y="812014"/>
                </a:cubicBezTo>
                <a:lnTo>
                  <a:pt x="9271671" y="812274"/>
                </a:lnTo>
                <a:lnTo>
                  <a:pt x="9451272" y="821504"/>
                </a:lnTo>
                <a:lnTo>
                  <a:pt x="9590974" y="838534"/>
                </a:lnTo>
                <a:lnTo>
                  <a:pt x="9591470" y="836596"/>
                </a:lnTo>
                <a:lnTo>
                  <a:pt x="9596753" y="810527"/>
                </a:lnTo>
                <a:lnTo>
                  <a:pt x="9463346" y="787951"/>
                </a:lnTo>
                <a:cubicBezTo>
                  <a:pt x="9348320" y="774908"/>
                  <a:pt x="9232077" y="769729"/>
                  <a:pt x="9115444" y="772706"/>
                </a:cubicBezTo>
                <a:close/>
                <a:moveTo>
                  <a:pt x="6242071" y="762265"/>
                </a:moveTo>
                <a:lnTo>
                  <a:pt x="6241886" y="762573"/>
                </a:lnTo>
                <a:lnTo>
                  <a:pt x="6241671" y="762360"/>
                </a:lnTo>
                <a:close/>
                <a:moveTo>
                  <a:pt x="10401737" y="760139"/>
                </a:moveTo>
                <a:lnTo>
                  <a:pt x="10401520" y="760500"/>
                </a:lnTo>
                <a:lnTo>
                  <a:pt x="10401269" y="760249"/>
                </a:lnTo>
                <a:close/>
                <a:moveTo>
                  <a:pt x="7328010" y="760139"/>
                </a:moveTo>
                <a:lnTo>
                  <a:pt x="7327792" y="760499"/>
                </a:lnTo>
                <a:lnTo>
                  <a:pt x="7327541" y="760249"/>
                </a:lnTo>
                <a:close/>
                <a:moveTo>
                  <a:pt x="2045919" y="751404"/>
                </a:moveTo>
                <a:cubicBezTo>
                  <a:pt x="2048543" y="751199"/>
                  <a:pt x="2050909" y="751403"/>
                  <a:pt x="2051732" y="752842"/>
                </a:cubicBezTo>
                <a:cubicBezTo>
                  <a:pt x="2056669" y="761061"/>
                  <a:pt x="2069426" y="757773"/>
                  <a:pt x="2072306" y="768869"/>
                </a:cubicBezTo>
                <a:cubicBezTo>
                  <a:pt x="2073128" y="772156"/>
                  <a:pt x="2078889" y="774212"/>
                  <a:pt x="2073541" y="778732"/>
                </a:cubicBezTo>
                <a:cubicBezTo>
                  <a:pt x="2071894" y="779966"/>
                  <a:pt x="2072306" y="782430"/>
                  <a:pt x="2073951" y="782841"/>
                </a:cubicBezTo>
                <a:cubicBezTo>
                  <a:pt x="2080535" y="785307"/>
                  <a:pt x="2080124" y="789006"/>
                  <a:pt x="2076008" y="793936"/>
                </a:cubicBezTo>
                <a:cubicBezTo>
                  <a:pt x="2074774" y="795580"/>
                  <a:pt x="2076420" y="797636"/>
                  <a:pt x="2077244" y="799279"/>
                </a:cubicBezTo>
                <a:cubicBezTo>
                  <a:pt x="2078889" y="801745"/>
                  <a:pt x="2079301" y="804211"/>
                  <a:pt x="2076831" y="806266"/>
                </a:cubicBezTo>
                <a:cubicBezTo>
                  <a:pt x="2074363" y="808320"/>
                  <a:pt x="2074774" y="810786"/>
                  <a:pt x="2073951" y="813251"/>
                </a:cubicBezTo>
                <a:cubicBezTo>
                  <a:pt x="2071894" y="819415"/>
                  <a:pt x="2069426" y="827224"/>
                  <a:pt x="2064899" y="830101"/>
                </a:cubicBezTo>
                <a:cubicBezTo>
                  <a:pt x="2055024" y="836264"/>
                  <a:pt x="2045560" y="842841"/>
                  <a:pt x="2035684" y="848594"/>
                </a:cubicBezTo>
                <a:cubicBezTo>
                  <a:pt x="2034862" y="848594"/>
                  <a:pt x="2033215" y="848594"/>
                  <a:pt x="2032804" y="847771"/>
                </a:cubicBezTo>
                <a:cubicBezTo>
                  <a:pt x="2028689" y="844072"/>
                  <a:pt x="2024986" y="840785"/>
                  <a:pt x="2019637" y="846127"/>
                </a:cubicBezTo>
                <a:cubicBezTo>
                  <a:pt x="2017992" y="848183"/>
                  <a:pt x="2016756" y="846127"/>
                  <a:pt x="2016345" y="844483"/>
                </a:cubicBezTo>
                <a:cubicBezTo>
                  <a:pt x="2015111" y="837498"/>
                  <a:pt x="2011819" y="837498"/>
                  <a:pt x="2006881" y="841607"/>
                </a:cubicBezTo>
                <a:cubicBezTo>
                  <a:pt x="2003590" y="844483"/>
                  <a:pt x="2001944" y="843663"/>
                  <a:pt x="2001944" y="839553"/>
                </a:cubicBezTo>
                <a:cubicBezTo>
                  <a:pt x="2001944" y="837087"/>
                  <a:pt x="2002767" y="834210"/>
                  <a:pt x="1999063" y="833799"/>
                </a:cubicBezTo>
                <a:cubicBezTo>
                  <a:pt x="1990834" y="832155"/>
                  <a:pt x="1987542" y="826402"/>
                  <a:pt x="1987953" y="819004"/>
                </a:cubicBezTo>
                <a:cubicBezTo>
                  <a:pt x="1988364" y="813662"/>
                  <a:pt x="1986720" y="811197"/>
                  <a:pt x="1983016" y="809142"/>
                </a:cubicBezTo>
                <a:cubicBezTo>
                  <a:pt x="1983016" y="807497"/>
                  <a:pt x="1983016" y="805855"/>
                  <a:pt x="1983016" y="804211"/>
                </a:cubicBezTo>
                <a:cubicBezTo>
                  <a:pt x="1987130" y="801745"/>
                  <a:pt x="1988364" y="797225"/>
                  <a:pt x="1987130" y="793116"/>
                </a:cubicBezTo>
                <a:cubicBezTo>
                  <a:pt x="1985073" y="785718"/>
                  <a:pt x="1987542" y="779966"/>
                  <a:pt x="1992891" y="775034"/>
                </a:cubicBezTo>
                <a:cubicBezTo>
                  <a:pt x="1994949" y="772978"/>
                  <a:pt x="1997005" y="771334"/>
                  <a:pt x="1997829" y="768459"/>
                </a:cubicBezTo>
                <a:cubicBezTo>
                  <a:pt x="1998652" y="763938"/>
                  <a:pt x="2001120" y="761472"/>
                  <a:pt x="2005647" y="761882"/>
                </a:cubicBezTo>
                <a:cubicBezTo>
                  <a:pt x="2008938" y="761882"/>
                  <a:pt x="2011408" y="759828"/>
                  <a:pt x="2012642" y="758184"/>
                </a:cubicBezTo>
                <a:cubicBezTo>
                  <a:pt x="2016140" y="753253"/>
                  <a:pt x="2020460" y="752123"/>
                  <a:pt x="2024986" y="752072"/>
                </a:cubicBezTo>
                <a:cubicBezTo>
                  <a:pt x="2029514" y="752021"/>
                  <a:pt x="2034245" y="753048"/>
                  <a:pt x="2038565" y="752432"/>
                </a:cubicBezTo>
                <a:cubicBezTo>
                  <a:pt x="2040417" y="752226"/>
                  <a:pt x="2043296" y="751610"/>
                  <a:pt x="2045919" y="751404"/>
                </a:cubicBezTo>
                <a:close/>
                <a:moveTo>
                  <a:pt x="1797831" y="733924"/>
                </a:moveTo>
                <a:cubicBezTo>
                  <a:pt x="1803275" y="735230"/>
                  <a:pt x="1808936" y="734578"/>
                  <a:pt x="1814380" y="735013"/>
                </a:cubicBezTo>
                <a:cubicBezTo>
                  <a:pt x="1818953" y="735230"/>
                  <a:pt x="1823527" y="735665"/>
                  <a:pt x="1827665" y="738495"/>
                </a:cubicBezTo>
                <a:cubicBezTo>
                  <a:pt x="1829406" y="739800"/>
                  <a:pt x="1830714" y="739366"/>
                  <a:pt x="1832021" y="737842"/>
                </a:cubicBezTo>
                <a:cubicBezTo>
                  <a:pt x="1832674" y="736753"/>
                  <a:pt x="1833326" y="735882"/>
                  <a:pt x="1834198" y="735013"/>
                </a:cubicBezTo>
                <a:cubicBezTo>
                  <a:pt x="1835069" y="734142"/>
                  <a:pt x="1836594" y="733271"/>
                  <a:pt x="1837682" y="734142"/>
                </a:cubicBezTo>
                <a:cubicBezTo>
                  <a:pt x="1838989" y="735013"/>
                  <a:pt x="1838553" y="736753"/>
                  <a:pt x="1837900" y="738060"/>
                </a:cubicBezTo>
                <a:cubicBezTo>
                  <a:pt x="1837682" y="738713"/>
                  <a:pt x="1837247" y="739148"/>
                  <a:pt x="1836811" y="739800"/>
                </a:cubicBezTo>
                <a:cubicBezTo>
                  <a:pt x="1833326" y="744807"/>
                  <a:pt x="1834633" y="748071"/>
                  <a:pt x="1840513" y="748725"/>
                </a:cubicBezTo>
                <a:cubicBezTo>
                  <a:pt x="1841602" y="748942"/>
                  <a:pt x="1842691" y="748942"/>
                  <a:pt x="1843562" y="749160"/>
                </a:cubicBezTo>
                <a:cubicBezTo>
                  <a:pt x="1845086" y="749595"/>
                  <a:pt x="1846829" y="749160"/>
                  <a:pt x="1847265" y="751554"/>
                </a:cubicBezTo>
                <a:cubicBezTo>
                  <a:pt x="1847699" y="753296"/>
                  <a:pt x="1846829" y="754166"/>
                  <a:pt x="1845521" y="755037"/>
                </a:cubicBezTo>
                <a:cubicBezTo>
                  <a:pt x="1843126" y="756778"/>
                  <a:pt x="1843345" y="758302"/>
                  <a:pt x="1845739" y="760259"/>
                </a:cubicBezTo>
                <a:cubicBezTo>
                  <a:pt x="1848789" y="762655"/>
                  <a:pt x="1851619" y="765701"/>
                  <a:pt x="1851402" y="770055"/>
                </a:cubicBezTo>
                <a:cubicBezTo>
                  <a:pt x="1851184" y="773537"/>
                  <a:pt x="1852055" y="775279"/>
                  <a:pt x="1855974" y="774409"/>
                </a:cubicBezTo>
                <a:cubicBezTo>
                  <a:pt x="1856846" y="774190"/>
                  <a:pt x="1857935" y="774409"/>
                  <a:pt x="1858370" y="775714"/>
                </a:cubicBezTo>
                <a:cubicBezTo>
                  <a:pt x="1858806" y="776803"/>
                  <a:pt x="1857717" y="777456"/>
                  <a:pt x="1857064" y="778108"/>
                </a:cubicBezTo>
                <a:cubicBezTo>
                  <a:pt x="1855539" y="779632"/>
                  <a:pt x="1853797" y="781155"/>
                  <a:pt x="1852708" y="782896"/>
                </a:cubicBezTo>
                <a:cubicBezTo>
                  <a:pt x="1849223" y="787467"/>
                  <a:pt x="1849441" y="790080"/>
                  <a:pt x="1852708" y="794868"/>
                </a:cubicBezTo>
                <a:cubicBezTo>
                  <a:pt x="1855321" y="798568"/>
                  <a:pt x="1857282" y="802486"/>
                  <a:pt x="1857499" y="807275"/>
                </a:cubicBezTo>
                <a:cubicBezTo>
                  <a:pt x="1857717" y="810756"/>
                  <a:pt x="1855974" y="811192"/>
                  <a:pt x="1853143" y="810103"/>
                </a:cubicBezTo>
                <a:cubicBezTo>
                  <a:pt x="1851184" y="809452"/>
                  <a:pt x="1850094" y="807492"/>
                  <a:pt x="1848570" y="806404"/>
                </a:cubicBezTo>
                <a:cubicBezTo>
                  <a:pt x="1846829" y="805098"/>
                  <a:pt x="1844433" y="803357"/>
                  <a:pt x="1842691" y="805098"/>
                </a:cubicBezTo>
                <a:cubicBezTo>
                  <a:pt x="1840730" y="807275"/>
                  <a:pt x="1841821" y="809887"/>
                  <a:pt x="1843779" y="811846"/>
                </a:cubicBezTo>
                <a:cubicBezTo>
                  <a:pt x="1844650" y="812716"/>
                  <a:pt x="1845957" y="813587"/>
                  <a:pt x="1846829" y="814674"/>
                </a:cubicBezTo>
                <a:cubicBezTo>
                  <a:pt x="1847917" y="815763"/>
                  <a:pt x="1848789" y="817069"/>
                  <a:pt x="1847482" y="818592"/>
                </a:cubicBezTo>
                <a:cubicBezTo>
                  <a:pt x="1846394" y="819899"/>
                  <a:pt x="1845086" y="819245"/>
                  <a:pt x="1843779" y="818158"/>
                </a:cubicBezTo>
                <a:cubicBezTo>
                  <a:pt x="1842473" y="817287"/>
                  <a:pt x="1841167" y="816198"/>
                  <a:pt x="1839860" y="815545"/>
                </a:cubicBezTo>
                <a:cubicBezTo>
                  <a:pt x="1837900" y="814239"/>
                  <a:pt x="1835721" y="814893"/>
                  <a:pt x="1834198" y="816198"/>
                </a:cubicBezTo>
                <a:cubicBezTo>
                  <a:pt x="1832674" y="817505"/>
                  <a:pt x="1833545" y="819463"/>
                  <a:pt x="1834198" y="820987"/>
                </a:cubicBezTo>
                <a:cubicBezTo>
                  <a:pt x="1837465" y="828605"/>
                  <a:pt x="1848353" y="831869"/>
                  <a:pt x="1855757" y="827298"/>
                </a:cubicBezTo>
                <a:cubicBezTo>
                  <a:pt x="1859241" y="825123"/>
                  <a:pt x="1860547" y="825775"/>
                  <a:pt x="1860983" y="829258"/>
                </a:cubicBezTo>
                <a:cubicBezTo>
                  <a:pt x="1861638" y="834916"/>
                  <a:pt x="1864250" y="838618"/>
                  <a:pt x="1869911" y="840575"/>
                </a:cubicBezTo>
                <a:cubicBezTo>
                  <a:pt x="1871435" y="841011"/>
                  <a:pt x="1873831" y="842100"/>
                  <a:pt x="1873179" y="844493"/>
                </a:cubicBezTo>
                <a:cubicBezTo>
                  <a:pt x="1871872" y="849935"/>
                  <a:pt x="1874050" y="854506"/>
                  <a:pt x="1876880" y="858860"/>
                </a:cubicBezTo>
                <a:cubicBezTo>
                  <a:pt x="1879058" y="862124"/>
                  <a:pt x="1879711" y="865171"/>
                  <a:pt x="1877316" y="869089"/>
                </a:cubicBezTo>
                <a:cubicBezTo>
                  <a:pt x="1874703" y="873224"/>
                  <a:pt x="1876227" y="875619"/>
                  <a:pt x="1881452" y="876490"/>
                </a:cubicBezTo>
                <a:cubicBezTo>
                  <a:pt x="1881671" y="876490"/>
                  <a:pt x="1881888" y="876490"/>
                  <a:pt x="1882107" y="876490"/>
                </a:cubicBezTo>
                <a:cubicBezTo>
                  <a:pt x="1884067" y="876707"/>
                  <a:pt x="1886027" y="877142"/>
                  <a:pt x="1886244" y="879102"/>
                </a:cubicBezTo>
                <a:cubicBezTo>
                  <a:pt x="1886679" y="881060"/>
                  <a:pt x="1884284" y="880842"/>
                  <a:pt x="1883196" y="881495"/>
                </a:cubicBezTo>
                <a:cubicBezTo>
                  <a:pt x="1876227" y="884977"/>
                  <a:pt x="1873396" y="890419"/>
                  <a:pt x="1874703" y="898255"/>
                </a:cubicBezTo>
                <a:cubicBezTo>
                  <a:pt x="1875138" y="900868"/>
                  <a:pt x="1874267" y="902391"/>
                  <a:pt x="1872090" y="903479"/>
                </a:cubicBezTo>
                <a:cubicBezTo>
                  <a:pt x="1870782" y="904132"/>
                  <a:pt x="1869476" y="904568"/>
                  <a:pt x="1868170" y="905220"/>
                </a:cubicBezTo>
                <a:cubicBezTo>
                  <a:pt x="1866427" y="906090"/>
                  <a:pt x="1865774" y="907397"/>
                  <a:pt x="1866209" y="909357"/>
                </a:cubicBezTo>
                <a:lnTo>
                  <a:pt x="1867184" y="910738"/>
                </a:lnTo>
                <a:lnTo>
                  <a:pt x="1850164" y="927666"/>
                </a:lnTo>
                <a:lnTo>
                  <a:pt x="1850530" y="924374"/>
                </a:lnTo>
                <a:cubicBezTo>
                  <a:pt x="1850966" y="922633"/>
                  <a:pt x="1850966" y="921762"/>
                  <a:pt x="1849006" y="920674"/>
                </a:cubicBezTo>
                <a:cubicBezTo>
                  <a:pt x="1846829" y="919803"/>
                  <a:pt x="1845957" y="920891"/>
                  <a:pt x="1845086" y="922197"/>
                </a:cubicBezTo>
                <a:cubicBezTo>
                  <a:pt x="1844433" y="923068"/>
                  <a:pt x="1844215" y="923938"/>
                  <a:pt x="1843779" y="925028"/>
                </a:cubicBezTo>
                <a:cubicBezTo>
                  <a:pt x="1841821" y="929599"/>
                  <a:pt x="1840513" y="929816"/>
                  <a:pt x="1837247" y="926115"/>
                </a:cubicBezTo>
                <a:cubicBezTo>
                  <a:pt x="1836594" y="925245"/>
                  <a:pt x="1835721" y="924157"/>
                  <a:pt x="1834416" y="924157"/>
                </a:cubicBezTo>
                <a:cubicBezTo>
                  <a:pt x="1832891" y="924374"/>
                  <a:pt x="1832891" y="926115"/>
                  <a:pt x="1832456" y="927204"/>
                </a:cubicBezTo>
                <a:cubicBezTo>
                  <a:pt x="1832021" y="928075"/>
                  <a:pt x="1831802" y="928945"/>
                  <a:pt x="1831802" y="929816"/>
                </a:cubicBezTo>
                <a:cubicBezTo>
                  <a:pt x="1831475" y="931666"/>
                  <a:pt x="1830767" y="932536"/>
                  <a:pt x="1829842" y="932727"/>
                </a:cubicBezTo>
                <a:cubicBezTo>
                  <a:pt x="1828916" y="932918"/>
                  <a:pt x="1827774" y="932427"/>
                  <a:pt x="1826576" y="931557"/>
                </a:cubicBezTo>
                <a:cubicBezTo>
                  <a:pt x="1824180" y="929599"/>
                  <a:pt x="1821785" y="927204"/>
                  <a:pt x="1819389" y="925245"/>
                </a:cubicBezTo>
                <a:cubicBezTo>
                  <a:pt x="1816559" y="922850"/>
                  <a:pt x="1813292" y="921110"/>
                  <a:pt x="1809808" y="923068"/>
                </a:cubicBezTo>
                <a:cubicBezTo>
                  <a:pt x="1806977" y="924374"/>
                  <a:pt x="1805671" y="923286"/>
                  <a:pt x="1804145" y="921327"/>
                </a:cubicBezTo>
                <a:cubicBezTo>
                  <a:pt x="1800880" y="916974"/>
                  <a:pt x="1796960" y="913709"/>
                  <a:pt x="1790863" y="915015"/>
                </a:cubicBezTo>
                <a:cubicBezTo>
                  <a:pt x="1789339" y="915451"/>
                  <a:pt x="1788902" y="914797"/>
                  <a:pt x="1788684" y="913274"/>
                </a:cubicBezTo>
                <a:cubicBezTo>
                  <a:pt x="1787813" y="902608"/>
                  <a:pt x="1783240" y="893466"/>
                  <a:pt x="1777143" y="885196"/>
                </a:cubicBezTo>
                <a:cubicBezTo>
                  <a:pt x="1775619" y="883237"/>
                  <a:pt x="1776054" y="881930"/>
                  <a:pt x="1776924" y="879972"/>
                </a:cubicBezTo>
                <a:cubicBezTo>
                  <a:pt x="1779102" y="876055"/>
                  <a:pt x="1781498" y="871701"/>
                  <a:pt x="1779974" y="867349"/>
                </a:cubicBezTo>
                <a:cubicBezTo>
                  <a:pt x="1778449" y="862995"/>
                  <a:pt x="1779539" y="859947"/>
                  <a:pt x="1781716" y="856465"/>
                </a:cubicBezTo>
                <a:cubicBezTo>
                  <a:pt x="1782368" y="855377"/>
                  <a:pt x="1782804" y="854289"/>
                  <a:pt x="1783458" y="852982"/>
                </a:cubicBezTo>
                <a:cubicBezTo>
                  <a:pt x="1786289" y="846671"/>
                  <a:pt x="1789556" y="840794"/>
                  <a:pt x="1796307" y="837747"/>
                </a:cubicBezTo>
                <a:cubicBezTo>
                  <a:pt x="1797612" y="837311"/>
                  <a:pt x="1797612" y="836440"/>
                  <a:pt x="1797612" y="835352"/>
                </a:cubicBezTo>
                <a:cubicBezTo>
                  <a:pt x="1797395" y="832088"/>
                  <a:pt x="1791515" y="824252"/>
                  <a:pt x="1788466" y="823380"/>
                </a:cubicBezTo>
                <a:cubicBezTo>
                  <a:pt x="1783675" y="822293"/>
                  <a:pt x="1779539" y="819899"/>
                  <a:pt x="1776272" y="816198"/>
                </a:cubicBezTo>
                <a:cubicBezTo>
                  <a:pt x="1771698" y="811410"/>
                  <a:pt x="1767778" y="806404"/>
                  <a:pt x="1763422" y="801398"/>
                </a:cubicBezTo>
                <a:cubicBezTo>
                  <a:pt x="1762117" y="800092"/>
                  <a:pt x="1762770" y="799221"/>
                  <a:pt x="1763641" y="798132"/>
                </a:cubicBezTo>
                <a:cubicBezTo>
                  <a:pt x="1767561" y="793344"/>
                  <a:pt x="1767561" y="793344"/>
                  <a:pt x="1762770" y="790080"/>
                </a:cubicBezTo>
                <a:cubicBezTo>
                  <a:pt x="1758414" y="786815"/>
                  <a:pt x="1758197" y="784639"/>
                  <a:pt x="1762117" y="780503"/>
                </a:cubicBezTo>
                <a:cubicBezTo>
                  <a:pt x="1763859" y="778761"/>
                  <a:pt x="1765602" y="776803"/>
                  <a:pt x="1764948" y="773755"/>
                </a:cubicBezTo>
                <a:cubicBezTo>
                  <a:pt x="1762987" y="766137"/>
                  <a:pt x="1765819" y="759826"/>
                  <a:pt x="1770827" y="754166"/>
                </a:cubicBezTo>
                <a:cubicBezTo>
                  <a:pt x="1774094" y="750466"/>
                  <a:pt x="1778014" y="746983"/>
                  <a:pt x="1780410" y="742631"/>
                </a:cubicBezTo>
                <a:cubicBezTo>
                  <a:pt x="1780845" y="741760"/>
                  <a:pt x="1781498" y="740889"/>
                  <a:pt x="1782587" y="741107"/>
                </a:cubicBezTo>
                <a:cubicBezTo>
                  <a:pt x="1788031" y="742848"/>
                  <a:pt x="1790863" y="739366"/>
                  <a:pt x="1793911" y="735882"/>
                </a:cubicBezTo>
                <a:cubicBezTo>
                  <a:pt x="1794783" y="734795"/>
                  <a:pt x="1795871" y="733489"/>
                  <a:pt x="1797831" y="733924"/>
                </a:cubicBezTo>
                <a:close/>
                <a:moveTo>
                  <a:pt x="3697078" y="730896"/>
                </a:moveTo>
                <a:cubicBezTo>
                  <a:pt x="3700593" y="731673"/>
                  <a:pt x="3703716" y="732450"/>
                  <a:pt x="3707231" y="732450"/>
                </a:cubicBezTo>
                <a:cubicBezTo>
                  <a:pt x="3710745" y="732450"/>
                  <a:pt x="3714260" y="734783"/>
                  <a:pt x="3715822" y="737892"/>
                </a:cubicBezTo>
                <a:cubicBezTo>
                  <a:pt x="3716993" y="740613"/>
                  <a:pt x="3718165" y="742169"/>
                  <a:pt x="3720507" y="743335"/>
                </a:cubicBezTo>
                <a:cubicBezTo>
                  <a:pt x="3720507" y="747999"/>
                  <a:pt x="3720507" y="752664"/>
                  <a:pt x="3720507" y="757329"/>
                </a:cubicBezTo>
                <a:cubicBezTo>
                  <a:pt x="3716602" y="759273"/>
                  <a:pt x="3713479" y="762382"/>
                  <a:pt x="3711917" y="765880"/>
                </a:cubicBezTo>
                <a:cubicBezTo>
                  <a:pt x="3709964" y="768991"/>
                  <a:pt x="3708402" y="772489"/>
                  <a:pt x="3706451" y="775987"/>
                </a:cubicBezTo>
                <a:cubicBezTo>
                  <a:pt x="3704498" y="779098"/>
                  <a:pt x="3702546" y="782596"/>
                  <a:pt x="3702155" y="786484"/>
                </a:cubicBezTo>
                <a:cubicBezTo>
                  <a:pt x="3701374" y="789982"/>
                  <a:pt x="3699031" y="791537"/>
                  <a:pt x="3696298" y="793480"/>
                </a:cubicBezTo>
                <a:cubicBezTo>
                  <a:pt x="3693565" y="795424"/>
                  <a:pt x="3689660" y="795035"/>
                  <a:pt x="3687707" y="797756"/>
                </a:cubicBezTo>
                <a:cubicBezTo>
                  <a:pt x="3684974" y="797756"/>
                  <a:pt x="3682631" y="797756"/>
                  <a:pt x="3679898" y="797756"/>
                </a:cubicBezTo>
                <a:cubicBezTo>
                  <a:pt x="3679898" y="796589"/>
                  <a:pt x="3679508" y="796201"/>
                  <a:pt x="3678726" y="796201"/>
                </a:cubicBezTo>
                <a:cubicBezTo>
                  <a:pt x="3672870" y="796201"/>
                  <a:pt x="3669745" y="792314"/>
                  <a:pt x="3667794" y="787649"/>
                </a:cubicBezTo>
                <a:cubicBezTo>
                  <a:pt x="3665841" y="783373"/>
                  <a:pt x="3663498" y="779486"/>
                  <a:pt x="3664279" y="774433"/>
                </a:cubicBezTo>
                <a:cubicBezTo>
                  <a:pt x="3665451" y="768991"/>
                  <a:pt x="3665059" y="763159"/>
                  <a:pt x="3669745" y="758884"/>
                </a:cubicBezTo>
                <a:cubicBezTo>
                  <a:pt x="3671307" y="757329"/>
                  <a:pt x="3672870" y="756163"/>
                  <a:pt x="3675603" y="755385"/>
                </a:cubicBezTo>
                <a:cubicBezTo>
                  <a:pt x="3679508" y="754219"/>
                  <a:pt x="3684193" y="752275"/>
                  <a:pt x="3683021" y="746056"/>
                </a:cubicBezTo>
                <a:cubicBezTo>
                  <a:pt x="3682631" y="743724"/>
                  <a:pt x="3684974" y="742946"/>
                  <a:pt x="3685364" y="741780"/>
                </a:cubicBezTo>
                <a:cubicBezTo>
                  <a:pt x="3687317" y="735560"/>
                  <a:pt x="3692002" y="732839"/>
                  <a:pt x="3697078" y="730896"/>
                </a:cubicBezTo>
                <a:close/>
                <a:moveTo>
                  <a:pt x="2342912" y="728298"/>
                </a:moveTo>
                <a:cubicBezTo>
                  <a:pt x="2346056" y="728334"/>
                  <a:pt x="2349056" y="729120"/>
                  <a:pt x="2351485" y="732545"/>
                </a:cubicBezTo>
                <a:cubicBezTo>
                  <a:pt x="2352343" y="733686"/>
                  <a:pt x="2354058" y="735114"/>
                  <a:pt x="2356345" y="735114"/>
                </a:cubicBezTo>
                <a:cubicBezTo>
                  <a:pt x="2359488" y="734829"/>
                  <a:pt x="2361204" y="736541"/>
                  <a:pt x="2361775" y="739680"/>
                </a:cubicBezTo>
                <a:cubicBezTo>
                  <a:pt x="2362347" y="741679"/>
                  <a:pt x="2363776" y="742820"/>
                  <a:pt x="2365204" y="744248"/>
                </a:cubicBezTo>
                <a:cubicBezTo>
                  <a:pt x="2368921" y="747672"/>
                  <a:pt x="2370635" y="751668"/>
                  <a:pt x="2369205" y="756807"/>
                </a:cubicBezTo>
                <a:cubicBezTo>
                  <a:pt x="2368349" y="759662"/>
                  <a:pt x="2369205" y="762801"/>
                  <a:pt x="2372063" y="764514"/>
                </a:cubicBezTo>
                <a:cubicBezTo>
                  <a:pt x="2372063" y="765657"/>
                  <a:pt x="2372063" y="766797"/>
                  <a:pt x="2372063" y="767939"/>
                </a:cubicBezTo>
                <a:cubicBezTo>
                  <a:pt x="2369492" y="769367"/>
                  <a:pt x="2368349" y="771080"/>
                  <a:pt x="2368634" y="774790"/>
                </a:cubicBezTo>
                <a:cubicBezTo>
                  <a:pt x="2368921" y="779928"/>
                  <a:pt x="2366633" y="783924"/>
                  <a:pt x="2360917" y="785066"/>
                </a:cubicBezTo>
                <a:cubicBezTo>
                  <a:pt x="2358345" y="785351"/>
                  <a:pt x="2358916" y="787349"/>
                  <a:pt x="2358916" y="789062"/>
                </a:cubicBezTo>
                <a:cubicBezTo>
                  <a:pt x="2358916" y="791917"/>
                  <a:pt x="2357774" y="792487"/>
                  <a:pt x="2355487" y="790489"/>
                </a:cubicBezTo>
                <a:cubicBezTo>
                  <a:pt x="2352057" y="787636"/>
                  <a:pt x="2349770" y="787636"/>
                  <a:pt x="2348913" y="792487"/>
                </a:cubicBezTo>
                <a:cubicBezTo>
                  <a:pt x="2348629" y="793629"/>
                  <a:pt x="2347770" y="795056"/>
                  <a:pt x="2346627" y="793629"/>
                </a:cubicBezTo>
                <a:cubicBezTo>
                  <a:pt x="2342912" y="789919"/>
                  <a:pt x="2340340" y="792201"/>
                  <a:pt x="2337482" y="794771"/>
                </a:cubicBezTo>
                <a:cubicBezTo>
                  <a:pt x="2337195" y="795342"/>
                  <a:pt x="2336051" y="795342"/>
                  <a:pt x="2335481" y="795342"/>
                </a:cubicBezTo>
                <a:cubicBezTo>
                  <a:pt x="2328621" y="791346"/>
                  <a:pt x="2322048" y="786778"/>
                  <a:pt x="2315189" y="782497"/>
                </a:cubicBezTo>
                <a:cubicBezTo>
                  <a:pt x="2312045" y="780498"/>
                  <a:pt x="2310329" y="775075"/>
                  <a:pt x="2308901" y="770794"/>
                </a:cubicBezTo>
                <a:cubicBezTo>
                  <a:pt x="2308329" y="769082"/>
                  <a:pt x="2308614" y="767369"/>
                  <a:pt x="2306900" y="765941"/>
                </a:cubicBezTo>
                <a:cubicBezTo>
                  <a:pt x="2305184" y="764514"/>
                  <a:pt x="2305471" y="762801"/>
                  <a:pt x="2306614" y="761089"/>
                </a:cubicBezTo>
                <a:cubicBezTo>
                  <a:pt x="2307186" y="759946"/>
                  <a:pt x="2308329" y="758519"/>
                  <a:pt x="2307472" y="757379"/>
                </a:cubicBezTo>
                <a:cubicBezTo>
                  <a:pt x="2304613" y="753953"/>
                  <a:pt x="2304328" y="751384"/>
                  <a:pt x="2308901" y="749670"/>
                </a:cubicBezTo>
                <a:cubicBezTo>
                  <a:pt x="2310045" y="749386"/>
                  <a:pt x="2310329" y="747672"/>
                  <a:pt x="2309186" y="746817"/>
                </a:cubicBezTo>
                <a:cubicBezTo>
                  <a:pt x="2305471" y="743677"/>
                  <a:pt x="2309473" y="742250"/>
                  <a:pt x="2310045" y="739966"/>
                </a:cubicBezTo>
                <a:cubicBezTo>
                  <a:pt x="2312045" y="732259"/>
                  <a:pt x="2320904" y="734542"/>
                  <a:pt x="2324335" y="728834"/>
                </a:cubicBezTo>
                <a:cubicBezTo>
                  <a:pt x="2325478" y="726836"/>
                  <a:pt x="2330908" y="728263"/>
                  <a:pt x="2333479" y="728549"/>
                </a:cubicBezTo>
                <a:cubicBezTo>
                  <a:pt x="2336481" y="728977"/>
                  <a:pt x="2339768" y="728262"/>
                  <a:pt x="2342912" y="728298"/>
                </a:cubicBezTo>
                <a:close/>
                <a:moveTo>
                  <a:pt x="6822928" y="696735"/>
                </a:moveTo>
                <a:cubicBezTo>
                  <a:pt x="6827177" y="696687"/>
                  <a:pt x="6831618" y="697651"/>
                  <a:pt x="6835677" y="697073"/>
                </a:cubicBezTo>
                <a:cubicBezTo>
                  <a:pt x="6839151" y="696687"/>
                  <a:pt x="6846496" y="694758"/>
                  <a:pt x="6848042" y="697459"/>
                </a:cubicBezTo>
                <a:cubicBezTo>
                  <a:pt x="6852677" y="705176"/>
                  <a:pt x="6864652" y="702089"/>
                  <a:pt x="6867357" y="712507"/>
                </a:cubicBezTo>
                <a:cubicBezTo>
                  <a:pt x="6868131" y="715595"/>
                  <a:pt x="6873540" y="717524"/>
                  <a:pt x="6868516" y="721769"/>
                </a:cubicBezTo>
                <a:lnTo>
                  <a:pt x="6868714" y="723723"/>
                </a:lnTo>
                <a:lnTo>
                  <a:pt x="6880103" y="729759"/>
                </a:lnTo>
                <a:cubicBezTo>
                  <a:pt x="6884535" y="733406"/>
                  <a:pt x="6888069" y="738359"/>
                  <a:pt x="6889972" y="745688"/>
                </a:cubicBezTo>
                <a:cubicBezTo>
                  <a:pt x="6892145" y="754374"/>
                  <a:pt x="6907367" y="759802"/>
                  <a:pt x="6893233" y="771746"/>
                </a:cubicBezTo>
                <a:cubicBezTo>
                  <a:pt x="6888885" y="775002"/>
                  <a:pt x="6889972" y="781517"/>
                  <a:pt x="6894319" y="782603"/>
                </a:cubicBezTo>
                <a:cubicBezTo>
                  <a:pt x="6911709" y="789117"/>
                  <a:pt x="6910626" y="798889"/>
                  <a:pt x="6899754" y="811918"/>
                </a:cubicBezTo>
                <a:cubicBezTo>
                  <a:pt x="6896495" y="816260"/>
                  <a:pt x="6900843" y="821689"/>
                  <a:pt x="6903015" y="826031"/>
                </a:cubicBezTo>
                <a:cubicBezTo>
                  <a:pt x="6907367" y="832546"/>
                  <a:pt x="6908453" y="839061"/>
                  <a:pt x="6901932" y="844490"/>
                </a:cubicBezTo>
                <a:cubicBezTo>
                  <a:pt x="6895406" y="849918"/>
                  <a:pt x="6896495" y="856432"/>
                  <a:pt x="6894319" y="862947"/>
                </a:cubicBezTo>
                <a:cubicBezTo>
                  <a:pt x="6888885" y="879233"/>
                  <a:pt x="6882360" y="899861"/>
                  <a:pt x="6870401" y="907461"/>
                </a:cubicBezTo>
                <a:cubicBezTo>
                  <a:pt x="6844311" y="923747"/>
                  <a:pt x="6819311" y="941119"/>
                  <a:pt x="6793218" y="956319"/>
                </a:cubicBezTo>
                <a:cubicBezTo>
                  <a:pt x="6791045" y="956319"/>
                  <a:pt x="6786697" y="956319"/>
                  <a:pt x="6785610" y="954148"/>
                </a:cubicBezTo>
                <a:cubicBezTo>
                  <a:pt x="6774739" y="944377"/>
                  <a:pt x="6764955" y="935691"/>
                  <a:pt x="6750821" y="949805"/>
                </a:cubicBezTo>
                <a:cubicBezTo>
                  <a:pt x="6746471" y="955234"/>
                  <a:pt x="6743210" y="949805"/>
                  <a:pt x="6742123" y="945462"/>
                </a:cubicBezTo>
                <a:cubicBezTo>
                  <a:pt x="6738862" y="927005"/>
                  <a:pt x="6730167" y="927005"/>
                  <a:pt x="6717122" y="937862"/>
                </a:cubicBezTo>
                <a:cubicBezTo>
                  <a:pt x="6708423" y="945462"/>
                  <a:pt x="6704075" y="943291"/>
                  <a:pt x="6704075" y="932433"/>
                </a:cubicBezTo>
                <a:cubicBezTo>
                  <a:pt x="6704075" y="925919"/>
                  <a:pt x="6706251" y="918319"/>
                  <a:pt x="6696466" y="917233"/>
                </a:cubicBezTo>
                <a:cubicBezTo>
                  <a:pt x="6674724" y="912890"/>
                  <a:pt x="6666026" y="897690"/>
                  <a:pt x="6667115" y="878147"/>
                </a:cubicBezTo>
                <a:cubicBezTo>
                  <a:pt x="6668200" y="864032"/>
                  <a:pt x="6663854" y="857518"/>
                  <a:pt x="6654068" y="852090"/>
                </a:cubicBezTo>
                <a:cubicBezTo>
                  <a:pt x="6654068" y="847746"/>
                  <a:pt x="6654068" y="843403"/>
                  <a:pt x="6654068" y="839061"/>
                </a:cubicBezTo>
                <a:cubicBezTo>
                  <a:pt x="6664939" y="832546"/>
                  <a:pt x="6668200" y="820604"/>
                  <a:pt x="6664939" y="809745"/>
                </a:cubicBezTo>
                <a:cubicBezTo>
                  <a:pt x="6659505" y="790203"/>
                  <a:pt x="6666026" y="775002"/>
                  <a:pt x="6680161" y="761974"/>
                </a:cubicBezTo>
                <a:cubicBezTo>
                  <a:pt x="6685596" y="756545"/>
                  <a:pt x="6691030" y="752202"/>
                  <a:pt x="6693202" y="744603"/>
                </a:cubicBezTo>
                <a:cubicBezTo>
                  <a:pt x="6695378" y="732659"/>
                  <a:pt x="6701900" y="726144"/>
                  <a:pt x="6713856" y="727230"/>
                </a:cubicBezTo>
                <a:cubicBezTo>
                  <a:pt x="6722555" y="727230"/>
                  <a:pt x="6729080" y="721802"/>
                  <a:pt x="6732341" y="717459"/>
                </a:cubicBezTo>
                <a:cubicBezTo>
                  <a:pt x="6750821" y="691401"/>
                  <a:pt x="6777997" y="705516"/>
                  <a:pt x="6800829" y="702258"/>
                </a:cubicBezTo>
                <a:lnTo>
                  <a:pt x="6816077" y="700129"/>
                </a:lnTo>
                <a:close/>
                <a:moveTo>
                  <a:pt x="3895000" y="684176"/>
                </a:moveTo>
                <a:cubicBezTo>
                  <a:pt x="3898173" y="684212"/>
                  <a:pt x="3901201" y="685004"/>
                  <a:pt x="3903652" y="688460"/>
                </a:cubicBezTo>
                <a:cubicBezTo>
                  <a:pt x="3904517" y="689613"/>
                  <a:pt x="3906248" y="691053"/>
                  <a:pt x="3908554" y="691053"/>
                </a:cubicBezTo>
                <a:cubicBezTo>
                  <a:pt x="3911727" y="690765"/>
                  <a:pt x="3913458" y="692493"/>
                  <a:pt x="3914034" y="695662"/>
                </a:cubicBezTo>
                <a:cubicBezTo>
                  <a:pt x="3914611" y="697678"/>
                  <a:pt x="3916053" y="698830"/>
                  <a:pt x="3917495" y="700270"/>
                </a:cubicBezTo>
                <a:cubicBezTo>
                  <a:pt x="3921244" y="703725"/>
                  <a:pt x="3922974" y="707758"/>
                  <a:pt x="3921532" y="712942"/>
                </a:cubicBezTo>
                <a:cubicBezTo>
                  <a:pt x="3920666" y="715823"/>
                  <a:pt x="3921532" y="718991"/>
                  <a:pt x="3924416" y="720720"/>
                </a:cubicBezTo>
                <a:cubicBezTo>
                  <a:pt x="3924416" y="721871"/>
                  <a:pt x="3924416" y="723023"/>
                  <a:pt x="3924416" y="724175"/>
                </a:cubicBezTo>
                <a:cubicBezTo>
                  <a:pt x="3921821" y="725615"/>
                  <a:pt x="3920666" y="727344"/>
                  <a:pt x="3920955" y="731088"/>
                </a:cubicBezTo>
                <a:cubicBezTo>
                  <a:pt x="3921244" y="736272"/>
                  <a:pt x="3918937" y="740305"/>
                  <a:pt x="3913169" y="741457"/>
                </a:cubicBezTo>
                <a:cubicBezTo>
                  <a:pt x="3910574" y="741745"/>
                  <a:pt x="3911150" y="743761"/>
                  <a:pt x="3911150" y="745489"/>
                </a:cubicBezTo>
                <a:cubicBezTo>
                  <a:pt x="3911150" y="748370"/>
                  <a:pt x="3909996" y="748946"/>
                  <a:pt x="3907690" y="746929"/>
                </a:cubicBezTo>
                <a:cubicBezTo>
                  <a:pt x="3904228" y="744049"/>
                  <a:pt x="3901922" y="744049"/>
                  <a:pt x="3901056" y="748946"/>
                </a:cubicBezTo>
                <a:cubicBezTo>
                  <a:pt x="3900768" y="750097"/>
                  <a:pt x="3899903" y="751538"/>
                  <a:pt x="3898749" y="750097"/>
                </a:cubicBezTo>
                <a:cubicBezTo>
                  <a:pt x="3895000" y="746353"/>
                  <a:pt x="3892405" y="748657"/>
                  <a:pt x="3889521" y="751250"/>
                </a:cubicBezTo>
                <a:cubicBezTo>
                  <a:pt x="3889233" y="751826"/>
                  <a:pt x="3888079" y="751826"/>
                  <a:pt x="3887502" y="751826"/>
                </a:cubicBezTo>
                <a:cubicBezTo>
                  <a:pt x="3880581" y="747794"/>
                  <a:pt x="3873948" y="743185"/>
                  <a:pt x="3867027" y="738864"/>
                </a:cubicBezTo>
                <a:cubicBezTo>
                  <a:pt x="3863854" y="736848"/>
                  <a:pt x="3862123" y="731377"/>
                  <a:pt x="3860681" y="727056"/>
                </a:cubicBezTo>
                <a:cubicBezTo>
                  <a:pt x="3860105" y="725328"/>
                  <a:pt x="3860394" y="723599"/>
                  <a:pt x="3858663" y="722160"/>
                </a:cubicBezTo>
                <a:cubicBezTo>
                  <a:pt x="3856933" y="720720"/>
                  <a:pt x="3857221" y="718991"/>
                  <a:pt x="3858375" y="717263"/>
                </a:cubicBezTo>
                <a:cubicBezTo>
                  <a:pt x="3858952" y="716111"/>
                  <a:pt x="3860105" y="714671"/>
                  <a:pt x="3859239" y="713519"/>
                </a:cubicBezTo>
                <a:cubicBezTo>
                  <a:pt x="3856357" y="710063"/>
                  <a:pt x="3856068" y="707470"/>
                  <a:pt x="3860681" y="705742"/>
                </a:cubicBezTo>
                <a:cubicBezTo>
                  <a:pt x="3861836" y="705454"/>
                  <a:pt x="3862123" y="703725"/>
                  <a:pt x="3860970" y="702862"/>
                </a:cubicBezTo>
                <a:cubicBezTo>
                  <a:pt x="3857221" y="699693"/>
                  <a:pt x="3861259" y="698254"/>
                  <a:pt x="3861836" y="695949"/>
                </a:cubicBezTo>
                <a:cubicBezTo>
                  <a:pt x="3863854" y="688173"/>
                  <a:pt x="3872795" y="690476"/>
                  <a:pt x="3876255" y="684716"/>
                </a:cubicBezTo>
                <a:cubicBezTo>
                  <a:pt x="3877408" y="682700"/>
                  <a:pt x="3882888" y="684140"/>
                  <a:pt x="3885484" y="684429"/>
                </a:cubicBezTo>
                <a:cubicBezTo>
                  <a:pt x="3888512" y="684861"/>
                  <a:pt x="3891828" y="684140"/>
                  <a:pt x="3895000" y="684176"/>
                </a:cubicBezTo>
                <a:close/>
                <a:moveTo>
                  <a:pt x="3616613" y="678508"/>
                </a:moveTo>
                <a:cubicBezTo>
                  <a:pt x="3619134" y="678075"/>
                  <a:pt x="3620993" y="678472"/>
                  <a:pt x="3620595" y="680330"/>
                </a:cubicBezTo>
                <a:cubicBezTo>
                  <a:pt x="3616481" y="681394"/>
                  <a:pt x="3613296" y="682656"/>
                  <a:pt x="3611238" y="683189"/>
                </a:cubicBezTo>
                <a:cubicBezTo>
                  <a:pt x="3609182" y="683721"/>
                  <a:pt x="3608253" y="683523"/>
                  <a:pt x="3608649" y="681665"/>
                </a:cubicBezTo>
                <a:cubicBezTo>
                  <a:pt x="3610905" y="680204"/>
                  <a:pt x="3614091" y="678941"/>
                  <a:pt x="3616613" y="678508"/>
                </a:cubicBezTo>
                <a:close/>
                <a:moveTo>
                  <a:pt x="3586537" y="674876"/>
                </a:moveTo>
                <a:cubicBezTo>
                  <a:pt x="3581435" y="674879"/>
                  <a:pt x="3572677" y="681752"/>
                  <a:pt x="3569890" y="681157"/>
                </a:cubicBezTo>
                <a:cubicBezTo>
                  <a:pt x="3564584" y="687795"/>
                  <a:pt x="3551845" y="692845"/>
                  <a:pt x="3551050" y="696561"/>
                </a:cubicBezTo>
                <a:cubicBezTo>
                  <a:pt x="3480460" y="735886"/>
                  <a:pt x="3439606" y="781564"/>
                  <a:pt x="3378830" y="811329"/>
                </a:cubicBezTo>
                <a:cubicBezTo>
                  <a:pt x="3369808" y="817173"/>
                  <a:pt x="3359991" y="826734"/>
                  <a:pt x="3350969" y="832579"/>
                </a:cubicBezTo>
                <a:cubicBezTo>
                  <a:pt x="3328413" y="847191"/>
                  <a:pt x="3332925" y="844268"/>
                  <a:pt x="3309574" y="862596"/>
                </a:cubicBezTo>
                <a:cubicBezTo>
                  <a:pt x="3305062" y="865519"/>
                  <a:pt x="3304269" y="869236"/>
                  <a:pt x="3307987" y="870029"/>
                </a:cubicBezTo>
                <a:cubicBezTo>
                  <a:pt x="3279332" y="894997"/>
                  <a:pt x="3260492" y="910402"/>
                  <a:pt x="3241652" y="925809"/>
                </a:cubicBezTo>
                <a:cubicBezTo>
                  <a:pt x="3222814" y="941214"/>
                  <a:pt x="3204770" y="952904"/>
                  <a:pt x="3181419" y="971233"/>
                </a:cubicBezTo>
                <a:cubicBezTo>
                  <a:pt x="3175319" y="981587"/>
                  <a:pt x="3188853" y="972821"/>
                  <a:pt x="3195494" y="978125"/>
                </a:cubicBezTo>
                <a:cubicBezTo>
                  <a:pt x="3190189" y="984765"/>
                  <a:pt x="3190189" y="984765"/>
                  <a:pt x="3189394" y="988481"/>
                </a:cubicBezTo>
                <a:cubicBezTo>
                  <a:pt x="3169762" y="1007603"/>
                  <a:pt x="3161533" y="1009732"/>
                  <a:pt x="3141901" y="1028854"/>
                </a:cubicBezTo>
                <a:cubicBezTo>
                  <a:pt x="3138183" y="1028060"/>
                  <a:pt x="3138978" y="1024344"/>
                  <a:pt x="3134466" y="1027266"/>
                </a:cubicBezTo>
                <a:cubicBezTo>
                  <a:pt x="3135261" y="1023549"/>
                  <a:pt x="3132337" y="1019038"/>
                  <a:pt x="3146664" y="1006555"/>
                </a:cubicBezTo>
                <a:lnTo>
                  <a:pt x="3117592" y="1029227"/>
                </a:lnTo>
                <a:lnTo>
                  <a:pt x="3145894" y="1050894"/>
                </a:lnTo>
                <a:cubicBezTo>
                  <a:pt x="3157109" y="1059495"/>
                  <a:pt x="3167575" y="1067721"/>
                  <a:pt x="3178041" y="1076696"/>
                </a:cubicBezTo>
                <a:cubicBezTo>
                  <a:pt x="3202712" y="1096888"/>
                  <a:pt x="3227383" y="1112033"/>
                  <a:pt x="3255840" y="1110770"/>
                </a:cubicBezTo>
                <a:cubicBezTo>
                  <a:pt x="3265325" y="1110350"/>
                  <a:pt x="3275231" y="1108106"/>
                  <a:pt x="3285698" y="1103619"/>
                </a:cubicBezTo>
                <a:lnTo>
                  <a:pt x="3289132" y="1100387"/>
                </a:lnTo>
                <a:lnTo>
                  <a:pt x="3288029" y="1099174"/>
                </a:lnTo>
                <a:cubicBezTo>
                  <a:pt x="3287320" y="1098467"/>
                  <a:pt x="3286141" y="1097759"/>
                  <a:pt x="3286613" y="1096580"/>
                </a:cubicBezTo>
                <a:cubicBezTo>
                  <a:pt x="3287085" y="1095165"/>
                  <a:pt x="3288265" y="1094929"/>
                  <a:pt x="3289208" y="1095165"/>
                </a:cubicBezTo>
                <a:cubicBezTo>
                  <a:pt x="3293456" y="1096109"/>
                  <a:pt x="3294399" y="1094222"/>
                  <a:pt x="3294163" y="1090449"/>
                </a:cubicBezTo>
                <a:cubicBezTo>
                  <a:pt x="3293928" y="1085731"/>
                  <a:pt x="3296994" y="1082430"/>
                  <a:pt x="3300298" y="1079837"/>
                </a:cubicBezTo>
                <a:cubicBezTo>
                  <a:pt x="3302893" y="1077714"/>
                  <a:pt x="3303130" y="1076063"/>
                  <a:pt x="3300534" y="1074176"/>
                </a:cubicBezTo>
                <a:cubicBezTo>
                  <a:pt x="3299118" y="1073232"/>
                  <a:pt x="3298174" y="1072290"/>
                  <a:pt x="3298646" y="1070403"/>
                </a:cubicBezTo>
                <a:cubicBezTo>
                  <a:pt x="3299118" y="1067809"/>
                  <a:pt x="3301005" y="1068280"/>
                  <a:pt x="3302657" y="1067809"/>
                </a:cubicBezTo>
                <a:cubicBezTo>
                  <a:pt x="3303602" y="1067573"/>
                  <a:pt x="3304781" y="1067573"/>
                  <a:pt x="3305961" y="1067337"/>
                </a:cubicBezTo>
                <a:cubicBezTo>
                  <a:pt x="3312331" y="1066629"/>
                  <a:pt x="3313747" y="1063093"/>
                  <a:pt x="3309972" y="1057668"/>
                </a:cubicBezTo>
                <a:cubicBezTo>
                  <a:pt x="3309500" y="1056961"/>
                  <a:pt x="3309029" y="1056490"/>
                  <a:pt x="3308793" y="1055781"/>
                </a:cubicBezTo>
                <a:cubicBezTo>
                  <a:pt x="3308084" y="1054366"/>
                  <a:pt x="3307613" y="1052480"/>
                  <a:pt x="3309029" y="1051536"/>
                </a:cubicBezTo>
                <a:cubicBezTo>
                  <a:pt x="3310208" y="1050594"/>
                  <a:pt x="3311859" y="1051536"/>
                  <a:pt x="3312804" y="1052480"/>
                </a:cubicBezTo>
                <a:cubicBezTo>
                  <a:pt x="3313747" y="1053423"/>
                  <a:pt x="3314456" y="1054366"/>
                  <a:pt x="3315163" y="1055546"/>
                </a:cubicBezTo>
                <a:cubicBezTo>
                  <a:pt x="3316579" y="1057197"/>
                  <a:pt x="3317994" y="1057668"/>
                  <a:pt x="3319882" y="1056253"/>
                </a:cubicBezTo>
                <a:lnTo>
                  <a:pt x="3326949" y="1054400"/>
                </a:lnTo>
                <a:lnTo>
                  <a:pt x="3336535" y="1016867"/>
                </a:lnTo>
                <a:cubicBezTo>
                  <a:pt x="3345506" y="954046"/>
                  <a:pt x="3354478" y="948063"/>
                  <a:pt x="3411296" y="971995"/>
                </a:cubicBezTo>
                <a:cubicBezTo>
                  <a:pt x="3438210" y="983961"/>
                  <a:pt x="3438210" y="983961"/>
                  <a:pt x="3462134" y="954046"/>
                </a:cubicBezTo>
                <a:cubicBezTo>
                  <a:pt x="3483067" y="924132"/>
                  <a:pt x="3503999" y="894218"/>
                  <a:pt x="3545866" y="903192"/>
                </a:cubicBezTo>
                <a:cubicBezTo>
                  <a:pt x="3566799" y="909174"/>
                  <a:pt x="3569789" y="894218"/>
                  <a:pt x="3572780" y="879260"/>
                </a:cubicBezTo>
                <a:cubicBezTo>
                  <a:pt x="3578760" y="852337"/>
                  <a:pt x="3569789" y="828406"/>
                  <a:pt x="3560818" y="804474"/>
                </a:cubicBezTo>
                <a:cubicBezTo>
                  <a:pt x="3545866" y="768577"/>
                  <a:pt x="3545866" y="735671"/>
                  <a:pt x="3563808" y="702765"/>
                </a:cubicBezTo>
                <a:lnTo>
                  <a:pt x="3569555" y="702765"/>
                </a:lnTo>
                <a:lnTo>
                  <a:pt x="3574974" y="691471"/>
                </a:lnTo>
                <a:cubicBezTo>
                  <a:pt x="3580446" y="686325"/>
                  <a:pt x="3587412" y="681013"/>
                  <a:pt x="3590064" y="677694"/>
                </a:cubicBezTo>
                <a:cubicBezTo>
                  <a:pt x="3589532" y="675637"/>
                  <a:pt x="3588238" y="674875"/>
                  <a:pt x="3586537" y="674876"/>
                </a:cubicBezTo>
                <a:close/>
                <a:moveTo>
                  <a:pt x="11047096" y="644639"/>
                </a:moveTo>
                <a:lnTo>
                  <a:pt x="11046879" y="645000"/>
                </a:lnTo>
                <a:lnTo>
                  <a:pt x="11046628" y="644750"/>
                </a:lnTo>
                <a:close/>
                <a:moveTo>
                  <a:pt x="7433933" y="635263"/>
                </a:moveTo>
                <a:cubicBezTo>
                  <a:pt x="7435775" y="634855"/>
                  <a:pt x="7436793" y="636081"/>
                  <a:pt x="7437611" y="637102"/>
                </a:cubicBezTo>
                <a:cubicBezTo>
                  <a:pt x="7440478" y="640373"/>
                  <a:pt x="7443133" y="643643"/>
                  <a:pt x="7448248" y="642008"/>
                </a:cubicBezTo>
                <a:cubicBezTo>
                  <a:pt x="7449268" y="641803"/>
                  <a:pt x="7449879" y="642621"/>
                  <a:pt x="7450290" y="643439"/>
                </a:cubicBezTo>
                <a:cubicBezTo>
                  <a:pt x="7452539" y="647526"/>
                  <a:pt x="7456224" y="650796"/>
                  <a:pt x="7459293" y="654271"/>
                </a:cubicBezTo>
                <a:cubicBezTo>
                  <a:pt x="7463995" y="659585"/>
                  <a:pt x="7466654" y="665511"/>
                  <a:pt x="7464809" y="672664"/>
                </a:cubicBezTo>
                <a:cubicBezTo>
                  <a:pt x="7464193" y="675526"/>
                  <a:pt x="7465837" y="677365"/>
                  <a:pt x="7467469" y="679001"/>
                </a:cubicBezTo>
                <a:cubicBezTo>
                  <a:pt x="7471148" y="682884"/>
                  <a:pt x="7470943" y="684927"/>
                  <a:pt x="7466852" y="687993"/>
                </a:cubicBezTo>
                <a:cubicBezTo>
                  <a:pt x="7462358" y="691058"/>
                  <a:pt x="7462358" y="691058"/>
                  <a:pt x="7466035" y="695554"/>
                </a:cubicBezTo>
                <a:cubicBezTo>
                  <a:pt x="7466852" y="696577"/>
                  <a:pt x="7467469" y="697394"/>
                  <a:pt x="7466247" y="698621"/>
                </a:cubicBezTo>
                <a:cubicBezTo>
                  <a:pt x="7462147" y="703321"/>
                  <a:pt x="7458470" y="708022"/>
                  <a:pt x="7454175" y="712518"/>
                </a:cubicBezTo>
                <a:cubicBezTo>
                  <a:pt x="7451105" y="715993"/>
                  <a:pt x="7447222" y="718241"/>
                  <a:pt x="7442728" y="719262"/>
                </a:cubicBezTo>
                <a:cubicBezTo>
                  <a:pt x="7439861" y="720080"/>
                  <a:pt x="7434344" y="727438"/>
                  <a:pt x="7434137" y="730503"/>
                </a:cubicBezTo>
                <a:cubicBezTo>
                  <a:pt x="7434137" y="731525"/>
                  <a:pt x="7434137" y="732343"/>
                  <a:pt x="7435364" y="732752"/>
                </a:cubicBezTo>
                <a:cubicBezTo>
                  <a:pt x="7441703" y="735613"/>
                  <a:pt x="7444771" y="741132"/>
                  <a:pt x="7447431" y="747058"/>
                </a:cubicBezTo>
                <a:cubicBezTo>
                  <a:pt x="7448039" y="748285"/>
                  <a:pt x="7448447" y="749307"/>
                  <a:pt x="7449066" y="750328"/>
                </a:cubicBezTo>
                <a:cubicBezTo>
                  <a:pt x="7451105" y="753598"/>
                  <a:pt x="7452132" y="756460"/>
                  <a:pt x="7450700" y="760548"/>
                </a:cubicBezTo>
                <a:cubicBezTo>
                  <a:pt x="7449268" y="764635"/>
                  <a:pt x="7451515" y="768723"/>
                  <a:pt x="7453567" y="772402"/>
                </a:cubicBezTo>
                <a:cubicBezTo>
                  <a:pt x="7454383" y="774240"/>
                  <a:pt x="7454792" y="775467"/>
                  <a:pt x="7453356" y="777306"/>
                </a:cubicBezTo>
                <a:cubicBezTo>
                  <a:pt x="7447629" y="785072"/>
                  <a:pt x="7443340" y="793656"/>
                  <a:pt x="7442522" y="803671"/>
                </a:cubicBezTo>
                <a:cubicBezTo>
                  <a:pt x="7442318" y="805101"/>
                  <a:pt x="7441907" y="805715"/>
                  <a:pt x="7440478" y="805306"/>
                </a:cubicBezTo>
                <a:cubicBezTo>
                  <a:pt x="7434750" y="804080"/>
                  <a:pt x="7431070" y="807146"/>
                  <a:pt x="7428002" y="811233"/>
                </a:cubicBezTo>
                <a:cubicBezTo>
                  <a:pt x="7426567" y="813072"/>
                  <a:pt x="7425343" y="814094"/>
                  <a:pt x="7422685" y="812868"/>
                </a:cubicBezTo>
                <a:cubicBezTo>
                  <a:pt x="7419414" y="811029"/>
                  <a:pt x="7416344" y="812663"/>
                  <a:pt x="7413689" y="814912"/>
                </a:cubicBezTo>
                <a:cubicBezTo>
                  <a:pt x="7411438" y="816751"/>
                  <a:pt x="7409185" y="819000"/>
                  <a:pt x="7406938" y="820839"/>
                </a:cubicBezTo>
                <a:cubicBezTo>
                  <a:pt x="7405812" y="821656"/>
                  <a:pt x="7404742" y="822117"/>
                  <a:pt x="7403871" y="821937"/>
                </a:cubicBezTo>
                <a:cubicBezTo>
                  <a:pt x="7403003" y="821758"/>
                  <a:pt x="7402341" y="820941"/>
                  <a:pt x="7402033" y="819204"/>
                </a:cubicBezTo>
                <a:cubicBezTo>
                  <a:pt x="7402033" y="818386"/>
                  <a:pt x="7401824" y="817569"/>
                  <a:pt x="7401417" y="816751"/>
                </a:cubicBezTo>
                <a:cubicBezTo>
                  <a:pt x="7401009" y="815729"/>
                  <a:pt x="7401009" y="814094"/>
                  <a:pt x="7399578" y="813890"/>
                </a:cubicBezTo>
                <a:cubicBezTo>
                  <a:pt x="7398352" y="813890"/>
                  <a:pt x="7397536" y="814912"/>
                  <a:pt x="7396924" y="815729"/>
                </a:cubicBezTo>
                <a:cubicBezTo>
                  <a:pt x="7393854" y="819204"/>
                  <a:pt x="7392629" y="819000"/>
                  <a:pt x="7390786" y="814708"/>
                </a:cubicBezTo>
                <a:cubicBezTo>
                  <a:pt x="7390377" y="813686"/>
                  <a:pt x="7390175" y="812868"/>
                  <a:pt x="7389560" y="812050"/>
                </a:cubicBezTo>
                <a:cubicBezTo>
                  <a:pt x="7388743" y="810825"/>
                  <a:pt x="7387921" y="809802"/>
                  <a:pt x="7385881" y="810620"/>
                </a:cubicBezTo>
                <a:cubicBezTo>
                  <a:pt x="7384035" y="811641"/>
                  <a:pt x="7384035" y="812459"/>
                  <a:pt x="7384448" y="814094"/>
                </a:cubicBezTo>
                <a:lnTo>
                  <a:pt x="7384794" y="817185"/>
                </a:lnTo>
                <a:lnTo>
                  <a:pt x="7368810" y="801290"/>
                </a:lnTo>
                <a:lnTo>
                  <a:pt x="7369727" y="799993"/>
                </a:lnTo>
                <a:cubicBezTo>
                  <a:pt x="7370134" y="798153"/>
                  <a:pt x="7369521" y="796926"/>
                  <a:pt x="7367884" y="796110"/>
                </a:cubicBezTo>
                <a:cubicBezTo>
                  <a:pt x="7366661" y="795496"/>
                  <a:pt x="7365429" y="795087"/>
                  <a:pt x="7364200" y="794474"/>
                </a:cubicBezTo>
                <a:cubicBezTo>
                  <a:pt x="7362159" y="793452"/>
                  <a:pt x="7361340" y="792022"/>
                  <a:pt x="7361755" y="789569"/>
                </a:cubicBezTo>
                <a:cubicBezTo>
                  <a:pt x="7362978" y="782211"/>
                  <a:pt x="7360319" y="777101"/>
                  <a:pt x="7353775" y="773831"/>
                </a:cubicBezTo>
                <a:cubicBezTo>
                  <a:pt x="7352746" y="773218"/>
                  <a:pt x="7350498" y="773423"/>
                  <a:pt x="7350907" y="771584"/>
                </a:cubicBezTo>
                <a:cubicBezTo>
                  <a:pt x="7351108" y="769744"/>
                  <a:pt x="7352955" y="769335"/>
                  <a:pt x="7354796" y="769131"/>
                </a:cubicBezTo>
                <a:cubicBezTo>
                  <a:pt x="7354997" y="769131"/>
                  <a:pt x="7355211" y="769131"/>
                  <a:pt x="7355410" y="769131"/>
                </a:cubicBezTo>
                <a:cubicBezTo>
                  <a:pt x="7360319" y="768314"/>
                  <a:pt x="7361755" y="766065"/>
                  <a:pt x="7359298" y="762182"/>
                </a:cubicBezTo>
                <a:cubicBezTo>
                  <a:pt x="7357050" y="758503"/>
                  <a:pt x="7357661" y="755642"/>
                  <a:pt x="7359708" y="752577"/>
                </a:cubicBezTo>
                <a:cubicBezTo>
                  <a:pt x="7362364" y="748489"/>
                  <a:pt x="7364410" y="744197"/>
                  <a:pt x="7363182" y="739087"/>
                </a:cubicBezTo>
                <a:cubicBezTo>
                  <a:pt x="7362568" y="736840"/>
                  <a:pt x="7364814" y="735817"/>
                  <a:pt x="7366247" y="735409"/>
                </a:cubicBezTo>
                <a:cubicBezTo>
                  <a:pt x="7371561" y="733570"/>
                  <a:pt x="7374019" y="730094"/>
                  <a:pt x="7374630" y="724781"/>
                </a:cubicBezTo>
                <a:cubicBezTo>
                  <a:pt x="7375040" y="721511"/>
                  <a:pt x="7376268" y="720898"/>
                  <a:pt x="7379541" y="722941"/>
                </a:cubicBezTo>
                <a:cubicBezTo>
                  <a:pt x="7386488" y="727233"/>
                  <a:pt x="7396719" y="724168"/>
                  <a:pt x="7399785" y="717015"/>
                </a:cubicBezTo>
                <a:cubicBezTo>
                  <a:pt x="7400399" y="715584"/>
                  <a:pt x="7401214" y="713745"/>
                  <a:pt x="7399785" y="712518"/>
                </a:cubicBezTo>
                <a:cubicBezTo>
                  <a:pt x="7398352" y="711292"/>
                  <a:pt x="7396311" y="710678"/>
                  <a:pt x="7394466" y="711905"/>
                </a:cubicBezTo>
                <a:cubicBezTo>
                  <a:pt x="7393239" y="712518"/>
                  <a:pt x="7392011" y="713540"/>
                  <a:pt x="7390786" y="714358"/>
                </a:cubicBezTo>
                <a:cubicBezTo>
                  <a:pt x="7389560" y="715379"/>
                  <a:pt x="7388333" y="715993"/>
                  <a:pt x="7387313" y="714766"/>
                </a:cubicBezTo>
                <a:cubicBezTo>
                  <a:pt x="7386086" y="713336"/>
                  <a:pt x="7386901" y="712109"/>
                  <a:pt x="7387921" y="711087"/>
                </a:cubicBezTo>
                <a:cubicBezTo>
                  <a:pt x="7388743" y="710066"/>
                  <a:pt x="7389971" y="709248"/>
                  <a:pt x="7390786" y="708431"/>
                </a:cubicBezTo>
                <a:cubicBezTo>
                  <a:pt x="7392629" y="706592"/>
                  <a:pt x="7393645" y="704139"/>
                  <a:pt x="7391808" y="702095"/>
                </a:cubicBezTo>
                <a:cubicBezTo>
                  <a:pt x="7390175" y="700460"/>
                  <a:pt x="7387921" y="702095"/>
                  <a:pt x="7386290" y="703321"/>
                </a:cubicBezTo>
                <a:cubicBezTo>
                  <a:pt x="7384859" y="704343"/>
                  <a:pt x="7383831" y="706183"/>
                  <a:pt x="7381992" y="706795"/>
                </a:cubicBezTo>
                <a:cubicBezTo>
                  <a:pt x="7379335" y="707817"/>
                  <a:pt x="7377698" y="707408"/>
                  <a:pt x="7377902" y="704139"/>
                </a:cubicBezTo>
                <a:cubicBezTo>
                  <a:pt x="7378110" y="699642"/>
                  <a:pt x="7379944" y="695963"/>
                  <a:pt x="7382409" y="692489"/>
                </a:cubicBezTo>
                <a:cubicBezTo>
                  <a:pt x="7385467" y="687993"/>
                  <a:pt x="7385674" y="685540"/>
                  <a:pt x="7382409" y="681248"/>
                </a:cubicBezTo>
                <a:cubicBezTo>
                  <a:pt x="7381376" y="679613"/>
                  <a:pt x="7379748" y="678183"/>
                  <a:pt x="7378314" y="676752"/>
                </a:cubicBezTo>
                <a:cubicBezTo>
                  <a:pt x="7377698" y="676139"/>
                  <a:pt x="7376678" y="675526"/>
                  <a:pt x="7377086" y="674504"/>
                </a:cubicBezTo>
                <a:cubicBezTo>
                  <a:pt x="7377493" y="673278"/>
                  <a:pt x="7378521" y="673073"/>
                  <a:pt x="7379335" y="673278"/>
                </a:cubicBezTo>
                <a:cubicBezTo>
                  <a:pt x="7383014" y="674095"/>
                  <a:pt x="7383831" y="672460"/>
                  <a:pt x="7383635" y="669190"/>
                </a:cubicBezTo>
                <a:cubicBezTo>
                  <a:pt x="7383429" y="665102"/>
                  <a:pt x="7386086" y="662241"/>
                  <a:pt x="7388950" y="659993"/>
                </a:cubicBezTo>
                <a:cubicBezTo>
                  <a:pt x="7391198" y="658154"/>
                  <a:pt x="7391401" y="656723"/>
                  <a:pt x="7389153" y="655088"/>
                </a:cubicBezTo>
                <a:cubicBezTo>
                  <a:pt x="7387921" y="654271"/>
                  <a:pt x="7387109" y="653453"/>
                  <a:pt x="7387520" y="651818"/>
                </a:cubicBezTo>
                <a:cubicBezTo>
                  <a:pt x="7387921" y="649570"/>
                  <a:pt x="7389560" y="649978"/>
                  <a:pt x="7390990" y="649570"/>
                </a:cubicBezTo>
                <a:cubicBezTo>
                  <a:pt x="7391808" y="649365"/>
                  <a:pt x="7392834" y="649365"/>
                  <a:pt x="7393854" y="649161"/>
                </a:cubicBezTo>
                <a:cubicBezTo>
                  <a:pt x="7399373" y="648547"/>
                  <a:pt x="7400604" y="645482"/>
                  <a:pt x="7397332" y="640781"/>
                </a:cubicBezTo>
                <a:cubicBezTo>
                  <a:pt x="7396924" y="640169"/>
                  <a:pt x="7396509" y="639760"/>
                  <a:pt x="7396311" y="639147"/>
                </a:cubicBezTo>
                <a:cubicBezTo>
                  <a:pt x="7395692" y="637920"/>
                  <a:pt x="7395282" y="636286"/>
                  <a:pt x="7396509" y="635468"/>
                </a:cubicBezTo>
                <a:cubicBezTo>
                  <a:pt x="7397536" y="634650"/>
                  <a:pt x="7398966" y="635468"/>
                  <a:pt x="7399785" y="636286"/>
                </a:cubicBezTo>
                <a:cubicBezTo>
                  <a:pt x="7400604" y="637102"/>
                  <a:pt x="7401214" y="637920"/>
                  <a:pt x="7401824" y="638942"/>
                </a:cubicBezTo>
                <a:cubicBezTo>
                  <a:pt x="7403055" y="640373"/>
                  <a:pt x="7404279" y="640781"/>
                  <a:pt x="7405913" y="639556"/>
                </a:cubicBezTo>
                <a:cubicBezTo>
                  <a:pt x="7409802" y="636898"/>
                  <a:pt x="7414098" y="636490"/>
                  <a:pt x="7418389" y="636286"/>
                </a:cubicBezTo>
                <a:cubicBezTo>
                  <a:pt x="7423504" y="635877"/>
                  <a:pt x="7428820" y="636490"/>
                  <a:pt x="7433933" y="635263"/>
                </a:cubicBezTo>
                <a:close/>
                <a:moveTo>
                  <a:pt x="3394788" y="627624"/>
                </a:moveTo>
                <a:lnTo>
                  <a:pt x="3395256" y="627734"/>
                </a:lnTo>
                <a:lnTo>
                  <a:pt x="3395003" y="627985"/>
                </a:lnTo>
                <a:close/>
                <a:moveTo>
                  <a:pt x="8029108" y="625311"/>
                </a:moveTo>
                <a:cubicBezTo>
                  <a:pt x="8036039" y="624769"/>
                  <a:pt x="8042290" y="625312"/>
                  <a:pt x="8044465" y="629112"/>
                </a:cubicBezTo>
                <a:cubicBezTo>
                  <a:pt x="8057509" y="650826"/>
                  <a:pt x="8091209" y="642140"/>
                  <a:pt x="8098818" y="671455"/>
                </a:cubicBezTo>
                <a:cubicBezTo>
                  <a:pt x="8100992" y="680141"/>
                  <a:pt x="8116211" y="685569"/>
                  <a:pt x="8102081" y="697512"/>
                </a:cubicBezTo>
                <a:cubicBezTo>
                  <a:pt x="8097732" y="700769"/>
                  <a:pt x="8098818" y="707284"/>
                  <a:pt x="8103167" y="708369"/>
                </a:cubicBezTo>
                <a:cubicBezTo>
                  <a:pt x="8120562" y="714884"/>
                  <a:pt x="8119475" y="724655"/>
                  <a:pt x="8108604" y="737685"/>
                </a:cubicBezTo>
                <a:cubicBezTo>
                  <a:pt x="8105342" y="742027"/>
                  <a:pt x="8109688" y="747456"/>
                  <a:pt x="8111866" y="751798"/>
                </a:cubicBezTo>
                <a:cubicBezTo>
                  <a:pt x="8116211" y="758313"/>
                  <a:pt x="8117300" y="764828"/>
                  <a:pt x="8110778" y="770257"/>
                </a:cubicBezTo>
                <a:cubicBezTo>
                  <a:pt x="8104253" y="775685"/>
                  <a:pt x="8105342" y="782199"/>
                  <a:pt x="8103167" y="788714"/>
                </a:cubicBezTo>
                <a:cubicBezTo>
                  <a:pt x="8097732" y="805000"/>
                  <a:pt x="8091209" y="825628"/>
                  <a:pt x="8079252" y="833228"/>
                </a:cubicBezTo>
                <a:cubicBezTo>
                  <a:pt x="8053161" y="849514"/>
                  <a:pt x="8028157" y="866886"/>
                  <a:pt x="8002067" y="882086"/>
                </a:cubicBezTo>
                <a:cubicBezTo>
                  <a:pt x="7999892" y="882086"/>
                  <a:pt x="7995542" y="882086"/>
                  <a:pt x="7994453" y="879915"/>
                </a:cubicBezTo>
                <a:cubicBezTo>
                  <a:pt x="7983584" y="870144"/>
                  <a:pt x="7973799" y="861458"/>
                  <a:pt x="7959670" y="875572"/>
                </a:cubicBezTo>
                <a:cubicBezTo>
                  <a:pt x="7955320" y="881001"/>
                  <a:pt x="7952059" y="875572"/>
                  <a:pt x="7950973" y="871229"/>
                </a:cubicBezTo>
                <a:cubicBezTo>
                  <a:pt x="7947712" y="852772"/>
                  <a:pt x="7939014" y="852772"/>
                  <a:pt x="7925967" y="863629"/>
                </a:cubicBezTo>
                <a:cubicBezTo>
                  <a:pt x="7917269" y="871229"/>
                  <a:pt x="7912920" y="869058"/>
                  <a:pt x="7912920" y="858200"/>
                </a:cubicBezTo>
                <a:cubicBezTo>
                  <a:pt x="7912920" y="851685"/>
                  <a:pt x="7915096" y="844086"/>
                  <a:pt x="7905311" y="843000"/>
                </a:cubicBezTo>
                <a:cubicBezTo>
                  <a:pt x="7883569" y="838657"/>
                  <a:pt x="7874872" y="823457"/>
                  <a:pt x="7875957" y="803914"/>
                </a:cubicBezTo>
                <a:cubicBezTo>
                  <a:pt x="7877047" y="789799"/>
                  <a:pt x="7872698" y="783285"/>
                  <a:pt x="7862914" y="777857"/>
                </a:cubicBezTo>
                <a:cubicBezTo>
                  <a:pt x="7862914" y="773513"/>
                  <a:pt x="7862914" y="769170"/>
                  <a:pt x="7862914" y="764828"/>
                </a:cubicBezTo>
                <a:cubicBezTo>
                  <a:pt x="7873787" y="758313"/>
                  <a:pt x="7877047" y="746370"/>
                  <a:pt x="7873787" y="735512"/>
                </a:cubicBezTo>
                <a:cubicBezTo>
                  <a:pt x="7868349" y="715970"/>
                  <a:pt x="7874872" y="700769"/>
                  <a:pt x="7889004" y="687741"/>
                </a:cubicBezTo>
                <a:cubicBezTo>
                  <a:pt x="7894439" y="682312"/>
                  <a:pt x="7899873" y="677969"/>
                  <a:pt x="7902049" y="670370"/>
                </a:cubicBezTo>
                <a:cubicBezTo>
                  <a:pt x="7904223" y="658426"/>
                  <a:pt x="7910747" y="651911"/>
                  <a:pt x="7922706" y="652997"/>
                </a:cubicBezTo>
                <a:cubicBezTo>
                  <a:pt x="7931402" y="652997"/>
                  <a:pt x="7937926" y="647569"/>
                  <a:pt x="7941186" y="643226"/>
                </a:cubicBezTo>
                <a:cubicBezTo>
                  <a:pt x="7959670" y="617168"/>
                  <a:pt x="7986846" y="631283"/>
                  <a:pt x="8009675" y="628025"/>
                </a:cubicBezTo>
                <a:cubicBezTo>
                  <a:pt x="8014567" y="627482"/>
                  <a:pt x="8022177" y="625854"/>
                  <a:pt x="8029108" y="625311"/>
                </a:cubicBezTo>
                <a:close/>
                <a:moveTo>
                  <a:pt x="6059638" y="614178"/>
                </a:moveTo>
                <a:cubicBezTo>
                  <a:pt x="6062811" y="614214"/>
                  <a:pt x="6065838" y="615006"/>
                  <a:pt x="6068290" y="618463"/>
                </a:cubicBezTo>
                <a:cubicBezTo>
                  <a:pt x="6069155" y="619615"/>
                  <a:pt x="6070885" y="621055"/>
                  <a:pt x="6073191" y="621055"/>
                </a:cubicBezTo>
                <a:cubicBezTo>
                  <a:pt x="6076364" y="620767"/>
                  <a:pt x="6078096" y="622496"/>
                  <a:pt x="6078671" y="625664"/>
                </a:cubicBezTo>
                <a:cubicBezTo>
                  <a:pt x="6079246" y="627680"/>
                  <a:pt x="6080689" y="628832"/>
                  <a:pt x="6082131" y="630272"/>
                </a:cubicBezTo>
                <a:cubicBezTo>
                  <a:pt x="6085880" y="633727"/>
                  <a:pt x="6087612" y="637760"/>
                  <a:pt x="6086168" y="642945"/>
                </a:cubicBezTo>
                <a:cubicBezTo>
                  <a:pt x="6085305" y="645825"/>
                  <a:pt x="6086168" y="648993"/>
                  <a:pt x="6089054" y="650722"/>
                </a:cubicBezTo>
                <a:cubicBezTo>
                  <a:pt x="6089054" y="651873"/>
                  <a:pt x="6089054" y="653025"/>
                  <a:pt x="6089054" y="654178"/>
                </a:cubicBezTo>
                <a:cubicBezTo>
                  <a:pt x="6086456" y="655617"/>
                  <a:pt x="6085305" y="657346"/>
                  <a:pt x="6085593" y="661090"/>
                </a:cubicBezTo>
                <a:cubicBezTo>
                  <a:pt x="6085880" y="666274"/>
                  <a:pt x="6083574" y="670307"/>
                  <a:pt x="6077806" y="671460"/>
                </a:cubicBezTo>
                <a:cubicBezTo>
                  <a:pt x="6075211" y="671747"/>
                  <a:pt x="6075788" y="673763"/>
                  <a:pt x="6075788" y="675491"/>
                </a:cubicBezTo>
                <a:cubicBezTo>
                  <a:pt x="6075788" y="678372"/>
                  <a:pt x="6074633" y="678948"/>
                  <a:pt x="6072329" y="676931"/>
                </a:cubicBezTo>
                <a:cubicBezTo>
                  <a:pt x="6068866" y="674052"/>
                  <a:pt x="6066559" y="674052"/>
                  <a:pt x="6065693" y="678948"/>
                </a:cubicBezTo>
                <a:cubicBezTo>
                  <a:pt x="6065406" y="680099"/>
                  <a:pt x="6064540" y="681540"/>
                  <a:pt x="6063388" y="680099"/>
                </a:cubicBezTo>
                <a:cubicBezTo>
                  <a:pt x="6059637" y="676355"/>
                  <a:pt x="6057041" y="678660"/>
                  <a:pt x="6054160" y="681252"/>
                </a:cubicBezTo>
                <a:cubicBezTo>
                  <a:pt x="6053870" y="681828"/>
                  <a:pt x="6052716" y="681828"/>
                  <a:pt x="6052141" y="681828"/>
                </a:cubicBezTo>
                <a:cubicBezTo>
                  <a:pt x="6045218" y="677796"/>
                  <a:pt x="6038584" y="673187"/>
                  <a:pt x="6031663" y="668866"/>
                </a:cubicBezTo>
                <a:cubicBezTo>
                  <a:pt x="6028492" y="666850"/>
                  <a:pt x="6026762" y="661379"/>
                  <a:pt x="6025319" y="657058"/>
                </a:cubicBezTo>
                <a:cubicBezTo>
                  <a:pt x="6024743" y="655330"/>
                  <a:pt x="6025032" y="653601"/>
                  <a:pt x="6023301" y="652162"/>
                </a:cubicBezTo>
                <a:cubicBezTo>
                  <a:pt x="6021571" y="650722"/>
                  <a:pt x="6021857" y="648993"/>
                  <a:pt x="6023013" y="647265"/>
                </a:cubicBezTo>
                <a:cubicBezTo>
                  <a:pt x="6023588" y="646113"/>
                  <a:pt x="6024743" y="644673"/>
                  <a:pt x="6023879" y="643521"/>
                </a:cubicBezTo>
                <a:cubicBezTo>
                  <a:pt x="6020995" y="640065"/>
                  <a:pt x="6020706" y="637472"/>
                  <a:pt x="6025319" y="635744"/>
                </a:cubicBezTo>
                <a:cubicBezTo>
                  <a:pt x="6026474" y="635456"/>
                  <a:pt x="6026762" y="633727"/>
                  <a:pt x="6025608" y="632864"/>
                </a:cubicBezTo>
                <a:cubicBezTo>
                  <a:pt x="6021857" y="629696"/>
                  <a:pt x="6025897" y="628256"/>
                  <a:pt x="6026474" y="625951"/>
                </a:cubicBezTo>
                <a:cubicBezTo>
                  <a:pt x="6028492" y="618175"/>
                  <a:pt x="6037432" y="620478"/>
                  <a:pt x="6040894" y="614718"/>
                </a:cubicBezTo>
                <a:cubicBezTo>
                  <a:pt x="6042046" y="612702"/>
                  <a:pt x="6047525" y="614142"/>
                  <a:pt x="6050121" y="614431"/>
                </a:cubicBezTo>
                <a:cubicBezTo>
                  <a:pt x="6053148" y="614863"/>
                  <a:pt x="6056465" y="614142"/>
                  <a:pt x="6059638" y="614178"/>
                </a:cubicBezTo>
                <a:close/>
                <a:moveTo>
                  <a:pt x="4648105" y="595669"/>
                </a:moveTo>
                <a:lnTo>
                  <a:pt x="4647445" y="596769"/>
                </a:lnTo>
                <a:lnTo>
                  <a:pt x="4646681" y="596006"/>
                </a:lnTo>
                <a:close/>
                <a:moveTo>
                  <a:pt x="10264008" y="590978"/>
                </a:moveTo>
                <a:cubicBezTo>
                  <a:pt x="10269086" y="592921"/>
                  <a:pt x="10273771" y="595643"/>
                  <a:pt x="10275725" y="601862"/>
                </a:cubicBezTo>
                <a:cubicBezTo>
                  <a:pt x="10276115" y="603028"/>
                  <a:pt x="10278457" y="603806"/>
                  <a:pt x="10278066" y="606138"/>
                </a:cubicBezTo>
                <a:cubicBezTo>
                  <a:pt x="10276896" y="612357"/>
                  <a:pt x="10281581" y="614301"/>
                  <a:pt x="10285487" y="615467"/>
                </a:cubicBezTo>
                <a:cubicBezTo>
                  <a:pt x="10288220" y="616245"/>
                  <a:pt x="10289782" y="617411"/>
                  <a:pt x="10291344" y="618966"/>
                </a:cubicBezTo>
                <a:cubicBezTo>
                  <a:pt x="10296030" y="623241"/>
                  <a:pt x="10295639" y="629073"/>
                  <a:pt x="10296809" y="634515"/>
                </a:cubicBezTo>
                <a:cubicBezTo>
                  <a:pt x="10297590" y="639568"/>
                  <a:pt x="10295249" y="643455"/>
                  <a:pt x="10293296" y="647731"/>
                </a:cubicBezTo>
                <a:cubicBezTo>
                  <a:pt x="10291344" y="652396"/>
                  <a:pt x="10288220" y="656283"/>
                  <a:pt x="10282363" y="656283"/>
                </a:cubicBezTo>
                <a:cubicBezTo>
                  <a:pt x="10281581" y="656283"/>
                  <a:pt x="10281190" y="656672"/>
                  <a:pt x="10281190" y="657838"/>
                </a:cubicBezTo>
                <a:cubicBezTo>
                  <a:pt x="10278457" y="657838"/>
                  <a:pt x="10276115" y="657838"/>
                  <a:pt x="10273382" y="657838"/>
                </a:cubicBezTo>
                <a:cubicBezTo>
                  <a:pt x="10271430" y="655117"/>
                  <a:pt x="10267526" y="655506"/>
                  <a:pt x="10264788" y="653562"/>
                </a:cubicBezTo>
                <a:cubicBezTo>
                  <a:pt x="10262055" y="651619"/>
                  <a:pt x="10259712" y="650064"/>
                  <a:pt x="10258932" y="646566"/>
                </a:cubicBezTo>
                <a:cubicBezTo>
                  <a:pt x="10258541" y="642678"/>
                  <a:pt x="10256591" y="639180"/>
                  <a:pt x="10254637" y="636069"/>
                </a:cubicBezTo>
                <a:cubicBezTo>
                  <a:pt x="10252687" y="632571"/>
                  <a:pt x="10251122" y="629073"/>
                  <a:pt x="10249171" y="625962"/>
                </a:cubicBezTo>
                <a:cubicBezTo>
                  <a:pt x="10247610" y="622464"/>
                  <a:pt x="10244486" y="619355"/>
                  <a:pt x="10240582" y="617411"/>
                </a:cubicBezTo>
                <a:cubicBezTo>
                  <a:pt x="10240582" y="612746"/>
                  <a:pt x="10240582" y="608081"/>
                  <a:pt x="10240582" y="603417"/>
                </a:cubicBezTo>
                <a:cubicBezTo>
                  <a:pt x="10242924" y="602251"/>
                  <a:pt x="10244096" y="600695"/>
                  <a:pt x="10245266" y="597974"/>
                </a:cubicBezTo>
                <a:cubicBezTo>
                  <a:pt x="10246827" y="594865"/>
                  <a:pt x="10250343" y="592532"/>
                  <a:pt x="10253859" y="592532"/>
                </a:cubicBezTo>
                <a:cubicBezTo>
                  <a:pt x="10257372" y="592532"/>
                  <a:pt x="10260494" y="591755"/>
                  <a:pt x="10264008" y="590978"/>
                </a:cubicBezTo>
                <a:close/>
                <a:moveTo>
                  <a:pt x="7190286" y="590977"/>
                </a:moveTo>
                <a:cubicBezTo>
                  <a:pt x="7195361" y="592921"/>
                  <a:pt x="7200045" y="595642"/>
                  <a:pt x="7201999" y="601862"/>
                </a:cubicBezTo>
                <a:cubicBezTo>
                  <a:pt x="7202390" y="603028"/>
                  <a:pt x="7204734" y="603806"/>
                  <a:pt x="7204343" y="606137"/>
                </a:cubicBezTo>
                <a:cubicBezTo>
                  <a:pt x="7203171" y="612357"/>
                  <a:pt x="7207854" y="614301"/>
                  <a:pt x="7211760" y="615467"/>
                </a:cubicBezTo>
                <a:cubicBezTo>
                  <a:pt x="7214492" y="616244"/>
                  <a:pt x="7216055" y="617411"/>
                  <a:pt x="7217621" y="618965"/>
                </a:cubicBezTo>
                <a:cubicBezTo>
                  <a:pt x="7222306" y="623241"/>
                  <a:pt x="7221914" y="629072"/>
                  <a:pt x="7223084" y="634515"/>
                </a:cubicBezTo>
                <a:cubicBezTo>
                  <a:pt x="7223865" y="639568"/>
                  <a:pt x="7221525" y="643455"/>
                  <a:pt x="7219572" y="647731"/>
                </a:cubicBezTo>
                <a:cubicBezTo>
                  <a:pt x="7217621" y="652396"/>
                  <a:pt x="7214492" y="656283"/>
                  <a:pt x="7208637" y="656283"/>
                </a:cubicBezTo>
                <a:cubicBezTo>
                  <a:pt x="7207854" y="656283"/>
                  <a:pt x="7207467" y="656671"/>
                  <a:pt x="7207467" y="657838"/>
                </a:cubicBezTo>
                <a:cubicBezTo>
                  <a:pt x="7204734" y="657838"/>
                  <a:pt x="7202390" y="657838"/>
                  <a:pt x="7199654" y="657838"/>
                </a:cubicBezTo>
                <a:cubicBezTo>
                  <a:pt x="7197703" y="655117"/>
                  <a:pt x="7193799" y="655506"/>
                  <a:pt x="7191067" y="653562"/>
                </a:cubicBezTo>
                <a:cubicBezTo>
                  <a:pt x="7188336" y="651618"/>
                  <a:pt x="7185993" y="650064"/>
                  <a:pt x="7185209" y="646565"/>
                </a:cubicBezTo>
                <a:cubicBezTo>
                  <a:pt x="7184821" y="642678"/>
                  <a:pt x="7182862" y="639179"/>
                  <a:pt x="7180915" y="636069"/>
                </a:cubicBezTo>
                <a:cubicBezTo>
                  <a:pt x="7178960" y="632571"/>
                  <a:pt x="7177402" y="629072"/>
                  <a:pt x="7175448" y="625962"/>
                </a:cubicBezTo>
                <a:cubicBezTo>
                  <a:pt x="7173889" y="622464"/>
                  <a:pt x="7170764" y="619355"/>
                  <a:pt x="7166858" y="617411"/>
                </a:cubicBezTo>
                <a:cubicBezTo>
                  <a:pt x="7166858" y="612746"/>
                  <a:pt x="7166858" y="608081"/>
                  <a:pt x="7166858" y="603416"/>
                </a:cubicBezTo>
                <a:cubicBezTo>
                  <a:pt x="7169204" y="602251"/>
                  <a:pt x="7170374" y="600695"/>
                  <a:pt x="7171546" y="597974"/>
                </a:cubicBezTo>
                <a:cubicBezTo>
                  <a:pt x="7173106" y="594865"/>
                  <a:pt x="7176619" y="592532"/>
                  <a:pt x="7180131" y="592532"/>
                </a:cubicBezTo>
                <a:cubicBezTo>
                  <a:pt x="7183646" y="592532"/>
                  <a:pt x="7186773" y="591755"/>
                  <a:pt x="7190286" y="590977"/>
                </a:cubicBezTo>
                <a:close/>
                <a:moveTo>
                  <a:pt x="5629011" y="588863"/>
                </a:moveTo>
                <a:cubicBezTo>
                  <a:pt x="5632527" y="589640"/>
                  <a:pt x="5635651" y="590418"/>
                  <a:pt x="5639165" y="590418"/>
                </a:cubicBezTo>
                <a:cubicBezTo>
                  <a:pt x="5642679" y="590418"/>
                  <a:pt x="5646195" y="592751"/>
                  <a:pt x="5647755" y="595860"/>
                </a:cubicBezTo>
                <a:cubicBezTo>
                  <a:pt x="5648927" y="598581"/>
                  <a:pt x="5650099" y="600137"/>
                  <a:pt x="5652441" y="601302"/>
                </a:cubicBezTo>
                <a:cubicBezTo>
                  <a:pt x="5652441" y="605967"/>
                  <a:pt x="5652441" y="610632"/>
                  <a:pt x="5652441" y="615297"/>
                </a:cubicBezTo>
                <a:cubicBezTo>
                  <a:pt x="5648537" y="617240"/>
                  <a:pt x="5645414" y="620349"/>
                  <a:pt x="5643849" y="623848"/>
                </a:cubicBezTo>
                <a:cubicBezTo>
                  <a:pt x="5641900" y="626958"/>
                  <a:pt x="5640337" y="630456"/>
                  <a:pt x="5638384" y="633955"/>
                </a:cubicBezTo>
                <a:cubicBezTo>
                  <a:pt x="5636433" y="637065"/>
                  <a:pt x="5634480" y="640563"/>
                  <a:pt x="5634090" y="644451"/>
                </a:cubicBezTo>
                <a:cubicBezTo>
                  <a:pt x="5633308" y="647949"/>
                  <a:pt x="5630965" y="649504"/>
                  <a:pt x="5628233" y="651448"/>
                </a:cubicBezTo>
                <a:cubicBezTo>
                  <a:pt x="5625498" y="653392"/>
                  <a:pt x="5621594" y="653002"/>
                  <a:pt x="5619641" y="655723"/>
                </a:cubicBezTo>
                <a:cubicBezTo>
                  <a:pt x="5616909" y="655723"/>
                  <a:pt x="5614565" y="655723"/>
                  <a:pt x="5611833" y="655723"/>
                </a:cubicBezTo>
                <a:cubicBezTo>
                  <a:pt x="5611833" y="654557"/>
                  <a:pt x="5611442" y="654169"/>
                  <a:pt x="5610661" y="654169"/>
                </a:cubicBezTo>
                <a:cubicBezTo>
                  <a:pt x="5604803" y="654169"/>
                  <a:pt x="5601680" y="650281"/>
                  <a:pt x="5599727" y="645616"/>
                </a:cubicBezTo>
                <a:cubicBezTo>
                  <a:pt x="5597773" y="641341"/>
                  <a:pt x="5595432" y="637453"/>
                  <a:pt x="5596214" y="632400"/>
                </a:cubicBezTo>
                <a:cubicBezTo>
                  <a:pt x="5597385" y="626958"/>
                  <a:pt x="5596995" y="621127"/>
                  <a:pt x="5601680" y="616851"/>
                </a:cubicBezTo>
                <a:cubicBezTo>
                  <a:pt x="5603240" y="615297"/>
                  <a:pt x="5604803" y="614130"/>
                  <a:pt x="5607536" y="613353"/>
                </a:cubicBezTo>
                <a:cubicBezTo>
                  <a:pt x="5611442" y="612186"/>
                  <a:pt x="5616127" y="610242"/>
                  <a:pt x="5614955" y="604023"/>
                </a:cubicBezTo>
                <a:cubicBezTo>
                  <a:pt x="5614565" y="601691"/>
                  <a:pt x="5616909" y="600914"/>
                  <a:pt x="5617299" y="599747"/>
                </a:cubicBezTo>
                <a:cubicBezTo>
                  <a:pt x="5619250" y="593528"/>
                  <a:pt x="5623937" y="590807"/>
                  <a:pt x="5629011" y="588863"/>
                </a:cubicBezTo>
                <a:close/>
                <a:moveTo>
                  <a:pt x="1938863" y="586191"/>
                </a:moveTo>
                <a:cubicBezTo>
                  <a:pt x="1942605" y="587019"/>
                  <a:pt x="1945932" y="587847"/>
                  <a:pt x="1949675" y="587847"/>
                </a:cubicBezTo>
                <a:cubicBezTo>
                  <a:pt x="1953418" y="587847"/>
                  <a:pt x="1957159" y="590331"/>
                  <a:pt x="1958824" y="593642"/>
                </a:cubicBezTo>
                <a:cubicBezTo>
                  <a:pt x="1960070" y="596540"/>
                  <a:pt x="1961318" y="598197"/>
                  <a:pt x="1963813" y="599438"/>
                </a:cubicBezTo>
                <a:cubicBezTo>
                  <a:pt x="1963813" y="604406"/>
                  <a:pt x="1963813" y="609374"/>
                  <a:pt x="1963813" y="614342"/>
                </a:cubicBezTo>
                <a:cubicBezTo>
                  <a:pt x="1959655" y="616412"/>
                  <a:pt x="1956329" y="619723"/>
                  <a:pt x="1954665" y="623449"/>
                </a:cubicBezTo>
                <a:cubicBezTo>
                  <a:pt x="1952585" y="626761"/>
                  <a:pt x="1950923" y="630487"/>
                  <a:pt x="1948843" y="634212"/>
                </a:cubicBezTo>
                <a:cubicBezTo>
                  <a:pt x="1946764" y="637524"/>
                  <a:pt x="1944684" y="641251"/>
                  <a:pt x="1944269" y="645390"/>
                </a:cubicBezTo>
                <a:cubicBezTo>
                  <a:pt x="1943437" y="649117"/>
                  <a:pt x="1940943" y="650772"/>
                  <a:pt x="1938030" y="652842"/>
                </a:cubicBezTo>
                <a:cubicBezTo>
                  <a:pt x="1935120" y="654912"/>
                  <a:pt x="1930961" y="654498"/>
                  <a:pt x="1928883" y="657396"/>
                </a:cubicBezTo>
                <a:cubicBezTo>
                  <a:pt x="1925972" y="657396"/>
                  <a:pt x="1923476" y="657396"/>
                  <a:pt x="1920566" y="657396"/>
                </a:cubicBezTo>
                <a:cubicBezTo>
                  <a:pt x="1920566" y="656153"/>
                  <a:pt x="1920149" y="655740"/>
                  <a:pt x="1919319" y="655740"/>
                </a:cubicBezTo>
                <a:cubicBezTo>
                  <a:pt x="1913080" y="655740"/>
                  <a:pt x="1909754" y="651600"/>
                  <a:pt x="1907674" y="646632"/>
                </a:cubicBezTo>
                <a:cubicBezTo>
                  <a:pt x="1905595" y="642078"/>
                  <a:pt x="1903100" y="637939"/>
                  <a:pt x="1903932" y="632557"/>
                </a:cubicBezTo>
                <a:cubicBezTo>
                  <a:pt x="1905180" y="626761"/>
                  <a:pt x="1904764" y="620551"/>
                  <a:pt x="1909754" y="615997"/>
                </a:cubicBezTo>
                <a:cubicBezTo>
                  <a:pt x="1911417" y="614342"/>
                  <a:pt x="1913080" y="613099"/>
                  <a:pt x="1915991" y="612272"/>
                </a:cubicBezTo>
                <a:cubicBezTo>
                  <a:pt x="1920149" y="611030"/>
                  <a:pt x="1925140" y="608960"/>
                  <a:pt x="1923893" y="602336"/>
                </a:cubicBezTo>
                <a:cubicBezTo>
                  <a:pt x="1923476" y="599852"/>
                  <a:pt x="1925972" y="599025"/>
                  <a:pt x="1926388" y="597783"/>
                </a:cubicBezTo>
                <a:cubicBezTo>
                  <a:pt x="1928466" y="591159"/>
                  <a:pt x="1933456" y="588261"/>
                  <a:pt x="1938863" y="586191"/>
                </a:cubicBezTo>
                <a:close/>
                <a:moveTo>
                  <a:pt x="10542006" y="581236"/>
                </a:moveTo>
                <a:cubicBezTo>
                  <a:pt x="10546256" y="581188"/>
                  <a:pt x="10550699" y="582153"/>
                  <a:pt x="10554756" y="581574"/>
                </a:cubicBezTo>
                <a:cubicBezTo>
                  <a:pt x="10558235" y="581188"/>
                  <a:pt x="10565573" y="579258"/>
                  <a:pt x="10567119" y="581960"/>
                </a:cubicBezTo>
                <a:cubicBezTo>
                  <a:pt x="10571755" y="589677"/>
                  <a:pt x="10583733" y="586589"/>
                  <a:pt x="10586438" y="597008"/>
                </a:cubicBezTo>
                <a:cubicBezTo>
                  <a:pt x="10587210" y="600095"/>
                  <a:pt x="10592620" y="602025"/>
                  <a:pt x="10587598" y="606270"/>
                </a:cubicBezTo>
                <a:cubicBezTo>
                  <a:pt x="10586052" y="607428"/>
                  <a:pt x="10586438" y="609742"/>
                  <a:pt x="10587983" y="610128"/>
                </a:cubicBezTo>
                <a:cubicBezTo>
                  <a:pt x="10594166" y="612443"/>
                  <a:pt x="10593778" y="615917"/>
                  <a:pt x="10589915" y="620547"/>
                </a:cubicBezTo>
                <a:cubicBezTo>
                  <a:pt x="10588756" y="622090"/>
                  <a:pt x="10590301" y="624020"/>
                  <a:pt x="10591074" y="625563"/>
                </a:cubicBezTo>
                <a:cubicBezTo>
                  <a:pt x="10592620" y="627879"/>
                  <a:pt x="10593006" y="630194"/>
                  <a:pt x="10590688" y="632124"/>
                </a:cubicBezTo>
                <a:cubicBezTo>
                  <a:pt x="10588369" y="634052"/>
                  <a:pt x="10588756" y="636368"/>
                  <a:pt x="10587983" y="638683"/>
                </a:cubicBezTo>
                <a:cubicBezTo>
                  <a:pt x="10586052" y="644471"/>
                  <a:pt x="10583733" y="651803"/>
                  <a:pt x="10579484" y="654505"/>
                </a:cubicBezTo>
                <a:cubicBezTo>
                  <a:pt x="10570210" y="660292"/>
                  <a:pt x="10561325" y="666467"/>
                  <a:pt x="10552052" y="671869"/>
                </a:cubicBezTo>
                <a:cubicBezTo>
                  <a:pt x="10551280" y="671869"/>
                  <a:pt x="10549734" y="671869"/>
                  <a:pt x="10549347" y="671097"/>
                </a:cubicBezTo>
                <a:cubicBezTo>
                  <a:pt x="10547416" y="669361"/>
                  <a:pt x="10545579" y="667721"/>
                  <a:pt x="10543599" y="667141"/>
                </a:cubicBezTo>
                <a:lnTo>
                  <a:pt x="10537539" y="669351"/>
                </a:lnTo>
                <a:lnTo>
                  <a:pt x="10538535" y="672665"/>
                </a:lnTo>
                <a:cubicBezTo>
                  <a:pt x="10537920" y="675527"/>
                  <a:pt x="10539557" y="677365"/>
                  <a:pt x="10541192" y="679001"/>
                </a:cubicBezTo>
                <a:cubicBezTo>
                  <a:pt x="10544872" y="682884"/>
                  <a:pt x="10544668" y="684927"/>
                  <a:pt x="10540578" y="687993"/>
                </a:cubicBezTo>
                <a:cubicBezTo>
                  <a:pt x="10536081" y="691058"/>
                  <a:pt x="10536081" y="691058"/>
                  <a:pt x="10539760" y="695555"/>
                </a:cubicBezTo>
                <a:cubicBezTo>
                  <a:pt x="10540578" y="696577"/>
                  <a:pt x="10541192" y="697395"/>
                  <a:pt x="10539965" y="698621"/>
                </a:cubicBezTo>
                <a:cubicBezTo>
                  <a:pt x="10535876" y="703321"/>
                  <a:pt x="10532196" y="708022"/>
                  <a:pt x="10527901" y="712519"/>
                </a:cubicBezTo>
                <a:cubicBezTo>
                  <a:pt x="10524836" y="715993"/>
                  <a:pt x="10520948" y="718242"/>
                  <a:pt x="10516450" y="719263"/>
                </a:cubicBezTo>
                <a:cubicBezTo>
                  <a:pt x="10513587" y="720080"/>
                  <a:pt x="10508068" y="727438"/>
                  <a:pt x="10507861" y="730503"/>
                </a:cubicBezTo>
                <a:cubicBezTo>
                  <a:pt x="10507861" y="731526"/>
                  <a:pt x="10507861" y="732343"/>
                  <a:pt x="10509090" y="732752"/>
                </a:cubicBezTo>
                <a:cubicBezTo>
                  <a:pt x="10515428" y="735613"/>
                  <a:pt x="10518496" y="741132"/>
                  <a:pt x="10521155" y="747058"/>
                </a:cubicBezTo>
                <a:cubicBezTo>
                  <a:pt x="10521767" y="748285"/>
                  <a:pt x="10522176" y="749307"/>
                  <a:pt x="10522790" y="750328"/>
                </a:cubicBezTo>
                <a:cubicBezTo>
                  <a:pt x="10524836" y="753598"/>
                  <a:pt x="10525857" y="756460"/>
                  <a:pt x="10524424" y="760548"/>
                </a:cubicBezTo>
                <a:cubicBezTo>
                  <a:pt x="10522995" y="764635"/>
                  <a:pt x="10525244" y="768723"/>
                  <a:pt x="10527288" y="772402"/>
                </a:cubicBezTo>
                <a:cubicBezTo>
                  <a:pt x="10528108" y="774241"/>
                  <a:pt x="10528516" y="775467"/>
                  <a:pt x="10527082" y="777306"/>
                </a:cubicBezTo>
                <a:cubicBezTo>
                  <a:pt x="10521359" y="785072"/>
                  <a:pt x="10517063" y="793657"/>
                  <a:pt x="10516246" y="803672"/>
                </a:cubicBezTo>
                <a:cubicBezTo>
                  <a:pt x="10516042" y="805102"/>
                  <a:pt x="10515633" y="805715"/>
                  <a:pt x="10514202" y="805306"/>
                </a:cubicBezTo>
                <a:cubicBezTo>
                  <a:pt x="10508476" y="804081"/>
                  <a:pt x="10504796" y="807146"/>
                  <a:pt x="10501728" y="811234"/>
                </a:cubicBezTo>
                <a:cubicBezTo>
                  <a:pt x="10500296" y="813072"/>
                  <a:pt x="10499069" y="814095"/>
                  <a:pt x="10496410" y="812868"/>
                </a:cubicBezTo>
                <a:cubicBezTo>
                  <a:pt x="10493139" y="811029"/>
                  <a:pt x="10490073" y="812664"/>
                  <a:pt x="10487414" y="814912"/>
                </a:cubicBezTo>
                <a:cubicBezTo>
                  <a:pt x="10485165" y="816751"/>
                  <a:pt x="10482914" y="819000"/>
                  <a:pt x="10480666" y="820839"/>
                </a:cubicBezTo>
                <a:cubicBezTo>
                  <a:pt x="10479542" y="821657"/>
                  <a:pt x="10478468" y="822117"/>
                  <a:pt x="10477599" y="821938"/>
                </a:cubicBezTo>
                <a:cubicBezTo>
                  <a:pt x="10476729" y="821758"/>
                  <a:pt x="10476066" y="820942"/>
                  <a:pt x="10475759" y="819204"/>
                </a:cubicBezTo>
                <a:cubicBezTo>
                  <a:pt x="10475759" y="818387"/>
                  <a:pt x="10475554" y="817569"/>
                  <a:pt x="10475146" y="816751"/>
                </a:cubicBezTo>
                <a:cubicBezTo>
                  <a:pt x="10474736" y="815729"/>
                  <a:pt x="10474736" y="814095"/>
                  <a:pt x="10473306" y="813890"/>
                </a:cubicBezTo>
                <a:cubicBezTo>
                  <a:pt x="10472078" y="813890"/>
                  <a:pt x="10471260" y="814912"/>
                  <a:pt x="10470647" y="815729"/>
                </a:cubicBezTo>
                <a:cubicBezTo>
                  <a:pt x="10467580" y="819204"/>
                  <a:pt x="10466353" y="819000"/>
                  <a:pt x="10464512" y="814708"/>
                </a:cubicBezTo>
                <a:cubicBezTo>
                  <a:pt x="10464103" y="813686"/>
                  <a:pt x="10463898" y="812868"/>
                  <a:pt x="10463286" y="812050"/>
                </a:cubicBezTo>
                <a:cubicBezTo>
                  <a:pt x="10462466" y="810825"/>
                  <a:pt x="10461650" y="809803"/>
                  <a:pt x="10459604" y="810620"/>
                </a:cubicBezTo>
                <a:cubicBezTo>
                  <a:pt x="10457764" y="811641"/>
                  <a:pt x="10457764" y="812459"/>
                  <a:pt x="10458173" y="814095"/>
                </a:cubicBezTo>
                <a:lnTo>
                  <a:pt x="10458518" y="817185"/>
                </a:lnTo>
                <a:lnTo>
                  <a:pt x="10442536" y="801291"/>
                </a:lnTo>
                <a:lnTo>
                  <a:pt x="10443450" y="799993"/>
                </a:lnTo>
                <a:cubicBezTo>
                  <a:pt x="10443860" y="798153"/>
                  <a:pt x="10443246" y="796926"/>
                  <a:pt x="10441611" y="796110"/>
                </a:cubicBezTo>
                <a:cubicBezTo>
                  <a:pt x="10440384" y="795496"/>
                  <a:pt x="10439155" y="795088"/>
                  <a:pt x="10437930" y="794474"/>
                </a:cubicBezTo>
                <a:cubicBezTo>
                  <a:pt x="10435884" y="793452"/>
                  <a:pt x="10435066" y="792022"/>
                  <a:pt x="10435476" y="789569"/>
                </a:cubicBezTo>
                <a:cubicBezTo>
                  <a:pt x="10436703" y="782211"/>
                  <a:pt x="10434044" y="777102"/>
                  <a:pt x="10427501" y="773832"/>
                </a:cubicBezTo>
                <a:cubicBezTo>
                  <a:pt x="10426479" y="773218"/>
                  <a:pt x="10424229" y="773423"/>
                  <a:pt x="10424638" y="771584"/>
                </a:cubicBezTo>
                <a:cubicBezTo>
                  <a:pt x="10424844" y="769744"/>
                  <a:pt x="10426684" y="769335"/>
                  <a:pt x="10428522" y="769131"/>
                </a:cubicBezTo>
                <a:cubicBezTo>
                  <a:pt x="10428729" y="769131"/>
                  <a:pt x="10428932" y="769131"/>
                  <a:pt x="10429137" y="769131"/>
                </a:cubicBezTo>
                <a:cubicBezTo>
                  <a:pt x="10434044" y="768314"/>
                  <a:pt x="10435476" y="766065"/>
                  <a:pt x="10433022" y="762182"/>
                </a:cubicBezTo>
                <a:cubicBezTo>
                  <a:pt x="10430773" y="758503"/>
                  <a:pt x="10431387" y="755642"/>
                  <a:pt x="10433431" y="752577"/>
                </a:cubicBezTo>
                <a:cubicBezTo>
                  <a:pt x="10436090" y="748489"/>
                  <a:pt x="10438134" y="744197"/>
                  <a:pt x="10436908" y="739088"/>
                </a:cubicBezTo>
                <a:cubicBezTo>
                  <a:pt x="10436293" y="736840"/>
                  <a:pt x="10438543" y="735818"/>
                  <a:pt x="10439975" y="735409"/>
                </a:cubicBezTo>
                <a:cubicBezTo>
                  <a:pt x="10445290" y="733570"/>
                  <a:pt x="10447745" y="730095"/>
                  <a:pt x="10448358" y="724781"/>
                </a:cubicBezTo>
                <a:cubicBezTo>
                  <a:pt x="10448767" y="721512"/>
                  <a:pt x="10449994" y="720898"/>
                  <a:pt x="10453266" y="722941"/>
                </a:cubicBezTo>
                <a:cubicBezTo>
                  <a:pt x="10460219" y="727234"/>
                  <a:pt x="10470443" y="724168"/>
                  <a:pt x="10473509" y="717015"/>
                </a:cubicBezTo>
                <a:cubicBezTo>
                  <a:pt x="10474124" y="715584"/>
                  <a:pt x="10474941" y="713745"/>
                  <a:pt x="10473509" y="712519"/>
                </a:cubicBezTo>
                <a:cubicBezTo>
                  <a:pt x="10472078" y="711292"/>
                  <a:pt x="10470033" y="710679"/>
                  <a:pt x="10468193" y="711905"/>
                </a:cubicBezTo>
                <a:cubicBezTo>
                  <a:pt x="10466966" y="712519"/>
                  <a:pt x="10465738" y="713541"/>
                  <a:pt x="10464512" y="714358"/>
                </a:cubicBezTo>
                <a:cubicBezTo>
                  <a:pt x="10463286" y="715380"/>
                  <a:pt x="10462058" y="715993"/>
                  <a:pt x="10461036" y="714766"/>
                </a:cubicBezTo>
                <a:cubicBezTo>
                  <a:pt x="10459810" y="713336"/>
                  <a:pt x="10460628" y="712110"/>
                  <a:pt x="10461650" y="711087"/>
                </a:cubicBezTo>
                <a:cubicBezTo>
                  <a:pt x="10462466" y="710066"/>
                  <a:pt x="10463694" y="709249"/>
                  <a:pt x="10464512" y="708431"/>
                </a:cubicBezTo>
                <a:cubicBezTo>
                  <a:pt x="10466353" y="706592"/>
                  <a:pt x="10467375" y="704139"/>
                  <a:pt x="10465534" y="702096"/>
                </a:cubicBezTo>
                <a:cubicBezTo>
                  <a:pt x="10463898" y="700460"/>
                  <a:pt x="10461650" y="702096"/>
                  <a:pt x="10460014" y="703321"/>
                </a:cubicBezTo>
                <a:cubicBezTo>
                  <a:pt x="10458582" y="704343"/>
                  <a:pt x="10457560" y="706183"/>
                  <a:pt x="10455719" y="706795"/>
                </a:cubicBezTo>
                <a:cubicBezTo>
                  <a:pt x="10453061" y="707818"/>
                  <a:pt x="10451426" y="707409"/>
                  <a:pt x="10451630" y="704139"/>
                </a:cubicBezTo>
                <a:cubicBezTo>
                  <a:pt x="10451834" y="699642"/>
                  <a:pt x="10453674" y="695964"/>
                  <a:pt x="10456130" y="692489"/>
                </a:cubicBezTo>
                <a:cubicBezTo>
                  <a:pt x="10459196" y="687993"/>
                  <a:pt x="10459400" y="685541"/>
                  <a:pt x="10456130" y="681249"/>
                </a:cubicBezTo>
                <a:cubicBezTo>
                  <a:pt x="10455107" y="679613"/>
                  <a:pt x="10453470" y="678183"/>
                  <a:pt x="10452039" y="676752"/>
                </a:cubicBezTo>
                <a:cubicBezTo>
                  <a:pt x="10451426" y="676139"/>
                  <a:pt x="10450402" y="675527"/>
                  <a:pt x="10450812" y="674504"/>
                </a:cubicBezTo>
                <a:cubicBezTo>
                  <a:pt x="10451221" y="673278"/>
                  <a:pt x="10452244" y="673073"/>
                  <a:pt x="10453061" y="673278"/>
                </a:cubicBezTo>
                <a:cubicBezTo>
                  <a:pt x="10456742" y="674096"/>
                  <a:pt x="10457560" y="672460"/>
                  <a:pt x="10457356" y="669190"/>
                </a:cubicBezTo>
                <a:cubicBezTo>
                  <a:pt x="10457151" y="665103"/>
                  <a:pt x="10459810" y="662242"/>
                  <a:pt x="10462672" y="659993"/>
                </a:cubicBezTo>
                <a:cubicBezTo>
                  <a:pt x="10464922" y="658154"/>
                  <a:pt x="10465126" y="656723"/>
                  <a:pt x="10462876" y="655089"/>
                </a:cubicBezTo>
                <a:cubicBezTo>
                  <a:pt x="10461650" y="654271"/>
                  <a:pt x="10460832" y="653453"/>
                  <a:pt x="10461241" y="651819"/>
                </a:cubicBezTo>
                <a:cubicBezTo>
                  <a:pt x="10461650" y="649570"/>
                  <a:pt x="10463286" y="649979"/>
                  <a:pt x="10464717" y="649570"/>
                </a:cubicBezTo>
                <a:cubicBezTo>
                  <a:pt x="10465534" y="649365"/>
                  <a:pt x="10466557" y="649365"/>
                  <a:pt x="10467580" y="649161"/>
                </a:cubicBezTo>
                <a:cubicBezTo>
                  <a:pt x="10473099" y="648548"/>
                  <a:pt x="10474328" y="645482"/>
                  <a:pt x="10471056" y="640781"/>
                </a:cubicBezTo>
                <a:cubicBezTo>
                  <a:pt x="10470647" y="640169"/>
                  <a:pt x="10470238" y="639760"/>
                  <a:pt x="10470033" y="639147"/>
                </a:cubicBezTo>
                <a:cubicBezTo>
                  <a:pt x="10469419" y="637920"/>
                  <a:pt x="10469012" y="636286"/>
                  <a:pt x="10470238" y="635468"/>
                </a:cubicBezTo>
                <a:cubicBezTo>
                  <a:pt x="10471260" y="634650"/>
                  <a:pt x="10472692" y="635468"/>
                  <a:pt x="10473509" y="636286"/>
                </a:cubicBezTo>
                <a:cubicBezTo>
                  <a:pt x="10474328" y="637103"/>
                  <a:pt x="10474941" y="637920"/>
                  <a:pt x="10475554" y="638942"/>
                </a:cubicBezTo>
                <a:cubicBezTo>
                  <a:pt x="10476782" y="640374"/>
                  <a:pt x="10478008" y="640781"/>
                  <a:pt x="10479643" y="639556"/>
                </a:cubicBezTo>
                <a:cubicBezTo>
                  <a:pt x="10483531" y="636898"/>
                  <a:pt x="10487824" y="636490"/>
                  <a:pt x="10492117" y="636286"/>
                </a:cubicBezTo>
                <a:lnTo>
                  <a:pt x="10502970" y="635572"/>
                </a:lnTo>
                <a:lnTo>
                  <a:pt x="10502596" y="634824"/>
                </a:lnTo>
                <a:cubicBezTo>
                  <a:pt x="10502596" y="633281"/>
                  <a:pt x="10502596" y="631738"/>
                  <a:pt x="10502596" y="630194"/>
                </a:cubicBezTo>
                <a:cubicBezTo>
                  <a:pt x="10506460" y="627879"/>
                  <a:pt x="10507618" y="623634"/>
                  <a:pt x="10506460" y="619776"/>
                </a:cubicBezTo>
                <a:cubicBezTo>
                  <a:pt x="10504528" y="612829"/>
                  <a:pt x="10506845" y="607428"/>
                  <a:pt x="10511869" y="602797"/>
                </a:cubicBezTo>
                <a:cubicBezTo>
                  <a:pt x="10513800" y="600867"/>
                  <a:pt x="10515732" y="599323"/>
                  <a:pt x="10516505" y="596623"/>
                </a:cubicBezTo>
                <a:cubicBezTo>
                  <a:pt x="10517278" y="592378"/>
                  <a:pt x="10519596" y="590063"/>
                  <a:pt x="10523846" y="590449"/>
                </a:cubicBezTo>
                <a:cubicBezTo>
                  <a:pt x="10526938" y="590449"/>
                  <a:pt x="10529256" y="588519"/>
                  <a:pt x="10530414" y="586975"/>
                </a:cubicBezTo>
                <a:cubicBezTo>
                  <a:pt x="10533700" y="582345"/>
                  <a:pt x="10537757" y="581284"/>
                  <a:pt x="10542006" y="581236"/>
                </a:cubicBezTo>
                <a:close/>
                <a:moveTo>
                  <a:pt x="5826933" y="542144"/>
                </a:moveTo>
                <a:cubicBezTo>
                  <a:pt x="5830103" y="542180"/>
                  <a:pt x="5833133" y="542972"/>
                  <a:pt x="5835583" y="546428"/>
                </a:cubicBezTo>
                <a:cubicBezTo>
                  <a:pt x="5836450" y="547580"/>
                  <a:pt x="5838179" y="549020"/>
                  <a:pt x="5840487" y="549020"/>
                </a:cubicBezTo>
                <a:cubicBezTo>
                  <a:pt x="5843660" y="548732"/>
                  <a:pt x="5845392" y="550460"/>
                  <a:pt x="5845967" y="553628"/>
                </a:cubicBezTo>
                <a:cubicBezTo>
                  <a:pt x="5846542" y="555645"/>
                  <a:pt x="5847985" y="556796"/>
                  <a:pt x="5849428" y="558237"/>
                </a:cubicBezTo>
                <a:cubicBezTo>
                  <a:pt x="5853177" y="561693"/>
                  <a:pt x="5854908" y="565726"/>
                  <a:pt x="5853463" y="570910"/>
                </a:cubicBezTo>
                <a:cubicBezTo>
                  <a:pt x="5852601" y="573791"/>
                  <a:pt x="5853463" y="576959"/>
                  <a:pt x="5856350" y="578687"/>
                </a:cubicBezTo>
                <a:cubicBezTo>
                  <a:pt x="5856350" y="579838"/>
                  <a:pt x="5856350" y="580991"/>
                  <a:pt x="5856350" y="582143"/>
                </a:cubicBezTo>
                <a:cubicBezTo>
                  <a:pt x="5853753" y="583583"/>
                  <a:pt x="5852601" y="585311"/>
                  <a:pt x="5852888" y="589056"/>
                </a:cubicBezTo>
                <a:cubicBezTo>
                  <a:pt x="5853177" y="594240"/>
                  <a:pt x="5850869" y="598273"/>
                  <a:pt x="5845102" y="599425"/>
                </a:cubicBezTo>
                <a:cubicBezTo>
                  <a:pt x="5842506" y="599712"/>
                  <a:pt x="5843083" y="601728"/>
                  <a:pt x="5843083" y="603457"/>
                </a:cubicBezTo>
                <a:cubicBezTo>
                  <a:pt x="5843083" y="606337"/>
                  <a:pt x="5841928" y="606914"/>
                  <a:pt x="5839620" y="604897"/>
                </a:cubicBezTo>
                <a:cubicBezTo>
                  <a:pt x="5836161" y="602017"/>
                  <a:pt x="5833852" y="602017"/>
                  <a:pt x="5832990" y="606914"/>
                </a:cubicBezTo>
                <a:cubicBezTo>
                  <a:pt x="5832700" y="608065"/>
                  <a:pt x="5831836" y="609506"/>
                  <a:pt x="5830682" y="608065"/>
                </a:cubicBezTo>
                <a:cubicBezTo>
                  <a:pt x="5826930" y="604320"/>
                  <a:pt x="5824337" y="606625"/>
                  <a:pt x="5821454" y="609217"/>
                </a:cubicBezTo>
                <a:cubicBezTo>
                  <a:pt x="5821165" y="609793"/>
                  <a:pt x="5820013" y="609793"/>
                  <a:pt x="5819436" y="609793"/>
                </a:cubicBezTo>
                <a:cubicBezTo>
                  <a:pt x="5812513" y="605761"/>
                  <a:pt x="5805880" y="601152"/>
                  <a:pt x="5798959" y="596832"/>
                </a:cubicBezTo>
                <a:cubicBezTo>
                  <a:pt x="5795787" y="594816"/>
                  <a:pt x="5794058" y="589344"/>
                  <a:pt x="5792616" y="585024"/>
                </a:cubicBezTo>
                <a:cubicBezTo>
                  <a:pt x="5792040" y="583295"/>
                  <a:pt x="5792329" y="581567"/>
                  <a:pt x="5790598" y="580127"/>
                </a:cubicBezTo>
                <a:cubicBezTo>
                  <a:pt x="5788867" y="578687"/>
                  <a:pt x="5789153" y="576959"/>
                  <a:pt x="5790309" y="575230"/>
                </a:cubicBezTo>
                <a:cubicBezTo>
                  <a:pt x="5790885" y="574078"/>
                  <a:pt x="5792040" y="572638"/>
                  <a:pt x="5791173" y="571486"/>
                </a:cubicBezTo>
                <a:cubicBezTo>
                  <a:pt x="5788290" y="568030"/>
                  <a:pt x="5788000" y="565437"/>
                  <a:pt x="5792616" y="563710"/>
                </a:cubicBezTo>
                <a:cubicBezTo>
                  <a:pt x="5793768" y="563421"/>
                  <a:pt x="5794058" y="561693"/>
                  <a:pt x="5792904" y="560829"/>
                </a:cubicBezTo>
                <a:cubicBezTo>
                  <a:pt x="5789153" y="557661"/>
                  <a:pt x="5793191" y="556220"/>
                  <a:pt x="5793768" y="553917"/>
                </a:cubicBezTo>
                <a:cubicBezTo>
                  <a:pt x="5795787" y="546139"/>
                  <a:pt x="5804727" y="548444"/>
                  <a:pt x="5808187" y="542683"/>
                </a:cubicBezTo>
                <a:cubicBezTo>
                  <a:pt x="5809342" y="540668"/>
                  <a:pt x="5814821" y="542107"/>
                  <a:pt x="5817414" y="542395"/>
                </a:cubicBezTo>
                <a:cubicBezTo>
                  <a:pt x="5820444" y="542827"/>
                  <a:pt x="5823760" y="542108"/>
                  <a:pt x="5826933" y="542144"/>
                </a:cubicBezTo>
                <a:close/>
                <a:moveTo>
                  <a:pt x="8173635" y="529140"/>
                </a:moveTo>
                <a:lnTo>
                  <a:pt x="8173419" y="529501"/>
                </a:lnTo>
                <a:lnTo>
                  <a:pt x="8173165" y="529251"/>
                </a:lnTo>
                <a:close/>
                <a:moveTo>
                  <a:pt x="6676874" y="520917"/>
                </a:moveTo>
                <a:cubicBezTo>
                  <a:pt x="6681124" y="520869"/>
                  <a:pt x="6685569" y="521833"/>
                  <a:pt x="6689630" y="521255"/>
                </a:cubicBezTo>
                <a:cubicBezTo>
                  <a:pt x="6693104" y="520869"/>
                  <a:pt x="6700439" y="518939"/>
                  <a:pt x="6701990" y="521641"/>
                </a:cubicBezTo>
                <a:cubicBezTo>
                  <a:pt x="6706625" y="529358"/>
                  <a:pt x="6718604" y="526271"/>
                  <a:pt x="6721310" y="536689"/>
                </a:cubicBezTo>
                <a:cubicBezTo>
                  <a:pt x="6722081" y="539777"/>
                  <a:pt x="6727488" y="541706"/>
                  <a:pt x="6722468" y="545950"/>
                </a:cubicBezTo>
                <a:cubicBezTo>
                  <a:pt x="6720920" y="547108"/>
                  <a:pt x="6721310" y="549423"/>
                  <a:pt x="6722853" y="549809"/>
                </a:cubicBezTo>
                <a:cubicBezTo>
                  <a:pt x="6729035" y="552125"/>
                  <a:pt x="6728648" y="555598"/>
                  <a:pt x="6724785" y="560228"/>
                </a:cubicBezTo>
                <a:cubicBezTo>
                  <a:pt x="6723625" y="561771"/>
                  <a:pt x="6725171" y="563701"/>
                  <a:pt x="6725945" y="565245"/>
                </a:cubicBezTo>
                <a:cubicBezTo>
                  <a:pt x="6727488" y="567560"/>
                  <a:pt x="6727876" y="569876"/>
                  <a:pt x="6725557" y="571805"/>
                </a:cubicBezTo>
                <a:cubicBezTo>
                  <a:pt x="6723238" y="573734"/>
                  <a:pt x="6723625" y="576049"/>
                  <a:pt x="6722853" y="578365"/>
                </a:cubicBezTo>
                <a:cubicBezTo>
                  <a:pt x="6720920" y="584152"/>
                  <a:pt x="6718604" y="591485"/>
                  <a:pt x="6714354" y="594186"/>
                </a:cubicBezTo>
                <a:cubicBezTo>
                  <a:pt x="6705082" y="599974"/>
                  <a:pt x="6696194" y="606148"/>
                  <a:pt x="6686925" y="611550"/>
                </a:cubicBezTo>
                <a:cubicBezTo>
                  <a:pt x="6686150" y="611550"/>
                  <a:pt x="6684605" y="611550"/>
                  <a:pt x="6684222" y="610778"/>
                </a:cubicBezTo>
                <a:cubicBezTo>
                  <a:pt x="6680348" y="607305"/>
                  <a:pt x="6676879" y="604219"/>
                  <a:pt x="6671855" y="609235"/>
                </a:cubicBezTo>
                <a:cubicBezTo>
                  <a:pt x="6670303" y="611164"/>
                  <a:pt x="6669144" y="609235"/>
                  <a:pt x="6668759" y="607691"/>
                </a:cubicBezTo>
                <a:cubicBezTo>
                  <a:pt x="6667597" y="601131"/>
                  <a:pt x="6664511" y="601131"/>
                  <a:pt x="6659873" y="604991"/>
                </a:cubicBezTo>
                <a:cubicBezTo>
                  <a:pt x="6656779" y="607691"/>
                  <a:pt x="6655234" y="606920"/>
                  <a:pt x="6655234" y="603061"/>
                </a:cubicBezTo>
                <a:cubicBezTo>
                  <a:pt x="6655234" y="600746"/>
                  <a:pt x="6656011" y="598044"/>
                  <a:pt x="6652530" y="597658"/>
                </a:cubicBezTo>
                <a:cubicBezTo>
                  <a:pt x="6644805" y="596115"/>
                  <a:pt x="6641713" y="590713"/>
                  <a:pt x="6642102" y="583766"/>
                </a:cubicBezTo>
                <a:cubicBezTo>
                  <a:pt x="6642486" y="578751"/>
                  <a:pt x="6640940" y="576435"/>
                  <a:pt x="6637462" y="574505"/>
                </a:cubicBezTo>
                <a:cubicBezTo>
                  <a:pt x="6637462" y="572962"/>
                  <a:pt x="6637462" y="571419"/>
                  <a:pt x="6637462" y="569876"/>
                </a:cubicBezTo>
                <a:cubicBezTo>
                  <a:pt x="6641328" y="567560"/>
                  <a:pt x="6642486" y="563315"/>
                  <a:pt x="6641328" y="559456"/>
                </a:cubicBezTo>
                <a:cubicBezTo>
                  <a:pt x="6639397" y="552511"/>
                  <a:pt x="6641713" y="547108"/>
                  <a:pt x="6646738" y="542478"/>
                </a:cubicBezTo>
                <a:cubicBezTo>
                  <a:pt x="6648666" y="540548"/>
                  <a:pt x="6650598" y="539005"/>
                  <a:pt x="6651370" y="536303"/>
                </a:cubicBezTo>
                <a:cubicBezTo>
                  <a:pt x="6652147" y="532059"/>
                  <a:pt x="6654466" y="529744"/>
                  <a:pt x="6658713" y="530130"/>
                </a:cubicBezTo>
                <a:cubicBezTo>
                  <a:pt x="6661802" y="530130"/>
                  <a:pt x="6664121" y="528200"/>
                  <a:pt x="6665280" y="526657"/>
                </a:cubicBezTo>
                <a:cubicBezTo>
                  <a:pt x="6668568" y="522026"/>
                  <a:pt x="6672624" y="520965"/>
                  <a:pt x="6676874" y="520917"/>
                </a:cubicBezTo>
                <a:close/>
                <a:moveTo>
                  <a:pt x="3502163" y="519789"/>
                </a:moveTo>
                <a:cubicBezTo>
                  <a:pt x="3506413" y="519740"/>
                  <a:pt x="3510856" y="520705"/>
                  <a:pt x="3514913" y="520127"/>
                </a:cubicBezTo>
                <a:cubicBezTo>
                  <a:pt x="3518391" y="519741"/>
                  <a:pt x="3525732" y="517811"/>
                  <a:pt x="3527277" y="520513"/>
                </a:cubicBezTo>
                <a:cubicBezTo>
                  <a:pt x="3531914" y="528230"/>
                  <a:pt x="3543890" y="525142"/>
                  <a:pt x="3546595" y="535561"/>
                </a:cubicBezTo>
                <a:cubicBezTo>
                  <a:pt x="3547368" y="538648"/>
                  <a:pt x="3552777" y="540578"/>
                  <a:pt x="3547755" y="544822"/>
                </a:cubicBezTo>
                <a:cubicBezTo>
                  <a:pt x="3546209" y="545980"/>
                  <a:pt x="3546595" y="548295"/>
                  <a:pt x="3548141" y="548681"/>
                </a:cubicBezTo>
                <a:cubicBezTo>
                  <a:pt x="3554323" y="550996"/>
                  <a:pt x="3553936" y="554470"/>
                  <a:pt x="3550073" y="559100"/>
                </a:cubicBezTo>
                <a:cubicBezTo>
                  <a:pt x="3548914" y="560643"/>
                  <a:pt x="3550460" y="562573"/>
                  <a:pt x="3551231" y="564116"/>
                </a:cubicBezTo>
                <a:cubicBezTo>
                  <a:pt x="3552777" y="566432"/>
                  <a:pt x="3553163" y="568747"/>
                  <a:pt x="3550846" y="570677"/>
                </a:cubicBezTo>
                <a:cubicBezTo>
                  <a:pt x="3548527" y="572605"/>
                  <a:pt x="3548914" y="574921"/>
                  <a:pt x="3548141" y="577236"/>
                </a:cubicBezTo>
                <a:cubicBezTo>
                  <a:pt x="3546209" y="583024"/>
                  <a:pt x="3543890" y="590356"/>
                  <a:pt x="3539641" y="593058"/>
                </a:cubicBezTo>
                <a:cubicBezTo>
                  <a:pt x="3530368" y="598845"/>
                  <a:pt x="3521481" y="605020"/>
                  <a:pt x="3512208" y="610422"/>
                </a:cubicBezTo>
                <a:cubicBezTo>
                  <a:pt x="3511435" y="610422"/>
                  <a:pt x="3509891" y="610422"/>
                  <a:pt x="3509504" y="609650"/>
                </a:cubicBezTo>
                <a:cubicBezTo>
                  <a:pt x="3505640" y="606177"/>
                  <a:pt x="3502162" y="603091"/>
                  <a:pt x="3497140" y="608106"/>
                </a:cubicBezTo>
                <a:cubicBezTo>
                  <a:pt x="3495594" y="610036"/>
                  <a:pt x="3494435" y="608106"/>
                  <a:pt x="3494050" y="606563"/>
                </a:cubicBezTo>
                <a:cubicBezTo>
                  <a:pt x="3492890" y="600003"/>
                  <a:pt x="3489799" y="600003"/>
                  <a:pt x="3485163" y="603862"/>
                </a:cubicBezTo>
                <a:cubicBezTo>
                  <a:pt x="3482072" y="606563"/>
                  <a:pt x="3480526" y="605792"/>
                  <a:pt x="3480526" y="601933"/>
                </a:cubicBezTo>
                <a:cubicBezTo>
                  <a:pt x="3480526" y="599617"/>
                  <a:pt x="3481299" y="596916"/>
                  <a:pt x="3477822" y="596530"/>
                </a:cubicBezTo>
                <a:cubicBezTo>
                  <a:pt x="3470095" y="594986"/>
                  <a:pt x="3467003" y="589585"/>
                  <a:pt x="3467390" y="582638"/>
                </a:cubicBezTo>
                <a:cubicBezTo>
                  <a:pt x="3467776" y="577622"/>
                  <a:pt x="3466231" y="575307"/>
                  <a:pt x="3462753" y="573377"/>
                </a:cubicBezTo>
                <a:cubicBezTo>
                  <a:pt x="3462753" y="571834"/>
                  <a:pt x="3462753" y="570291"/>
                  <a:pt x="3462753" y="568747"/>
                </a:cubicBezTo>
                <a:cubicBezTo>
                  <a:pt x="3466617" y="566432"/>
                  <a:pt x="3467776" y="562187"/>
                  <a:pt x="3466617" y="558328"/>
                </a:cubicBezTo>
                <a:cubicBezTo>
                  <a:pt x="3464685" y="551382"/>
                  <a:pt x="3467003" y="545980"/>
                  <a:pt x="3472026" y="541350"/>
                </a:cubicBezTo>
                <a:cubicBezTo>
                  <a:pt x="3473958" y="539420"/>
                  <a:pt x="3475890" y="537877"/>
                  <a:pt x="3476663" y="535175"/>
                </a:cubicBezTo>
                <a:cubicBezTo>
                  <a:pt x="3477436" y="530931"/>
                  <a:pt x="3479753" y="528616"/>
                  <a:pt x="3484004" y="529002"/>
                </a:cubicBezTo>
                <a:cubicBezTo>
                  <a:pt x="3487094" y="529002"/>
                  <a:pt x="3489413" y="527072"/>
                  <a:pt x="3490572" y="525528"/>
                </a:cubicBezTo>
                <a:cubicBezTo>
                  <a:pt x="3493856" y="520898"/>
                  <a:pt x="3497913" y="519837"/>
                  <a:pt x="3502163" y="519789"/>
                </a:cubicBezTo>
                <a:close/>
                <a:moveTo>
                  <a:pt x="11153016" y="519764"/>
                </a:moveTo>
                <a:cubicBezTo>
                  <a:pt x="11154857" y="519355"/>
                  <a:pt x="11155879" y="520580"/>
                  <a:pt x="11156697" y="521603"/>
                </a:cubicBezTo>
                <a:cubicBezTo>
                  <a:pt x="11159560" y="524872"/>
                  <a:pt x="11162218" y="528142"/>
                  <a:pt x="11167330" y="526508"/>
                </a:cubicBezTo>
                <a:cubicBezTo>
                  <a:pt x="11168353" y="526303"/>
                  <a:pt x="11168966" y="527121"/>
                  <a:pt x="11169376" y="527939"/>
                </a:cubicBezTo>
                <a:cubicBezTo>
                  <a:pt x="11171625" y="532025"/>
                  <a:pt x="11175305" y="535296"/>
                  <a:pt x="11178374" y="538771"/>
                </a:cubicBezTo>
                <a:cubicBezTo>
                  <a:pt x="11183075" y="544084"/>
                  <a:pt x="11185734" y="550011"/>
                  <a:pt x="11183894" y="557165"/>
                </a:cubicBezTo>
                <a:cubicBezTo>
                  <a:pt x="11183279" y="560026"/>
                  <a:pt x="11184916" y="561865"/>
                  <a:pt x="11186551" y="563501"/>
                </a:cubicBezTo>
                <a:cubicBezTo>
                  <a:pt x="11190232" y="567384"/>
                  <a:pt x="11190028" y="569427"/>
                  <a:pt x="11185938" y="572493"/>
                </a:cubicBezTo>
                <a:cubicBezTo>
                  <a:pt x="11181439" y="575558"/>
                  <a:pt x="11181439" y="575558"/>
                  <a:pt x="11185120" y="580055"/>
                </a:cubicBezTo>
                <a:cubicBezTo>
                  <a:pt x="11185938" y="581077"/>
                  <a:pt x="11186551" y="581895"/>
                  <a:pt x="11185325" y="583122"/>
                </a:cubicBezTo>
                <a:cubicBezTo>
                  <a:pt x="11181235" y="587822"/>
                  <a:pt x="11177554" y="592522"/>
                  <a:pt x="11173260" y="597019"/>
                </a:cubicBezTo>
                <a:cubicBezTo>
                  <a:pt x="11170193" y="600493"/>
                  <a:pt x="11166308" y="602742"/>
                  <a:pt x="11161809" y="603763"/>
                </a:cubicBezTo>
                <a:cubicBezTo>
                  <a:pt x="11158947" y="604581"/>
                  <a:pt x="11153425" y="611938"/>
                  <a:pt x="11153221" y="615004"/>
                </a:cubicBezTo>
                <a:cubicBezTo>
                  <a:pt x="11153221" y="616026"/>
                  <a:pt x="11153221" y="616844"/>
                  <a:pt x="11154447" y="617253"/>
                </a:cubicBezTo>
                <a:cubicBezTo>
                  <a:pt x="11160787" y="620114"/>
                  <a:pt x="11163854" y="625632"/>
                  <a:pt x="11166512" y="631559"/>
                </a:cubicBezTo>
                <a:cubicBezTo>
                  <a:pt x="11167126" y="632785"/>
                  <a:pt x="11167534" y="633808"/>
                  <a:pt x="11168149" y="634829"/>
                </a:cubicBezTo>
                <a:cubicBezTo>
                  <a:pt x="11170193" y="638098"/>
                  <a:pt x="11171216" y="640961"/>
                  <a:pt x="11169784" y="645048"/>
                </a:cubicBezTo>
                <a:cubicBezTo>
                  <a:pt x="11168353" y="649136"/>
                  <a:pt x="11170602" y="653223"/>
                  <a:pt x="11172646" y="656902"/>
                </a:cubicBezTo>
                <a:cubicBezTo>
                  <a:pt x="11173465" y="658741"/>
                  <a:pt x="11173873" y="659968"/>
                  <a:pt x="11172442" y="661806"/>
                </a:cubicBezTo>
                <a:cubicBezTo>
                  <a:pt x="11166717" y="669573"/>
                  <a:pt x="11162422" y="678157"/>
                  <a:pt x="11161605" y="688172"/>
                </a:cubicBezTo>
                <a:cubicBezTo>
                  <a:pt x="11161400" y="689602"/>
                  <a:pt x="11160991" y="690215"/>
                  <a:pt x="11159560" y="689806"/>
                </a:cubicBezTo>
                <a:cubicBezTo>
                  <a:pt x="11153836" y="688581"/>
                  <a:pt x="11150154" y="691646"/>
                  <a:pt x="11147088" y="695734"/>
                </a:cubicBezTo>
                <a:cubicBezTo>
                  <a:pt x="11145656" y="697573"/>
                  <a:pt x="11144428" y="698595"/>
                  <a:pt x="11141770" y="697368"/>
                </a:cubicBezTo>
                <a:cubicBezTo>
                  <a:pt x="11138498" y="695530"/>
                  <a:pt x="11135432" y="697164"/>
                  <a:pt x="11132773" y="699413"/>
                </a:cubicBezTo>
                <a:cubicBezTo>
                  <a:pt x="11130525" y="701252"/>
                  <a:pt x="11128274" y="703500"/>
                  <a:pt x="11126025" y="705339"/>
                </a:cubicBezTo>
                <a:cubicBezTo>
                  <a:pt x="11124900" y="706157"/>
                  <a:pt x="11123827" y="706617"/>
                  <a:pt x="11122959" y="706438"/>
                </a:cubicBezTo>
                <a:cubicBezTo>
                  <a:pt x="11122088" y="706259"/>
                  <a:pt x="11121424" y="705442"/>
                  <a:pt x="11121118" y="703705"/>
                </a:cubicBezTo>
                <a:cubicBezTo>
                  <a:pt x="11121118" y="702887"/>
                  <a:pt x="11120913" y="702069"/>
                  <a:pt x="11120504" y="701252"/>
                </a:cubicBezTo>
                <a:cubicBezTo>
                  <a:pt x="11120096" y="700229"/>
                  <a:pt x="11120096" y="698595"/>
                  <a:pt x="11118663" y="698391"/>
                </a:cubicBezTo>
                <a:cubicBezTo>
                  <a:pt x="11117437" y="698391"/>
                  <a:pt x="11116619" y="699413"/>
                  <a:pt x="11116006" y="700229"/>
                </a:cubicBezTo>
                <a:cubicBezTo>
                  <a:pt x="11112938" y="703705"/>
                  <a:pt x="11111712" y="703500"/>
                  <a:pt x="11109873" y="699208"/>
                </a:cubicBezTo>
                <a:cubicBezTo>
                  <a:pt x="11109464" y="698186"/>
                  <a:pt x="11109257" y="697368"/>
                  <a:pt x="11108644" y="696551"/>
                </a:cubicBezTo>
                <a:cubicBezTo>
                  <a:pt x="11107826" y="695325"/>
                  <a:pt x="11107008" y="694303"/>
                  <a:pt x="11104963" y="695121"/>
                </a:cubicBezTo>
                <a:cubicBezTo>
                  <a:pt x="11103123" y="696142"/>
                  <a:pt x="11103123" y="696960"/>
                  <a:pt x="11103532" y="698595"/>
                </a:cubicBezTo>
                <a:lnTo>
                  <a:pt x="11103876" y="701686"/>
                </a:lnTo>
                <a:lnTo>
                  <a:pt x="11087894" y="685791"/>
                </a:lnTo>
                <a:lnTo>
                  <a:pt x="11088809" y="684493"/>
                </a:lnTo>
                <a:cubicBezTo>
                  <a:pt x="11089218" y="682653"/>
                  <a:pt x="11088605" y="681427"/>
                  <a:pt x="11086969" y="680610"/>
                </a:cubicBezTo>
                <a:cubicBezTo>
                  <a:pt x="11085744" y="679997"/>
                  <a:pt x="11084515" y="679588"/>
                  <a:pt x="11083288" y="678975"/>
                </a:cubicBezTo>
                <a:cubicBezTo>
                  <a:pt x="11081243" y="677953"/>
                  <a:pt x="11080425" y="676523"/>
                  <a:pt x="11080835" y="674069"/>
                </a:cubicBezTo>
                <a:cubicBezTo>
                  <a:pt x="11082063" y="666712"/>
                  <a:pt x="11079403" y="661602"/>
                  <a:pt x="11072860" y="658332"/>
                </a:cubicBezTo>
                <a:cubicBezTo>
                  <a:pt x="11071838" y="657719"/>
                  <a:pt x="11069588" y="657923"/>
                  <a:pt x="11069997" y="656084"/>
                </a:cubicBezTo>
                <a:cubicBezTo>
                  <a:pt x="11070202" y="654245"/>
                  <a:pt x="11072042" y="653836"/>
                  <a:pt x="11073882" y="653631"/>
                </a:cubicBezTo>
                <a:cubicBezTo>
                  <a:pt x="11074086" y="653631"/>
                  <a:pt x="11074291" y="653631"/>
                  <a:pt x="11074495" y="653631"/>
                </a:cubicBezTo>
                <a:cubicBezTo>
                  <a:pt x="11079403" y="652815"/>
                  <a:pt x="11080835" y="650566"/>
                  <a:pt x="11078382" y="646683"/>
                </a:cubicBezTo>
                <a:cubicBezTo>
                  <a:pt x="11076131" y="643004"/>
                  <a:pt x="11076744" y="640143"/>
                  <a:pt x="11078791" y="637077"/>
                </a:cubicBezTo>
                <a:cubicBezTo>
                  <a:pt x="11081448" y="632990"/>
                  <a:pt x="11083493" y="628698"/>
                  <a:pt x="11082267" y="623588"/>
                </a:cubicBezTo>
                <a:cubicBezTo>
                  <a:pt x="11081654" y="621340"/>
                  <a:pt x="11083902" y="620318"/>
                  <a:pt x="11085333" y="619909"/>
                </a:cubicBezTo>
                <a:cubicBezTo>
                  <a:pt x="11090649" y="618070"/>
                  <a:pt x="11093104" y="614595"/>
                  <a:pt x="11093717" y="609282"/>
                </a:cubicBezTo>
                <a:cubicBezTo>
                  <a:pt x="11094126" y="606012"/>
                  <a:pt x="11095353" y="605399"/>
                  <a:pt x="11098624" y="607442"/>
                </a:cubicBezTo>
                <a:cubicBezTo>
                  <a:pt x="11105577" y="611734"/>
                  <a:pt x="11115801" y="608668"/>
                  <a:pt x="11118868" y="601515"/>
                </a:cubicBezTo>
                <a:cubicBezTo>
                  <a:pt x="11119482" y="600084"/>
                  <a:pt x="11120300" y="598246"/>
                  <a:pt x="11118868" y="597019"/>
                </a:cubicBezTo>
                <a:cubicBezTo>
                  <a:pt x="11117437" y="595792"/>
                  <a:pt x="11115392" y="595179"/>
                  <a:pt x="11113551" y="596406"/>
                </a:cubicBezTo>
                <a:cubicBezTo>
                  <a:pt x="11112325" y="597019"/>
                  <a:pt x="11111098" y="598041"/>
                  <a:pt x="11109873" y="598859"/>
                </a:cubicBezTo>
                <a:cubicBezTo>
                  <a:pt x="11108644" y="599880"/>
                  <a:pt x="11107417" y="600493"/>
                  <a:pt x="11106394" y="599267"/>
                </a:cubicBezTo>
                <a:cubicBezTo>
                  <a:pt x="11105167" y="597837"/>
                  <a:pt x="11105987" y="596610"/>
                  <a:pt x="11107008" y="595588"/>
                </a:cubicBezTo>
                <a:cubicBezTo>
                  <a:pt x="11107826" y="594567"/>
                  <a:pt x="11109053" y="593749"/>
                  <a:pt x="11109873" y="592931"/>
                </a:cubicBezTo>
                <a:cubicBezTo>
                  <a:pt x="11111712" y="591092"/>
                  <a:pt x="11112734" y="588639"/>
                  <a:pt x="11110894" y="586596"/>
                </a:cubicBezTo>
                <a:cubicBezTo>
                  <a:pt x="11109257" y="584961"/>
                  <a:pt x="11107008" y="586596"/>
                  <a:pt x="11105372" y="587822"/>
                </a:cubicBezTo>
                <a:cubicBezTo>
                  <a:pt x="11103941" y="588844"/>
                  <a:pt x="11102920" y="590684"/>
                  <a:pt x="11101079" y="591296"/>
                </a:cubicBezTo>
                <a:cubicBezTo>
                  <a:pt x="11098420" y="592318"/>
                  <a:pt x="11096784" y="591909"/>
                  <a:pt x="11096989" y="588639"/>
                </a:cubicBezTo>
                <a:cubicBezTo>
                  <a:pt x="11097193" y="584143"/>
                  <a:pt x="11099034" y="580464"/>
                  <a:pt x="11101486" y="576989"/>
                </a:cubicBezTo>
                <a:cubicBezTo>
                  <a:pt x="11104554" y="572493"/>
                  <a:pt x="11104760" y="570041"/>
                  <a:pt x="11101486" y="565749"/>
                </a:cubicBezTo>
                <a:cubicBezTo>
                  <a:pt x="11100465" y="564113"/>
                  <a:pt x="11098830" y="562683"/>
                  <a:pt x="11097398" y="561252"/>
                </a:cubicBezTo>
                <a:cubicBezTo>
                  <a:pt x="11096784" y="560639"/>
                  <a:pt x="11095762" y="560026"/>
                  <a:pt x="11096171" y="559004"/>
                </a:cubicBezTo>
                <a:cubicBezTo>
                  <a:pt x="11096580" y="557778"/>
                  <a:pt x="11097602" y="557573"/>
                  <a:pt x="11098420" y="557778"/>
                </a:cubicBezTo>
                <a:cubicBezTo>
                  <a:pt x="11102101" y="558596"/>
                  <a:pt x="11102920" y="556960"/>
                  <a:pt x="11102715" y="553690"/>
                </a:cubicBezTo>
                <a:cubicBezTo>
                  <a:pt x="11102511" y="549603"/>
                  <a:pt x="11105167" y="546742"/>
                  <a:pt x="11108030" y="544493"/>
                </a:cubicBezTo>
                <a:cubicBezTo>
                  <a:pt x="11110280" y="542654"/>
                  <a:pt x="11110485" y="541223"/>
                  <a:pt x="11108235" y="539587"/>
                </a:cubicBezTo>
                <a:cubicBezTo>
                  <a:pt x="11107008" y="538771"/>
                  <a:pt x="11106192" y="537953"/>
                  <a:pt x="11106600" y="536318"/>
                </a:cubicBezTo>
                <a:cubicBezTo>
                  <a:pt x="11107008" y="534070"/>
                  <a:pt x="11108644" y="534479"/>
                  <a:pt x="11110075" y="534070"/>
                </a:cubicBezTo>
                <a:cubicBezTo>
                  <a:pt x="11110894" y="533865"/>
                  <a:pt x="11111916" y="533865"/>
                  <a:pt x="11112938" y="533661"/>
                </a:cubicBezTo>
                <a:cubicBezTo>
                  <a:pt x="11118459" y="533048"/>
                  <a:pt x="11119687" y="529982"/>
                  <a:pt x="11116415" y="525281"/>
                </a:cubicBezTo>
                <a:cubicBezTo>
                  <a:pt x="11116006" y="524668"/>
                  <a:pt x="11115597" y="524259"/>
                  <a:pt x="11115392" y="523647"/>
                </a:cubicBezTo>
                <a:cubicBezTo>
                  <a:pt x="11114779" y="522420"/>
                  <a:pt x="11114369" y="520785"/>
                  <a:pt x="11115597" y="519968"/>
                </a:cubicBezTo>
                <a:cubicBezTo>
                  <a:pt x="11116619" y="519150"/>
                  <a:pt x="11118050" y="519968"/>
                  <a:pt x="11118868" y="520785"/>
                </a:cubicBezTo>
                <a:cubicBezTo>
                  <a:pt x="11119687" y="521603"/>
                  <a:pt x="11120300" y="522420"/>
                  <a:pt x="11120913" y="523442"/>
                </a:cubicBezTo>
                <a:cubicBezTo>
                  <a:pt x="11122140" y="524872"/>
                  <a:pt x="11123368" y="525281"/>
                  <a:pt x="11125003" y="524056"/>
                </a:cubicBezTo>
                <a:cubicBezTo>
                  <a:pt x="11128887" y="521398"/>
                  <a:pt x="11133182" y="520989"/>
                  <a:pt x="11137476" y="520785"/>
                </a:cubicBezTo>
                <a:cubicBezTo>
                  <a:pt x="11142588" y="520376"/>
                  <a:pt x="11147904" y="520989"/>
                  <a:pt x="11153016" y="519764"/>
                </a:cubicBezTo>
                <a:close/>
                <a:moveTo>
                  <a:pt x="4280330" y="518896"/>
                </a:moveTo>
                <a:cubicBezTo>
                  <a:pt x="4283502" y="518932"/>
                  <a:pt x="4286530" y="519724"/>
                  <a:pt x="4288982" y="523180"/>
                </a:cubicBezTo>
                <a:cubicBezTo>
                  <a:pt x="4289845" y="524332"/>
                  <a:pt x="4291576" y="525772"/>
                  <a:pt x="4293883" y="525772"/>
                </a:cubicBezTo>
                <a:cubicBezTo>
                  <a:pt x="4297056" y="525485"/>
                  <a:pt x="4298786" y="527212"/>
                  <a:pt x="4299362" y="530380"/>
                </a:cubicBezTo>
                <a:cubicBezTo>
                  <a:pt x="4299941" y="532397"/>
                  <a:pt x="4301382" y="533548"/>
                  <a:pt x="4302822" y="534989"/>
                </a:cubicBezTo>
                <a:cubicBezTo>
                  <a:pt x="4306573" y="538445"/>
                  <a:pt x="4308303" y="542478"/>
                  <a:pt x="4306861" y="547662"/>
                </a:cubicBezTo>
                <a:cubicBezTo>
                  <a:pt x="4305996" y="550542"/>
                  <a:pt x="4306861" y="553711"/>
                  <a:pt x="4309745" y="555438"/>
                </a:cubicBezTo>
                <a:cubicBezTo>
                  <a:pt x="4309745" y="556591"/>
                  <a:pt x="4309745" y="557743"/>
                  <a:pt x="4309745" y="558895"/>
                </a:cubicBezTo>
                <a:cubicBezTo>
                  <a:pt x="4307148" y="560335"/>
                  <a:pt x="4305996" y="562063"/>
                  <a:pt x="4306283" y="565808"/>
                </a:cubicBezTo>
                <a:cubicBezTo>
                  <a:pt x="4306573" y="570992"/>
                  <a:pt x="4304265" y="575025"/>
                  <a:pt x="4298499" y="576177"/>
                </a:cubicBezTo>
                <a:cubicBezTo>
                  <a:pt x="4295901" y="576465"/>
                  <a:pt x="4296479" y="578481"/>
                  <a:pt x="4296479" y="580209"/>
                </a:cubicBezTo>
                <a:cubicBezTo>
                  <a:pt x="4296479" y="583090"/>
                  <a:pt x="4295325" y="583666"/>
                  <a:pt x="4293018" y="581649"/>
                </a:cubicBezTo>
                <a:cubicBezTo>
                  <a:pt x="4289558" y="578769"/>
                  <a:pt x="4287250" y="578769"/>
                  <a:pt x="4286384" y="583666"/>
                </a:cubicBezTo>
                <a:cubicBezTo>
                  <a:pt x="4286097" y="584817"/>
                  <a:pt x="4285232" y="586258"/>
                  <a:pt x="4284078" y="584817"/>
                </a:cubicBezTo>
                <a:cubicBezTo>
                  <a:pt x="4280330" y="581073"/>
                  <a:pt x="4277733" y="583377"/>
                  <a:pt x="4274851" y="585969"/>
                </a:cubicBezTo>
                <a:cubicBezTo>
                  <a:pt x="4274561" y="586545"/>
                  <a:pt x="4273409" y="586545"/>
                  <a:pt x="4272831" y="586545"/>
                </a:cubicBezTo>
                <a:cubicBezTo>
                  <a:pt x="4265910" y="582514"/>
                  <a:pt x="4259276" y="577904"/>
                  <a:pt x="4252354" y="573584"/>
                </a:cubicBezTo>
                <a:cubicBezTo>
                  <a:pt x="4249182" y="571568"/>
                  <a:pt x="4247453" y="566096"/>
                  <a:pt x="4246010" y="561775"/>
                </a:cubicBezTo>
                <a:cubicBezTo>
                  <a:pt x="4245434" y="560047"/>
                  <a:pt x="4245723" y="558319"/>
                  <a:pt x="4243992" y="556879"/>
                </a:cubicBezTo>
                <a:cubicBezTo>
                  <a:pt x="4242261" y="555438"/>
                  <a:pt x="4242550" y="553711"/>
                  <a:pt x="4243704" y="551983"/>
                </a:cubicBezTo>
                <a:cubicBezTo>
                  <a:pt x="4244281" y="550830"/>
                  <a:pt x="4245434" y="549391"/>
                  <a:pt x="4244568" y="548238"/>
                </a:cubicBezTo>
                <a:cubicBezTo>
                  <a:pt x="4241685" y="544781"/>
                  <a:pt x="4241398" y="542189"/>
                  <a:pt x="4246010" y="540461"/>
                </a:cubicBezTo>
                <a:cubicBezTo>
                  <a:pt x="4247164" y="540173"/>
                  <a:pt x="4247453" y="538445"/>
                  <a:pt x="4246297" y="537581"/>
                </a:cubicBezTo>
                <a:cubicBezTo>
                  <a:pt x="4242550" y="534413"/>
                  <a:pt x="4246587" y="532972"/>
                  <a:pt x="4247164" y="530669"/>
                </a:cubicBezTo>
                <a:cubicBezTo>
                  <a:pt x="4249182" y="522891"/>
                  <a:pt x="4258123" y="525196"/>
                  <a:pt x="4261585" y="519436"/>
                </a:cubicBezTo>
                <a:cubicBezTo>
                  <a:pt x="4262737" y="517420"/>
                  <a:pt x="4268218" y="518860"/>
                  <a:pt x="4270813" y="519147"/>
                </a:cubicBezTo>
                <a:cubicBezTo>
                  <a:pt x="4273839" y="519580"/>
                  <a:pt x="4277156" y="518860"/>
                  <a:pt x="4280330" y="518896"/>
                </a:cubicBezTo>
                <a:close/>
                <a:moveTo>
                  <a:pt x="10198237" y="513586"/>
                </a:moveTo>
                <a:lnTo>
                  <a:pt x="10197988" y="514002"/>
                </a:lnTo>
                <a:lnTo>
                  <a:pt x="10197698" y="513714"/>
                </a:lnTo>
                <a:close/>
                <a:moveTo>
                  <a:pt x="3288866" y="502749"/>
                </a:moveTo>
                <a:cubicBezTo>
                  <a:pt x="3293978" y="503974"/>
                  <a:pt x="3299295" y="503361"/>
                  <a:pt x="3304406" y="503770"/>
                </a:cubicBezTo>
                <a:cubicBezTo>
                  <a:pt x="3308701" y="503974"/>
                  <a:pt x="3312995" y="504383"/>
                  <a:pt x="3316880" y="507041"/>
                </a:cubicBezTo>
                <a:cubicBezTo>
                  <a:pt x="3318516" y="508266"/>
                  <a:pt x="3319742" y="507857"/>
                  <a:pt x="3320970" y="506427"/>
                </a:cubicBezTo>
                <a:cubicBezTo>
                  <a:pt x="3321583" y="505405"/>
                  <a:pt x="3322197" y="504587"/>
                  <a:pt x="3323015" y="503770"/>
                </a:cubicBezTo>
                <a:cubicBezTo>
                  <a:pt x="3323832" y="502953"/>
                  <a:pt x="3325263" y="502135"/>
                  <a:pt x="3326287" y="502953"/>
                </a:cubicBezTo>
                <a:cubicBezTo>
                  <a:pt x="3327513" y="503770"/>
                  <a:pt x="3327104" y="505405"/>
                  <a:pt x="3326491" y="506632"/>
                </a:cubicBezTo>
                <a:cubicBezTo>
                  <a:pt x="3326287" y="507244"/>
                  <a:pt x="3325878" y="507653"/>
                  <a:pt x="3325468" y="508266"/>
                </a:cubicBezTo>
                <a:cubicBezTo>
                  <a:pt x="3322197" y="512967"/>
                  <a:pt x="3323423" y="516033"/>
                  <a:pt x="3328944" y="516646"/>
                </a:cubicBezTo>
                <a:cubicBezTo>
                  <a:pt x="3329966" y="516850"/>
                  <a:pt x="3330990" y="516850"/>
                  <a:pt x="3331807" y="517055"/>
                </a:cubicBezTo>
                <a:cubicBezTo>
                  <a:pt x="3333238" y="517464"/>
                  <a:pt x="3334874" y="517055"/>
                  <a:pt x="3335284" y="519302"/>
                </a:cubicBezTo>
                <a:cubicBezTo>
                  <a:pt x="3335693" y="520938"/>
                  <a:pt x="3334874" y="521756"/>
                  <a:pt x="3333647" y="522572"/>
                </a:cubicBezTo>
                <a:cubicBezTo>
                  <a:pt x="3331399" y="524208"/>
                  <a:pt x="3331603" y="525639"/>
                  <a:pt x="3333852" y="527478"/>
                </a:cubicBezTo>
                <a:cubicBezTo>
                  <a:pt x="3336715" y="529726"/>
                  <a:pt x="3339373" y="532587"/>
                  <a:pt x="3339168" y="536675"/>
                </a:cubicBezTo>
                <a:cubicBezTo>
                  <a:pt x="3338964" y="539945"/>
                  <a:pt x="3339782" y="541580"/>
                  <a:pt x="3343462" y="540763"/>
                </a:cubicBezTo>
                <a:cubicBezTo>
                  <a:pt x="3344280" y="540558"/>
                  <a:pt x="3345303" y="540763"/>
                  <a:pt x="3345712" y="541989"/>
                </a:cubicBezTo>
                <a:cubicBezTo>
                  <a:pt x="3346121" y="543010"/>
                  <a:pt x="3345099" y="543624"/>
                  <a:pt x="3344485" y="544237"/>
                </a:cubicBezTo>
                <a:cubicBezTo>
                  <a:pt x="3343054" y="545668"/>
                  <a:pt x="3341418" y="547098"/>
                  <a:pt x="3340396" y="548733"/>
                </a:cubicBezTo>
                <a:cubicBezTo>
                  <a:pt x="3337124" y="553026"/>
                  <a:pt x="3337328" y="555478"/>
                  <a:pt x="3340396" y="559974"/>
                </a:cubicBezTo>
                <a:cubicBezTo>
                  <a:pt x="3342849" y="563448"/>
                  <a:pt x="3344689" y="567127"/>
                  <a:pt x="3344895" y="571624"/>
                </a:cubicBezTo>
                <a:cubicBezTo>
                  <a:pt x="3345099" y="574894"/>
                  <a:pt x="3343462" y="575302"/>
                  <a:pt x="3340805" y="574280"/>
                </a:cubicBezTo>
                <a:cubicBezTo>
                  <a:pt x="3338964" y="573668"/>
                  <a:pt x="3337942" y="571828"/>
                  <a:pt x="3336511" y="570806"/>
                </a:cubicBezTo>
                <a:cubicBezTo>
                  <a:pt x="3334874" y="569580"/>
                  <a:pt x="3332625" y="567945"/>
                  <a:pt x="3330990" y="569580"/>
                </a:cubicBezTo>
                <a:cubicBezTo>
                  <a:pt x="3329149" y="571624"/>
                  <a:pt x="3330171" y="574077"/>
                  <a:pt x="3332012" y="575916"/>
                </a:cubicBezTo>
                <a:cubicBezTo>
                  <a:pt x="3332830" y="576734"/>
                  <a:pt x="3334056" y="577551"/>
                  <a:pt x="3334874" y="578572"/>
                </a:cubicBezTo>
                <a:cubicBezTo>
                  <a:pt x="3335897" y="579595"/>
                  <a:pt x="3336715" y="580821"/>
                  <a:pt x="3335488" y="582251"/>
                </a:cubicBezTo>
                <a:cubicBezTo>
                  <a:pt x="3334465" y="583478"/>
                  <a:pt x="3333238" y="582865"/>
                  <a:pt x="3332012" y="581843"/>
                </a:cubicBezTo>
                <a:cubicBezTo>
                  <a:pt x="3330785" y="581026"/>
                  <a:pt x="3329558" y="580004"/>
                  <a:pt x="3328331" y="579390"/>
                </a:cubicBezTo>
                <a:cubicBezTo>
                  <a:pt x="3326491" y="578164"/>
                  <a:pt x="3324446" y="578777"/>
                  <a:pt x="3323015" y="580004"/>
                </a:cubicBezTo>
                <a:cubicBezTo>
                  <a:pt x="3321583" y="581230"/>
                  <a:pt x="3322401" y="583069"/>
                  <a:pt x="3323015" y="584500"/>
                </a:cubicBezTo>
                <a:cubicBezTo>
                  <a:pt x="3326082" y="591653"/>
                  <a:pt x="3336306" y="594719"/>
                  <a:pt x="3343258" y="590426"/>
                </a:cubicBezTo>
                <a:cubicBezTo>
                  <a:pt x="3346530" y="588383"/>
                  <a:pt x="3347757" y="588996"/>
                  <a:pt x="3348166" y="592266"/>
                </a:cubicBezTo>
                <a:cubicBezTo>
                  <a:pt x="3348779" y="597580"/>
                  <a:pt x="3351233" y="601055"/>
                  <a:pt x="3356550" y="602894"/>
                </a:cubicBezTo>
                <a:cubicBezTo>
                  <a:pt x="3357981" y="603303"/>
                  <a:pt x="3360231" y="604325"/>
                  <a:pt x="3359617" y="606572"/>
                </a:cubicBezTo>
                <a:cubicBezTo>
                  <a:pt x="3358390" y="611682"/>
                  <a:pt x="3360435" y="615974"/>
                  <a:pt x="3363093" y="620062"/>
                </a:cubicBezTo>
                <a:cubicBezTo>
                  <a:pt x="3365138" y="623127"/>
                  <a:pt x="3365751" y="625988"/>
                  <a:pt x="3363502" y="629667"/>
                </a:cubicBezTo>
                <a:cubicBezTo>
                  <a:pt x="3361048" y="633550"/>
                  <a:pt x="3362479" y="635799"/>
                  <a:pt x="3367387" y="636616"/>
                </a:cubicBezTo>
                <a:cubicBezTo>
                  <a:pt x="3367591" y="636616"/>
                  <a:pt x="3367796" y="636616"/>
                  <a:pt x="3368000" y="636616"/>
                </a:cubicBezTo>
                <a:cubicBezTo>
                  <a:pt x="3369841" y="636820"/>
                  <a:pt x="3371681" y="637229"/>
                  <a:pt x="3371886" y="639069"/>
                </a:cubicBezTo>
                <a:cubicBezTo>
                  <a:pt x="3372294" y="640908"/>
                  <a:pt x="3370046" y="640703"/>
                  <a:pt x="3369022" y="641317"/>
                </a:cubicBezTo>
                <a:cubicBezTo>
                  <a:pt x="3362479" y="644587"/>
                  <a:pt x="3359822" y="649696"/>
                  <a:pt x="3361048" y="657054"/>
                </a:cubicBezTo>
                <a:cubicBezTo>
                  <a:pt x="3361457" y="659507"/>
                  <a:pt x="3360639" y="660937"/>
                  <a:pt x="3358594" y="661959"/>
                </a:cubicBezTo>
                <a:cubicBezTo>
                  <a:pt x="3357367" y="662573"/>
                  <a:pt x="3356141" y="662981"/>
                  <a:pt x="3354914" y="663595"/>
                </a:cubicBezTo>
                <a:cubicBezTo>
                  <a:pt x="3353278" y="664411"/>
                  <a:pt x="3352664" y="665638"/>
                  <a:pt x="3353073" y="667478"/>
                </a:cubicBezTo>
                <a:lnTo>
                  <a:pt x="3353988" y="668776"/>
                </a:lnTo>
                <a:lnTo>
                  <a:pt x="3338006" y="684670"/>
                </a:lnTo>
                <a:lnTo>
                  <a:pt x="3338350" y="681580"/>
                </a:lnTo>
                <a:cubicBezTo>
                  <a:pt x="3338759" y="679944"/>
                  <a:pt x="3338759" y="679126"/>
                  <a:pt x="3336919" y="678105"/>
                </a:cubicBezTo>
                <a:cubicBezTo>
                  <a:pt x="3334874" y="677288"/>
                  <a:pt x="3334056" y="678310"/>
                  <a:pt x="3333238" y="679535"/>
                </a:cubicBezTo>
                <a:cubicBezTo>
                  <a:pt x="3332625" y="680353"/>
                  <a:pt x="3332421" y="681171"/>
                  <a:pt x="3332012" y="682193"/>
                </a:cubicBezTo>
                <a:cubicBezTo>
                  <a:pt x="3330171" y="686485"/>
                  <a:pt x="3328944" y="686689"/>
                  <a:pt x="3325878" y="683214"/>
                </a:cubicBezTo>
                <a:cubicBezTo>
                  <a:pt x="3325263" y="682397"/>
                  <a:pt x="3324446" y="681375"/>
                  <a:pt x="3323219" y="681375"/>
                </a:cubicBezTo>
                <a:cubicBezTo>
                  <a:pt x="3321788" y="681580"/>
                  <a:pt x="3321788" y="683214"/>
                  <a:pt x="3321379" y="684236"/>
                </a:cubicBezTo>
                <a:cubicBezTo>
                  <a:pt x="3320970" y="685054"/>
                  <a:pt x="3320765" y="685872"/>
                  <a:pt x="3320765" y="686689"/>
                </a:cubicBezTo>
                <a:cubicBezTo>
                  <a:pt x="3320459" y="688427"/>
                  <a:pt x="3319794" y="689243"/>
                  <a:pt x="3318925" y="689423"/>
                </a:cubicBezTo>
                <a:cubicBezTo>
                  <a:pt x="3318056" y="689602"/>
                  <a:pt x="3316982" y="689142"/>
                  <a:pt x="3315857" y="688324"/>
                </a:cubicBezTo>
                <a:cubicBezTo>
                  <a:pt x="3313608" y="686485"/>
                  <a:pt x="3311359" y="684236"/>
                  <a:pt x="3309110" y="682397"/>
                </a:cubicBezTo>
                <a:cubicBezTo>
                  <a:pt x="3306452" y="680149"/>
                  <a:pt x="3303384" y="678514"/>
                  <a:pt x="3300112" y="680353"/>
                </a:cubicBezTo>
                <a:cubicBezTo>
                  <a:pt x="3297455" y="681580"/>
                  <a:pt x="3296227" y="680557"/>
                  <a:pt x="3294796" y="678719"/>
                </a:cubicBezTo>
                <a:cubicBezTo>
                  <a:pt x="3291729" y="674631"/>
                  <a:pt x="3288048" y="671566"/>
                  <a:pt x="3282323" y="672791"/>
                </a:cubicBezTo>
                <a:cubicBezTo>
                  <a:pt x="3280891" y="673200"/>
                  <a:pt x="3280482" y="672587"/>
                  <a:pt x="3280278" y="671157"/>
                </a:cubicBezTo>
                <a:cubicBezTo>
                  <a:pt x="3279460" y="661142"/>
                  <a:pt x="3275166" y="652557"/>
                  <a:pt x="3269440" y="644791"/>
                </a:cubicBezTo>
                <a:cubicBezTo>
                  <a:pt x="3268009" y="642952"/>
                  <a:pt x="3268418" y="641726"/>
                  <a:pt x="3269236" y="639887"/>
                </a:cubicBezTo>
                <a:cubicBezTo>
                  <a:pt x="3271280" y="636208"/>
                  <a:pt x="3273530" y="632120"/>
                  <a:pt x="3272098" y="628033"/>
                </a:cubicBezTo>
                <a:cubicBezTo>
                  <a:pt x="3270667" y="623945"/>
                  <a:pt x="3271689" y="621083"/>
                  <a:pt x="3273735" y="617813"/>
                </a:cubicBezTo>
                <a:cubicBezTo>
                  <a:pt x="3274348" y="616792"/>
                  <a:pt x="3274757" y="615770"/>
                  <a:pt x="3275370" y="614543"/>
                </a:cubicBezTo>
                <a:cubicBezTo>
                  <a:pt x="3278029" y="608617"/>
                  <a:pt x="3281095" y="603098"/>
                  <a:pt x="3287435" y="600237"/>
                </a:cubicBezTo>
                <a:cubicBezTo>
                  <a:pt x="3288662" y="599828"/>
                  <a:pt x="3288662" y="599011"/>
                  <a:pt x="3288662" y="597988"/>
                </a:cubicBezTo>
                <a:cubicBezTo>
                  <a:pt x="3288457" y="594923"/>
                  <a:pt x="3282936" y="587565"/>
                  <a:pt x="3280073" y="586748"/>
                </a:cubicBezTo>
                <a:cubicBezTo>
                  <a:pt x="3275575" y="585727"/>
                  <a:pt x="3271689" y="583478"/>
                  <a:pt x="3268623" y="580004"/>
                </a:cubicBezTo>
                <a:cubicBezTo>
                  <a:pt x="3264328" y="575507"/>
                  <a:pt x="3260647" y="570806"/>
                  <a:pt x="3256558" y="566106"/>
                </a:cubicBezTo>
                <a:cubicBezTo>
                  <a:pt x="3255331" y="564880"/>
                  <a:pt x="3255944" y="564062"/>
                  <a:pt x="3256762" y="563040"/>
                </a:cubicBezTo>
                <a:cubicBezTo>
                  <a:pt x="3260443" y="558543"/>
                  <a:pt x="3260443" y="558543"/>
                  <a:pt x="3255944" y="555478"/>
                </a:cubicBezTo>
                <a:cubicBezTo>
                  <a:pt x="3251854" y="552412"/>
                  <a:pt x="3251650" y="550368"/>
                  <a:pt x="3255331" y="546485"/>
                </a:cubicBezTo>
                <a:cubicBezTo>
                  <a:pt x="3256966" y="544850"/>
                  <a:pt x="3258603" y="543010"/>
                  <a:pt x="3257989" y="540149"/>
                </a:cubicBezTo>
                <a:cubicBezTo>
                  <a:pt x="3256149" y="532996"/>
                  <a:pt x="3258807" y="527069"/>
                  <a:pt x="3263511" y="521756"/>
                </a:cubicBezTo>
                <a:cubicBezTo>
                  <a:pt x="3266577" y="518281"/>
                  <a:pt x="3270258" y="515010"/>
                  <a:pt x="3272507" y="510924"/>
                </a:cubicBezTo>
                <a:cubicBezTo>
                  <a:pt x="3272917" y="510106"/>
                  <a:pt x="3273530" y="509288"/>
                  <a:pt x="3274552" y="509493"/>
                </a:cubicBezTo>
                <a:cubicBezTo>
                  <a:pt x="3279664" y="511127"/>
                  <a:pt x="3282323" y="507857"/>
                  <a:pt x="3285185" y="504587"/>
                </a:cubicBezTo>
                <a:cubicBezTo>
                  <a:pt x="3286003" y="503565"/>
                  <a:pt x="3287026" y="502340"/>
                  <a:pt x="3288866" y="502749"/>
                </a:cubicBezTo>
                <a:close/>
                <a:moveTo>
                  <a:pt x="6433558" y="499121"/>
                </a:moveTo>
                <a:cubicBezTo>
                  <a:pt x="6436511" y="499154"/>
                  <a:pt x="6439330" y="499891"/>
                  <a:pt x="6441612" y="503107"/>
                </a:cubicBezTo>
                <a:cubicBezTo>
                  <a:pt x="6442414" y="504180"/>
                  <a:pt x="6444025" y="505519"/>
                  <a:pt x="6446170" y="505519"/>
                </a:cubicBezTo>
                <a:cubicBezTo>
                  <a:pt x="6449124" y="505251"/>
                  <a:pt x="6450736" y="506859"/>
                  <a:pt x="6451270" y="509808"/>
                </a:cubicBezTo>
                <a:cubicBezTo>
                  <a:pt x="6451807" y="511684"/>
                  <a:pt x="6453151" y="512756"/>
                  <a:pt x="6454491" y="514096"/>
                </a:cubicBezTo>
                <a:cubicBezTo>
                  <a:pt x="6457980" y="517313"/>
                  <a:pt x="6459590" y="521065"/>
                  <a:pt x="6458246" y="525889"/>
                </a:cubicBezTo>
                <a:cubicBezTo>
                  <a:pt x="6457442" y="528570"/>
                  <a:pt x="6458246" y="531518"/>
                  <a:pt x="6460931" y="533126"/>
                </a:cubicBezTo>
                <a:cubicBezTo>
                  <a:pt x="6460931" y="534198"/>
                  <a:pt x="6460931" y="535270"/>
                  <a:pt x="6460931" y="536343"/>
                </a:cubicBezTo>
                <a:cubicBezTo>
                  <a:pt x="6458515" y="537683"/>
                  <a:pt x="6457442" y="539291"/>
                  <a:pt x="6457713" y="542775"/>
                </a:cubicBezTo>
                <a:cubicBezTo>
                  <a:pt x="6457980" y="547600"/>
                  <a:pt x="6455832" y="551352"/>
                  <a:pt x="6450468" y="552424"/>
                </a:cubicBezTo>
                <a:cubicBezTo>
                  <a:pt x="6448051" y="552692"/>
                  <a:pt x="6448586" y="554568"/>
                  <a:pt x="6448586" y="556176"/>
                </a:cubicBezTo>
                <a:cubicBezTo>
                  <a:pt x="6448586" y="558857"/>
                  <a:pt x="6447513" y="559393"/>
                  <a:pt x="6445369" y="557517"/>
                </a:cubicBezTo>
                <a:cubicBezTo>
                  <a:pt x="6442146" y="554836"/>
                  <a:pt x="6440000" y="554836"/>
                  <a:pt x="6439194" y="559393"/>
                </a:cubicBezTo>
                <a:cubicBezTo>
                  <a:pt x="6438926" y="560465"/>
                  <a:pt x="6438122" y="561805"/>
                  <a:pt x="6437048" y="560465"/>
                </a:cubicBezTo>
                <a:cubicBezTo>
                  <a:pt x="6433561" y="556981"/>
                  <a:pt x="6431144" y="559125"/>
                  <a:pt x="6428461" y="561537"/>
                </a:cubicBezTo>
                <a:cubicBezTo>
                  <a:pt x="6428193" y="562073"/>
                  <a:pt x="6427119" y="562073"/>
                  <a:pt x="6426583" y="562073"/>
                </a:cubicBezTo>
                <a:cubicBezTo>
                  <a:pt x="6420140" y="558321"/>
                  <a:pt x="6413969" y="554032"/>
                  <a:pt x="6407529" y="550011"/>
                </a:cubicBezTo>
                <a:cubicBezTo>
                  <a:pt x="6404574" y="548135"/>
                  <a:pt x="6402965" y="543043"/>
                  <a:pt x="6401624" y="539022"/>
                </a:cubicBezTo>
                <a:cubicBezTo>
                  <a:pt x="6401086" y="537414"/>
                  <a:pt x="6401357" y="535806"/>
                  <a:pt x="6399744" y="534467"/>
                </a:cubicBezTo>
                <a:cubicBezTo>
                  <a:pt x="6398135" y="533126"/>
                  <a:pt x="6398405" y="531518"/>
                  <a:pt x="6399477" y="529910"/>
                </a:cubicBezTo>
                <a:cubicBezTo>
                  <a:pt x="6400012" y="528838"/>
                  <a:pt x="6401086" y="527497"/>
                  <a:pt x="6400283" y="526426"/>
                </a:cubicBezTo>
                <a:cubicBezTo>
                  <a:pt x="6397597" y="523210"/>
                  <a:pt x="6397331" y="520797"/>
                  <a:pt x="6401624" y="519189"/>
                </a:cubicBezTo>
                <a:cubicBezTo>
                  <a:pt x="6402698" y="518921"/>
                  <a:pt x="6402965" y="517313"/>
                  <a:pt x="6401892" y="516508"/>
                </a:cubicBezTo>
                <a:cubicBezTo>
                  <a:pt x="6398405" y="513560"/>
                  <a:pt x="6402160" y="512220"/>
                  <a:pt x="6402698" y="510075"/>
                </a:cubicBezTo>
                <a:cubicBezTo>
                  <a:pt x="6404574" y="502839"/>
                  <a:pt x="6412897" y="504983"/>
                  <a:pt x="6416114" y="499623"/>
                </a:cubicBezTo>
                <a:cubicBezTo>
                  <a:pt x="6417189" y="497747"/>
                  <a:pt x="6422288" y="499086"/>
                  <a:pt x="6424702" y="499355"/>
                </a:cubicBezTo>
                <a:cubicBezTo>
                  <a:pt x="6427521" y="499757"/>
                  <a:pt x="6430606" y="499087"/>
                  <a:pt x="6433558" y="499121"/>
                </a:cubicBezTo>
                <a:close/>
                <a:moveTo>
                  <a:pt x="8788828" y="487582"/>
                </a:moveTo>
                <a:cubicBezTo>
                  <a:pt x="8792344" y="488359"/>
                  <a:pt x="8795467" y="489137"/>
                  <a:pt x="8798980" y="489137"/>
                </a:cubicBezTo>
                <a:cubicBezTo>
                  <a:pt x="8802496" y="489137"/>
                  <a:pt x="8806008" y="491470"/>
                  <a:pt x="8807572" y="494579"/>
                </a:cubicBezTo>
                <a:cubicBezTo>
                  <a:pt x="8808744" y="497300"/>
                  <a:pt x="8809914" y="498854"/>
                  <a:pt x="8812256" y="500021"/>
                </a:cubicBezTo>
                <a:cubicBezTo>
                  <a:pt x="8812256" y="504686"/>
                  <a:pt x="8812256" y="509351"/>
                  <a:pt x="8812256" y="514015"/>
                </a:cubicBezTo>
                <a:cubicBezTo>
                  <a:pt x="8808352" y="515958"/>
                  <a:pt x="8805228" y="519068"/>
                  <a:pt x="8803666" y="522567"/>
                </a:cubicBezTo>
                <a:cubicBezTo>
                  <a:pt x="8801715" y="525677"/>
                  <a:pt x="8800152" y="529175"/>
                  <a:pt x="8798199" y="532674"/>
                </a:cubicBezTo>
                <a:cubicBezTo>
                  <a:pt x="8796246" y="535784"/>
                  <a:pt x="8794295" y="539282"/>
                  <a:pt x="8793904" y="543169"/>
                </a:cubicBezTo>
                <a:cubicBezTo>
                  <a:pt x="8793123" y="546667"/>
                  <a:pt x="8790780" y="548223"/>
                  <a:pt x="8788048" y="550167"/>
                </a:cubicBezTo>
                <a:cubicBezTo>
                  <a:pt x="8785314" y="552109"/>
                  <a:pt x="8781408" y="551721"/>
                  <a:pt x="8779456" y="554442"/>
                </a:cubicBezTo>
                <a:cubicBezTo>
                  <a:pt x="8776724" y="554442"/>
                  <a:pt x="8774380" y="554442"/>
                  <a:pt x="8771646" y="554442"/>
                </a:cubicBezTo>
                <a:cubicBezTo>
                  <a:pt x="8771646" y="553276"/>
                  <a:pt x="8771256" y="552888"/>
                  <a:pt x="8770476" y="552888"/>
                </a:cubicBezTo>
                <a:cubicBezTo>
                  <a:pt x="8764617" y="552888"/>
                  <a:pt x="8761494" y="549000"/>
                  <a:pt x="8759542" y="544335"/>
                </a:cubicBezTo>
                <a:cubicBezTo>
                  <a:pt x="8757588" y="540060"/>
                  <a:pt x="8755244" y="536172"/>
                  <a:pt x="8756028" y="531119"/>
                </a:cubicBezTo>
                <a:cubicBezTo>
                  <a:pt x="8757200" y="525677"/>
                  <a:pt x="8756808" y="519846"/>
                  <a:pt x="8761494" y="515570"/>
                </a:cubicBezTo>
                <a:cubicBezTo>
                  <a:pt x="8763055" y="514015"/>
                  <a:pt x="8764617" y="512849"/>
                  <a:pt x="8767352" y="512072"/>
                </a:cubicBezTo>
                <a:cubicBezTo>
                  <a:pt x="8771256" y="510905"/>
                  <a:pt x="8775942" y="508961"/>
                  <a:pt x="8774770" y="502742"/>
                </a:cubicBezTo>
                <a:cubicBezTo>
                  <a:pt x="8774380" y="500410"/>
                  <a:pt x="8776724" y="499633"/>
                  <a:pt x="8777115" y="498466"/>
                </a:cubicBezTo>
                <a:cubicBezTo>
                  <a:pt x="8779068" y="492247"/>
                  <a:pt x="8783751" y="489526"/>
                  <a:pt x="8788828" y="487582"/>
                </a:cubicBezTo>
                <a:close/>
                <a:moveTo>
                  <a:pt x="5326723" y="485591"/>
                </a:moveTo>
                <a:lnTo>
                  <a:pt x="5327190" y="485702"/>
                </a:lnTo>
                <a:lnTo>
                  <a:pt x="5326938" y="485952"/>
                </a:lnTo>
                <a:close/>
                <a:moveTo>
                  <a:pt x="7668546" y="465737"/>
                </a:moveTo>
                <a:cubicBezTo>
                  <a:pt x="7672794" y="465688"/>
                  <a:pt x="7677236" y="466653"/>
                  <a:pt x="7681293" y="466075"/>
                </a:cubicBezTo>
                <a:cubicBezTo>
                  <a:pt x="7684772" y="465689"/>
                  <a:pt x="7692116" y="463759"/>
                  <a:pt x="7693660" y="466461"/>
                </a:cubicBezTo>
                <a:cubicBezTo>
                  <a:pt x="7698295" y="474178"/>
                  <a:pt x="7710275" y="471091"/>
                  <a:pt x="7712977" y="481509"/>
                </a:cubicBezTo>
                <a:cubicBezTo>
                  <a:pt x="7713752" y="484596"/>
                  <a:pt x="7719158" y="486526"/>
                  <a:pt x="7714136" y="490770"/>
                </a:cubicBezTo>
                <a:cubicBezTo>
                  <a:pt x="7712593" y="491928"/>
                  <a:pt x="7712977" y="494243"/>
                  <a:pt x="7714523" y="494629"/>
                </a:cubicBezTo>
                <a:cubicBezTo>
                  <a:pt x="7720706" y="496945"/>
                  <a:pt x="7720320" y="500418"/>
                  <a:pt x="7716454" y="505048"/>
                </a:cubicBezTo>
                <a:cubicBezTo>
                  <a:pt x="7715295" y="506591"/>
                  <a:pt x="7716841" y="508521"/>
                  <a:pt x="7717613" y="510065"/>
                </a:cubicBezTo>
                <a:cubicBezTo>
                  <a:pt x="7719158" y="512380"/>
                  <a:pt x="7719545" y="514694"/>
                  <a:pt x="7717228" y="516624"/>
                </a:cubicBezTo>
                <a:cubicBezTo>
                  <a:pt x="7714913" y="518554"/>
                  <a:pt x="7715295" y="520869"/>
                  <a:pt x="7714523" y="523184"/>
                </a:cubicBezTo>
                <a:cubicBezTo>
                  <a:pt x="7712593" y="528972"/>
                  <a:pt x="7710275" y="536304"/>
                  <a:pt x="7706024" y="539005"/>
                </a:cubicBezTo>
                <a:cubicBezTo>
                  <a:pt x="7696752" y="544793"/>
                  <a:pt x="7687864" y="550967"/>
                  <a:pt x="7678590" y="556370"/>
                </a:cubicBezTo>
                <a:cubicBezTo>
                  <a:pt x="7677817" y="556370"/>
                  <a:pt x="7676273" y="556370"/>
                  <a:pt x="7675888" y="555598"/>
                </a:cubicBezTo>
                <a:cubicBezTo>
                  <a:pt x="7672021" y="552125"/>
                  <a:pt x="7668542" y="549037"/>
                  <a:pt x="7663524" y="554054"/>
                </a:cubicBezTo>
                <a:cubicBezTo>
                  <a:pt x="7661978" y="555984"/>
                  <a:pt x="7660815" y="554054"/>
                  <a:pt x="7660440" y="552511"/>
                </a:cubicBezTo>
                <a:cubicBezTo>
                  <a:pt x="7659278" y="545951"/>
                  <a:pt x="7656177" y="545951"/>
                  <a:pt x="7651544" y="549809"/>
                </a:cubicBezTo>
                <a:cubicBezTo>
                  <a:pt x="7648459" y="552511"/>
                  <a:pt x="7646913" y="551739"/>
                  <a:pt x="7646913" y="547881"/>
                </a:cubicBezTo>
                <a:cubicBezTo>
                  <a:pt x="7646913" y="545565"/>
                  <a:pt x="7647694" y="542864"/>
                  <a:pt x="7644217" y="542478"/>
                </a:cubicBezTo>
                <a:cubicBezTo>
                  <a:pt x="7636497" y="540934"/>
                  <a:pt x="7633397" y="535533"/>
                  <a:pt x="7633787" y="528586"/>
                </a:cubicBezTo>
                <a:cubicBezTo>
                  <a:pt x="7634183" y="523570"/>
                  <a:pt x="7632626" y="521255"/>
                  <a:pt x="7629147" y="519325"/>
                </a:cubicBezTo>
                <a:cubicBezTo>
                  <a:pt x="7629147" y="517782"/>
                  <a:pt x="7629147" y="516238"/>
                  <a:pt x="7629147" y="514694"/>
                </a:cubicBezTo>
                <a:cubicBezTo>
                  <a:pt x="7633018" y="512380"/>
                  <a:pt x="7634183" y="508135"/>
                  <a:pt x="7633018" y="504276"/>
                </a:cubicBezTo>
                <a:cubicBezTo>
                  <a:pt x="7631075" y="497330"/>
                  <a:pt x="7633397" y="491928"/>
                  <a:pt x="7638423" y="487298"/>
                </a:cubicBezTo>
                <a:cubicBezTo>
                  <a:pt x="7640346" y="485368"/>
                  <a:pt x="7642286" y="483825"/>
                  <a:pt x="7643060" y="481123"/>
                </a:cubicBezTo>
                <a:cubicBezTo>
                  <a:pt x="7643823" y="476879"/>
                  <a:pt x="7646139" y="474564"/>
                  <a:pt x="7650388" y="474950"/>
                </a:cubicBezTo>
                <a:cubicBezTo>
                  <a:pt x="7653485" y="474950"/>
                  <a:pt x="7655808" y="473020"/>
                  <a:pt x="7656964" y="471476"/>
                </a:cubicBezTo>
                <a:cubicBezTo>
                  <a:pt x="7660244" y="466846"/>
                  <a:pt x="7664298" y="465785"/>
                  <a:pt x="7668546" y="465737"/>
                </a:cubicBezTo>
                <a:close/>
                <a:moveTo>
                  <a:pt x="10118432" y="433327"/>
                </a:moveTo>
                <a:cubicBezTo>
                  <a:pt x="10125580" y="436063"/>
                  <a:pt x="10132176" y="439896"/>
                  <a:pt x="10134928" y="448654"/>
                </a:cubicBezTo>
                <a:cubicBezTo>
                  <a:pt x="10135476" y="450296"/>
                  <a:pt x="10138776" y="451391"/>
                  <a:pt x="10138226" y="454676"/>
                </a:cubicBezTo>
                <a:cubicBezTo>
                  <a:pt x="10136577" y="463435"/>
                  <a:pt x="10143175" y="466171"/>
                  <a:pt x="10148675" y="467813"/>
                </a:cubicBezTo>
                <a:cubicBezTo>
                  <a:pt x="10152523" y="468908"/>
                  <a:pt x="10154722" y="470550"/>
                  <a:pt x="10156921" y="472740"/>
                </a:cubicBezTo>
                <a:cubicBezTo>
                  <a:pt x="10163520" y="478762"/>
                  <a:pt x="10162970" y="486973"/>
                  <a:pt x="10164620" y="494637"/>
                </a:cubicBezTo>
                <a:cubicBezTo>
                  <a:pt x="10165721" y="501753"/>
                  <a:pt x="10162422" y="507226"/>
                  <a:pt x="10159672" y="513248"/>
                </a:cubicBezTo>
                <a:cubicBezTo>
                  <a:pt x="10156921" y="519817"/>
                  <a:pt x="10152523" y="525291"/>
                  <a:pt x="10144275" y="525291"/>
                </a:cubicBezTo>
                <a:cubicBezTo>
                  <a:pt x="10143175" y="525291"/>
                  <a:pt x="10142625" y="525839"/>
                  <a:pt x="10142625" y="527481"/>
                </a:cubicBezTo>
                <a:cubicBezTo>
                  <a:pt x="10138776" y="527481"/>
                  <a:pt x="10135476" y="527481"/>
                  <a:pt x="10131628" y="527481"/>
                </a:cubicBezTo>
                <a:cubicBezTo>
                  <a:pt x="10128880" y="523649"/>
                  <a:pt x="10123381" y="524197"/>
                  <a:pt x="10119530" y="521459"/>
                </a:cubicBezTo>
                <a:cubicBezTo>
                  <a:pt x="10115681" y="518722"/>
                  <a:pt x="10112382" y="516532"/>
                  <a:pt x="10111283" y="511606"/>
                </a:cubicBezTo>
                <a:cubicBezTo>
                  <a:pt x="10110733" y="506132"/>
                  <a:pt x="10107982" y="501205"/>
                  <a:pt x="10105235" y="496826"/>
                </a:cubicBezTo>
                <a:cubicBezTo>
                  <a:pt x="10102484" y="491899"/>
                  <a:pt x="10100285" y="486973"/>
                  <a:pt x="10097534" y="482594"/>
                </a:cubicBezTo>
                <a:cubicBezTo>
                  <a:pt x="10095335" y="477666"/>
                  <a:pt x="10090937" y="473288"/>
                  <a:pt x="10085437" y="470550"/>
                </a:cubicBezTo>
                <a:cubicBezTo>
                  <a:pt x="10085437" y="463981"/>
                  <a:pt x="10085437" y="457413"/>
                  <a:pt x="10085437" y="450844"/>
                </a:cubicBezTo>
                <a:cubicBezTo>
                  <a:pt x="10088737" y="449202"/>
                  <a:pt x="10090388" y="447012"/>
                  <a:pt x="10092036" y="443180"/>
                </a:cubicBezTo>
                <a:cubicBezTo>
                  <a:pt x="10094236" y="438801"/>
                  <a:pt x="10099184" y="435517"/>
                  <a:pt x="10104134" y="435517"/>
                </a:cubicBezTo>
                <a:cubicBezTo>
                  <a:pt x="10109082" y="435517"/>
                  <a:pt x="10113482" y="434421"/>
                  <a:pt x="10118432" y="433327"/>
                </a:cubicBezTo>
                <a:close/>
                <a:moveTo>
                  <a:pt x="9450766" y="431533"/>
                </a:moveTo>
                <a:cubicBezTo>
                  <a:pt x="9455714" y="432627"/>
                  <a:pt x="9460115" y="433723"/>
                  <a:pt x="9465064" y="433723"/>
                </a:cubicBezTo>
                <a:cubicBezTo>
                  <a:pt x="9470014" y="433723"/>
                  <a:pt x="9474961" y="437007"/>
                  <a:pt x="9477162" y="441386"/>
                </a:cubicBezTo>
                <a:cubicBezTo>
                  <a:pt x="9478809" y="445218"/>
                  <a:pt x="9480459" y="447408"/>
                  <a:pt x="9483757" y="449050"/>
                </a:cubicBezTo>
                <a:cubicBezTo>
                  <a:pt x="9483757" y="455619"/>
                  <a:pt x="9483757" y="462187"/>
                  <a:pt x="9483757" y="468756"/>
                </a:cubicBezTo>
                <a:cubicBezTo>
                  <a:pt x="9478260" y="471494"/>
                  <a:pt x="9473861" y="475872"/>
                  <a:pt x="9471663" y="480800"/>
                </a:cubicBezTo>
                <a:cubicBezTo>
                  <a:pt x="9468916" y="485179"/>
                  <a:pt x="9466714" y="490105"/>
                  <a:pt x="9463963" y="495032"/>
                </a:cubicBezTo>
                <a:cubicBezTo>
                  <a:pt x="9461214" y="499411"/>
                  <a:pt x="9458466" y="504338"/>
                  <a:pt x="9457913" y="509812"/>
                </a:cubicBezTo>
                <a:cubicBezTo>
                  <a:pt x="9456814" y="514738"/>
                  <a:pt x="9453515" y="516928"/>
                  <a:pt x="9449667" y="519665"/>
                </a:cubicBezTo>
                <a:cubicBezTo>
                  <a:pt x="9445818" y="522403"/>
                  <a:pt x="9440320" y="521855"/>
                  <a:pt x="9437569" y="525687"/>
                </a:cubicBezTo>
                <a:cubicBezTo>
                  <a:pt x="9433719" y="525687"/>
                  <a:pt x="9430420" y="525687"/>
                  <a:pt x="9426572" y="525687"/>
                </a:cubicBezTo>
                <a:cubicBezTo>
                  <a:pt x="9426572" y="524045"/>
                  <a:pt x="9426021" y="523497"/>
                  <a:pt x="9424922" y="523497"/>
                </a:cubicBezTo>
                <a:cubicBezTo>
                  <a:pt x="9416674" y="523497"/>
                  <a:pt x="9412275" y="518023"/>
                  <a:pt x="9409526" y="511454"/>
                </a:cubicBezTo>
                <a:cubicBezTo>
                  <a:pt x="9406776" y="505432"/>
                  <a:pt x="9403478" y="499959"/>
                  <a:pt x="9404576" y="492843"/>
                </a:cubicBezTo>
                <a:cubicBezTo>
                  <a:pt x="9406226" y="485179"/>
                  <a:pt x="9405677" y="476968"/>
                  <a:pt x="9412275" y="470946"/>
                </a:cubicBezTo>
                <a:cubicBezTo>
                  <a:pt x="9414476" y="468756"/>
                  <a:pt x="9416674" y="467114"/>
                  <a:pt x="9420523" y="466019"/>
                </a:cubicBezTo>
                <a:cubicBezTo>
                  <a:pt x="9426021" y="464377"/>
                  <a:pt x="9432621" y="461641"/>
                  <a:pt x="9430969" y="452882"/>
                </a:cubicBezTo>
                <a:cubicBezTo>
                  <a:pt x="9430420" y="449597"/>
                  <a:pt x="9433719" y="448502"/>
                  <a:pt x="9434268" y="446860"/>
                </a:cubicBezTo>
                <a:cubicBezTo>
                  <a:pt x="9437020" y="438102"/>
                  <a:pt x="9443622" y="434269"/>
                  <a:pt x="9450766" y="431533"/>
                </a:cubicBezTo>
                <a:close/>
                <a:moveTo>
                  <a:pt x="8279557" y="404265"/>
                </a:moveTo>
                <a:cubicBezTo>
                  <a:pt x="8281397" y="403856"/>
                  <a:pt x="8282417" y="405082"/>
                  <a:pt x="8283237" y="406104"/>
                </a:cubicBezTo>
                <a:cubicBezTo>
                  <a:pt x="8286101" y="409374"/>
                  <a:pt x="8288757" y="412644"/>
                  <a:pt x="8293871" y="411009"/>
                </a:cubicBezTo>
                <a:cubicBezTo>
                  <a:pt x="8294890" y="410805"/>
                  <a:pt x="8295504" y="411623"/>
                  <a:pt x="8295912" y="412440"/>
                </a:cubicBezTo>
                <a:cubicBezTo>
                  <a:pt x="8298164" y="416527"/>
                  <a:pt x="8301843" y="419798"/>
                  <a:pt x="8304910" y="423272"/>
                </a:cubicBezTo>
                <a:cubicBezTo>
                  <a:pt x="8309611" y="428585"/>
                  <a:pt x="8312274" y="434513"/>
                  <a:pt x="8310432" y="441666"/>
                </a:cubicBezTo>
                <a:cubicBezTo>
                  <a:pt x="8309817" y="444527"/>
                  <a:pt x="8311453" y="446367"/>
                  <a:pt x="8313088" y="448001"/>
                </a:cubicBezTo>
                <a:cubicBezTo>
                  <a:pt x="8316768" y="451885"/>
                  <a:pt x="8316566" y="453929"/>
                  <a:pt x="8312478" y="456994"/>
                </a:cubicBezTo>
                <a:cubicBezTo>
                  <a:pt x="8307979" y="460060"/>
                  <a:pt x="8307979" y="460060"/>
                  <a:pt x="8311659" y="464556"/>
                </a:cubicBezTo>
                <a:cubicBezTo>
                  <a:pt x="8312478" y="465578"/>
                  <a:pt x="8313088" y="466396"/>
                  <a:pt x="8311863" y="467622"/>
                </a:cubicBezTo>
                <a:cubicBezTo>
                  <a:pt x="8307775" y="472323"/>
                  <a:pt x="8304095" y="477024"/>
                  <a:pt x="8299802" y="481520"/>
                </a:cubicBezTo>
                <a:cubicBezTo>
                  <a:pt x="8296733" y="484994"/>
                  <a:pt x="8292846" y="487242"/>
                  <a:pt x="8288349" y="488264"/>
                </a:cubicBezTo>
                <a:cubicBezTo>
                  <a:pt x="8285485" y="489082"/>
                  <a:pt x="8279965" y="496439"/>
                  <a:pt x="8279763" y="499505"/>
                </a:cubicBezTo>
                <a:cubicBezTo>
                  <a:pt x="8279763" y="500527"/>
                  <a:pt x="8279763" y="501345"/>
                  <a:pt x="8280988" y="501754"/>
                </a:cubicBezTo>
                <a:cubicBezTo>
                  <a:pt x="8287327" y="504615"/>
                  <a:pt x="8290393" y="510132"/>
                  <a:pt x="8293054" y="516060"/>
                </a:cubicBezTo>
                <a:cubicBezTo>
                  <a:pt x="8293664" y="517286"/>
                  <a:pt x="8294075" y="518308"/>
                  <a:pt x="8294687" y="519330"/>
                </a:cubicBezTo>
                <a:cubicBezTo>
                  <a:pt x="8296733" y="522600"/>
                  <a:pt x="8297753" y="525461"/>
                  <a:pt x="8296321" y="529548"/>
                </a:cubicBezTo>
                <a:cubicBezTo>
                  <a:pt x="8294890" y="533636"/>
                  <a:pt x="8297142" y="537723"/>
                  <a:pt x="8299184" y="541402"/>
                </a:cubicBezTo>
                <a:cubicBezTo>
                  <a:pt x="8300005" y="543242"/>
                  <a:pt x="8300413" y="544469"/>
                  <a:pt x="8298983" y="546308"/>
                </a:cubicBezTo>
                <a:lnTo>
                  <a:pt x="8289215" y="570066"/>
                </a:lnTo>
                <a:lnTo>
                  <a:pt x="8297712" y="565573"/>
                </a:lnTo>
                <a:cubicBezTo>
                  <a:pt x="8316193" y="539515"/>
                  <a:pt x="8343373" y="553630"/>
                  <a:pt x="8366204" y="550372"/>
                </a:cubicBezTo>
                <a:cubicBezTo>
                  <a:pt x="8375985" y="549287"/>
                  <a:pt x="8396640" y="543858"/>
                  <a:pt x="8400990" y="551458"/>
                </a:cubicBezTo>
                <a:cubicBezTo>
                  <a:pt x="8414034" y="573173"/>
                  <a:pt x="8447735" y="564487"/>
                  <a:pt x="8455344" y="593802"/>
                </a:cubicBezTo>
                <a:cubicBezTo>
                  <a:pt x="8457520" y="602488"/>
                  <a:pt x="8472742" y="607916"/>
                  <a:pt x="8458606" y="619860"/>
                </a:cubicBezTo>
                <a:cubicBezTo>
                  <a:pt x="8454258" y="623116"/>
                  <a:pt x="8455344" y="629631"/>
                  <a:pt x="8459693" y="630717"/>
                </a:cubicBezTo>
                <a:cubicBezTo>
                  <a:pt x="8477088" y="637231"/>
                  <a:pt x="8476001" y="647003"/>
                  <a:pt x="8465128" y="660032"/>
                </a:cubicBezTo>
                <a:cubicBezTo>
                  <a:pt x="8461868" y="664374"/>
                  <a:pt x="8466218" y="669803"/>
                  <a:pt x="8468392" y="674146"/>
                </a:cubicBezTo>
                <a:cubicBezTo>
                  <a:pt x="8472742" y="680660"/>
                  <a:pt x="8473828" y="687175"/>
                  <a:pt x="8467305" y="692604"/>
                </a:cubicBezTo>
                <a:cubicBezTo>
                  <a:pt x="8460780" y="698032"/>
                  <a:pt x="8461868" y="704546"/>
                  <a:pt x="8459693" y="711061"/>
                </a:cubicBezTo>
                <a:cubicBezTo>
                  <a:pt x="8454258" y="727347"/>
                  <a:pt x="8447735" y="747975"/>
                  <a:pt x="8435778" y="755575"/>
                </a:cubicBezTo>
                <a:cubicBezTo>
                  <a:pt x="8409688" y="771861"/>
                  <a:pt x="8384681" y="789233"/>
                  <a:pt x="8358590" y="804433"/>
                </a:cubicBezTo>
                <a:cubicBezTo>
                  <a:pt x="8356417" y="804433"/>
                  <a:pt x="8352066" y="804433"/>
                  <a:pt x="8350980" y="802262"/>
                </a:cubicBezTo>
                <a:cubicBezTo>
                  <a:pt x="8340110" y="792491"/>
                  <a:pt x="8330326" y="783805"/>
                  <a:pt x="8316193" y="797919"/>
                </a:cubicBezTo>
                <a:cubicBezTo>
                  <a:pt x="8311846" y="803348"/>
                  <a:pt x="8308582" y="797919"/>
                  <a:pt x="8307494" y="793576"/>
                </a:cubicBezTo>
                <a:cubicBezTo>
                  <a:pt x="8304237" y="775119"/>
                  <a:pt x="8295537" y="775119"/>
                  <a:pt x="8282496" y="785976"/>
                </a:cubicBezTo>
                <a:cubicBezTo>
                  <a:pt x="8273797" y="793576"/>
                  <a:pt x="8269447" y="791405"/>
                  <a:pt x="8269447" y="780547"/>
                </a:cubicBezTo>
                <a:cubicBezTo>
                  <a:pt x="8269447" y="774033"/>
                  <a:pt x="8271622" y="766434"/>
                  <a:pt x="8261838" y="765347"/>
                </a:cubicBezTo>
                <a:cubicBezTo>
                  <a:pt x="8240095" y="761005"/>
                  <a:pt x="8231398" y="745804"/>
                  <a:pt x="8232485" y="726261"/>
                </a:cubicBezTo>
                <a:cubicBezTo>
                  <a:pt x="8233570" y="712147"/>
                  <a:pt x="8229224" y="705632"/>
                  <a:pt x="8219438" y="700204"/>
                </a:cubicBezTo>
                <a:cubicBezTo>
                  <a:pt x="8219438" y="695861"/>
                  <a:pt x="8219438" y="691517"/>
                  <a:pt x="8219438" y="687175"/>
                </a:cubicBezTo>
                <a:cubicBezTo>
                  <a:pt x="8230309" y="680660"/>
                  <a:pt x="8233570" y="668718"/>
                  <a:pt x="8230309" y="657860"/>
                </a:cubicBezTo>
                <a:cubicBezTo>
                  <a:pt x="8224873" y="638317"/>
                  <a:pt x="8231398" y="623116"/>
                  <a:pt x="8245530" y="610088"/>
                </a:cubicBezTo>
                <a:cubicBezTo>
                  <a:pt x="8250965" y="604659"/>
                  <a:pt x="8256402" y="600316"/>
                  <a:pt x="8258577" y="592717"/>
                </a:cubicBezTo>
                <a:lnTo>
                  <a:pt x="8263346" y="582998"/>
                </a:lnTo>
                <a:lnTo>
                  <a:pt x="8259312" y="583914"/>
                </a:lnTo>
                <a:cubicBezTo>
                  <a:pt x="8257064" y="585753"/>
                  <a:pt x="8254808" y="588002"/>
                  <a:pt x="8252564" y="589840"/>
                </a:cubicBezTo>
                <a:cubicBezTo>
                  <a:pt x="8251439" y="590658"/>
                  <a:pt x="8250365" y="591118"/>
                  <a:pt x="8249498" y="590939"/>
                </a:cubicBezTo>
                <a:cubicBezTo>
                  <a:pt x="8248626" y="590760"/>
                  <a:pt x="8247962" y="589943"/>
                  <a:pt x="8247654" y="588206"/>
                </a:cubicBezTo>
                <a:cubicBezTo>
                  <a:pt x="8247654" y="587388"/>
                  <a:pt x="8247451" y="586571"/>
                  <a:pt x="8247044" y="585753"/>
                </a:cubicBezTo>
                <a:cubicBezTo>
                  <a:pt x="8246634" y="584731"/>
                  <a:pt x="8246634" y="583096"/>
                  <a:pt x="8245203" y="582892"/>
                </a:cubicBezTo>
                <a:cubicBezTo>
                  <a:pt x="8243974" y="582892"/>
                  <a:pt x="8243158" y="583914"/>
                  <a:pt x="8242546" y="584731"/>
                </a:cubicBezTo>
                <a:cubicBezTo>
                  <a:pt x="8239477" y="588206"/>
                  <a:pt x="8238250" y="588002"/>
                  <a:pt x="8236409" y="583710"/>
                </a:cubicBezTo>
                <a:cubicBezTo>
                  <a:pt x="8236000" y="582687"/>
                  <a:pt x="8235796" y="581870"/>
                  <a:pt x="8235182" y="581052"/>
                </a:cubicBezTo>
                <a:cubicBezTo>
                  <a:pt x="8234364" y="579826"/>
                  <a:pt x="8233545" y="578804"/>
                  <a:pt x="8231501" y="579622"/>
                </a:cubicBezTo>
                <a:cubicBezTo>
                  <a:pt x="8229660" y="580643"/>
                  <a:pt x="8229660" y="581461"/>
                  <a:pt x="8230070" y="583096"/>
                </a:cubicBezTo>
                <a:lnTo>
                  <a:pt x="8230415" y="586187"/>
                </a:lnTo>
                <a:lnTo>
                  <a:pt x="8214432" y="570292"/>
                </a:lnTo>
                <a:lnTo>
                  <a:pt x="8215348" y="568994"/>
                </a:lnTo>
                <a:cubicBezTo>
                  <a:pt x="8215757" y="567155"/>
                  <a:pt x="8215144" y="565928"/>
                  <a:pt x="8213506" y="565111"/>
                </a:cubicBezTo>
                <a:cubicBezTo>
                  <a:pt x="8212278" y="564498"/>
                  <a:pt x="8211054" y="564089"/>
                  <a:pt x="8209824" y="563476"/>
                </a:cubicBezTo>
                <a:cubicBezTo>
                  <a:pt x="8207783" y="562454"/>
                  <a:pt x="8206963" y="561023"/>
                  <a:pt x="8207373" y="558570"/>
                </a:cubicBezTo>
                <a:cubicBezTo>
                  <a:pt x="8208599" y="551213"/>
                  <a:pt x="8205942" y="546103"/>
                  <a:pt x="8199396" y="542833"/>
                </a:cubicBezTo>
                <a:cubicBezTo>
                  <a:pt x="8198374" y="542220"/>
                  <a:pt x="8196124" y="542424"/>
                  <a:pt x="8196535" y="540586"/>
                </a:cubicBezTo>
                <a:cubicBezTo>
                  <a:pt x="8196738" y="538746"/>
                  <a:pt x="8198581" y="538337"/>
                  <a:pt x="8200422" y="538132"/>
                </a:cubicBezTo>
                <a:cubicBezTo>
                  <a:pt x="8200626" y="538132"/>
                  <a:pt x="8200831" y="538132"/>
                  <a:pt x="8201035" y="538132"/>
                </a:cubicBezTo>
                <a:cubicBezTo>
                  <a:pt x="8205942" y="537315"/>
                  <a:pt x="8207373" y="535067"/>
                  <a:pt x="8204920" y="531184"/>
                </a:cubicBezTo>
                <a:cubicBezTo>
                  <a:pt x="8202669" y="527505"/>
                  <a:pt x="8203282" y="524644"/>
                  <a:pt x="8205329" y="521577"/>
                </a:cubicBezTo>
                <a:cubicBezTo>
                  <a:pt x="8207987" y="517490"/>
                  <a:pt x="8210030" y="513199"/>
                  <a:pt x="8208804" y="508089"/>
                </a:cubicBezTo>
                <a:cubicBezTo>
                  <a:pt x="8208193" y="505840"/>
                  <a:pt x="8210441" y="504819"/>
                  <a:pt x="8211871" y="504410"/>
                </a:cubicBezTo>
                <a:cubicBezTo>
                  <a:pt x="8217188" y="502570"/>
                  <a:pt x="8219641" y="499096"/>
                  <a:pt x="8220253" y="493783"/>
                </a:cubicBezTo>
                <a:cubicBezTo>
                  <a:pt x="8220662" y="490512"/>
                  <a:pt x="8221892" y="489900"/>
                  <a:pt x="8225165" y="491943"/>
                </a:cubicBezTo>
                <a:cubicBezTo>
                  <a:pt x="8232118" y="496235"/>
                  <a:pt x="8242341" y="493170"/>
                  <a:pt x="8245407" y="486017"/>
                </a:cubicBezTo>
                <a:cubicBezTo>
                  <a:pt x="8246022" y="484585"/>
                  <a:pt x="8246836" y="482746"/>
                  <a:pt x="8245407" y="481520"/>
                </a:cubicBezTo>
                <a:cubicBezTo>
                  <a:pt x="8243974" y="480293"/>
                  <a:pt x="8241931" y="479680"/>
                  <a:pt x="8240090" y="480907"/>
                </a:cubicBezTo>
                <a:cubicBezTo>
                  <a:pt x="8238864" y="481520"/>
                  <a:pt x="8237632" y="482541"/>
                  <a:pt x="8236409" y="483359"/>
                </a:cubicBezTo>
                <a:cubicBezTo>
                  <a:pt x="8235182" y="484381"/>
                  <a:pt x="8233955" y="484994"/>
                  <a:pt x="8232935" y="483768"/>
                </a:cubicBezTo>
                <a:cubicBezTo>
                  <a:pt x="8231706" y="482338"/>
                  <a:pt x="8232524" y="481111"/>
                  <a:pt x="8233545" y="480089"/>
                </a:cubicBezTo>
                <a:cubicBezTo>
                  <a:pt x="8234364" y="479067"/>
                  <a:pt x="8235593" y="478250"/>
                  <a:pt x="8236409" y="477432"/>
                </a:cubicBezTo>
                <a:cubicBezTo>
                  <a:pt x="8238250" y="475593"/>
                  <a:pt x="8239272" y="473140"/>
                  <a:pt x="8237431" y="471096"/>
                </a:cubicBezTo>
                <a:cubicBezTo>
                  <a:pt x="8235796" y="469462"/>
                  <a:pt x="8233545" y="471096"/>
                  <a:pt x="8231911" y="472323"/>
                </a:cubicBezTo>
                <a:cubicBezTo>
                  <a:pt x="8230478" y="473345"/>
                  <a:pt x="8229458" y="475184"/>
                  <a:pt x="8227617" y="475797"/>
                </a:cubicBezTo>
                <a:cubicBezTo>
                  <a:pt x="8224957" y="476819"/>
                  <a:pt x="8223322" y="476410"/>
                  <a:pt x="8223523" y="473140"/>
                </a:cubicBezTo>
                <a:cubicBezTo>
                  <a:pt x="8223732" y="468644"/>
                  <a:pt x="8225571" y="464965"/>
                  <a:pt x="8228027" y="461491"/>
                </a:cubicBezTo>
                <a:cubicBezTo>
                  <a:pt x="8231092" y="456994"/>
                  <a:pt x="8231297" y="454542"/>
                  <a:pt x="8228027" y="450250"/>
                </a:cubicBezTo>
                <a:cubicBezTo>
                  <a:pt x="8227002" y="448615"/>
                  <a:pt x="8225366" y="447185"/>
                  <a:pt x="8223932" y="445754"/>
                </a:cubicBezTo>
                <a:cubicBezTo>
                  <a:pt x="8223322" y="445140"/>
                  <a:pt x="8222301" y="444527"/>
                  <a:pt x="8222710" y="443506"/>
                </a:cubicBezTo>
                <a:cubicBezTo>
                  <a:pt x="8223117" y="442279"/>
                  <a:pt x="8224141" y="442075"/>
                  <a:pt x="8224957" y="442279"/>
                </a:cubicBezTo>
                <a:cubicBezTo>
                  <a:pt x="8228637" y="443097"/>
                  <a:pt x="8229458" y="441462"/>
                  <a:pt x="8229252" y="438192"/>
                </a:cubicBezTo>
                <a:cubicBezTo>
                  <a:pt x="8229047" y="434104"/>
                  <a:pt x="8231706" y="431243"/>
                  <a:pt x="8234571" y="428994"/>
                </a:cubicBezTo>
                <a:cubicBezTo>
                  <a:pt x="8236819" y="427155"/>
                  <a:pt x="8237023" y="425724"/>
                  <a:pt x="8234774" y="424089"/>
                </a:cubicBezTo>
                <a:cubicBezTo>
                  <a:pt x="8233545" y="423272"/>
                  <a:pt x="8232728" y="422455"/>
                  <a:pt x="8233137" y="420819"/>
                </a:cubicBezTo>
                <a:cubicBezTo>
                  <a:pt x="8233545" y="418571"/>
                  <a:pt x="8235182" y="418980"/>
                  <a:pt x="8236613" y="418571"/>
                </a:cubicBezTo>
                <a:cubicBezTo>
                  <a:pt x="8237431" y="418367"/>
                  <a:pt x="8238457" y="418367"/>
                  <a:pt x="8239477" y="418162"/>
                </a:cubicBezTo>
                <a:cubicBezTo>
                  <a:pt x="8244999" y="417549"/>
                  <a:pt x="8246223" y="414484"/>
                  <a:pt x="8242953" y="409783"/>
                </a:cubicBezTo>
                <a:cubicBezTo>
                  <a:pt x="8242546" y="409169"/>
                  <a:pt x="8242138" y="408761"/>
                  <a:pt x="8241931" y="408148"/>
                </a:cubicBezTo>
                <a:cubicBezTo>
                  <a:pt x="8241317" y="406922"/>
                  <a:pt x="8240908" y="405286"/>
                  <a:pt x="8242138" y="404470"/>
                </a:cubicBezTo>
                <a:cubicBezTo>
                  <a:pt x="8243158" y="403652"/>
                  <a:pt x="8244589" y="404470"/>
                  <a:pt x="8245407" y="405286"/>
                </a:cubicBezTo>
                <a:cubicBezTo>
                  <a:pt x="8246223" y="406104"/>
                  <a:pt x="8246836" y="406922"/>
                  <a:pt x="8247451" y="407944"/>
                </a:cubicBezTo>
                <a:cubicBezTo>
                  <a:pt x="8248680" y="409374"/>
                  <a:pt x="8249906" y="409783"/>
                  <a:pt x="8251542" y="408557"/>
                </a:cubicBezTo>
                <a:cubicBezTo>
                  <a:pt x="8255426" y="405900"/>
                  <a:pt x="8259720" y="405491"/>
                  <a:pt x="8264017" y="405286"/>
                </a:cubicBezTo>
                <a:cubicBezTo>
                  <a:pt x="8269130" y="404877"/>
                  <a:pt x="8274444" y="405491"/>
                  <a:pt x="8279557" y="404265"/>
                </a:cubicBezTo>
                <a:close/>
                <a:moveTo>
                  <a:pt x="5434097" y="377756"/>
                </a:moveTo>
                <a:cubicBezTo>
                  <a:pt x="5438348" y="377708"/>
                  <a:pt x="5442792" y="378673"/>
                  <a:pt x="5446849" y="378094"/>
                </a:cubicBezTo>
                <a:cubicBezTo>
                  <a:pt x="5450326" y="377708"/>
                  <a:pt x="5457667" y="375779"/>
                  <a:pt x="5459212" y="378480"/>
                </a:cubicBezTo>
                <a:cubicBezTo>
                  <a:pt x="5463849" y="386197"/>
                  <a:pt x="5475826" y="383110"/>
                  <a:pt x="5478530" y="393529"/>
                </a:cubicBezTo>
                <a:cubicBezTo>
                  <a:pt x="5479303" y="396616"/>
                  <a:pt x="5484713" y="398545"/>
                  <a:pt x="5479690" y="402789"/>
                </a:cubicBezTo>
                <a:cubicBezTo>
                  <a:pt x="5478142" y="403947"/>
                  <a:pt x="5478530" y="406263"/>
                  <a:pt x="5480075" y="406648"/>
                </a:cubicBezTo>
                <a:cubicBezTo>
                  <a:pt x="5486259" y="408964"/>
                  <a:pt x="5485871" y="412437"/>
                  <a:pt x="5482008" y="417067"/>
                </a:cubicBezTo>
                <a:cubicBezTo>
                  <a:pt x="5480850" y="418611"/>
                  <a:pt x="5482393" y="420540"/>
                  <a:pt x="5483166" y="422084"/>
                </a:cubicBezTo>
                <a:cubicBezTo>
                  <a:pt x="5484713" y="424399"/>
                  <a:pt x="5485099" y="426714"/>
                  <a:pt x="5482780" y="428643"/>
                </a:cubicBezTo>
                <a:cubicBezTo>
                  <a:pt x="5480461" y="430573"/>
                  <a:pt x="5480850" y="432888"/>
                  <a:pt x="5480075" y="435204"/>
                </a:cubicBezTo>
                <a:cubicBezTo>
                  <a:pt x="5478142" y="440991"/>
                  <a:pt x="5475826" y="448324"/>
                  <a:pt x="5471575" y="451024"/>
                </a:cubicBezTo>
                <a:cubicBezTo>
                  <a:pt x="5462303" y="456813"/>
                  <a:pt x="5453416" y="462986"/>
                  <a:pt x="5444142" y="468389"/>
                </a:cubicBezTo>
                <a:cubicBezTo>
                  <a:pt x="5443370" y="468389"/>
                  <a:pt x="5441826" y="468389"/>
                  <a:pt x="5441439" y="467617"/>
                </a:cubicBezTo>
                <a:cubicBezTo>
                  <a:pt x="5437576" y="464144"/>
                  <a:pt x="5434097" y="461057"/>
                  <a:pt x="5429074" y="466074"/>
                </a:cubicBezTo>
                <a:cubicBezTo>
                  <a:pt x="5427529" y="468003"/>
                  <a:pt x="5426370" y="466074"/>
                  <a:pt x="5425985" y="464530"/>
                </a:cubicBezTo>
                <a:cubicBezTo>
                  <a:pt x="5424826" y="457971"/>
                  <a:pt x="5421734" y="457971"/>
                  <a:pt x="5417098" y="461829"/>
                </a:cubicBezTo>
                <a:cubicBezTo>
                  <a:pt x="5414007" y="464530"/>
                  <a:pt x="5412461" y="463758"/>
                  <a:pt x="5412461" y="459900"/>
                </a:cubicBezTo>
                <a:cubicBezTo>
                  <a:pt x="5412461" y="457585"/>
                  <a:pt x="5413234" y="454883"/>
                  <a:pt x="5409756" y="454497"/>
                </a:cubicBezTo>
                <a:cubicBezTo>
                  <a:pt x="5402029" y="452954"/>
                  <a:pt x="5398938" y="447552"/>
                  <a:pt x="5399325" y="440606"/>
                </a:cubicBezTo>
                <a:cubicBezTo>
                  <a:pt x="5399710" y="435590"/>
                  <a:pt x="5398165" y="433274"/>
                  <a:pt x="5394689" y="431345"/>
                </a:cubicBezTo>
                <a:cubicBezTo>
                  <a:pt x="5394689" y="429801"/>
                  <a:pt x="5394689" y="428257"/>
                  <a:pt x="5394689" y="426714"/>
                </a:cubicBezTo>
                <a:cubicBezTo>
                  <a:pt x="5398552" y="424399"/>
                  <a:pt x="5399710" y="420154"/>
                  <a:pt x="5398552" y="416295"/>
                </a:cubicBezTo>
                <a:cubicBezTo>
                  <a:pt x="5396619" y="409350"/>
                  <a:pt x="5398938" y="403947"/>
                  <a:pt x="5403961" y="399317"/>
                </a:cubicBezTo>
                <a:cubicBezTo>
                  <a:pt x="5405893" y="397388"/>
                  <a:pt x="5407825" y="395844"/>
                  <a:pt x="5408596" y="393143"/>
                </a:cubicBezTo>
                <a:cubicBezTo>
                  <a:pt x="5409371" y="388899"/>
                  <a:pt x="5411690" y="386583"/>
                  <a:pt x="5415940" y="386969"/>
                </a:cubicBezTo>
                <a:cubicBezTo>
                  <a:pt x="5419029" y="386969"/>
                  <a:pt x="5421348" y="385040"/>
                  <a:pt x="5422507" y="383496"/>
                </a:cubicBezTo>
                <a:cubicBezTo>
                  <a:pt x="5425791" y="378866"/>
                  <a:pt x="5429848" y="377804"/>
                  <a:pt x="5434097" y="377756"/>
                </a:cubicBezTo>
                <a:close/>
                <a:moveTo>
                  <a:pt x="6212256" y="376863"/>
                </a:moveTo>
                <a:cubicBezTo>
                  <a:pt x="6215428" y="376900"/>
                  <a:pt x="6218457" y="377692"/>
                  <a:pt x="6220907" y="381148"/>
                </a:cubicBezTo>
                <a:cubicBezTo>
                  <a:pt x="6221774" y="382300"/>
                  <a:pt x="6223502" y="383740"/>
                  <a:pt x="6225813" y="383740"/>
                </a:cubicBezTo>
                <a:cubicBezTo>
                  <a:pt x="6228982" y="383452"/>
                  <a:pt x="6230715" y="385179"/>
                  <a:pt x="6231291" y="388348"/>
                </a:cubicBezTo>
                <a:cubicBezTo>
                  <a:pt x="6231867" y="390365"/>
                  <a:pt x="6233310" y="391516"/>
                  <a:pt x="6234751" y="392957"/>
                </a:cubicBezTo>
                <a:cubicBezTo>
                  <a:pt x="6238499" y="396412"/>
                  <a:pt x="6240230" y="400445"/>
                  <a:pt x="6238787" y="405630"/>
                </a:cubicBezTo>
                <a:cubicBezTo>
                  <a:pt x="6237922" y="408509"/>
                  <a:pt x="6238787" y="411678"/>
                  <a:pt x="6241671" y="413406"/>
                </a:cubicBezTo>
                <a:cubicBezTo>
                  <a:pt x="6241671" y="414558"/>
                  <a:pt x="6241671" y="415710"/>
                  <a:pt x="6241671" y="416863"/>
                </a:cubicBezTo>
                <a:cubicBezTo>
                  <a:pt x="6239076" y="418302"/>
                  <a:pt x="6237922" y="420031"/>
                  <a:pt x="6238210" y="423775"/>
                </a:cubicBezTo>
                <a:cubicBezTo>
                  <a:pt x="6238499" y="428959"/>
                  <a:pt x="6236193" y="432992"/>
                  <a:pt x="6230425" y="434143"/>
                </a:cubicBezTo>
                <a:cubicBezTo>
                  <a:pt x="6227831" y="434432"/>
                  <a:pt x="6228406" y="436448"/>
                  <a:pt x="6228406" y="438176"/>
                </a:cubicBezTo>
                <a:cubicBezTo>
                  <a:pt x="6228406" y="441056"/>
                  <a:pt x="6227253" y="441632"/>
                  <a:pt x="6224946" y="439616"/>
                </a:cubicBezTo>
                <a:cubicBezTo>
                  <a:pt x="6221484" y="436736"/>
                  <a:pt x="6219176" y="436736"/>
                  <a:pt x="6218313" y="441632"/>
                </a:cubicBezTo>
                <a:cubicBezTo>
                  <a:pt x="6218023" y="442784"/>
                  <a:pt x="6217159" y="444224"/>
                  <a:pt x="6216005" y="442784"/>
                </a:cubicBezTo>
                <a:cubicBezTo>
                  <a:pt x="6212257" y="439040"/>
                  <a:pt x="6209661" y="441345"/>
                  <a:pt x="6206777" y="443937"/>
                </a:cubicBezTo>
                <a:cubicBezTo>
                  <a:pt x="6206488" y="444513"/>
                  <a:pt x="6205336" y="444513"/>
                  <a:pt x="6204758" y="444513"/>
                </a:cubicBezTo>
                <a:cubicBezTo>
                  <a:pt x="6197839" y="440480"/>
                  <a:pt x="6191206" y="435872"/>
                  <a:pt x="6184282" y="431551"/>
                </a:cubicBezTo>
                <a:cubicBezTo>
                  <a:pt x="6181111" y="429535"/>
                  <a:pt x="6179380" y="424063"/>
                  <a:pt x="6177939" y="419742"/>
                </a:cubicBezTo>
                <a:cubicBezTo>
                  <a:pt x="6177362" y="418015"/>
                  <a:pt x="6177650" y="416286"/>
                  <a:pt x="6175922" y="414847"/>
                </a:cubicBezTo>
                <a:cubicBezTo>
                  <a:pt x="6174190" y="413406"/>
                  <a:pt x="6174479" y="411678"/>
                  <a:pt x="6175631" y="409950"/>
                </a:cubicBezTo>
                <a:cubicBezTo>
                  <a:pt x="6176209" y="408798"/>
                  <a:pt x="6177362" y="407358"/>
                  <a:pt x="6176498" y="406206"/>
                </a:cubicBezTo>
                <a:cubicBezTo>
                  <a:pt x="6173612" y="402749"/>
                  <a:pt x="6173324" y="400157"/>
                  <a:pt x="6177939" y="398428"/>
                </a:cubicBezTo>
                <a:cubicBezTo>
                  <a:pt x="6179092" y="398141"/>
                  <a:pt x="6179380" y="396412"/>
                  <a:pt x="6178227" y="395549"/>
                </a:cubicBezTo>
                <a:cubicBezTo>
                  <a:pt x="6174479" y="392381"/>
                  <a:pt x="6178516" y="390940"/>
                  <a:pt x="6179092" y="388636"/>
                </a:cubicBezTo>
                <a:cubicBezTo>
                  <a:pt x="6181111" y="380859"/>
                  <a:pt x="6190051" y="383164"/>
                  <a:pt x="6193512" y="377403"/>
                </a:cubicBezTo>
                <a:cubicBezTo>
                  <a:pt x="6194666" y="375387"/>
                  <a:pt x="6200144" y="376827"/>
                  <a:pt x="6202740" y="377115"/>
                </a:cubicBezTo>
                <a:cubicBezTo>
                  <a:pt x="6205769" y="377547"/>
                  <a:pt x="6209085" y="376827"/>
                  <a:pt x="6212256" y="376863"/>
                </a:cubicBezTo>
                <a:close/>
                <a:moveTo>
                  <a:pt x="10320459" y="369493"/>
                </a:moveTo>
                <a:cubicBezTo>
                  <a:pt x="10322582" y="369021"/>
                  <a:pt x="10323763" y="370436"/>
                  <a:pt x="10324706" y="371616"/>
                </a:cubicBezTo>
                <a:cubicBezTo>
                  <a:pt x="10328010" y="375388"/>
                  <a:pt x="10331076" y="379162"/>
                  <a:pt x="10336976" y="377275"/>
                </a:cubicBezTo>
                <a:cubicBezTo>
                  <a:pt x="10338155" y="377039"/>
                  <a:pt x="10338864" y="377983"/>
                  <a:pt x="10339336" y="378926"/>
                </a:cubicBezTo>
                <a:cubicBezTo>
                  <a:pt x="10341931" y="383642"/>
                  <a:pt x="10346178" y="387416"/>
                  <a:pt x="10349717" y="391425"/>
                </a:cubicBezTo>
                <a:cubicBezTo>
                  <a:pt x="10355144" y="397557"/>
                  <a:pt x="10358212" y="404396"/>
                  <a:pt x="10356089" y="412650"/>
                </a:cubicBezTo>
                <a:cubicBezTo>
                  <a:pt x="10355382" y="415952"/>
                  <a:pt x="10357268" y="418074"/>
                  <a:pt x="10359156" y="419961"/>
                </a:cubicBezTo>
                <a:cubicBezTo>
                  <a:pt x="10363402" y="424442"/>
                  <a:pt x="10363166" y="426800"/>
                  <a:pt x="10358449" y="430338"/>
                </a:cubicBezTo>
                <a:cubicBezTo>
                  <a:pt x="10353257" y="433875"/>
                  <a:pt x="10353257" y="433875"/>
                  <a:pt x="10357506" y="439063"/>
                </a:cubicBezTo>
                <a:cubicBezTo>
                  <a:pt x="10358449" y="440243"/>
                  <a:pt x="10359156" y="441186"/>
                  <a:pt x="10357740" y="442601"/>
                </a:cubicBezTo>
                <a:cubicBezTo>
                  <a:pt x="10353021" y="448024"/>
                  <a:pt x="10348774" y="453449"/>
                  <a:pt x="10343818" y="458637"/>
                </a:cubicBezTo>
                <a:cubicBezTo>
                  <a:pt x="10340280" y="462646"/>
                  <a:pt x="10335797" y="465241"/>
                  <a:pt x="10330605" y="466419"/>
                </a:cubicBezTo>
                <a:cubicBezTo>
                  <a:pt x="10327302" y="467363"/>
                  <a:pt x="10320931" y="475853"/>
                  <a:pt x="10320694" y="479390"/>
                </a:cubicBezTo>
                <a:cubicBezTo>
                  <a:pt x="10320694" y="480569"/>
                  <a:pt x="10320694" y="481512"/>
                  <a:pt x="10322111" y="481985"/>
                </a:cubicBezTo>
                <a:cubicBezTo>
                  <a:pt x="10329425" y="485286"/>
                  <a:pt x="10332964" y="491653"/>
                  <a:pt x="10336032" y="498493"/>
                </a:cubicBezTo>
                <a:cubicBezTo>
                  <a:pt x="10336740" y="499907"/>
                  <a:pt x="10337212" y="501087"/>
                  <a:pt x="10337920" y="502265"/>
                </a:cubicBezTo>
                <a:cubicBezTo>
                  <a:pt x="10340280" y="506039"/>
                  <a:pt x="10341459" y="509341"/>
                  <a:pt x="10339807" y="514057"/>
                </a:cubicBezTo>
                <a:cubicBezTo>
                  <a:pt x="10338155" y="518774"/>
                  <a:pt x="10340752" y="523491"/>
                  <a:pt x="10343111" y="527736"/>
                </a:cubicBezTo>
                <a:cubicBezTo>
                  <a:pt x="10344054" y="529858"/>
                  <a:pt x="10344527" y="531273"/>
                  <a:pt x="10342875" y="533395"/>
                </a:cubicBezTo>
                <a:cubicBezTo>
                  <a:pt x="10336268" y="542357"/>
                  <a:pt x="10331313" y="552261"/>
                  <a:pt x="10330369" y="563818"/>
                </a:cubicBezTo>
                <a:cubicBezTo>
                  <a:pt x="10330133" y="565469"/>
                  <a:pt x="10329662" y="566176"/>
                  <a:pt x="10328010" y="565705"/>
                </a:cubicBezTo>
                <a:cubicBezTo>
                  <a:pt x="10321404" y="564289"/>
                  <a:pt x="10317155" y="567827"/>
                  <a:pt x="10313616" y="572543"/>
                </a:cubicBezTo>
                <a:cubicBezTo>
                  <a:pt x="10311966" y="574666"/>
                  <a:pt x="10310549" y="575845"/>
                  <a:pt x="10307482" y="574430"/>
                </a:cubicBezTo>
                <a:cubicBezTo>
                  <a:pt x="10303707" y="572308"/>
                  <a:pt x="10300168" y="574194"/>
                  <a:pt x="10297100" y="576788"/>
                </a:cubicBezTo>
                <a:cubicBezTo>
                  <a:pt x="10294506" y="578912"/>
                  <a:pt x="10291909" y="581506"/>
                  <a:pt x="10289314" y="583628"/>
                </a:cubicBezTo>
                <a:cubicBezTo>
                  <a:pt x="10288017" y="584571"/>
                  <a:pt x="10286778" y="585102"/>
                  <a:pt x="10285775" y="584896"/>
                </a:cubicBezTo>
                <a:cubicBezTo>
                  <a:pt x="10284772" y="584689"/>
                  <a:pt x="10284005" y="583746"/>
                  <a:pt x="10283651" y="581741"/>
                </a:cubicBezTo>
                <a:cubicBezTo>
                  <a:pt x="10283651" y="580797"/>
                  <a:pt x="10283414" y="579855"/>
                  <a:pt x="10282944" y="578912"/>
                </a:cubicBezTo>
                <a:cubicBezTo>
                  <a:pt x="10282471" y="577732"/>
                  <a:pt x="10282471" y="575845"/>
                  <a:pt x="10280819" y="575610"/>
                </a:cubicBezTo>
                <a:cubicBezTo>
                  <a:pt x="10279404" y="575610"/>
                  <a:pt x="10278460" y="576788"/>
                  <a:pt x="10277753" y="577732"/>
                </a:cubicBezTo>
                <a:cubicBezTo>
                  <a:pt x="10274213" y="581741"/>
                  <a:pt x="10272797" y="581506"/>
                  <a:pt x="10270673" y="576553"/>
                </a:cubicBezTo>
                <a:cubicBezTo>
                  <a:pt x="10270202" y="575374"/>
                  <a:pt x="10269966" y="574430"/>
                  <a:pt x="10269258" y="573487"/>
                </a:cubicBezTo>
                <a:cubicBezTo>
                  <a:pt x="10268315" y="572072"/>
                  <a:pt x="10267369" y="570892"/>
                  <a:pt x="10265012" y="571836"/>
                </a:cubicBezTo>
                <a:cubicBezTo>
                  <a:pt x="10262887" y="573015"/>
                  <a:pt x="10262887" y="573959"/>
                  <a:pt x="10263358" y="575845"/>
                </a:cubicBezTo>
                <a:lnTo>
                  <a:pt x="10263756" y="579412"/>
                </a:lnTo>
                <a:lnTo>
                  <a:pt x="10245315" y="561071"/>
                </a:lnTo>
                <a:lnTo>
                  <a:pt x="10246370" y="559573"/>
                </a:lnTo>
                <a:cubicBezTo>
                  <a:pt x="10246842" y="557450"/>
                  <a:pt x="10246134" y="556035"/>
                  <a:pt x="10244247" y="555092"/>
                </a:cubicBezTo>
                <a:cubicBezTo>
                  <a:pt x="10242831" y="554384"/>
                  <a:pt x="10241416" y="553912"/>
                  <a:pt x="10240001" y="553205"/>
                </a:cubicBezTo>
                <a:cubicBezTo>
                  <a:pt x="10237642" y="552026"/>
                  <a:pt x="10236697" y="550376"/>
                  <a:pt x="10237170" y="547545"/>
                </a:cubicBezTo>
                <a:cubicBezTo>
                  <a:pt x="10238584" y="539055"/>
                  <a:pt x="10235518" y="533159"/>
                  <a:pt x="10227968" y="529386"/>
                </a:cubicBezTo>
                <a:cubicBezTo>
                  <a:pt x="10226788" y="528679"/>
                  <a:pt x="10224192" y="528914"/>
                  <a:pt x="10224664" y="526792"/>
                </a:cubicBezTo>
                <a:cubicBezTo>
                  <a:pt x="10224901" y="524669"/>
                  <a:pt x="10227023" y="524198"/>
                  <a:pt x="10229147" y="523962"/>
                </a:cubicBezTo>
                <a:cubicBezTo>
                  <a:pt x="10229384" y="523962"/>
                  <a:pt x="10229618" y="523962"/>
                  <a:pt x="10229856" y="523962"/>
                </a:cubicBezTo>
                <a:cubicBezTo>
                  <a:pt x="10235518" y="523018"/>
                  <a:pt x="10237170" y="520425"/>
                  <a:pt x="10234338" y="515944"/>
                </a:cubicBezTo>
                <a:cubicBezTo>
                  <a:pt x="10231742" y="511699"/>
                  <a:pt x="10232450" y="508397"/>
                  <a:pt x="10234809" y="504860"/>
                </a:cubicBezTo>
                <a:cubicBezTo>
                  <a:pt x="10237877" y="500143"/>
                  <a:pt x="10240236" y="495191"/>
                  <a:pt x="10238820" y="489295"/>
                </a:cubicBezTo>
                <a:cubicBezTo>
                  <a:pt x="10238113" y="486701"/>
                  <a:pt x="10240708" y="485521"/>
                  <a:pt x="10242359" y="485050"/>
                </a:cubicBezTo>
                <a:cubicBezTo>
                  <a:pt x="10248493" y="482927"/>
                  <a:pt x="10251324" y="478918"/>
                  <a:pt x="10252033" y="472787"/>
                </a:cubicBezTo>
                <a:cubicBezTo>
                  <a:pt x="10252504" y="469013"/>
                  <a:pt x="10253919" y="468306"/>
                  <a:pt x="10257696" y="470664"/>
                </a:cubicBezTo>
                <a:cubicBezTo>
                  <a:pt x="10265718" y="475617"/>
                  <a:pt x="10277516" y="472080"/>
                  <a:pt x="10281055" y="463825"/>
                </a:cubicBezTo>
                <a:cubicBezTo>
                  <a:pt x="10281764" y="462174"/>
                  <a:pt x="10282707" y="460052"/>
                  <a:pt x="10281055" y="458637"/>
                </a:cubicBezTo>
                <a:cubicBezTo>
                  <a:pt x="10279404" y="457222"/>
                  <a:pt x="10277044" y="456514"/>
                  <a:pt x="10274921" y="457930"/>
                </a:cubicBezTo>
                <a:cubicBezTo>
                  <a:pt x="10273506" y="458637"/>
                  <a:pt x="10272089" y="459816"/>
                  <a:pt x="10270673" y="460759"/>
                </a:cubicBezTo>
                <a:cubicBezTo>
                  <a:pt x="10269258" y="461939"/>
                  <a:pt x="10267842" y="462646"/>
                  <a:pt x="10266662" y="461232"/>
                </a:cubicBezTo>
                <a:cubicBezTo>
                  <a:pt x="10265247" y="459581"/>
                  <a:pt x="10266190" y="458165"/>
                  <a:pt x="10267369" y="456987"/>
                </a:cubicBezTo>
                <a:cubicBezTo>
                  <a:pt x="10268315" y="455807"/>
                  <a:pt x="10269730" y="454864"/>
                  <a:pt x="10270673" y="453920"/>
                </a:cubicBezTo>
                <a:cubicBezTo>
                  <a:pt x="10272797" y="451798"/>
                  <a:pt x="10273977" y="448968"/>
                  <a:pt x="10271852" y="446610"/>
                </a:cubicBezTo>
                <a:cubicBezTo>
                  <a:pt x="10269966" y="444723"/>
                  <a:pt x="10267369" y="446610"/>
                  <a:pt x="10265483" y="448024"/>
                </a:cubicBezTo>
                <a:cubicBezTo>
                  <a:pt x="10263829" y="449204"/>
                  <a:pt x="10262651" y="451326"/>
                  <a:pt x="10260526" y="452034"/>
                </a:cubicBezTo>
                <a:cubicBezTo>
                  <a:pt x="10257460" y="453213"/>
                  <a:pt x="10255572" y="452742"/>
                  <a:pt x="10255809" y="448968"/>
                </a:cubicBezTo>
                <a:cubicBezTo>
                  <a:pt x="10256044" y="443779"/>
                  <a:pt x="10258167" y="439535"/>
                  <a:pt x="10260999" y="435525"/>
                </a:cubicBezTo>
                <a:cubicBezTo>
                  <a:pt x="10264536" y="430338"/>
                  <a:pt x="10264776" y="427507"/>
                  <a:pt x="10260999" y="422555"/>
                </a:cubicBezTo>
                <a:cubicBezTo>
                  <a:pt x="10259818" y="420668"/>
                  <a:pt x="10257931" y="419017"/>
                  <a:pt x="10256279" y="417367"/>
                </a:cubicBezTo>
                <a:cubicBezTo>
                  <a:pt x="10255572" y="416659"/>
                  <a:pt x="10254394" y="415952"/>
                  <a:pt x="10254866" y="414772"/>
                </a:cubicBezTo>
                <a:cubicBezTo>
                  <a:pt x="10255336" y="413358"/>
                  <a:pt x="10256516" y="413122"/>
                  <a:pt x="10257460" y="413358"/>
                </a:cubicBezTo>
                <a:cubicBezTo>
                  <a:pt x="10261707" y="414301"/>
                  <a:pt x="10262651" y="412414"/>
                  <a:pt x="10262414" y="408641"/>
                </a:cubicBezTo>
                <a:cubicBezTo>
                  <a:pt x="10262178" y="403924"/>
                  <a:pt x="10265247" y="400623"/>
                  <a:pt x="10268551" y="398028"/>
                </a:cubicBezTo>
                <a:cubicBezTo>
                  <a:pt x="10271145" y="395906"/>
                  <a:pt x="10271381" y="394256"/>
                  <a:pt x="10268787" y="392369"/>
                </a:cubicBezTo>
                <a:cubicBezTo>
                  <a:pt x="10267369" y="391425"/>
                  <a:pt x="10266427" y="390482"/>
                  <a:pt x="10266898" y="388596"/>
                </a:cubicBezTo>
                <a:cubicBezTo>
                  <a:pt x="10267369" y="386002"/>
                  <a:pt x="10269258" y="386473"/>
                  <a:pt x="10270909" y="386002"/>
                </a:cubicBezTo>
                <a:cubicBezTo>
                  <a:pt x="10271852" y="385765"/>
                  <a:pt x="10273033" y="385765"/>
                  <a:pt x="10274213" y="385529"/>
                </a:cubicBezTo>
                <a:cubicBezTo>
                  <a:pt x="10280583" y="384822"/>
                  <a:pt x="10282000" y="381284"/>
                  <a:pt x="10278224" y="375861"/>
                </a:cubicBezTo>
                <a:cubicBezTo>
                  <a:pt x="10277753" y="375153"/>
                  <a:pt x="10277280" y="374681"/>
                  <a:pt x="10277044" y="373974"/>
                </a:cubicBezTo>
                <a:cubicBezTo>
                  <a:pt x="10276337" y="372559"/>
                  <a:pt x="10275866" y="370672"/>
                  <a:pt x="10277280" y="369729"/>
                </a:cubicBezTo>
                <a:cubicBezTo>
                  <a:pt x="10278460" y="368785"/>
                  <a:pt x="10280112" y="369729"/>
                  <a:pt x="10281055" y="370672"/>
                </a:cubicBezTo>
                <a:cubicBezTo>
                  <a:pt x="10282000" y="371616"/>
                  <a:pt x="10282707" y="372559"/>
                  <a:pt x="10283414" y="373738"/>
                </a:cubicBezTo>
                <a:cubicBezTo>
                  <a:pt x="10284830" y="375388"/>
                  <a:pt x="10286247" y="375861"/>
                  <a:pt x="10288134" y="374446"/>
                </a:cubicBezTo>
                <a:cubicBezTo>
                  <a:pt x="10292618" y="371379"/>
                  <a:pt x="10297572" y="370908"/>
                  <a:pt x="10302528" y="370672"/>
                </a:cubicBezTo>
                <a:cubicBezTo>
                  <a:pt x="10308426" y="370201"/>
                  <a:pt x="10314560" y="370908"/>
                  <a:pt x="10320459" y="369493"/>
                </a:cubicBezTo>
                <a:close/>
                <a:moveTo>
                  <a:pt x="3421293" y="364029"/>
                </a:moveTo>
                <a:cubicBezTo>
                  <a:pt x="3424808" y="364806"/>
                  <a:pt x="3427932" y="365583"/>
                  <a:pt x="3431446" y="365583"/>
                </a:cubicBezTo>
                <a:cubicBezTo>
                  <a:pt x="3434960" y="365583"/>
                  <a:pt x="3438475" y="367916"/>
                  <a:pt x="3440037" y="371025"/>
                </a:cubicBezTo>
                <a:cubicBezTo>
                  <a:pt x="3441208" y="373746"/>
                  <a:pt x="3442380" y="375301"/>
                  <a:pt x="3444723" y="376467"/>
                </a:cubicBezTo>
                <a:cubicBezTo>
                  <a:pt x="3444723" y="381132"/>
                  <a:pt x="3444723" y="385797"/>
                  <a:pt x="3444723" y="390462"/>
                </a:cubicBezTo>
                <a:cubicBezTo>
                  <a:pt x="3440818" y="392405"/>
                  <a:pt x="3437694" y="395515"/>
                  <a:pt x="3436132" y="399013"/>
                </a:cubicBezTo>
                <a:cubicBezTo>
                  <a:pt x="3434179" y="402124"/>
                  <a:pt x="3432617" y="405622"/>
                  <a:pt x="3430666" y="409120"/>
                </a:cubicBezTo>
                <a:cubicBezTo>
                  <a:pt x="3428713" y="412231"/>
                  <a:pt x="3426761" y="415729"/>
                  <a:pt x="3426370" y="419615"/>
                </a:cubicBezTo>
                <a:cubicBezTo>
                  <a:pt x="3425589" y="423114"/>
                  <a:pt x="3423246" y="424669"/>
                  <a:pt x="3420513" y="426613"/>
                </a:cubicBezTo>
                <a:cubicBezTo>
                  <a:pt x="3417780" y="428556"/>
                  <a:pt x="3413875" y="428168"/>
                  <a:pt x="3411922" y="430889"/>
                </a:cubicBezTo>
                <a:cubicBezTo>
                  <a:pt x="3409189" y="430889"/>
                  <a:pt x="3406846" y="430889"/>
                  <a:pt x="3404113" y="430889"/>
                </a:cubicBezTo>
                <a:cubicBezTo>
                  <a:pt x="3404113" y="429722"/>
                  <a:pt x="3403723" y="429334"/>
                  <a:pt x="3402941" y="429334"/>
                </a:cubicBezTo>
                <a:cubicBezTo>
                  <a:pt x="3397085" y="429334"/>
                  <a:pt x="3393960" y="425447"/>
                  <a:pt x="3392009" y="420782"/>
                </a:cubicBezTo>
                <a:cubicBezTo>
                  <a:pt x="3390056" y="416506"/>
                  <a:pt x="3387713" y="412619"/>
                  <a:pt x="3388494" y="407566"/>
                </a:cubicBezTo>
                <a:cubicBezTo>
                  <a:pt x="3389666" y="402124"/>
                  <a:pt x="3389275" y="396292"/>
                  <a:pt x="3393960" y="392017"/>
                </a:cubicBezTo>
                <a:cubicBezTo>
                  <a:pt x="3395522" y="390462"/>
                  <a:pt x="3397085" y="389295"/>
                  <a:pt x="3399818" y="388518"/>
                </a:cubicBezTo>
                <a:cubicBezTo>
                  <a:pt x="3403723" y="387352"/>
                  <a:pt x="3408409" y="385408"/>
                  <a:pt x="3407237" y="379189"/>
                </a:cubicBezTo>
                <a:cubicBezTo>
                  <a:pt x="3406846" y="376857"/>
                  <a:pt x="3409189" y="376079"/>
                  <a:pt x="3409579" y="374913"/>
                </a:cubicBezTo>
                <a:cubicBezTo>
                  <a:pt x="3411532" y="368693"/>
                  <a:pt x="3416218" y="365972"/>
                  <a:pt x="3421293" y="364029"/>
                </a:cubicBezTo>
                <a:close/>
                <a:moveTo>
                  <a:pt x="5220801" y="360716"/>
                </a:moveTo>
                <a:cubicBezTo>
                  <a:pt x="5225913" y="361942"/>
                  <a:pt x="5231231" y="361328"/>
                  <a:pt x="5236342" y="361737"/>
                </a:cubicBezTo>
                <a:cubicBezTo>
                  <a:pt x="5240636" y="361942"/>
                  <a:pt x="5244930" y="362350"/>
                  <a:pt x="5248816" y="365008"/>
                </a:cubicBezTo>
                <a:cubicBezTo>
                  <a:pt x="5250452" y="366234"/>
                  <a:pt x="5251678" y="365825"/>
                  <a:pt x="5252907" y="364395"/>
                </a:cubicBezTo>
                <a:cubicBezTo>
                  <a:pt x="5253519" y="363373"/>
                  <a:pt x="5254133" y="362555"/>
                  <a:pt x="5254951" y="361737"/>
                </a:cubicBezTo>
                <a:cubicBezTo>
                  <a:pt x="5255768" y="360920"/>
                  <a:pt x="5257199" y="360103"/>
                  <a:pt x="5258223" y="360920"/>
                </a:cubicBezTo>
                <a:cubicBezTo>
                  <a:pt x="5259450" y="361737"/>
                  <a:pt x="5259042" y="363373"/>
                  <a:pt x="5258426" y="364599"/>
                </a:cubicBezTo>
                <a:cubicBezTo>
                  <a:pt x="5258223" y="365211"/>
                  <a:pt x="5257815" y="365620"/>
                  <a:pt x="5257403" y="366234"/>
                </a:cubicBezTo>
                <a:cubicBezTo>
                  <a:pt x="5254133" y="370935"/>
                  <a:pt x="5255358" y="374000"/>
                  <a:pt x="5260878" y="374613"/>
                </a:cubicBezTo>
                <a:cubicBezTo>
                  <a:pt x="5261902" y="374818"/>
                  <a:pt x="5262926" y="374818"/>
                  <a:pt x="5263742" y="375022"/>
                </a:cubicBezTo>
                <a:cubicBezTo>
                  <a:pt x="5265175" y="375431"/>
                  <a:pt x="5266810" y="375022"/>
                  <a:pt x="5267219" y="377270"/>
                </a:cubicBezTo>
                <a:cubicBezTo>
                  <a:pt x="5267628" y="378905"/>
                  <a:pt x="5266810" y="379723"/>
                  <a:pt x="5265584" y="380540"/>
                </a:cubicBezTo>
                <a:cubicBezTo>
                  <a:pt x="5263333" y="382175"/>
                  <a:pt x="5263537" y="383606"/>
                  <a:pt x="5265788" y="385445"/>
                </a:cubicBezTo>
                <a:cubicBezTo>
                  <a:pt x="5268649" y="387694"/>
                  <a:pt x="5271309" y="390555"/>
                  <a:pt x="5271104" y="394643"/>
                </a:cubicBezTo>
                <a:cubicBezTo>
                  <a:pt x="5270900" y="397912"/>
                  <a:pt x="5271717" y="399548"/>
                  <a:pt x="5275399" y="398730"/>
                </a:cubicBezTo>
                <a:cubicBezTo>
                  <a:pt x="5276217" y="398526"/>
                  <a:pt x="5277239" y="398730"/>
                  <a:pt x="5277648" y="399957"/>
                </a:cubicBezTo>
                <a:cubicBezTo>
                  <a:pt x="5278057" y="400978"/>
                  <a:pt x="5277035" y="401591"/>
                  <a:pt x="5276421" y="402204"/>
                </a:cubicBezTo>
                <a:cubicBezTo>
                  <a:pt x="5274991" y="403636"/>
                  <a:pt x="5273353" y="405065"/>
                  <a:pt x="5272331" y="406701"/>
                </a:cubicBezTo>
                <a:cubicBezTo>
                  <a:pt x="5269059" y="410993"/>
                  <a:pt x="5269263" y="413445"/>
                  <a:pt x="5272331" y="417942"/>
                </a:cubicBezTo>
                <a:cubicBezTo>
                  <a:pt x="5274786" y="421416"/>
                  <a:pt x="5276626" y="425095"/>
                  <a:pt x="5276831" y="429591"/>
                </a:cubicBezTo>
                <a:cubicBezTo>
                  <a:pt x="5277035" y="432861"/>
                  <a:pt x="5275399" y="433270"/>
                  <a:pt x="5272740" y="432248"/>
                </a:cubicBezTo>
                <a:cubicBezTo>
                  <a:pt x="5270900" y="431634"/>
                  <a:pt x="5269878" y="429796"/>
                  <a:pt x="5268445" y="428773"/>
                </a:cubicBezTo>
                <a:cubicBezTo>
                  <a:pt x="5266810" y="427547"/>
                  <a:pt x="5264561" y="425912"/>
                  <a:pt x="5262926" y="427547"/>
                </a:cubicBezTo>
                <a:cubicBezTo>
                  <a:pt x="5261084" y="429591"/>
                  <a:pt x="5262106" y="432043"/>
                  <a:pt x="5263946" y="433883"/>
                </a:cubicBezTo>
                <a:cubicBezTo>
                  <a:pt x="5264765" y="434701"/>
                  <a:pt x="5265992" y="435518"/>
                  <a:pt x="5266810" y="436540"/>
                </a:cubicBezTo>
                <a:cubicBezTo>
                  <a:pt x="5267832" y="437562"/>
                  <a:pt x="5268649" y="438789"/>
                  <a:pt x="5267423" y="440219"/>
                </a:cubicBezTo>
                <a:cubicBezTo>
                  <a:pt x="5266400" y="441445"/>
                  <a:pt x="5265175" y="440832"/>
                  <a:pt x="5263946" y="439810"/>
                </a:cubicBezTo>
                <a:cubicBezTo>
                  <a:pt x="5262722" y="438992"/>
                  <a:pt x="5261494" y="437971"/>
                  <a:pt x="5260265" y="437358"/>
                </a:cubicBezTo>
                <a:cubicBezTo>
                  <a:pt x="5258426" y="436131"/>
                  <a:pt x="5256382" y="436744"/>
                  <a:pt x="5254951" y="437971"/>
                </a:cubicBezTo>
                <a:cubicBezTo>
                  <a:pt x="5253519" y="439196"/>
                  <a:pt x="5254337" y="441036"/>
                  <a:pt x="5254951" y="442467"/>
                </a:cubicBezTo>
                <a:cubicBezTo>
                  <a:pt x="5258019" y="449620"/>
                  <a:pt x="5268241" y="452686"/>
                  <a:pt x="5275195" y="448394"/>
                </a:cubicBezTo>
                <a:cubicBezTo>
                  <a:pt x="5278466" y="446351"/>
                  <a:pt x="5279692" y="446963"/>
                  <a:pt x="5280102" y="450234"/>
                </a:cubicBezTo>
                <a:cubicBezTo>
                  <a:pt x="5280714" y="455547"/>
                  <a:pt x="5283169" y="459021"/>
                  <a:pt x="5288485" y="460861"/>
                </a:cubicBezTo>
                <a:cubicBezTo>
                  <a:pt x="5289918" y="461270"/>
                  <a:pt x="5292164" y="462291"/>
                  <a:pt x="5291553" y="464540"/>
                </a:cubicBezTo>
                <a:cubicBezTo>
                  <a:pt x="5290325" y="469650"/>
                  <a:pt x="5292370" y="473941"/>
                  <a:pt x="5295028" y="478028"/>
                </a:cubicBezTo>
                <a:cubicBezTo>
                  <a:pt x="5297072" y="481095"/>
                  <a:pt x="5297687" y="483956"/>
                  <a:pt x="5295437" y="487635"/>
                </a:cubicBezTo>
                <a:cubicBezTo>
                  <a:pt x="5292984" y="491518"/>
                  <a:pt x="5294415" y="493765"/>
                  <a:pt x="5299323" y="494583"/>
                </a:cubicBezTo>
                <a:cubicBezTo>
                  <a:pt x="5299528" y="494583"/>
                  <a:pt x="5299732" y="494583"/>
                  <a:pt x="5299936" y="494583"/>
                </a:cubicBezTo>
                <a:cubicBezTo>
                  <a:pt x="5301775" y="494788"/>
                  <a:pt x="5303616" y="495196"/>
                  <a:pt x="5303822" y="497036"/>
                </a:cubicBezTo>
                <a:cubicBezTo>
                  <a:pt x="5304231" y="498875"/>
                  <a:pt x="5301982" y="498671"/>
                  <a:pt x="5300959" y="499284"/>
                </a:cubicBezTo>
                <a:cubicBezTo>
                  <a:pt x="5294415" y="502554"/>
                  <a:pt x="5291756" y="507664"/>
                  <a:pt x="5292984" y="515021"/>
                </a:cubicBezTo>
                <a:cubicBezTo>
                  <a:pt x="5293393" y="517473"/>
                  <a:pt x="5292575" y="518904"/>
                  <a:pt x="5290529" y="519927"/>
                </a:cubicBezTo>
                <a:cubicBezTo>
                  <a:pt x="5289302" y="520540"/>
                  <a:pt x="5288077" y="520948"/>
                  <a:pt x="5286851" y="521561"/>
                </a:cubicBezTo>
                <a:cubicBezTo>
                  <a:pt x="5285214" y="522379"/>
                  <a:pt x="5284599" y="523605"/>
                  <a:pt x="5285010" y="525444"/>
                </a:cubicBezTo>
                <a:lnTo>
                  <a:pt x="5285924" y="526743"/>
                </a:lnTo>
                <a:lnTo>
                  <a:pt x="5269943" y="542638"/>
                </a:lnTo>
                <a:lnTo>
                  <a:pt x="5270287" y="539547"/>
                </a:lnTo>
                <a:cubicBezTo>
                  <a:pt x="5270695" y="537911"/>
                  <a:pt x="5270695" y="537094"/>
                  <a:pt x="5268853" y="536072"/>
                </a:cubicBezTo>
                <a:cubicBezTo>
                  <a:pt x="5266810" y="535255"/>
                  <a:pt x="5265992" y="536276"/>
                  <a:pt x="5265175" y="537503"/>
                </a:cubicBezTo>
                <a:cubicBezTo>
                  <a:pt x="5264561" y="538320"/>
                  <a:pt x="5264357" y="539138"/>
                  <a:pt x="5263946" y="540159"/>
                </a:cubicBezTo>
                <a:cubicBezTo>
                  <a:pt x="5262106" y="544451"/>
                  <a:pt x="5260878" y="544656"/>
                  <a:pt x="5257815" y="541181"/>
                </a:cubicBezTo>
                <a:cubicBezTo>
                  <a:pt x="5257199" y="540364"/>
                  <a:pt x="5256382" y="539343"/>
                  <a:pt x="5255155" y="539343"/>
                </a:cubicBezTo>
                <a:cubicBezTo>
                  <a:pt x="5253723" y="539547"/>
                  <a:pt x="5253723" y="541181"/>
                  <a:pt x="5253315" y="542204"/>
                </a:cubicBezTo>
                <a:cubicBezTo>
                  <a:pt x="5252907" y="543021"/>
                  <a:pt x="5252700" y="543839"/>
                  <a:pt x="5252700" y="544656"/>
                </a:cubicBezTo>
                <a:cubicBezTo>
                  <a:pt x="5252395" y="546393"/>
                  <a:pt x="5251729" y="547211"/>
                  <a:pt x="5250860" y="547390"/>
                </a:cubicBezTo>
                <a:cubicBezTo>
                  <a:pt x="5249993" y="547568"/>
                  <a:pt x="5248920" y="547109"/>
                  <a:pt x="5247793" y="546291"/>
                </a:cubicBezTo>
                <a:cubicBezTo>
                  <a:pt x="5245544" y="544451"/>
                  <a:pt x="5243296" y="542204"/>
                  <a:pt x="5241045" y="540364"/>
                </a:cubicBezTo>
                <a:cubicBezTo>
                  <a:pt x="5238386" y="538116"/>
                  <a:pt x="5235319" y="536480"/>
                  <a:pt x="5232047" y="538320"/>
                </a:cubicBezTo>
                <a:cubicBezTo>
                  <a:pt x="5229392" y="539547"/>
                  <a:pt x="5228163" y="538525"/>
                  <a:pt x="5226731" y="536685"/>
                </a:cubicBezTo>
                <a:cubicBezTo>
                  <a:pt x="5223665" y="532597"/>
                  <a:pt x="5219985" y="529532"/>
                  <a:pt x="5214259" y="530758"/>
                </a:cubicBezTo>
                <a:cubicBezTo>
                  <a:pt x="5212827" y="531167"/>
                  <a:pt x="5212419" y="530554"/>
                  <a:pt x="5212214" y="529123"/>
                </a:cubicBezTo>
                <a:cubicBezTo>
                  <a:pt x="5211396" y="519109"/>
                  <a:pt x="5207102" y="510525"/>
                  <a:pt x="5201377" y="502758"/>
                </a:cubicBezTo>
                <a:cubicBezTo>
                  <a:pt x="5199946" y="500920"/>
                  <a:pt x="5200354" y="499693"/>
                  <a:pt x="5201172" y="497853"/>
                </a:cubicBezTo>
                <a:cubicBezTo>
                  <a:pt x="5203216" y="494174"/>
                  <a:pt x="5205467" y="490087"/>
                  <a:pt x="5204034" y="485999"/>
                </a:cubicBezTo>
                <a:cubicBezTo>
                  <a:pt x="5202603" y="481911"/>
                  <a:pt x="5203624" y="479050"/>
                  <a:pt x="5205671" y="475781"/>
                </a:cubicBezTo>
                <a:cubicBezTo>
                  <a:pt x="5206283" y="474758"/>
                  <a:pt x="5206693" y="473737"/>
                  <a:pt x="5207307" y="472511"/>
                </a:cubicBezTo>
                <a:cubicBezTo>
                  <a:pt x="5209966" y="466583"/>
                  <a:pt x="5213031" y="461066"/>
                  <a:pt x="5219370" y="458205"/>
                </a:cubicBezTo>
                <a:cubicBezTo>
                  <a:pt x="5220597" y="457796"/>
                  <a:pt x="5220597" y="456978"/>
                  <a:pt x="5220597" y="455956"/>
                </a:cubicBezTo>
                <a:cubicBezTo>
                  <a:pt x="5220393" y="452890"/>
                  <a:pt x="5214872" y="445533"/>
                  <a:pt x="5212010" y="444715"/>
                </a:cubicBezTo>
                <a:cubicBezTo>
                  <a:pt x="5207511" y="443693"/>
                  <a:pt x="5203624" y="441445"/>
                  <a:pt x="5200559" y="437971"/>
                </a:cubicBezTo>
                <a:cubicBezTo>
                  <a:pt x="5196264" y="433474"/>
                  <a:pt x="5192582" y="428773"/>
                  <a:pt x="5188495" y="424073"/>
                </a:cubicBezTo>
                <a:cubicBezTo>
                  <a:pt x="5187267" y="422847"/>
                  <a:pt x="5187879" y="422029"/>
                  <a:pt x="5188698" y="421007"/>
                </a:cubicBezTo>
                <a:cubicBezTo>
                  <a:pt x="5192378" y="416511"/>
                  <a:pt x="5192378" y="416511"/>
                  <a:pt x="5187879" y="413445"/>
                </a:cubicBezTo>
                <a:cubicBezTo>
                  <a:pt x="5183791" y="410380"/>
                  <a:pt x="5183587" y="408335"/>
                  <a:pt x="5187267" y="404452"/>
                </a:cubicBezTo>
                <a:cubicBezTo>
                  <a:pt x="5188902" y="402818"/>
                  <a:pt x="5190539" y="400978"/>
                  <a:pt x="5189925" y="398117"/>
                </a:cubicBezTo>
                <a:cubicBezTo>
                  <a:pt x="5188085" y="390964"/>
                  <a:pt x="5190743" y="385036"/>
                  <a:pt x="5195447" y="379723"/>
                </a:cubicBezTo>
                <a:cubicBezTo>
                  <a:pt x="5198513" y="376249"/>
                  <a:pt x="5202193" y="372978"/>
                  <a:pt x="5204444" y="368891"/>
                </a:cubicBezTo>
                <a:cubicBezTo>
                  <a:pt x="5204852" y="368074"/>
                  <a:pt x="5205467" y="367256"/>
                  <a:pt x="5206487" y="367460"/>
                </a:cubicBezTo>
                <a:cubicBezTo>
                  <a:pt x="5211601" y="369095"/>
                  <a:pt x="5214259" y="365825"/>
                  <a:pt x="5217121" y="362555"/>
                </a:cubicBezTo>
                <a:cubicBezTo>
                  <a:pt x="5217940" y="361533"/>
                  <a:pt x="5218962" y="360307"/>
                  <a:pt x="5220801" y="360716"/>
                </a:cubicBezTo>
                <a:close/>
                <a:moveTo>
                  <a:pt x="8035907" y="359979"/>
                </a:moveTo>
                <a:cubicBezTo>
                  <a:pt x="8040981" y="361923"/>
                  <a:pt x="8045669" y="364644"/>
                  <a:pt x="8047622" y="370863"/>
                </a:cubicBezTo>
                <a:cubicBezTo>
                  <a:pt x="8048011" y="372030"/>
                  <a:pt x="8050355" y="372807"/>
                  <a:pt x="8049964" y="375139"/>
                </a:cubicBezTo>
                <a:cubicBezTo>
                  <a:pt x="8048792" y="381359"/>
                  <a:pt x="8053478" y="383302"/>
                  <a:pt x="8057382" y="384469"/>
                </a:cubicBezTo>
                <a:cubicBezTo>
                  <a:pt x="8060117" y="385246"/>
                  <a:pt x="8061680" y="386413"/>
                  <a:pt x="8063241" y="387967"/>
                </a:cubicBezTo>
                <a:cubicBezTo>
                  <a:pt x="8067927" y="392243"/>
                  <a:pt x="8067535" y="398074"/>
                  <a:pt x="8068708" y="403516"/>
                </a:cubicBezTo>
                <a:cubicBezTo>
                  <a:pt x="8069489" y="408569"/>
                  <a:pt x="8067144" y="412457"/>
                  <a:pt x="8065194" y="416733"/>
                </a:cubicBezTo>
                <a:cubicBezTo>
                  <a:pt x="8063241" y="421397"/>
                  <a:pt x="8060117" y="425285"/>
                  <a:pt x="8054258" y="425285"/>
                </a:cubicBezTo>
                <a:cubicBezTo>
                  <a:pt x="8053478" y="425285"/>
                  <a:pt x="8053089" y="425673"/>
                  <a:pt x="8053089" y="426840"/>
                </a:cubicBezTo>
                <a:cubicBezTo>
                  <a:pt x="8050355" y="426840"/>
                  <a:pt x="8048011" y="426840"/>
                  <a:pt x="8045280" y="426840"/>
                </a:cubicBezTo>
                <a:cubicBezTo>
                  <a:pt x="8043326" y="424118"/>
                  <a:pt x="8039419" y="424507"/>
                  <a:pt x="8036690" y="422564"/>
                </a:cubicBezTo>
                <a:cubicBezTo>
                  <a:pt x="8033953" y="420620"/>
                  <a:pt x="8031614" y="419064"/>
                  <a:pt x="8030831" y="415566"/>
                </a:cubicBezTo>
                <a:cubicBezTo>
                  <a:pt x="8030440" y="411680"/>
                  <a:pt x="8028489" y="408181"/>
                  <a:pt x="8026537" y="405071"/>
                </a:cubicBezTo>
                <a:cubicBezTo>
                  <a:pt x="8024584" y="401573"/>
                  <a:pt x="8023020" y="398074"/>
                  <a:pt x="8021067" y="394964"/>
                </a:cubicBezTo>
                <a:cubicBezTo>
                  <a:pt x="8019507" y="391466"/>
                  <a:pt x="8016384" y="388355"/>
                  <a:pt x="8012479" y="386413"/>
                </a:cubicBezTo>
                <a:cubicBezTo>
                  <a:pt x="8012479" y="381748"/>
                  <a:pt x="8012479" y="377083"/>
                  <a:pt x="8012479" y="372418"/>
                </a:cubicBezTo>
                <a:cubicBezTo>
                  <a:pt x="8014820" y="371252"/>
                  <a:pt x="8015992" y="369697"/>
                  <a:pt x="8017162" y="366976"/>
                </a:cubicBezTo>
                <a:cubicBezTo>
                  <a:pt x="8018727" y="363867"/>
                  <a:pt x="8022239" y="361534"/>
                  <a:pt x="8025756" y="361534"/>
                </a:cubicBezTo>
                <a:cubicBezTo>
                  <a:pt x="8029271" y="361534"/>
                  <a:pt x="8032392" y="360756"/>
                  <a:pt x="8035907" y="359979"/>
                </a:cubicBezTo>
                <a:close/>
                <a:moveTo>
                  <a:pt x="4470161" y="359479"/>
                </a:moveTo>
                <a:cubicBezTo>
                  <a:pt x="4473333" y="359515"/>
                  <a:pt x="4476361" y="360307"/>
                  <a:pt x="4478815" y="363763"/>
                </a:cubicBezTo>
                <a:cubicBezTo>
                  <a:pt x="4479678" y="364915"/>
                  <a:pt x="4481409" y="366355"/>
                  <a:pt x="4483716" y="366355"/>
                </a:cubicBezTo>
                <a:cubicBezTo>
                  <a:pt x="4486889" y="366067"/>
                  <a:pt x="4488619" y="367795"/>
                  <a:pt x="4489194" y="370963"/>
                </a:cubicBezTo>
                <a:cubicBezTo>
                  <a:pt x="4489774" y="372980"/>
                  <a:pt x="4491215" y="374131"/>
                  <a:pt x="4492655" y="375572"/>
                </a:cubicBezTo>
                <a:cubicBezTo>
                  <a:pt x="4496404" y="379028"/>
                  <a:pt x="4498135" y="383061"/>
                  <a:pt x="4496693" y="388245"/>
                </a:cubicBezTo>
                <a:cubicBezTo>
                  <a:pt x="4495828" y="391124"/>
                  <a:pt x="4496693" y="394294"/>
                  <a:pt x="4499578" y="396021"/>
                </a:cubicBezTo>
                <a:cubicBezTo>
                  <a:pt x="4499578" y="397173"/>
                  <a:pt x="4499578" y="398326"/>
                  <a:pt x="4499578" y="399478"/>
                </a:cubicBezTo>
                <a:cubicBezTo>
                  <a:pt x="4496980" y="400918"/>
                  <a:pt x="4495828" y="402646"/>
                  <a:pt x="4496116" y="406390"/>
                </a:cubicBezTo>
                <a:cubicBezTo>
                  <a:pt x="4496404" y="411575"/>
                  <a:pt x="4494097" y="415608"/>
                  <a:pt x="4488332" y="416759"/>
                </a:cubicBezTo>
                <a:cubicBezTo>
                  <a:pt x="4485734" y="417047"/>
                  <a:pt x="4486310" y="419063"/>
                  <a:pt x="4486310" y="420792"/>
                </a:cubicBezTo>
                <a:cubicBezTo>
                  <a:pt x="4486310" y="423671"/>
                  <a:pt x="4485157" y="424247"/>
                  <a:pt x="4482851" y="422232"/>
                </a:cubicBezTo>
                <a:cubicBezTo>
                  <a:pt x="4479391" y="419351"/>
                  <a:pt x="4477082" y="419351"/>
                  <a:pt x="4476216" y="424247"/>
                </a:cubicBezTo>
                <a:cubicBezTo>
                  <a:pt x="4475931" y="425400"/>
                  <a:pt x="4475064" y="426840"/>
                  <a:pt x="4473910" y="425400"/>
                </a:cubicBezTo>
                <a:cubicBezTo>
                  <a:pt x="4470161" y="421655"/>
                  <a:pt x="4467566" y="423960"/>
                  <a:pt x="4464683" y="426552"/>
                </a:cubicBezTo>
                <a:cubicBezTo>
                  <a:pt x="4464392" y="427128"/>
                  <a:pt x="4463241" y="427128"/>
                  <a:pt x="4462661" y="427128"/>
                </a:cubicBezTo>
                <a:cubicBezTo>
                  <a:pt x="4455742" y="423095"/>
                  <a:pt x="4449109" y="418487"/>
                  <a:pt x="4442187" y="414167"/>
                </a:cubicBezTo>
                <a:cubicBezTo>
                  <a:pt x="4439015" y="412151"/>
                  <a:pt x="4437285" y="406678"/>
                  <a:pt x="4435842" y="402358"/>
                </a:cubicBezTo>
                <a:cubicBezTo>
                  <a:pt x="4435267" y="400630"/>
                  <a:pt x="4435557" y="398902"/>
                  <a:pt x="4433825" y="397462"/>
                </a:cubicBezTo>
                <a:cubicBezTo>
                  <a:pt x="4432094" y="396021"/>
                  <a:pt x="4432382" y="394294"/>
                  <a:pt x="4433536" y="392565"/>
                </a:cubicBezTo>
                <a:cubicBezTo>
                  <a:pt x="4434114" y="391413"/>
                  <a:pt x="4435267" y="389973"/>
                  <a:pt x="4434399" y="388821"/>
                </a:cubicBezTo>
                <a:cubicBezTo>
                  <a:pt x="4431518" y="385364"/>
                  <a:pt x="4431231" y="382772"/>
                  <a:pt x="4435842" y="381044"/>
                </a:cubicBezTo>
                <a:cubicBezTo>
                  <a:pt x="4436997" y="380756"/>
                  <a:pt x="4437285" y="379028"/>
                  <a:pt x="4436130" y="378164"/>
                </a:cubicBezTo>
                <a:cubicBezTo>
                  <a:pt x="4432382" y="374996"/>
                  <a:pt x="4436419" y="373555"/>
                  <a:pt x="4436997" y="371252"/>
                </a:cubicBezTo>
                <a:cubicBezTo>
                  <a:pt x="4439015" y="363474"/>
                  <a:pt x="4447954" y="365779"/>
                  <a:pt x="4451414" y="360019"/>
                </a:cubicBezTo>
                <a:cubicBezTo>
                  <a:pt x="4452569" y="358003"/>
                  <a:pt x="4458050" y="359442"/>
                  <a:pt x="4460643" y="359730"/>
                </a:cubicBezTo>
                <a:cubicBezTo>
                  <a:pt x="4463672" y="360162"/>
                  <a:pt x="4466989" y="359443"/>
                  <a:pt x="4470161" y="359479"/>
                </a:cubicBezTo>
                <a:close/>
                <a:moveTo>
                  <a:pt x="5732626" y="355434"/>
                </a:moveTo>
                <a:cubicBezTo>
                  <a:pt x="5735578" y="355467"/>
                  <a:pt x="5738395" y="356204"/>
                  <a:pt x="5740676" y="359421"/>
                </a:cubicBezTo>
                <a:cubicBezTo>
                  <a:pt x="5741480" y="360493"/>
                  <a:pt x="5743090" y="361832"/>
                  <a:pt x="5745238" y="361832"/>
                </a:cubicBezTo>
                <a:cubicBezTo>
                  <a:pt x="5748192" y="361564"/>
                  <a:pt x="5749801" y="363173"/>
                  <a:pt x="5750337" y="366121"/>
                </a:cubicBezTo>
                <a:cubicBezTo>
                  <a:pt x="5750873" y="367997"/>
                  <a:pt x="5752217" y="369069"/>
                  <a:pt x="5753559" y="370410"/>
                </a:cubicBezTo>
                <a:cubicBezTo>
                  <a:pt x="5757046" y="373626"/>
                  <a:pt x="5758656" y="377378"/>
                  <a:pt x="5757316" y="382203"/>
                </a:cubicBezTo>
                <a:cubicBezTo>
                  <a:pt x="5756509" y="384883"/>
                  <a:pt x="5757316" y="387832"/>
                  <a:pt x="5760000" y="389440"/>
                </a:cubicBezTo>
                <a:cubicBezTo>
                  <a:pt x="5760000" y="390511"/>
                  <a:pt x="5760000" y="391584"/>
                  <a:pt x="5760000" y="392656"/>
                </a:cubicBezTo>
                <a:cubicBezTo>
                  <a:pt x="5757584" y="393996"/>
                  <a:pt x="5756509" y="395605"/>
                  <a:pt x="5756778" y="399089"/>
                </a:cubicBezTo>
                <a:cubicBezTo>
                  <a:pt x="5757046" y="403913"/>
                  <a:pt x="5754900" y="407665"/>
                  <a:pt x="5749532" y="408738"/>
                </a:cubicBezTo>
                <a:cubicBezTo>
                  <a:pt x="5747117" y="409006"/>
                  <a:pt x="5747654" y="410881"/>
                  <a:pt x="5747654" y="412490"/>
                </a:cubicBezTo>
                <a:cubicBezTo>
                  <a:pt x="5747654" y="415170"/>
                  <a:pt x="5746582" y="415706"/>
                  <a:pt x="5744435" y="413830"/>
                </a:cubicBezTo>
                <a:cubicBezTo>
                  <a:pt x="5741213" y="411149"/>
                  <a:pt x="5739066" y="411149"/>
                  <a:pt x="5738261" y="415706"/>
                </a:cubicBezTo>
                <a:cubicBezTo>
                  <a:pt x="5737992" y="416778"/>
                  <a:pt x="5737188" y="418119"/>
                  <a:pt x="5736113" y="416778"/>
                </a:cubicBezTo>
                <a:cubicBezTo>
                  <a:pt x="5732626" y="413294"/>
                  <a:pt x="5730209" y="415438"/>
                  <a:pt x="5727528" y="417851"/>
                </a:cubicBezTo>
                <a:cubicBezTo>
                  <a:pt x="5727257" y="418387"/>
                  <a:pt x="5726184" y="418387"/>
                  <a:pt x="5725646" y="418387"/>
                </a:cubicBezTo>
                <a:cubicBezTo>
                  <a:pt x="5719207" y="414635"/>
                  <a:pt x="5713033" y="410346"/>
                  <a:pt x="5706593" y="406325"/>
                </a:cubicBezTo>
                <a:cubicBezTo>
                  <a:pt x="5703644" y="404449"/>
                  <a:pt x="5702032" y="399357"/>
                  <a:pt x="5700688" y="395336"/>
                </a:cubicBezTo>
                <a:cubicBezTo>
                  <a:pt x="5700152" y="393727"/>
                  <a:pt x="5700421" y="392119"/>
                  <a:pt x="5698810" y="390780"/>
                </a:cubicBezTo>
                <a:cubicBezTo>
                  <a:pt x="5697200" y="389440"/>
                  <a:pt x="5697469" y="387832"/>
                  <a:pt x="5698543" y="386223"/>
                </a:cubicBezTo>
                <a:cubicBezTo>
                  <a:pt x="5699079" y="385151"/>
                  <a:pt x="5700152" y="383811"/>
                  <a:pt x="5699347" y="382739"/>
                </a:cubicBezTo>
                <a:cubicBezTo>
                  <a:pt x="5696662" y="379523"/>
                  <a:pt x="5696395" y="377110"/>
                  <a:pt x="5700688" y="375502"/>
                </a:cubicBezTo>
                <a:cubicBezTo>
                  <a:pt x="5701762" y="375234"/>
                  <a:pt x="5702032" y="373626"/>
                  <a:pt x="5700958" y="372821"/>
                </a:cubicBezTo>
                <a:cubicBezTo>
                  <a:pt x="5697469" y="369873"/>
                  <a:pt x="5701225" y="368534"/>
                  <a:pt x="5701762" y="366389"/>
                </a:cubicBezTo>
                <a:cubicBezTo>
                  <a:pt x="5703644" y="359153"/>
                  <a:pt x="5711960" y="361297"/>
                  <a:pt x="5715181" y="355936"/>
                </a:cubicBezTo>
                <a:cubicBezTo>
                  <a:pt x="5716254" y="354060"/>
                  <a:pt x="5721355" y="355400"/>
                  <a:pt x="5723770" y="355669"/>
                </a:cubicBezTo>
                <a:cubicBezTo>
                  <a:pt x="5726588" y="356071"/>
                  <a:pt x="5729672" y="355400"/>
                  <a:pt x="5732626" y="355434"/>
                </a:cubicBezTo>
                <a:close/>
                <a:moveTo>
                  <a:pt x="2269712" y="349840"/>
                </a:moveTo>
                <a:cubicBezTo>
                  <a:pt x="2272335" y="349634"/>
                  <a:pt x="2274701" y="349840"/>
                  <a:pt x="2275524" y="351279"/>
                </a:cubicBezTo>
                <a:cubicBezTo>
                  <a:pt x="2280463" y="359497"/>
                  <a:pt x="2293218" y="356210"/>
                  <a:pt x="2296099" y="367304"/>
                </a:cubicBezTo>
                <a:cubicBezTo>
                  <a:pt x="2296921" y="370593"/>
                  <a:pt x="2302681" y="372647"/>
                  <a:pt x="2297333" y="377168"/>
                </a:cubicBezTo>
                <a:cubicBezTo>
                  <a:pt x="2295687" y="378401"/>
                  <a:pt x="2296099" y="380866"/>
                  <a:pt x="2297744" y="381277"/>
                </a:cubicBezTo>
                <a:cubicBezTo>
                  <a:pt x="2304328" y="383743"/>
                  <a:pt x="2303917" y="387442"/>
                  <a:pt x="2299801" y="392373"/>
                </a:cubicBezTo>
                <a:cubicBezTo>
                  <a:pt x="2298566" y="394016"/>
                  <a:pt x="2300213" y="396072"/>
                  <a:pt x="2301036" y="397716"/>
                </a:cubicBezTo>
                <a:cubicBezTo>
                  <a:pt x="2302681" y="400181"/>
                  <a:pt x="2303094" y="402648"/>
                  <a:pt x="2300624" y="404702"/>
                </a:cubicBezTo>
                <a:cubicBezTo>
                  <a:pt x="2298156" y="406756"/>
                  <a:pt x="2298566" y="409222"/>
                  <a:pt x="2297744" y="411688"/>
                </a:cubicBezTo>
                <a:cubicBezTo>
                  <a:pt x="2295687" y="417851"/>
                  <a:pt x="2293218" y="425661"/>
                  <a:pt x="2288692" y="428537"/>
                </a:cubicBezTo>
                <a:cubicBezTo>
                  <a:pt x="2278816" y="434701"/>
                  <a:pt x="2269352" y="441276"/>
                  <a:pt x="2259477" y="447029"/>
                </a:cubicBezTo>
                <a:cubicBezTo>
                  <a:pt x="2258654" y="447029"/>
                  <a:pt x="2257008" y="447029"/>
                  <a:pt x="2256597" y="446207"/>
                </a:cubicBezTo>
                <a:cubicBezTo>
                  <a:pt x="2252482" y="442509"/>
                  <a:pt x="2248779" y="439222"/>
                  <a:pt x="2243429" y="444563"/>
                </a:cubicBezTo>
                <a:cubicBezTo>
                  <a:pt x="2241784" y="446618"/>
                  <a:pt x="2240549" y="444563"/>
                  <a:pt x="2240138" y="442920"/>
                </a:cubicBezTo>
                <a:cubicBezTo>
                  <a:pt x="2238903" y="435933"/>
                  <a:pt x="2235611" y="435933"/>
                  <a:pt x="2230673" y="440043"/>
                </a:cubicBezTo>
                <a:cubicBezTo>
                  <a:pt x="2227383" y="442920"/>
                  <a:pt x="2225736" y="442099"/>
                  <a:pt x="2225736" y="437989"/>
                </a:cubicBezTo>
                <a:cubicBezTo>
                  <a:pt x="2225736" y="435522"/>
                  <a:pt x="2226559" y="432646"/>
                  <a:pt x="2222855" y="432235"/>
                </a:cubicBezTo>
                <a:cubicBezTo>
                  <a:pt x="2214626" y="430591"/>
                  <a:pt x="2211336" y="424839"/>
                  <a:pt x="2211747" y="417440"/>
                </a:cubicBezTo>
                <a:cubicBezTo>
                  <a:pt x="2212157" y="412098"/>
                  <a:pt x="2210512" y="409633"/>
                  <a:pt x="2206808" y="407577"/>
                </a:cubicBezTo>
                <a:cubicBezTo>
                  <a:pt x="2206808" y="405934"/>
                  <a:pt x="2206808" y="404291"/>
                  <a:pt x="2206808" y="402648"/>
                </a:cubicBezTo>
                <a:cubicBezTo>
                  <a:pt x="2210923" y="400181"/>
                  <a:pt x="2212157" y="395660"/>
                  <a:pt x="2210923" y="391552"/>
                </a:cubicBezTo>
                <a:cubicBezTo>
                  <a:pt x="2208866" y="384154"/>
                  <a:pt x="2211336" y="378401"/>
                  <a:pt x="2216684" y="373470"/>
                </a:cubicBezTo>
                <a:cubicBezTo>
                  <a:pt x="2218741" y="371414"/>
                  <a:pt x="2220798" y="369771"/>
                  <a:pt x="2221621" y="366894"/>
                </a:cubicBezTo>
                <a:cubicBezTo>
                  <a:pt x="2222444" y="362374"/>
                  <a:pt x="2224913" y="359908"/>
                  <a:pt x="2229439" y="360319"/>
                </a:cubicBezTo>
                <a:cubicBezTo>
                  <a:pt x="2232731" y="360319"/>
                  <a:pt x="2235201" y="358264"/>
                  <a:pt x="2236435" y="356621"/>
                </a:cubicBezTo>
                <a:cubicBezTo>
                  <a:pt x="2239932" y="351689"/>
                  <a:pt x="2244253" y="350559"/>
                  <a:pt x="2248779" y="350508"/>
                </a:cubicBezTo>
                <a:cubicBezTo>
                  <a:pt x="2253306" y="350457"/>
                  <a:pt x="2258038" y="351484"/>
                  <a:pt x="2262357" y="350868"/>
                </a:cubicBezTo>
                <a:cubicBezTo>
                  <a:pt x="2264209" y="350662"/>
                  <a:pt x="2267089" y="350046"/>
                  <a:pt x="2269712" y="349840"/>
                </a:cubicBezTo>
                <a:close/>
                <a:moveTo>
                  <a:pt x="4750901" y="309773"/>
                </a:moveTo>
                <a:cubicBezTo>
                  <a:pt x="4758047" y="312510"/>
                  <a:pt x="4764646" y="316343"/>
                  <a:pt x="4767396" y="325101"/>
                </a:cubicBezTo>
                <a:cubicBezTo>
                  <a:pt x="4767948" y="326743"/>
                  <a:pt x="4771246" y="327838"/>
                  <a:pt x="4770696" y="331122"/>
                </a:cubicBezTo>
                <a:cubicBezTo>
                  <a:pt x="4769046" y="339881"/>
                  <a:pt x="4775644" y="342617"/>
                  <a:pt x="4781143" y="344260"/>
                </a:cubicBezTo>
                <a:cubicBezTo>
                  <a:pt x="4784994" y="345355"/>
                  <a:pt x="4787192" y="346997"/>
                  <a:pt x="4789392" y="349187"/>
                </a:cubicBezTo>
                <a:cubicBezTo>
                  <a:pt x="4795990" y="355208"/>
                  <a:pt x="4795441" y="363420"/>
                  <a:pt x="4797092" y="371083"/>
                </a:cubicBezTo>
                <a:cubicBezTo>
                  <a:pt x="4798190" y="378199"/>
                  <a:pt x="4794892" y="383673"/>
                  <a:pt x="4792140" y="389695"/>
                </a:cubicBezTo>
                <a:cubicBezTo>
                  <a:pt x="4789392" y="396264"/>
                  <a:pt x="4784994" y="401738"/>
                  <a:pt x="4776745" y="401738"/>
                </a:cubicBezTo>
                <a:cubicBezTo>
                  <a:pt x="4775644" y="401738"/>
                  <a:pt x="4775094" y="402285"/>
                  <a:pt x="4775094" y="403927"/>
                </a:cubicBezTo>
                <a:cubicBezTo>
                  <a:pt x="4771246" y="403927"/>
                  <a:pt x="4767948" y="403927"/>
                  <a:pt x="4764096" y="403927"/>
                </a:cubicBezTo>
                <a:cubicBezTo>
                  <a:pt x="4761348" y="400096"/>
                  <a:pt x="4755849" y="400643"/>
                  <a:pt x="4751999" y="397906"/>
                </a:cubicBezTo>
                <a:cubicBezTo>
                  <a:pt x="4748151" y="395168"/>
                  <a:pt x="4744852" y="392979"/>
                  <a:pt x="4743752" y="388052"/>
                </a:cubicBezTo>
                <a:cubicBezTo>
                  <a:pt x="4743203" y="382579"/>
                  <a:pt x="4740454" y="377651"/>
                  <a:pt x="4737703" y="373273"/>
                </a:cubicBezTo>
                <a:cubicBezTo>
                  <a:pt x="4734954" y="368346"/>
                  <a:pt x="4732753" y="363420"/>
                  <a:pt x="4730004" y="359040"/>
                </a:cubicBezTo>
                <a:cubicBezTo>
                  <a:pt x="4727805" y="354113"/>
                  <a:pt x="4723408" y="349734"/>
                  <a:pt x="4717908" y="346997"/>
                </a:cubicBezTo>
                <a:cubicBezTo>
                  <a:pt x="4717908" y="340428"/>
                  <a:pt x="4717908" y="333860"/>
                  <a:pt x="4717908" y="327290"/>
                </a:cubicBezTo>
                <a:cubicBezTo>
                  <a:pt x="4721207" y="325648"/>
                  <a:pt x="4722856" y="323458"/>
                  <a:pt x="4724508" y="319627"/>
                </a:cubicBezTo>
                <a:cubicBezTo>
                  <a:pt x="4726705" y="315247"/>
                  <a:pt x="4731654" y="311963"/>
                  <a:pt x="4736603" y="311963"/>
                </a:cubicBezTo>
                <a:cubicBezTo>
                  <a:pt x="4741551" y="311963"/>
                  <a:pt x="4745951" y="310868"/>
                  <a:pt x="4750901" y="309773"/>
                </a:cubicBezTo>
                <a:close/>
                <a:moveTo>
                  <a:pt x="4083241" y="307979"/>
                </a:moveTo>
                <a:cubicBezTo>
                  <a:pt x="4088190" y="309074"/>
                  <a:pt x="4092589" y="310169"/>
                  <a:pt x="4097537" y="310169"/>
                </a:cubicBezTo>
                <a:cubicBezTo>
                  <a:pt x="4102486" y="310169"/>
                  <a:pt x="4107435" y="313453"/>
                  <a:pt x="4109635" y="317833"/>
                </a:cubicBezTo>
                <a:cubicBezTo>
                  <a:pt x="4111285" y="321664"/>
                  <a:pt x="4112934" y="323854"/>
                  <a:pt x="4116234" y="325496"/>
                </a:cubicBezTo>
                <a:cubicBezTo>
                  <a:pt x="4116234" y="332066"/>
                  <a:pt x="4116234" y="338634"/>
                  <a:pt x="4116234" y="345203"/>
                </a:cubicBezTo>
                <a:cubicBezTo>
                  <a:pt x="4110735" y="347940"/>
                  <a:pt x="4106336" y="352319"/>
                  <a:pt x="4104136" y="357246"/>
                </a:cubicBezTo>
                <a:cubicBezTo>
                  <a:pt x="4101386" y="361626"/>
                  <a:pt x="4099187" y="366552"/>
                  <a:pt x="4096437" y="371479"/>
                </a:cubicBezTo>
                <a:cubicBezTo>
                  <a:pt x="4093689" y="375857"/>
                  <a:pt x="4090939" y="380785"/>
                  <a:pt x="4090390" y="386258"/>
                </a:cubicBezTo>
                <a:cubicBezTo>
                  <a:pt x="4089290" y="391185"/>
                  <a:pt x="4085990" y="393374"/>
                  <a:pt x="4082141" y="396112"/>
                </a:cubicBezTo>
                <a:cubicBezTo>
                  <a:pt x="4078292" y="398849"/>
                  <a:pt x="4072793" y="398302"/>
                  <a:pt x="4070043" y="402133"/>
                </a:cubicBezTo>
                <a:cubicBezTo>
                  <a:pt x="4066195" y="402133"/>
                  <a:pt x="4062896" y="402133"/>
                  <a:pt x="4059046" y="402133"/>
                </a:cubicBezTo>
                <a:cubicBezTo>
                  <a:pt x="4059046" y="400491"/>
                  <a:pt x="4058497" y="399944"/>
                  <a:pt x="4057397" y="399944"/>
                </a:cubicBezTo>
                <a:cubicBezTo>
                  <a:pt x="4049148" y="399944"/>
                  <a:pt x="4044749" y="394470"/>
                  <a:pt x="4042001" y="387901"/>
                </a:cubicBezTo>
                <a:cubicBezTo>
                  <a:pt x="4039251" y="381879"/>
                  <a:pt x="4035952" y="376405"/>
                  <a:pt x="4037052" y="369289"/>
                </a:cubicBezTo>
                <a:cubicBezTo>
                  <a:pt x="4038701" y="361626"/>
                  <a:pt x="4038151" y="353414"/>
                  <a:pt x="4044749" y="347393"/>
                </a:cubicBezTo>
                <a:cubicBezTo>
                  <a:pt x="4046949" y="345203"/>
                  <a:pt x="4049148" y="343561"/>
                  <a:pt x="4052998" y="342466"/>
                </a:cubicBezTo>
                <a:cubicBezTo>
                  <a:pt x="4058497" y="340823"/>
                  <a:pt x="4065095" y="338087"/>
                  <a:pt x="4063446" y="329328"/>
                </a:cubicBezTo>
                <a:cubicBezTo>
                  <a:pt x="4062896" y="326044"/>
                  <a:pt x="4066195" y="324949"/>
                  <a:pt x="4066745" y="323306"/>
                </a:cubicBezTo>
                <a:cubicBezTo>
                  <a:pt x="4069493" y="314549"/>
                  <a:pt x="4076092" y="310716"/>
                  <a:pt x="4083241" y="307979"/>
                </a:cubicBezTo>
                <a:close/>
                <a:moveTo>
                  <a:pt x="10833001" y="305092"/>
                </a:moveTo>
                <a:cubicBezTo>
                  <a:pt x="10839932" y="304549"/>
                  <a:pt x="10846183" y="305092"/>
                  <a:pt x="10848358" y="308892"/>
                </a:cubicBezTo>
                <a:cubicBezTo>
                  <a:pt x="10861402" y="330607"/>
                  <a:pt x="10895102" y="321921"/>
                  <a:pt x="10902712" y="351235"/>
                </a:cubicBezTo>
                <a:cubicBezTo>
                  <a:pt x="10904888" y="359921"/>
                  <a:pt x="10920107" y="365350"/>
                  <a:pt x="10905974" y="377294"/>
                </a:cubicBezTo>
                <a:cubicBezTo>
                  <a:pt x="10901626" y="380551"/>
                  <a:pt x="10902712" y="387065"/>
                  <a:pt x="10907062" y="388151"/>
                </a:cubicBezTo>
                <a:cubicBezTo>
                  <a:pt x="10924455" y="394665"/>
                  <a:pt x="10923368" y="404437"/>
                  <a:pt x="10912497" y="417465"/>
                </a:cubicBezTo>
                <a:cubicBezTo>
                  <a:pt x="10909236" y="421808"/>
                  <a:pt x="10913585" y="427237"/>
                  <a:pt x="10915758" y="431580"/>
                </a:cubicBezTo>
                <a:cubicBezTo>
                  <a:pt x="10920107" y="438094"/>
                  <a:pt x="10921194" y="444609"/>
                  <a:pt x="10914670" y="450037"/>
                </a:cubicBezTo>
                <a:cubicBezTo>
                  <a:pt x="10908149" y="455466"/>
                  <a:pt x="10909236" y="461981"/>
                  <a:pt x="10907062" y="468495"/>
                </a:cubicBezTo>
                <a:lnTo>
                  <a:pt x="10904160" y="476276"/>
                </a:lnTo>
                <a:lnTo>
                  <a:pt x="10909369" y="475478"/>
                </a:lnTo>
                <a:cubicBezTo>
                  <a:pt x="10914446" y="477421"/>
                  <a:pt x="10919133" y="480143"/>
                  <a:pt x="10921086" y="486362"/>
                </a:cubicBezTo>
                <a:cubicBezTo>
                  <a:pt x="10921475" y="487528"/>
                  <a:pt x="10923819" y="488306"/>
                  <a:pt x="10923427" y="490638"/>
                </a:cubicBezTo>
                <a:cubicBezTo>
                  <a:pt x="10922255" y="496857"/>
                  <a:pt x="10926941" y="498801"/>
                  <a:pt x="10930846" y="499967"/>
                </a:cubicBezTo>
                <a:cubicBezTo>
                  <a:pt x="10933579" y="500745"/>
                  <a:pt x="10935141" y="501911"/>
                  <a:pt x="10936705" y="503466"/>
                </a:cubicBezTo>
                <a:cubicBezTo>
                  <a:pt x="10941388" y="507741"/>
                  <a:pt x="10940999" y="513573"/>
                  <a:pt x="10942170" y="519015"/>
                </a:cubicBezTo>
                <a:cubicBezTo>
                  <a:pt x="10942950" y="524068"/>
                  <a:pt x="10940608" y="527955"/>
                  <a:pt x="10938655" y="532231"/>
                </a:cubicBezTo>
                <a:cubicBezTo>
                  <a:pt x="10936705" y="536896"/>
                  <a:pt x="10933579" y="540783"/>
                  <a:pt x="10927723" y="540783"/>
                </a:cubicBezTo>
                <a:cubicBezTo>
                  <a:pt x="10926941" y="540783"/>
                  <a:pt x="10926551" y="541172"/>
                  <a:pt x="10926551" y="542338"/>
                </a:cubicBezTo>
                <a:cubicBezTo>
                  <a:pt x="10923819" y="542338"/>
                  <a:pt x="10921475" y="542338"/>
                  <a:pt x="10918742" y="542338"/>
                </a:cubicBezTo>
                <a:cubicBezTo>
                  <a:pt x="10916789" y="539617"/>
                  <a:pt x="10912884" y="540005"/>
                  <a:pt x="10910151" y="538062"/>
                </a:cubicBezTo>
                <a:cubicBezTo>
                  <a:pt x="10907417" y="536119"/>
                  <a:pt x="10905075" y="534563"/>
                  <a:pt x="10904294" y="531065"/>
                </a:cubicBezTo>
                <a:cubicBezTo>
                  <a:pt x="10903903" y="527178"/>
                  <a:pt x="10901950" y="523680"/>
                  <a:pt x="10899998" y="520569"/>
                </a:cubicBezTo>
                <a:cubicBezTo>
                  <a:pt x="10898046" y="517071"/>
                  <a:pt x="10896484" y="513573"/>
                  <a:pt x="10894532" y="510462"/>
                </a:cubicBezTo>
                <a:lnTo>
                  <a:pt x="10889142" y="505098"/>
                </a:lnTo>
                <a:lnTo>
                  <a:pt x="10883145" y="513010"/>
                </a:lnTo>
                <a:cubicBezTo>
                  <a:pt x="10857054" y="529296"/>
                  <a:pt x="10832050" y="546667"/>
                  <a:pt x="10805956" y="561868"/>
                </a:cubicBezTo>
                <a:cubicBezTo>
                  <a:pt x="10803781" y="561868"/>
                  <a:pt x="10799433" y="561868"/>
                  <a:pt x="10798346" y="559696"/>
                </a:cubicBezTo>
                <a:cubicBezTo>
                  <a:pt x="10787475" y="549924"/>
                  <a:pt x="10777692" y="541238"/>
                  <a:pt x="10763558" y="555353"/>
                </a:cubicBezTo>
                <a:cubicBezTo>
                  <a:pt x="10759210" y="560782"/>
                  <a:pt x="10755948" y="555353"/>
                  <a:pt x="10754863" y="551011"/>
                </a:cubicBezTo>
                <a:cubicBezTo>
                  <a:pt x="10751601" y="532552"/>
                  <a:pt x="10742903" y="532552"/>
                  <a:pt x="10729857" y="543410"/>
                </a:cubicBezTo>
                <a:cubicBezTo>
                  <a:pt x="10721160" y="551011"/>
                  <a:pt x="10716812" y="548838"/>
                  <a:pt x="10716812" y="537981"/>
                </a:cubicBezTo>
                <a:cubicBezTo>
                  <a:pt x="10716812" y="531467"/>
                  <a:pt x="10718987" y="523867"/>
                  <a:pt x="10709202" y="522781"/>
                </a:cubicBezTo>
                <a:cubicBezTo>
                  <a:pt x="10687459" y="518439"/>
                  <a:pt x="10678762" y="503238"/>
                  <a:pt x="10679850" y="483694"/>
                </a:cubicBezTo>
                <a:cubicBezTo>
                  <a:pt x="10680937" y="469581"/>
                  <a:pt x="10676589" y="463066"/>
                  <a:pt x="10666805" y="457637"/>
                </a:cubicBezTo>
                <a:cubicBezTo>
                  <a:pt x="10666805" y="453295"/>
                  <a:pt x="10666805" y="448951"/>
                  <a:pt x="10666805" y="444609"/>
                </a:cubicBezTo>
                <a:cubicBezTo>
                  <a:pt x="10677677" y="438094"/>
                  <a:pt x="10680937" y="426151"/>
                  <a:pt x="10677677" y="415294"/>
                </a:cubicBezTo>
                <a:cubicBezTo>
                  <a:pt x="10672239" y="395751"/>
                  <a:pt x="10678762" y="380551"/>
                  <a:pt x="10692895" y="367521"/>
                </a:cubicBezTo>
                <a:cubicBezTo>
                  <a:pt x="10698332" y="362094"/>
                  <a:pt x="10703766" y="357750"/>
                  <a:pt x="10705940" y="350150"/>
                </a:cubicBezTo>
                <a:cubicBezTo>
                  <a:pt x="10708115" y="338207"/>
                  <a:pt x="10714637" y="331693"/>
                  <a:pt x="10726596" y="332778"/>
                </a:cubicBezTo>
                <a:cubicBezTo>
                  <a:pt x="10735293" y="332778"/>
                  <a:pt x="10741816" y="327350"/>
                  <a:pt x="10745078" y="323007"/>
                </a:cubicBezTo>
                <a:cubicBezTo>
                  <a:pt x="10763558" y="296950"/>
                  <a:pt x="10790736" y="311064"/>
                  <a:pt x="10813569" y="307807"/>
                </a:cubicBezTo>
                <a:cubicBezTo>
                  <a:pt x="10818461" y="307264"/>
                  <a:pt x="10826071" y="305635"/>
                  <a:pt x="10833001" y="305092"/>
                </a:cubicBezTo>
                <a:close/>
                <a:moveTo>
                  <a:pt x="9079830" y="266277"/>
                </a:moveTo>
                <a:cubicBezTo>
                  <a:pt x="9084080" y="266229"/>
                  <a:pt x="9088523" y="267194"/>
                  <a:pt x="9092580" y="266615"/>
                </a:cubicBezTo>
                <a:cubicBezTo>
                  <a:pt x="9096058" y="266230"/>
                  <a:pt x="9103400" y="264300"/>
                  <a:pt x="9104944" y="267001"/>
                </a:cubicBezTo>
                <a:cubicBezTo>
                  <a:pt x="9109579" y="274719"/>
                  <a:pt x="9121560" y="271631"/>
                  <a:pt x="9124263" y="282050"/>
                </a:cubicBezTo>
                <a:cubicBezTo>
                  <a:pt x="9125035" y="285137"/>
                  <a:pt x="9130442" y="287067"/>
                  <a:pt x="9125421" y="291311"/>
                </a:cubicBezTo>
                <a:cubicBezTo>
                  <a:pt x="9123875" y="292468"/>
                  <a:pt x="9124263" y="294784"/>
                  <a:pt x="9125807" y="295170"/>
                </a:cubicBezTo>
                <a:cubicBezTo>
                  <a:pt x="9131988" y="297485"/>
                  <a:pt x="9131601" y="300959"/>
                  <a:pt x="9127740" y="305588"/>
                </a:cubicBezTo>
                <a:cubicBezTo>
                  <a:pt x="9126578" y="307132"/>
                  <a:pt x="9128124" y="309062"/>
                  <a:pt x="9128898" y="310605"/>
                </a:cubicBezTo>
                <a:cubicBezTo>
                  <a:pt x="9130442" y="312921"/>
                  <a:pt x="9130829" y="315235"/>
                  <a:pt x="9128509" y="317165"/>
                </a:cubicBezTo>
                <a:cubicBezTo>
                  <a:pt x="9126194" y="319094"/>
                  <a:pt x="9126578" y="321410"/>
                  <a:pt x="9125807" y="323725"/>
                </a:cubicBezTo>
                <a:cubicBezTo>
                  <a:pt x="9123875" y="329513"/>
                  <a:pt x="9121560" y="336845"/>
                  <a:pt x="9117309" y="339545"/>
                </a:cubicBezTo>
                <a:cubicBezTo>
                  <a:pt x="9108035" y="345334"/>
                  <a:pt x="9099149" y="351508"/>
                  <a:pt x="9089875" y="356910"/>
                </a:cubicBezTo>
                <a:cubicBezTo>
                  <a:pt x="9089104" y="356910"/>
                  <a:pt x="9087558" y="356910"/>
                  <a:pt x="9087170" y="356139"/>
                </a:cubicBezTo>
                <a:cubicBezTo>
                  <a:pt x="9083307" y="352665"/>
                  <a:pt x="9079828" y="349578"/>
                  <a:pt x="9074808" y="354595"/>
                </a:cubicBezTo>
                <a:cubicBezTo>
                  <a:pt x="9073262" y="356525"/>
                  <a:pt x="9072104" y="354595"/>
                  <a:pt x="9071716" y="353051"/>
                </a:cubicBezTo>
                <a:cubicBezTo>
                  <a:pt x="9070558" y="346492"/>
                  <a:pt x="9067468" y="346492"/>
                  <a:pt x="9062831" y="350350"/>
                </a:cubicBezTo>
                <a:cubicBezTo>
                  <a:pt x="9059739" y="353051"/>
                  <a:pt x="9058196" y="352280"/>
                  <a:pt x="9058196" y="348421"/>
                </a:cubicBezTo>
                <a:cubicBezTo>
                  <a:pt x="9058196" y="346106"/>
                  <a:pt x="9058967" y="343405"/>
                  <a:pt x="9055488" y="343019"/>
                </a:cubicBezTo>
                <a:cubicBezTo>
                  <a:pt x="9047764" y="341475"/>
                  <a:pt x="9044672" y="336073"/>
                  <a:pt x="9045059" y="329127"/>
                </a:cubicBezTo>
                <a:cubicBezTo>
                  <a:pt x="9045444" y="324111"/>
                  <a:pt x="9043900" y="321796"/>
                  <a:pt x="9040424" y="319866"/>
                </a:cubicBezTo>
                <a:cubicBezTo>
                  <a:pt x="9040424" y="318322"/>
                  <a:pt x="9040424" y="316779"/>
                  <a:pt x="9040424" y="315235"/>
                </a:cubicBezTo>
                <a:cubicBezTo>
                  <a:pt x="9044287" y="312921"/>
                  <a:pt x="9045444" y="308676"/>
                  <a:pt x="9044287" y="304817"/>
                </a:cubicBezTo>
                <a:cubicBezTo>
                  <a:pt x="9042354" y="297871"/>
                  <a:pt x="9044672" y="292468"/>
                  <a:pt x="9049694" y="287839"/>
                </a:cubicBezTo>
                <a:cubicBezTo>
                  <a:pt x="9051627" y="285909"/>
                  <a:pt x="9053558" y="284365"/>
                  <a:pt x="9054332" y="281664"/>
                </a:cubicBezTo>
                <a:cubicBezTo>
                  <a:pt x="9055104" y="277420"/>
                  <a:pt x="9057422" y="275104"/>
                  <a:pt x="9061672" y="275490"/>
                </a:cubicBezTo>
                <a:cubicBezTo>
                  <a:pt x="9064762" y="275490"/>
                  <a:pt x="9067081" y="273561"/>
                  <a:pt x="9068240" y="272017"/>
                </a:cubicBezTo>
                <a:cubicBezTo>
                  <a:pt x="9071524" y="267387"/>
                  <a:pt x="9075580" y="266326"/>
                  <a:pt x="9079830" y="266277"/>
                </a:cubicBezTo>
                <a:close/>
                <a:moveTo>
                  <a:pt x="6762630" y="248000"/>
                </a:moveTo>
                <a:lnTo>
                  <a:pt x="6762380" y="248416"/>
                </a:lnTo>
                <a:lnTo>
                  <a:pt x="6762093" y="248128"/>
                </a:lnTo>
                <a:close/>
                <a:moveTo>
                  <a:pt x="5353229" y="221996"/>
                </a:moveTo>
                <a:cubicBezTo>
                  <a:pt x="5356745" y="222773"/>
                  <a:pt x="5359869" y="223551"/>
                  <a:pt x="5363382" y="223551"/>
                </a:cubicBezTo>
                <a:cubicBezTo>
                  <a:pt x="5366896" y="223551"/>
                  <a:pt x="5370412" y="225884"/>
                  <a:pt x="5371975" y="228993"/>
                </a:cubicBezTo>
                <a:cubicBezTo>
                  <a:pt x="5373144" y="231714"/>
                  <a:pt x="5374316" y="233268"/>
                  <a:pt x="5376658" y="234435"/>
                </a:cubicBezTo>
                <a:cubicBezTo>
                  <a:pt x="5376658" y="239100"/>
                  <a:pt x="5376658" y="243765"/>
                  <a:pt x="5376658" y="248429"/>
                </a:cubicBezTo>
                <a:cubicBezTo>
                  <a:pt x="5372754" y="250372"/>
                  <a:pt x="5369628" y="253482"/>
                  <a:pt x="5368067" y="256981"/>
                </a:cubicBezTo>
                <a:cubicBezTo>
                  <a:pt x="5366114" y="260091"/>
                  <a:pt x="5364553" y="263589"/>
                  <a:pt x="5362602" y="267088"/>
                </a:cubicBezTo>
                <a:cubicBezTo>
                  <a:pt x="5360649" y="270198"/>
                  <a:pt x="5358696" y="273696"/>
                  <a:pt x="5358307" y="277583"/>
                </a:cubicBezTo>
                <a:cubicBezTo>
                  <a:pt x="5357525" y="281081"/>
                  <a:pt x="5355182" y="282637"/>
                  <a:pt x="5352449" y="284581"/>
                </a:cubicBezTo>
                <a:cubicBezTo>
                  <a:pt x="5349714" y="286523"/>
                  <a:pt x="5345810" y="286135"/>
                  <a:pt x="5343858" y="288856"/>
                </a:cubicBezTo>
                <a:cubicBezTo>
                  <a:pt x="5341124" y="288856"/>
                  <a:pt x="5338782" y="288856"/>
                  <a:pt x="5336048" y="288856"/>
                </a:cubicBezTo>
                <a:cubicBezTo>
                  <a:pt x="5336048" y="287690"/>
                  <a:pt x="5335657" y="287302"/>
                  <a:pt x="5334878" y="287302"/>
                </a:cubicBezTo>
                <a:cubicBezTo>
                  <a:pt x="5329021" y="287302"/>
                  <a:pt x="5325897" y="283414"/>
                  <a:pt x="5323944" y="278749"/>
                </a:cubicBezTo>
                <a:cubicBezTo>
                  <a:pt x="5321993" y="274474"/>
                  <a:pt x="5319650" y="270586"/>
                  <a:pt x="5320430" y="265533"/>
                </a:cubicBezTo>
                <a:cubicBezTo>
                  <a:pt x="5321601" y="260091"/>
                  <a:pt x="5321210" y="254260"/>
                  <a:pt x="5325897" y="249984"/>
                </a:cubicBezTo>
                <a:cubicBezTo>
                  <a:pt x="5327460" y="248429"/>
                  <a:pt x="5329021" y="247263"/>
                  <a:pt x="5331753" y="246486"/>
                </a:cubicBezTo>
                <a:cubicBezTo>
                  <a:pt x="5335657" y="245319"/>
                  <a:pt x="5340344" y="243375"/>
                  <a:pt x="5339173" y="237156"/>
                </a:cubicBezTo>
                <a:cubicBezTo>
                  <a:pt x="5338782" y="234824"/>
                  <a:pt x="5341124" y="234047"/>
                  <a:pt x="5341514" y="232880"/>
                </a:cubicBezTo>
                <a:cubicBezTo>
                  <a:pt x="5343468" y="226661"/>
                  <a:pt x="5348153" y="223940"/>
                  <a:pt x="5353229" y="221996"/>
                </a:cubicBezTo>
                <a:close/>
                <a:moveTo>
                  <a:pt x="6402088" y="217446"/>
                </a:moveTo>
                <a:cubicBezTo>
                  <a:pt x="6405261" y="217482"/>
                  <a:pt x="6408289" y="218274"/>
                  <a:pt x="6410741" y="221730"/>
                </a:cubicBezTo>
                <a:cubicBezTo>
                  <a:pt x="6411605" y="222883"/>
                  <a:pt x="6413334" y="224322"/>
                  <a:pt x="6415640" y="224322"/>
                </a:cubicBezTo>
                <a:cubicBezTo>
                  <a:pt x="6418813" y="224035"/>
                  <a:pt x="6420545" y="225762"/>
                  <a:pt x="6421122" y="228930"/>
                </a:cubicBezTo>
                <a:cubicBezTo>
                  <a:pt x="6421699" y="230947"/>
                  <a:pt x="6423141" y="232099"/>
                  <a:pt x="6424584" y="233540"/>
                </a:cubicBezTo>
                <a:cubicBezTo>
                  <a:pt x="6428329" y="236995"/>
                  <a:pt x="6430062" y="241028"/>
                  <a:pt x="6428621" y="246212"/>
                </a:cubicBezTo>
                <a:cubicBezTo>
                  <a:pt x="6427754" y="249092"/>
                  <a:pt x="6428621" y="252261"/>
                  <a:pt x="6431504" y="253989"/>
                </a:cubicBezTo>
                <a:cubicBezTo>
                  <a:pt x="6431504" y="255141"/>
                  <a:pt x="6431504" y="256293"/>
                  <a:pt x="6431504" y="257445"/>
                </a:cubicBezTo>
                <a:cubicBezTo>
                  <a:pt x="6428908" y="258885"/>
                  <a:pt x="6427754" y="260614"/>
                  <a:pt x="6428042" y="264358"/>
                </a:cubicBezTo>
                <a:cubicBezTo>
                  <a:pt x="6428329" y="269542"/>
                  <a:pt x="6426023" y="273575"/>
                  <a:pt x="6420256" y="274726"/>
                </a:cubicBezTo>
                <a:cubicBezTo>
                  <a:pt x="6417660" y="275015"/>
                  <a:pt x="6418238" y="277031"/>
                  <a:pt x="6418238" y="278759"/>
                </a:cubicBezTo>
                <a:cubicBezTo>
                  <a:pt x="6418238" y="281639"/>
                  <a:pt x="6417082" y="282215"/>
                  <a:pt x="6414777" y="280199"/>
                </a:cubicBezTo>
                <a:cubicBezTo>
                  <a:pt x="6411315" y="277318"/>
                  <a:pt x="6409010" y="277318"/>
                  <a:pt x="6408143" y="282215"/>
                </a:cubicBezTo>
                <a:cubicBezTo>
                  <a:pt x="6407856" y="283367"/>
                  <a:pt x="6406992" y="284807"/>
                  <a:pt x="6405836" y="283367"/>
                </a:cubicBezTo>
                <a:cubicBezTo>
                  <a:pt x="6402086" y="279623"/>
                  <a:pt x="6399492" y="281927"/>
                  <a:pt x="6396609" y="284519"/>
                </a:cubicBezTo>
                <a:cubicBezTo>
                  <a:pt x="6396320" y="285096"/>
                  <a:pt x="6395167" y="285096"/>
                  <a:pt x="6394592" y="285096"/>
                </a:cubicBezTo>
                <a:cubicBezTo>
                  <a:pt x="6387668" y="281063"/>
                  <a:pt x="6381035" y="276455"/>
                  <a:pt x="6374113" y="272134"/>
                </a:cubicBezTo>
                <a:cubicBezTo>
                  <a:pt x="6370941" y="270118"/>
                  <a:pt x="6369211" y="264645"/>
                  <a:pt x="6367769" y="260325"/>
                </a:cubicBezTo>
                <a:cubicBezTo>
                  <a:pt x="6367192" y="258598"/>
                  <a:pt x="6367481" y="256869"/>
                  <a:pt x="6365751" y="255429"/>
                </a:cubicBezTo>
                <a:cubicBezTo>
                  <a:pt x="6364019" y="253989"/>
                  <a:pt x="6364312" y="252261"/>
                  <a:pt x="6365462" y="250533"/>
                </a:cubicBezTo>
                <a:cubicBezTo>
                  <a:pt x="6366038" y="249381"/>
                  <a:pt x="6367192" y="247941"/>
                  <a:pt x="6366326" y="246789"/>
                </a:cubicBezTo>
                <a:cubicBezTo>
                  <a:pt x="6363444" y="243332"/>
                  <a:pt x="6363156" y="240740"/>
                  <a:pt x="6367769" y="239011"/>
                </a:cubicBezTo>
                <a:cubicBezTo>
                  <a:pt x="6368923" y="238724"/>
                  <a:pt x="6369211" y="236995"/>
                  <a:pt x="6368057" y="236132"/>
                </a:cubicBezTo>
                <a:cubicBezTo>
                  <a:pt x="6364312" y="232963"/>
                  <a:pt x="6368346" y="231523"/>
                  <a:pt x="6368923" y="229219"/>
                </a:cubicBezTo>
                <a:cubicBezTo>
                  <a:pt x="6370941" y="221442"/>
                  <a:pt x="6379883" y="223746"/>
                  <a:pt x="6383344" y="217986"/>
                </a:cubicBezTo>
                <a:cubicBezTo>
                  <a:pt x="6384498" y="215970"/>
                  <a:pt x="6389977" y="217410"/>
                  <a:pt x="6392572" y="217697"/>
                </a:cubicBezTo>
                <a:cubicBezTo>
                  <a:pt x="6395601" y="218130"/>
                  <a:pt x="6398916" y="217410"/>
                  <a:pt x="6402088" y="217446"/>
                </a:cubicBezTo>
                <a:close/>
                <a:moveTo>
                  <a:pt x="4970801" y="215227"/>
                </a:moveTo>
                <a:cubicBezTo>
                  <a:pt x="4976408" y="213982"/>
                  <a:pt x="4979522" y="217717"/>
                  <a:pt x="4982015" y="220831"/>
                </a:cubicBezTo>
                <a:cubicBezTo>
                  <a:pt x="4990735" y="230793"/>
                  <a:pt x="4998835" y="240755"/>
                  <a:pt x="5014407" y="235774"/>
                </a:cubicBezTo>
                <a:cubicBezTo>
                  <a:pt x="5017524" y="235151"/>
                  <a:pt x="5019393" y="237642"/>
                  <a:pt x="5020638" y="240133"/>
                </a:cubicBezTo>
                <a:cubicBezTo>
                  <a:pt x="5027491" y="252586"/>
                  <a:pt x="5038704" y="262548"/>
                  <a:pt x="5048047" y="273133"/>
                </a:cubicBezTo>
                <a:cubicBezTo>
                  <a:pt x="5062377" y="289322"/>
                  <a:pt x="5070477" y="307379"/>
                  <a:pt x="5064868" y="329173"/>
                </a:cubicBezTo>
                <a:cubicBezTo>
                  <a:pt x="5063000" y="337889"/>
                  <a:pt x="5067984" y="343493"/>
                  <a:pt x="5072969" y="348475"/>
                </a:cubicBezTo>
                <a:cubicBezTo>
                  <a:pt x="5084182" y="360305"/>
                  <a:pt x="5083559" y="366532"/>
                  <a:pt x="5071098" y="375872"/>
                </a:cubicBezTo>
                <a:cubicBezTo>
                  <a:pt x="5057394" y="385211"/>
                  <a:pt x="5057394" y="385211"/>
                  <a:pt x="5068607" y="398909"/>
                </a:cubicBezTo>
                <a:cubicBezTo>
                  <a:pt x="5071098" y="402023"/>
                  <a:pt x="5072969" y="404513"/>
                  <a:pt x="5069230" y="408249"/>
                </a:cubicBezTo>
                <a:cubicBezTo>
                  <a:pt x="5056770" y="422570"/>
                  <a:pt x="5045556" y="436892"/>
                  <a:pt x="5032474" y="450590"/>
                </a:cubicBezTo>
                <a:cubicBezTo>
                  <a:pt x="5023131" y="461175"/>
                  <a:pt x="5011293" y="468024"/>
                  <a:pt x="4997588" y="471138"/>
                </a:cubicBezTo>
                <a:cubicBezTo>
                  <a:pt x="4988867" y="473628"/>
                  <a:pt x="4972048" y="496044"/>
                  <a:pt x="4971424" y="505383"/>
                </a:cubicBezTo>
                <a:cubicBezTo>
                  <a:pt x="4971424" y="508497"/>
                  <a:pt x="4971424" y="510987"/>
                  <a:pt x="4975163" y="512232"/>
                </a:cubicBezTo>
                <a:cubicBezTo>
                  <a:pt x="4994473" y="520950"/>
                  <a:pt x="5003819" y="537762"/>
                  <a:pt x="5011917" y="555819"/>
                </a:cubicBezTo>
                <a:cubicBezTo>
                  <a:pt x="5013786" y="559554"/>
                  <a:pt x="5015032" y="562668"/>
                  <a:pt x="5016902" y="565781"/>
                </a:cubicBezTo>
                <a:cubicBezTo>
                  <a:pt x="5023131" y="575744"/>
                  <a:pt x="5026246" y="584461"/>
                  <a:pt x="5021883" y="596915"/>
                </a:cubicBezTo>
                <a:cubicBezTo>
                  <a:pt x="5017524" y="609368"/>
                  <a:pt x="5024376" y="621820"/>
                  <a:pt x="5030606" y="633028"/>
                </a:cubicBezTo>
                <a:cubicBezTo>
                  <a:pt x="5033098" y="638632"/>
                  <a:pt x="5034343" y="642368"/>
                  <a:pt x="5029984" y="647971"/>
                </a:cubicBezTo>
                <a:lnTo>
                  <a:pt x="5014537" y="685550"/>
                </a:lnTo>
                <a:lnTo>
                  <a:pt x="5084787" y="676707"/>
                </a:lnTo>
                <a:cubicBezTo>
                  <a:pt x="5161517" y="670751"/>
                  <a:pt x="5238478" y="668919"/>
                  <a:pt x="5315437" y="672584"/>
                </a:cubicBezTo>
                <a:cubicBezTo>
                  <a:pt x="5507833" y="679914"/>
                  <a:pt x="5689240" y="734889"/>
                  <a:pt x="5870643" y="797194"/>
                </a:cubicBezTo>
                <a:cubicBezTo>
                  <a:pt x="6182146" y="905312"/>
                  <a:pt x="6477155" y="1044582"/>
                  <a:pt x="6737349" y="1249822"/>
                </a:cubicBezTo>
                <a:cubicBezTo>
                  <a:pt x="6812019" y="1309378"/>
                  <a:pt x="6882793" y="1372027"/>
                  <a:pt x="6949760" y="1437768"/>
                </a:cubicBezTo>
                <a:lnTo>
                  <a:pt x="7135575" y="1640186"/>
                </a:lnTo>
                <a:lnTo>
                  <a:pt x="7155702" y="1617195"/>
                </a:lnTo>
                <a:lnTo>
                  <a:pt x="7149127" y="1606185"/>
                </a:lnTo>
                <a:cubicBezTo>
                  <a:pt x="7144914" y="1605235"/>
                  <a:pt x="7139479" y="1607950"/>
                  <a:pt x="7132956" y="1613378"/>
                </a:cubicBezTo>
                <a:cubicBezTo>
                  <a:pt x="7124260" y="1620978"/>
                  <a:pt x="7119911" y="1618807"/>
                  <a:pt x="7119911" y="1607949"/>
                </a:cubicBezTo>
                <a:cubicBezTo>
                  <a:pt x="7119911" y="1601434"/>
                  <a:pt x="7122084" y="1593835"/>
                  <a:pt x="7112301" y="1592748"/>
                </a:cubicBezTo>
                <a:cubicBezTo>
                  <a:pt x="7090557" y="1588406"/>
                  <a:pt x="7081860" y="1573206"/>
                  <a:pt x="7082952" y="1553663"/>
                </a:cubicBezTo>
                <a:cubicBezTo>
                  <a:pt x="7084034" y="1539548"/>
                  <a:pt x="7079687" y="1533033"/>
                  <a:pt x="7069901" y="1527606"/>
                </a:cubicBezTo>
                <a:cubicBezTo>
                  <a:pt x="7069901" y="1523262"/>
                  <a:pt x="7069901" y="1518919"/>
                  <a:pt x="7069901" y="1514576"/>
                </a:cubicBezTo>
                <a:cubicBezTo>
                  <a:pt x="7080773" y="1508062"/>
                  <a:pt x="7084034" y="1496119"/>
                  <a:pt x="7080773" y="1485261"/>
                </a:cubicBezTo>
                <a:cubicBezTo>
                  <a:pt x="7075339" y="1465718"/>
                  <a:pt x="7081860" y="1450518"/>
                  <a:pt x="7095993" y="1437490"/>
                </a:cubicBezTo>
                <a:cubicBezTo>
                  <a:pt x="7101430" y="1432061"/>
                  <a:pt x="7106866" y="1427717"/>
                  <a:pt x="7109038" y="1420118"/>
                </a:cubicBezTo>
                <a:cubicBezTo>
                  <a:pt x="7111214" y="1408175"/>
                  <a:pt x="7117735" y="1401660"/>
                  <a:pt x="7129695" y="1402746"/>
                </a:cubicBezTo>
                <a:lnTo>
                  <a:pt x="7132509" y="1401258"/>
                </a:lnTo>
                <a:lnTo>
                  <a:pt x="7077965" y="1343957"/>
                </a:lnTo>
                <a:cubicBezTo>
                  <a:pt x="7055011" y="1322338"/>
                  <a:pt x="7031610" y="1300718"/>
                  <a:pt x="7011807" y="1277298"/>
                </a:cubicBezTo>
                <a:cubicBezTo>
                  <a:pt x="7001005" y="1262883"/>
                  <a:pt x="7001005" y="1273694"/>
                  <a:pt x="6990206" y="1266487"/>
                </a:cubicBezTo>
                <a:cubicBezTo>
                  <a:pt x="6972204" y="1248471"/>
                  <a:pt x="6965005" y="1237661"/>
                  <a:pt x="6957804" y="1226851"/>
                </a:cubicBezTo>
                <a:cubicBezTo>
                  <a:pt x="6943402" y="1212439"/>
                  <a:pt x="6936199" y="1216041"/>
                  <a:pt x="6921802" y="1205231"/>
                </a:cubicBezTo>
                <a:cubicBezTo>
                  <a:pt x="6911000" y="1190819"/>
                  <a:pt x="6900199" y="1176405"/>
                  <a:pt x="6889398" y="1161993"/>
                </a:cubicBezTo>
                <a:cubicBezTo>
                  <a:pt x="6889398" y="1161993"/>
                  <a:pt x="6889398" y="1161993"/>
                  <a:pt x="6896598" y="1154786"/>
                </a:cubicBezTo>
                <a:cubicBezTo>
                  <a:pt x="6889398" y="1147579"/>
                  <a:pt x="6878597" y="1136769"/>
                  <a:pt x="6867795" y="1129563"/>
                </a:cubicBezTo>
                <a:cubicBezTo>
                  <a:pt x="6867795" y="1129563"/>
                  <a:pt x="6867795" y="1129563"/>
                  <a:pt x="6867795" y="1133166"/>
                </a:cubicBezTo>
                <a:cubicBezTo>
                  <a:pt x="6871396" y="1133166"/>
                  <a:pt x="6874997" y="1136769"/>
                  <a:pt x="6871396" y="1136769"/>
                </a:cubicBezTo>
                <a:cubicBezTo>
                  <a:pt x="6871396" y="1136769"/>
                  <a:pt x="6867795" y="1136769"/>
                  <a:pt x="6867795" y="1136769"/>
                </a:cubicBezTo>
                <a:cubicBezTo>
                  <a:pt x="6867795" y="1140373"/>
                  <a:pt x="6878597" y="1147579"/>
                  <a:pt x="6871396" y="1147579"/>
                </a:cubicBezTo>
                <a:cubicBezTo>
                  <a:pt x="6856993" y="1140373"/>
                  <a:pt x="6860596" y="1136769"/>
                  <a:pt x="6849795" y="1129563"/>
                </a:cubicBezTo>
                <a:cubicBezTo>
                  <a:pt x="6849795" y="1129563"/>
                  <a:pt x="6849795" y="1129563"/>
                  <a:pt x="6846193" y="1129563"/>
                </a:cubicBezTo>
                <a:cubicBezTo>
                  <a:pt x="6846193" y="1129563"/>
                  <a:pt x="6846193" y="1129563"/>
                  <a:pt x="6846193" y="1125960"/>
                </a:cubicBezTo>
                <a:cubicBezTo>
                  <a:pt x="6842591" y="1125960"/>
                  <a:pt x="6838994" y="1122356"/>
                  <a:pt x="6838994" y="1122356"/>
                </a:cubicBezTo>
                <a:cubicBezTo>
                  <a:pt x="6838994" y="1118753"/>
                  <a:pt x="6838994" y="1118753"/>
                  <a:pt x="6838994" y="1118753"/>
                </a:cubicBezTo>
                <a:cubicBezTo>
                  <a:pt x="6828193" y="1115151"/>
                  <a:pt x="6810190" y="1104341"/>
                  <a:pt x="6795790" y="1093531"/>
                </a:cubicBezTo>
                <a:cubicBezTo>
                  <a:pt x="6781388" y="1079117"/>
                  <a:pt x="6770585" y="1068307"/>
                  <a:pt x="6770588" y="1061101"/>
                </a:cubicBezTo>
                <a:cubicBezTo>
                  <a:pt x="6766987" y="1061101"/>
                  <a:pt x="6766986" y="1057497"/>
                  <a:pt x="6766986" y="1057497"/>
                </a:cubicBezTo>
                <a:cubicBezTo>
                  <a:pt x="6763386" y="1057497"/>
                  <a:pt x="6759786" y="1053894"/>
                  <a:pt x="6759786" y="1050291"/>
                </a:cubicBezTo>
                <a:cubicBezTo>
                  <a:pt x="6759786" y="1050291"/>
                  <a:pt x="6759786" y="1050291"/>
                  <a:pt x="6763386" y="1050291"/>
                </a:cubicBezTo>
                <a:cubicBezTo>
                  <a:pt x="6766987" y="1053894"/>
                  <a:pt x="6766987" y="1053894"/>
                  <a:pt x="6766987" y="1053894"/>
                </a:cubicBezTo>
                <a:cubicBezTo>
                  <a:pt x="6766987" y="1053894"/>
                  <a:pt x="6766987" y="1053894"/>
                  <a:pt x="6770588" y="1053894"/>
                </a:cubicBezTo>
                <a:cubicBezTo>
                  <a:pt x="6756185" y="1043084"/>
                  <a:pt x="6756185" y="1046688"/>
                  <a:pt x="6745385" y="1039481"/>
                </a:cubicBezTo>
                <a:cubicBezTo>
                  <a:pt x="6745385" y="1039481"/>
                  <a:pt x="6748983" y="1043084"/>
                  <a:pt x="6748983" y="1043084"/>
                </a:cubicBezTo>
                <a:cubicBezTo>
                  <a:pt x="6748983" y="1043084"/>
                  <a:pt x="6748983" y="1043084"/>
                  <a:pt x="6745385" y="1043084"/>
                </a:cubicBezTo>
                <a:cubicBezTo>
                  <a:pt x="6745385" y="1043084"/>
                  <a:pt x="6745385" y="1043084"/>
                  <a:pt x="6741784" y="1043084"/>
                </a:cubicBezTo>
                <a:cubicBezTo>
                  <a:pt x="6741784" y="1043084"/>
                  <a:pt x="6748985" y="1046688"/>
                  <a:pt x="6745385" y="1050291"/>
                </a:cubicBezTo>
                <a:cubicBezTo>
                  <a:pt x="6734584" y="1043084"/>
                  <a:pt x="6723783" y="1035878"/>
                  <a:pt x="6727382" y="1032275"/>
                </a:cubicBezTo>
                <a:cubicBezTo>
                  <a:pt x="6727382" y="1032275"/>
                  <a:pt x="6723783" y="1032275"/>
                  <a:pt x="6723785" y="1028671"/>
                </a:cubicBezTo>
                <a:cubicBezTo>
                  <a:pt x="6723783" y="1025068"/>
                  <a:pt x="6720182" y="1025068"/>
                  <a:pt x="6720182" y="1025068"/>
                </a:cubicBezTo>
                <a:lnTo>
                  <a:pt x="6719746" y="1025507"/>
                </a:lnTo>
                <a:lnTo>
                  <a:pt x="6640974" y="963812"/>
                </a:lnTo>
                <a:cubicBezTo>
                  <a:pt x="6640974" y="963812"/>
                  <a:pt x="6637376" y="963812"/>
                  <a:pt x="6637376" y="960209"/>
                </a:cubicBezTo>
                <a:cubicBezTo>
                  <a:pt x="6633774" y="960209"/>
                  <a:pt x="6630173" y="956607"/>
                  <a:pt x="6630173" y="956607"/>
                </a:cubicBezTo>
                <a:cubicBezTo>
                  <a:pt x="6630173" y="956607"/>
                  <a:pt x="6630173" y="956607"/>
                  <a:pt x="6633772" y="956607"/>
                </a:cubicBezTo>
                <a:cubicBezTo>
                  <a:pt x="6622972" y="953002"/>
                  <a:pt x="6604972" y="945797"/>
                  <a:pt x="6597771" y="945797"/>
                </a:cubicBezTo>
                <a:cubicBezTo>
                  <a:pt x="6601371" y="945797"/>
                  <a:pt x="6601371" y="945797"/>
                  <a:pt x="6604972" y="949399"/>
                </a:cubicBezTo>
                <a:cubicBezTo>
                  <a:pt x="6604972" y="949399"/>
                  <a:pt x="6604972" y="953002"/>
                  <a:pt x="6604972" y="953002"/>
                </a:cubicBezTo>
                <a:cubicBezTo>
                  <a:pt x="6601371" y="953002"/>
                  <a:pt x="6601371" y="953002"/>
                  <a:pt x="6597771" y="949399"/>
                </a:cubicBezTo>
                <a:lnTo>
                  <a:pt x="6596462" y="949399"/>
                </a:lnTo>
                <a:lnTo>
                  <a:pt x="6594621" y="948048"/>
                </a:lnTo>
                <a:cubicBezTo>
                  <a:pt x="6593269" y="946698"/>
                  <a:pt x="6592371" y="945797"/>
                  <a:pt x="6590570" y="945797"/>
                </a:cubicBezTo>
                <a:cubicBezTo>
                  <a:pt x="6594172" y="945797"/>
                  <a:pt x="6594172" y="949399"/>
                  <a:pt x="6594172" y="949399"/>
                </a:cubicBezTo>
                <a:lnTo>
                  <a:pt x="6596462" y="949399"/>
                </a:lnTo>
                <a:lnTo>
                  <a:pt x="6601371" y="953002"/>
                </a:lnTo>
                <a:cubicBezTo>
                  <a:pt x="6554567" y="938589"/>
                  <a:pt x="6504164" y="898954"/>
                  <a:pt x="6457358" y="880937"/>
                </a:cubicBezTo>
                <a:cubicBezTo>
                  <a:pt x="6457358" y="877334"/>
                  <a:pt x="6442960" y="870128"/>
                  <a:pt x="6439357" y="866524"/>
                </a:cubicBezTo>
                <a:cubicBezTo>
                  <a:pt x="6439357" y="870128"/>
                  <a:pt x="6439357" y="870128"/>
                  <a:pt x="6432157" y="870127"/>
                </a:cubicBezTo>
                <a:cubicBezTo>
                  <a:pt x="6432157" y="870127"/>
                  <a:pt x="6432157" y="866524"/>
                  <a:pt x="6428556" y="866524"/>
                </a:cubicBezTo>
                <a:cubicBezTo>
                  <a:pt x="6424957" y="866524"/>
                  <a:pt x="6424957" y="862921"/>
                  <a:pt x="6421355" y="862922"/>
                </a:cubicBezTo>
                <a:cubicBezTo>
                  <a:pt x="6385352" y="848510"/>
                  <a:pt x="6378151" y="837699"/>
                  <a:pt x="6360150" y="826889"/>
                </a:cubicBezTo>
                <a:cubicBezTo>
                  <a:pt x="6360150" y="826889"/>
                  <a:pt x="6363751" y="826890"/>
                  <a:pt x="6363751" y="830492"/>
                </a:cubicBezTo>
                <a:cubicBezTo>
                  <a:pt x="6363751" y="830492"/>
                  <a:pt x="6363751" y="834095"/>
                  <a:pt x="6360149" y="834095"/>
                </a:cubicBezTo>
                <a:cubicBezTo>
                  <a:pt x="6360149" y="834095"/>
                  <a:pt x="6356551" y="830493"/>
                  <a:pt x="6356551" y="830493"/>
                </a:cubicBezTo>
                <a:cubicBezTo>
                  <a:pt x="6352949" y="830492"/>
                  <a:pt x="6352949" y="830492"/>
                  <a:pt x="6352949" y="830492"/>
                </a:cubicBezTo>
                <a:cubicBezTo>
                  <a:pt x="6343949" y="830492"/>
                  <a:pt x="6328646" y="825087"/>
                  <a:pt x="6316047" y="818331"/>
                </a:cubicBezTo>
                <a:lnTo>
                  <a:pt x="6310544" y="812943"/>
                </a:lnTo>
                <a:lnTo>
                  <a:pt x="6309341" y="813999"/>
                </a:lnTo>
                <a:cubicBezTo>
                  <a:pt x="6308383" y="814696"/>
                  <a:pt x="6307468" y="815088"/>
                  <a:pt x="6306727" y="814935"/>
                </a:cubicBezTo>
                <a:cubicBezTo>
                  <a:pt x="6305987" y="814783"/>
                  <a:pt x="6305418" y="814086"/>
                  <a:pt x="6305159" y="812605"/>
                </a:cubicBezTo>
                <a:cubicBezTo>
                  <a:pt x="6305159" y="811909"/>
                  <a:pt x="6304984" y="811212"/>
                  <a:pt x="6304635" y="810515"/>
                </a:cubicBezTo>
                <a:cubicBezTo>
                  <a:pt x="6304286" y="809644"/>
                  <a:pt x="6304286" y="808251"/>
                  <a:pt x="6303065" y="808076"/>
                </a:cubicBezTo>
                <a:cubicBezTo>
                  <a:pt x="6302019" y="808076"/>
                  <a:pt x="6301322" y="808947"/>
                  <a:pt x="6300800" y="809644"/>
                </a:cubicBezTo>
                <a:cubicBezTo>
                  <a:pt x="6298187" y="812605"/>
                  <a:pt x="6297141" y="812432"/>
                  <a:pt x="6295574" y="808774"/>
                </a:cubicBezTo>
                <a:cubicBezTo>
                  <a:pt x="6295224" y="807902"/>
                  <a:pt x="6295049" y="807206"/>
                  <a:pt x="6294527" y="806508"/>
                </a:cubicBezTo>
                <a:cubicBezTo>
                  <a:pt x="6293831" y="805464"/>
                  <a:pt x="6293131" y="804593"/>
                  <a:pt x="6291390" y="805289"/>
                </a:cubicBezTo>
                <a:cubicBezTo>
                  <a:pt x="6289824" y="806161"/>
                  <a:pt x="6289824" y="806857"/>
                  <a:pt x="6290170" y="808251"/>
                </a:cubicBezTo>
                <a:lnTo>
                  <a:pt x="6290462" y="810886"/>
                </a:lnTo>
                <a:lnTo>
                  <a:pt x="6276844" y="797338"/>
                </a:lnTo>
                <a:lnTo>
                  <a:pt x="6277624" y="796232"/>
                </a:lnTo>
                <a:cubicBezTo>
                  <a:pt x="6277971" y="794664"/>
                  <a:pt x="6277447" y="793619"/>
                  <a:pt x="6276056" y="792923"/>
                </a:cubicBezTo>
                <a:cubicBezTo>
                  <a:pt x="6275009" y="792400"/>
                  <a:pt x="6273961" y="792051"/>
                  <a:pt x="6272917" y="791529"/>
                </a:cubicBezTo>
                <a:lnTo>
                  <a:pt x="6272760" y="791213"/>
                </a:lnTo>
                <a:lnTo>
                  <a:pt x="6250789" y="784550"/>
                </a:lnTo>
                <a:cubicBezTo>
                  <a:pt x="6235039" y="779145"/>
                  <a:pt x="6219737" y="772839"/>
                  <a:pt x="6208935" y="765633"/>
                </a:cubicBezTo>
                <a:cubicBezTo>
                  <a:pt x="6217936" y="767434"/>
                  <a:pt x="6229637" y="769236"/>
                  <a:pt x="6242689" y="771938"/>
                </a:cubicBezTo>
                <a:lnTo>
                  <a:pt x="6266377" y="778566"/>
                </a:lnTo>
                <a:lnTo>
                  <a:pt x="6264029" y="773935"/>
                </a:lnTo>
                <a:cubicBezTo>
                  <a:pt x="6263157" y="773413"/>
                  <a:pt x="6261244" y="773588"/>
                  <a:pt x="6261589" y="772020"/>
                </a:cubicBezTo>
                <a:cubicBezTo>
                  <a:pt x="6261763" y="770452"/>
                  <a:pt x="6263334" y="770104"/>
                  <a:pt x="6264902" y="769930"/>
                </a:cubicBezTo>
                <a:cubicBezTo>
                  <a:pt x="6265075" y="769930"/>
                  <a:pt x="6265251" y="769930"/>
                  <a:pt x="6265423" y="769930"/>
                </a:cubicBezTo>
                <a:cubicBezTo>
                  <a:pt x="6269606" y="769233"/>
                  <a:pt x="6270828" y="767317"/>
                  <a:pt x="6268733" y="764008"/>
                </a:cubicBezTo>
                <a:cubicBezTo>
                  <a:pt x="6266820" y="760872"/>
                  <a:pt x="6267342" y="758433"/>
                  <a:pt x="6269085" y="755820"/>
                </a:cubicBezTo>
                <a:cubicBezTo>
                  <a:pt x="6271351" y="752336"/>
                  <a:pt x="6273092" y="748678"/>
                  <a:pt x="6272045" y="744324"/>
                </a:cubicBezTo>
                <a:cubicBezTo>
                  <a:pt x="6271523" y="742407"/>
                  <a:pt x="6273440" y="741537"/>
                  <a:pt x="6274660" y="741188"/>
                </a:cubicBezTo>
                <a:cubicBezTo>
                  <a:pt x="6279191" y="739621"/>
                  <a:pt x="6281283" y="736660"/>
                  <a:pt x="6281805" y="732131"/>
                </a:cubicBezTo>
                <a:cubicBezTo>
                  <a:pt x="6282155" y="729344"/>
                  <a:pt x="6283199" y="728822"/>
                  <a:pt x="6285989" y="730563"/>
                </a:cubicBezTo>
                <a:cubicBezTo>
                  <a:pt x="6291913" y="734221"/>
                  <a:pt x="6300627" y="731608"/>
                  <a:pt x="6303242" y="725511"/>
                </a:cubicBezTo>
                <a:cubicBezTo>
                  <a:pt x="6303765" y="724292"/>
                  <a:pt x="6304461" y="722725"/>
                  <a:pt x="6303242" y="721680"/>
                </a:cubicBezTo>
                <a:cubicBezTo>
                  <a:pt x="6302019" y="720634"/>
                  <a:pt x="6300278" y="720112"/>
                  <a:pt x="6298709" y="721157"/>
                </a:cubicBezTo>
                <a:cubicBezTo>
                  <a:pt x="6297665" y="721680"/>
                  <a:pt x="6296617" y="722551"/>
                  <a:pt x="6295574" y="723247"/>
                </a:cubicBezTo>
                <a:cubicBezTo>
                  <a:pt x="6294527" y="724119"/>
                  <a:pt x="6293482" y="724641"/>
                  <a:pt x="6292608" y="723596"/>
                </a:cubicBezTo>
                <a:cubicBezTo>
                  <a:pt x="6291566" y="722376"/>
                  <a:pt x="6292259" y="721331"/>
                  <a:pt x="6293131" y="720461"/>
                </a:cubicBezTo>
                <a:cubicBezTo>
                  <a:pt x="6293831" y="719589"/>
                  <a:pt x="6294876" y="718893"/>
                  <a:pt x="6295574" y="718195"/>
                </a:cubicBezTo>
                <a:cubicBezTo>
                  <a:pt x="6297141" y="716628"/>
                  <a:pt x="6298013" y="714537"/>
                  <a:pt x="6296444" y="712796"/>
                </a:cubicBezTo>
                <a:cubicBezTo>
                  <a:pt x="6295049" y="711402"/>
                  <a:pt x="6293131" y="712796"/>
                  <a:pt x="6291738" y="713841"/>
                </a:cubicBezTo>
                <a:cubicBezTo>
                  <a:pt x="6290517" y="714712"/>
                  <a:pt x="6289647" y="716280"/>
                  <a:pt x="6288080" y="716803"/>
                </a:cubicBezTo>
                <a:cubicBezTo>
                  <a:pt x="6285815" y="717673"/>
                  <a:pt x="6284420" y="717325"/>
                  <a:pt x="6284594" y="714537"/>
                </a:cubicBezTo>
                <a:cubicBezTo>
                  <a:pt x="6284769" y="710706"/>
                  <a:pt x="6286335" y="707570"/>
                  <a:pt x="6288427" y="704610"/>
                </a:cubicBezTo>
                <a:cubicBezTo>
                  <a:pt x="6291041" y="700777"/>
                  <a:pt x="6291217" y="698687"/>
                  <a:pt x="6288427" y="695029"/>
                </a:cubicBezTo>
                <a:cubicBezTo>
                  <a:pt x="6287556" y="693636"/>
                  <a:pt x="6286161" y="692416"/>
                  <a:pt x="6284943" y="691197"/>
                </a:cubicBezTo>
                <a:cubicBezTo>
                  <a:pt x="6284420" y="690674"/>
                  <a:pt x="6283547" y="690152"/>
                  <a:pt x="6283898" y="689280"/>
                </a:cubicBezTo>
                <a:cubicBezTo>
                  <a:pt x="6284245" y="688235"/>
                  <a:pt x="6285117" y="688061"/>
                  <a:pt x="6285815" y="688235"/>
                </a:cubicBezTo>
                <a:cubicBezTo>
                  <a:pt x="6288951" y="688933"/>
                  <a:pt x="6289647" y="687539"/>
                  <a:pt x="6289475" y="684752"/>
                </a:cubicBezTo>
                <a:cubicBezTo>
                  <a:pt x="6289298" y="681268"/>
                  <a:pt x="6291566" y="678829"/>
                  <a:pt x="6294004" y="676914"/>
                </a:cubicBezTo>
                <a:cubicBezTo>
                  <a:pt x="6295921" y="675346"/>
                  <a:pt x="6296096" y="674127"/>
                  <a:pt x="6294179" y="672733"/>
                </a:cubicBezTo>
                <a:cubicBezTo>
                  <a:pt x="6293131" y="672037"/>
                  <a:pt x="6292437" y="671339"/>
                  <a:pt x="6292785" y="669946"/>
                </a:cubicBezTo>
                <a:cubicBezTo>
                  <a:pt x="6293131" y="668030"/>
                  <a:pt x="6294527" y="668379"/>
                  <a:pt x="6295747" y="668030"/>
                </a:cubicBezTo>
                <a:cubicBezTo>
                  <a:pt x="6296444" y="667856"/>
                  <a:pt x="6297314" y="667856"/>
                  <a:pt x="6298187" y="667681"/>
                </a:cubicBezTo>
                <a:cubicBezTo>
                  <a:pt x="6302893" y="667159"/>
                  <a:pt x="6303937" y="664546"/>
                  <a:pt x="6301149" y="660540"/>
                </a:cubicBezTo>
                <a:cubicBezTo>
                  <a:pt x="6300800" y="660018"/>
                  <a:pt x="6300451" y="659669"/>
                  <a:pt x="6300278" y="659146"/>
                </a:cubicBezTo>
                <a:cubicBezTo>
                  <a:pt x="6299756" y="658101"/>
                  <a:pt x="6299407" y="656707"/>
                  <a:pt x="6300451" y="656011"/>
                </a:cubicBezTo>
                <a:cubicBezTo>
                  <a:pt x="6301322" y="655315"/>
                  <a:pt x="6302543" y="656011"/>
                  <a:pt x="6303242" y="656707"/>
                </a:cubicBezTo>
                <a:cubicBezTo>
                  <a:pt x="6303937" y="657405"/>
                  <a:pt x="6304461" y="658101"/>
                  <a:pt x="6304984" y="658973"/>
                </a:cubicBezTo>
                <a:cubicBezTo>
                  <a:pt x="6306030" y="660191"/>
                  <a:pt x="6307074" y="660540"/>
                  <a:pt x="6308469" y="659495"/>
                </a:cubicBezTo>
                <a:cubicBezTo>
                  <a:pt x="6311781" y="657230"/>
                  <a:pt x="6315442" y="656882"/>
                  <a:pt x="6319100" y="656707"/>
                </a:cubicBezTo>
                <a:cubicBezTo>
                  <a:pt x="6323458" y="656360"/>
                  <a:pt x="6327989" y="656882"/>
                  <a:pt x="6332346" y="655837"/>
                </a:cubicBezTo>
                <a:cubicBezTo>
                  <a:pt x="6333913" y="655488"/>
                  <a:pt x="6334783" y="656534"/>
                  <a:pt x="6335484" y="657405"/>
                </a:cubicBezTo>
                <a:cubicBezTo>
                  <a:pt x="6337921" y="660191"/>
                  <a:pt x="6340189" y="662978"/>
                  <a:pt x="6344544" y="661585"/>
                </a:cubicBezTo>
                <a:cubicBezTo>
                  <a:pt x="6345415" y="661410"/>
                  <a:pt x="6345940" y="662108"/>
                  <a:pt x="6346287" y="662804"/>
                </a:cubicBezTo>
                <a:cubicBezTo>
                  <a:pt x="6348203" y="666288"/>
                  <a:pt x="6351340" y="669075"/>
                  <a:pt x="6353955" y="672037"/>
                </a:cubicBezTo>
                <a:cubicBezTo>
                  <a:pt x="6357964" y="676565"/>
                  <a:pt x="6360230" y="681617"/>
                  <a:pt x="6358662" y="687713"/>
                </a:cubicBezTo>
                <a:cubicBezTo>
                  <a:pt x="6358136" y="690152"/>
                  <a:pt x="6359531" y="691719"/>
                  <a:pt x="6360927" y="693113"/>
                </a:cubicBezTo>
                <a:cubicBezTo>
                  <a:pt x="6364064" y="696423"/>
                  <a:pt x="6363888" y="698164"/>
                  <a:pt x="6360403" y="700777"/>
                </a:cubicBezTo>
                <a:cubicBezTo>
                  <a:pt x="6356568" y="703390"/>
                  <a:pt x="6356568" y="703390"/>
                  <a:pt x="6359706" y="707223"/>
                </a:cubicBezTo>
                <a:cubicBezTo>
                  <a:pt x="6360403" y="708093"/>
                  <a:pt x="6360927" y="708789"/>
                  <a:pt x="6359880" y="709834"/>
                </a:cubicBezTo>
                <a:cubicBezTo>
                  <a:pt x="6356393" y="713841"/>
                  <a:pt x="6353259" y="717848"/>
                  <a:pt x="6349597" y="721680"/>
                </a:cubicBezTo>
                <a:cubicBezTo>
                  <a:pt x="6346983" y="724641"/>
                  <a:pt x="6343675" y="726557"/>
                  <a:pt x="6339838" y="727428"/>
                </a:cubicBezTo>
                <a:cubicBezTo>
                  <a:pt x="6337399" y="728124"/>
                  <a:pt x="6332693" y="734395"/>
                  <a:pt x="6332518" y="737008"/>
                </a:cubicBezTo>
                <a:cubicBezTo>
                  <a:pt x="6332518" y="737879"/>
                  <a:pt x="6332518" y="738576"/>
                  <a:pt x="6333566" y="738924"/>
                </a:cubicBezTo>
                <a:cubicBezTo>
                  <a:pt x="6338967" y="741362"/>
                  <a:pt x="6341583" y="746065"/>
                  <a:pt x="6343847" y="751117"/>
                </a:cubicBezTo>
                <a:cubicBezTo>
                  <a:pt x="6344370" y="752162"/>
                  <a:pt x="6344718" y="753034"/>
                  <a:pt x="6345241" y="753904"/>
                </a:cubicBezTo>
                <a:cubicBezTo>
                  <a:pt x="6346983" y="756692"/>
                  <a:pt x="6347855" y="759130"/>
                  <a:pt x="6346636" y="762614"/>
                </a:cubicBezTo>
                <a:cubicBezTo>
                  <a:pt x="6345415" y="766098"/>
                  <a:pt x="6347335" y="769581"/>
                  <a:pt x="6349076" y="772716"/>
                </a:cubicBezTo>
                <a:cubicBezTo>
                  <a:pt x="6349774" y="774284"/>
                  <a:pt x="6350121" y="775329"/>
                  <a:pt x="6348902" y="776897"/>
                </a:cubicBezTo>
                <a:cubicBezTo>
                  <a:pt x="6344021" y="783517"/>
                  <a:pt x="6340364" y="790832"/>
                  <a:pt x="6339665" y="799367"/>
                </a:cubicBezTo>
                <a:cubicBezTo>
                  <a:pt x="6339487" y="800586"/>
                  <a:pt x="6339142" y="801109"/>
                  <a:pt x="6337921" y="800761"/>
                </a:cubicBezTo>
                <a:lnTo>
                  <a:pt x="6327385" y="805767"/>
                </a:lnTo>
                <a:lnTo>
                  <a:pt x="6338547" y="816079"/>
                </a:lnTo>
                <a:cubicBezTo>
                  <a:pt x="6338547" y="812475"/>
                  <a:pt x="6338547" y="812475"/>
                  <a:pt x="6342149" y="812475"/>
                </a:cubicBezTo>
                <a:cubicBezTo>
                  <a:pt x="6345750" y="816079"/>
                  <a:pt x="6352950" y="816080"/>
                  <a:pt x="6352949" y="819682"/>
                </a:cubicBezTo>
                <a:cubicBezTo>
                  <a:pt x="6352949" y="819682"/>
                  <a:pt x="6356551" y="819683"/>
                  <a:pt x="6356549" y="823285"/>
                </a:cubicBezTo>
                <a:cubicBezTo>
                  <a:pt x="6356549" y="823285"/>
                  <a:pt x="6356549" y="823285"/>
                  <a:pt x="6356551" y="819683"/>
                </a:cubicBezTo>
                <a:cubicBezTo>
                  <a:pt x="6363751" y="812476"/>
                  <a:pt x="6385352" y="826890"/>
                  <a:pt x="6410555" y="841303"/>
                </a:cubicBezTo>
                <a:cubicBezTo>
                  <a:pt x="6410555" y="841303"/>
                  <a:pt x="6410555" y="841303"/>
                  <a:pt x="6414155" y="841302"/>
                </a:cubicBezTo>
                <a:cubicBezTo>
                  <a:pt x="6414155" y="837699"/>
                  <a:pt x="6414155" y="837699"/>
                  <a:pt x="6417757" y="841302"/>
                </a:cubicBezTo>
                <a:cubicBezTo>
                  <a:pt x="6417757" y="841302"/>
                  <a:pt x="6421355" y="841302"/>
                  <a:pt x="6421355" y="841302"/>
                </a:cubicBezTo>
                <a:cubicBezTo>
                  <a:pt x="6421355" y="844904"/>
                  <a:pt x="6421355" y="844904"/>
                  <a:pt x="6421355" y="844904"/>
                </a:cubicBezTo>
                <a:cubicBezTo>
                  <a:pt x="6421355" y="844904"/>
                  <a:pt x="6421355" y="844904"/>
                  <a:pt x="6424958" y="841302"/>
                </a:cubicBezTo>
                <a:cubicBezTo>
                  <a:pt x="6432157" y="844904"/>
                  <a:pt x="6435755" y="841302"/>
                  <a:pt x="6453761" y="848508"/>
                </a:cubicBezTo>
                <a:cubicBezTo>
                  <a:pt x="6453760" y="841302"/>
                  <a:pt x="6432157" y="834095"/>
                  <a:pt x="6442960" y="830492"/>
                </a:cubicBezTo>
                <a:cubicBezTo>
                  <a:pt x="6446556" y="832294"/>
                  <a:pt x="6448359" y="832294"/>
                  <a:pt x="6450159" y="832294"/>
                </a:cubicBezTo>
                <a:lnTo>
                  <a:pt x="6453760" y="833194"/>
                </a:lnTo>
                <a:lnTo>
                  <a:pt x="6453761" y="834095"/>
                </a:lnTo>
                <a:cubicBezTo>
                  <a:pt x="6457356" y="834095"/>
                  <a:pt x="6457356" y="834095"/>
                  <a:pt x="6457356" y="834095"/>
                </a:cubicBezTo>
                <a:lnTo>
                  <a:pt x="6453760" y="833194"/>
                </a:lnTo>
                <a:lnTo>
                  <a:pt x="6453760" y="830492"/>
                </a:lnTo>
                <a:cubicBezTo>
                  <a:pt x="6453760" y="830492"/>
                  <a:pt x="6457358" y="830492"/>
                  <a:pt x="6457358" y="830492"/>
                </a:cubicBezTo>
                <a:cubicBezTo>
                  <a:pt x="6460959" y="830492"/>
                  <a:pt x="6460959" y="830492"/>
                  <a:pt x="6460959" y="830492"/>
                </a:cubicBezTo>
                <a:cubicBezTo>
                  <a:pt x="6464559" y="834095"/>
                  <a:pt x="6471759" y="837699"/>
                  <a:pt x="6478961" y="841302"/>
                </a:cubicBezTo>
                <a:cubicBezTo>
                  <a:pt x="6478961" y="841302"/>
                  <a:pt x="6482560" y="844904"/>
                  <a:pt x="6482560" y="844904"/>
                </a:cubicBezTo>
                <a:cubicBezTo>
                  <a:pt x="6482560" y="844904"/>
                  <a:pt x="6486164" y="844904"/>
                  <a:pt x="6489761" y="848508"/>
                </a:cubicBezTo>
                <a:cubicBezTo>
                  <a:pt x="6489761" y="848508"/>
                  <a:pt x="6493362" y="848508"/>
                  <a:pt x="6493362" y="852112"/>
                </a:cubicBezTo>
                <a:cubicBezTo>
                  <a:pt x="6489761" y="852112"/>
                  <a:pt x="6489761" y="852112"/>
                  <a:pt x="6486162" y="848508"/>
                </a:cubicBezTo>
                <a:cubicBezTo>
                  <a:pt x="6486162" y="848508"/>
                  <a:pt x="6482560" y="848508"/>
                  <a:pt x="6478959" y="844904"/>
                </a:cubicBezTo>
                <a:cubicBezTo>
                  <a:pt x="6486162" y="852112"/>
                  <a:pt x="6493362" y="855714"/>
                  <a:pt x="6496963" y="862921"/>
                </a:cubicBezTo>
                <a:cubicBezTo>
                  <a:pt x="6493362" y="866524"/>
                  <a:pt x="6482560" y="862921"/>
                  <a:pt x="6486164" y="873731"/>
                </a:cubicBezTo>
                <a:cubicBezTo>
                  <a:pt x="6540163" y="898954"/>
                  <a:pt x="6583371" y="916970"/>
                  <a:pt x="6633774" y="953002"/>
                </a:cubicBezTo>
                <a:cubicBezTo>
                  <a:pt x="6637376" y="953002"/>
                  <a:pt x="6637376" y="953002"/>
                  <a:pt x="6640974" y="956607"/>
                </a:cubicBezTo>
                <a:cubicBezTo>
                  <a:pt x="6644573" y="956607"/>
                  <a:pt x="6644573" y="960209"/>
                  <a:pt x="6644573" y="960209"/>
                </a:cubicBezTo>
                <a:cubicBezTo>
                  <a:pt x="6662578" y="967416"/>
                  <a:pt x="6684180" y="981829"/>
                  <a:pt x="6702181" y="996241"/>
                </a:cubicBezTo>
                <a:cubicBezTo>
                  <a:pt x="6720182" y="1003449"/>
                  <a:pt x="6748983" y="1017861"/>
                  <a:pt x="6774188" y="1039481"/>
                </a:cubicBezTo>
                <a:cubicBezTo>
                  <a:pt x="6802991" y="1057497"/>
                  <a:pt x="6828193" y="1079117"/>
                  <a:pt x="6842593" y="1093530"/>
                </a:cubicBezTo>
                <a:cubicBezTo>
                  <a:pt x="6874996" y="1118753"/>
                  <a:pt x="6911000" y="1147579"/>
                  <a:pt x="6943402" y="1172803"/>
                </a:cubicBezTo>
                <a:lnTo>
                  <a:pt x="6948504" y="1177734"/>
                </a:lnTo>
                <a:lnTo>
                  <a:pt x="6951854" y="1167214"/>
                </a:lnTo>
                <a:cubicBezTo>
                  <a:pt x="6953786" y="1165284"/>
                  <a:pt x="6955719" y="1163741"/>
                  <a:pt x="6956495" y="1161040"/>
                </a:cubicBezTo>
                <a:cubicBezTo>
                  <a:pt x="6957265" y="1156795"/>
                  <a:pt x="6959585" y="1154480"/>
                  <a:pt x="6963833" y="1154866"/>
                </a:cubicBezTo>
                <a:cubicBezTo>
                  <a:pt x="6966922" y="1154866"/>
                  <a:pt x="6969240" y="1152936"/>
                  <a:pt x="6970403" y="1151393"/>
                </a:cubicBezTo>
                <a:cubicBezTo>
                  <a:pt x="6976973" y="1142132"/>
                  <a:pt x="6986631" y="1147149"/>
                  <a:pt x="6994748" y="1145991"/>
                </a:cubicBezTo>
                <a:cubicBezTo>
                  <a:pt x="6998225" y="1145605"/>
                  <a:pt x="7005565" y="1143675"/>
                  <a:pt x="7007110" y="1146377"/>
                </a:cubicBezTo>
                <a:cubicBezTo>
                  <a:pt x="7011746" y="1154094"/>
                  <a:pt x="7023722" y="1151007"/>
                  <a:pt x="7026426" y="1161425"/>
                </a:cubicBezTo>
                <a:cubicBezTo>
                  <a:pt x="7027198" y="1164512"/>
                  <a:pt x="7032607" y="1166442"/>
                  <a:pt x="7027586" y="1170687"/>
                </a:cubicBezTo>
                <a:cubicBezTo>
                  <a:pt x="7026039" y="1171845"/>
                  <a:pt x="7026426" y="1174159"/>
                  <a:pt x="7027973" y="1174545"/>
                </a:cubicBezTo>
                <a:cubicBezTo>
                  <a:pt x="7034153" y="1176861"/>
                  <a:pt x="7033766" y="1180334"/>
                  <a:pt x="7029903" y="1184964"/>
                </a:cubicBezTo>
                <a:cubicBezTo>
                  <a:pt x="7028744" y="1186507"/>
                  <a:pt x="7030290" y="1188437"/>
                  <a:pt x="7031062" y="1189981"/>
                </a:cubicBezTo>
                <a:cubicBezTo>
                  <a:pt x="7032607" y="1192296"/>
                  <a:pt x="7032993" y="1194612"/>
                  <a:pt x="7030677" y="1196541"/>
                </a:cubicBezTo>
                <a:cubicBezTo>
                  <a:pt x="7028359" y="1198470"/>
                  <a:pt x="7028744" y="1200785"/>
                  <a:pt x="7027973" y="1203101"/>
                </a:cubicBezTo>
                <a:cubicBezTo>
                  <a:pt x="7026039" y="1208888"/>
                  <a:pt x="7023722" y="1216220"/>
                  <a:pt x="7019470" y="1218922"/>
                </a:cubicBezTo>
                <a:lnTo>
                  <a:pt x="6997569" y="1232784"/>
                </a:lnTo>
                <a:lnTo>
                  <a:pt x="7008208" y="1248471"/>
                </a:lnTo>
                <a:cubicBezTo>
                  <a:pt x="7004609" y="1244867"/>
                  <a:pt x="7001005" y="1241264"/>
                  <a:pt x="6997405" y="1237661"/>
                </a:cubicBezTo>
                <a:cubicBezTo>
                  <a:pt x="6997405" y="1237661"/>
                  <a:pt x="6997405" y="1237661"/>
                  <a:pt x="7001005" y="1244867"/>
                </a:cubicBezTo>
                <a:cubicBezTo>
                  <a:pt x="7004609" y="1244867"/>
                  <a:pt x="7004609" y="1248471"/>
                  <a:pt x="7004609" y="1248471"/>
                </a:cubicBezTo>
                <a:cubicBezTo>
                  <a:pt x="7001005" y="1248471"/>
                  <a:pt x="7001005" y="1248471"/>
                  <a:pt x="6997406" y="1244867"/>
                </a:cubicBezTo>
                <a:cubicBezTo>
                  <a:pt x="6997406" y="1244867"/>
                  <a:pt x="6997406" y="1244867"/>
                  <a:pt x="6993807" y="1244867"/>
                </a:cubicBezTo>
                <a:cubicBezTo>
                  <a:pt x="7019007" y="1270091"/>
                  <a:pt x="7047811" y="1298916"/>
                  <a:pt x="7076615" y="1320535"/>
                </a:cubicBezTo>
                <a:cubicBezTo>
                  <a:pt x="7082016" y="1333147"/>
                  <a:pt x="7092814" y="1347560"/>
                  <a:pt x="7104966" y="1362874"/>
                </a:cubicBezTo>
                <a:lnTo>
                  <a:pt x="7133764" y="1400593"/>
                </a:lnTo>
                <a:lnTo>
                  <a:pt x="7148176" y="1392974"/>
                </a:lnTo>
                <a:cubicBezTo>
                  <a:pt x="7166654" y="1366917"/>
                  <a:pt x="7193833" y="1381032"/>
                  <a:pt x="7216664" y="1377774"/>
                </a:cubicBezTo>
                <a:cubicBezTo>
                  <a:pt x="7226446" y="1376688"/>
                  <a:pt x="7247104" y="1371260"/>
                  <a:pt x="7251450" y="1378861"/>
                </a:cubicBezTo>
                <a:cubicBezTo>
                  <a:pt x="7264496" y="1400574"/>
                  <a:pt x="7298195" y="1391889"/>
                  <a:pt x="7305807" y="1421204"/>
                </a:cubicBezTo>
                <a:cubicBezTo>
                  <a:pt x="7307981" y="1429890"/>
                  <a:pt x="7323200" y="1435318"/>
                  <a:pt x="7309068" y="1447261"/>
                </a:cubicBezTo>
                <a:lnTo>
                  <a:pt x="7309326" y="1449835"/>
                </a:lnTo>
                <a:lnTo>
                  <a:pt x="7350188" y="1406717"/>
                </a:lnTo>
                <a:cubicBezTo>
                  <a:pt x="7395815" y="1360304"/>
                  <a:pt x="7443866" y="1316358"/>
                  <a:pt x="7498986" y="1279882"/>
                </a:cubicBezTo>
                <a:lnTo>
                  <a:pt x="7534700" y="1257005"/>
                </a:lnTo>
                <a:lnTo>
                  <a:pt x="7527867" y="1250208"/>
                </a:lnTo>
                <a:lnTo>
                  <a:pt x="7528782" y="1248911"/>
                </a:lnTo>
                <a:cubicBezTo>
                  <a:pt x="7529190" y="1247071"/>
                  <a:pt x="7528588" y="1245844"/>
                  <a:pt x="7526944" y="1245027"/>
                </a:cubicBezTo>
                <a:cubicBezTo>
                  <a:pt x="7525715" y="1244414"/>
                  <a:pt x="7524499" y="1244005"/>
                  <a:pt x="7523274" y="1243392"/>
                </a:cubicBezTo>
                <a:cubicBezTo>
                  <a:pt x="7521221" y="1242370"/>
                  <a:pt x="7520400" y="1240940"/>
                  <a:pt x="7520810" y="1238486"/>
                </a:cubicBezTo>
                <a:cubicBezTo>
                  <a:pt x="7522041" y="1231129"/>
                  <a:pt x="7519385" y="1226019"/>
                  <a:pt x="7512842" y="1222749"/>
                </a:cubicBezTo>
                <a:cubicBezTo>
                  <a:pt x="7511825" y="1222136"/>
                  <a:pt x="7509573" y="1222340"/>
                  <a:pt x="7509977" y="1220502"/>
                </a:cubicBezTo>
                <a:cubicBezTo>
                  <a:pt x="7510185" y="1218662"/>
                  <a:pt x="7512021" y="1218253"/>
                  <a:pt x="7513857" y="1218048"/>
                </a:cubicBezTo>
                <a:cubicBezTo>
                  <a:pt x="7514073" y="1218048"/>
                  <a:pt x="7514268" y="1218048"/>
                  <a:pt x="7514485" y="1218048"/>
                </a:cubicBezTo>
                <a:cubicBezTo>
                  <a:pt x="7519385" y="1217232"/>
                  <a:pt x="7520810" y="1214983"/>
                  <a:pt x="7518364" y="1211100"/>
                </a:cubicBezTo>
                <a:cubicBezTo>
                  <a:pt x="7516110" y="1207421"/>
                  <a:pt x="7516732" y="1204560"/>
                  <a:pt x="7518766" y="1201495"/>
                </a:cubicBezTo>
                <a:cubicBezTo>
                  <a:pt x="7521433" y="1197407"/>
                  <a:pt x="7523468" y="1193115"/>
                  <a:pt x="7522241" y="1188005"/>
                </a:cubicBezTo>
                <a:cubicBezTo>
                  <a:pt x="7521631" y="1185757"/>
                  <a:pt x="7523877" y="1184735"/>
                  <a:pt x="7525310" y="1184326"/>
                </a:cubicBezTo>
                <a:cubicBezTo>
                  <a:pt x="7530632" y="1182488"/>
                  <a:pt x="7533079" y="1179012"/>
                  <a:pt x="7533699" y="1173699"/>
                </a:cubicBezTo>
                <a:cubicBezTo>
                  <a:pt x="7534101" y="1170429"/>
                  <a:pt x="7535324" y="1169816"/>
                  <a:pt x="7538609" y="1171859"/>
                </a:cubicBezTo>
                <a:cubicBezTo>
                  <a:pt x="7545562" y="1176151"/>
                  <a:pt x="7555778" y="1173086"/>
                  <a:pt x="7558845" y="1165933"/>
                </a:cubicBezTo>
                <a:cubicBezTo>
                  <a:pt x="7559455" y="1164502"/>
                  <a:pt x="7560275" y="1162663"/>
                  <a:pt x="7558845" y="1161436"/>
                </a:cubicBezTo>
                <a:cubicBezTo>
                  <a:pt x="7557421" y="1160209"/>
                  <a:pt x="7555366" y="1159596"/>
                  <a:pt x="7553535" y="1160823"/>
                </a:cubicBezTo>
                <a:cubicBezTo>
                  <a:pt x="7552298" y="1161436"/>
                  <a:pt x="7551069" y="1162458"/>
                  <a:pt x="7549843" y="1163276"/>
                </a:cubicBezTo>
                <a:cubicBezTo>
                  <a:pt x="7548626" y="1164297"/>
                  <a:pt x="7547401" y="1164910"/>
                  <a:pt x="7546376" y="1163684"/>
                </a:cubicBezTo>
                <a:cubicBezTo>
                  <a:pt x="7545152" y="1162254"/>
                  <a:pt x="7545967" y="1161027"/>
                  <a:pt x="7546988" y="1160005"/>
                </a:cubicBezTo>
                <a:cubicBezTo>
                  <a:pt x="7547809" y="1158984"/>
                  <a:pt x="7549040" y="1158166"/>
                  <a:pt x="7549843" y="1157348"/>
                </a:cubicBezTo>
                <a:cubicBezTo>
                  <a:pt x="7551696" y="1155510"/>
                  <a:pt x="7552712" y="1153056"/>
                  <a:pt x="7550877" y="1151013"/>
                </a:cubicBezTo>
                <a:cubicBezTo>
                  <a:pt x="7549231" y="1149378"/>
                  <a:pt x="7546988" y="1151013"/>
                  <a:pt x="7545341" y="1152239"/>
                </a:cubicBezTo>
                <a:cubicBezTo>
                  <a:pt x="7543918" y="1153261"/>
                  <a:pt x="7542899" y="1155101"/>
                  <a:pt x="7541048" y="1155713"/>
                </a:cubicBezTo>
                <a:cubicBezTo>
                  <a:pt x="7538392" y="1156735"/>
                  <a:pt x="7536767" y="1156326"/>
                  <a:pt x="7536967" y="1153056"/>
                </a:cubicBezTo>
                <a:cubicBezTo>
                  <a:pt x="7537167" y="1148560"/>
                  <a:pt x="7539019" y="1144881"/>
                  <a:pt x="7541460" y="1141407"/>
                </a:cubicBezTo>
                <a:cubicBezTo>
                  <a:pt x="7544526" y="1136910"/>
                  <a:pt x="7544745" y="1134458"/>
                  <a:pt x="7541460" y="1130166"/>
                </a:cubicBezTo>
                <a:cubicBezTo>
                  <a:pt x="7540443" y="1128531"/>
                  <a:pt x="7538803" y="1127101"/>
                  <a:pt x="7537376" y="1125670"/>
                </a:cubicBezTo>
                <a:cubicBezTo>
                  <a:pt x="7536767" y="1125056"/>
                  <a:pt x="7535733" y="1124444"/>
                  <a:pt x="7536141" y="1123422"/>
                </a:cubicBezTo>
                <a:cubicBezTo>
                  <a:pt x="7536552" y="1122195"/>
                  <a:pt x="7537576" y="1121991"/>
                  <a:pt x="7538392" y="1122195"/>
                </a:cubicBezTo>
                <a:cubicBezTo>
                  <a:pt x="7542087" y="1123013"/>
                  <a:pt x="7542899" y="1121378"/>
                  <a:pt x="7542687" y="1118108"/>
                </a:cubicBezTo>
                <a:cubicBezTo>
                  <a:pt x="7542496" y="1114020"/>
                  <a:pt x="7545152" y="1111159"/>
                  <a:pt x="7548005" y="1108910"/>
                </a:cubicBezTo>
                <a:cubicBezTo>
                  <a:pt x="7550254" y="1107072"/>
                  <a:pt x="7550466" y="1105640"/>
                  <a:pt x="7548220" y="1104006"/>
                </a:cubicBezTo>
                <a:cubicBezTo>
                  <a:pt x="7546988" y="1103188"/>
                  <a:pt x="7546165" y="1102371"/>
                  <a:pt x="7546575" y="1100736"/>
                </a:cubicBezTo>
                <a:cubicBezTo>
                  <a:pt x="7546988" y="1098487"/>
                  <a:pt x="7548626" y="1098896"/>
                  <a:pt x="7550056" y="1098487"/>
                </a:cubicBezTo>
                <a:cubicBezTo>
                  <a:pt x="7550877" y="1098283"/>
                  <a:pt x="7551890" y="1098283"/>
                  <a:pt x="7552912" y="1098079"/>
                </a:cubicBezTo>
                <a:cubicBezTo>
                  <a:pt x="7558434" y="1097465"/>
                  <a:pt x="7559672" y="1094400"/>
                  <a:pt x="7556386" y="1089699"/>
                </a:cubicBezTo>
                <a:cubicBezTo>
                  <a:pt x="7555976" y="1089087"/>
                  <a:pt x="7555570" y="1088678"/>
                  <a:pt x="7555366" y="1088064"/>
                </a:cubicBezTo>
                <a:cubicBezTo>
                  <a:pt x="7554764" y="1086838"/>
                  <a:pt x="7554354" y="1085203"/>
                  <a:pt x="7555570" y="1084386"/>
                </a:cubicBezTo>
                <a:cubicBezTo>
                  <a:pt x="7556602" y="1083568"/>
                  <a:pt x="7558024" y="1084386"/>
                  <a:pt x="7558845" y="1085203"/>
                </a:cubicBezTo>
                <a:cubicBezTo>
                  <a:pt x="7559672" y="1086020"/>
                  <a:pt x="7560275" y="1086838"/>
                  <a:pt x="7560900" y="1087860"/>
                </a:cubicBezTo>
                <a:cubicBezTo>
                  <a:pt x="7562119" y="1089291"/>
                  <a:pt x="7563341" y="1089699"/>
                  <a:pt x="7564981" y="1088473"/>
                </a:cubicBezTo>
                <a:cubicBezTo>
                  <a:pt x="7568875" y="1085816"/>
                  <a:pt x="7573170" y="1085408"/>
                  <a:pt x="7577466" y="1085203"/>
                </a:cubicBezTo>
                <a:cubicBezTo>
                  <a:pt x="7582565" y="1084795"/>
                  <a:pt x="7587878" y="1085408"/>
                  <a:pt x="7592997" y="1084181"/>
                </a:cubicBezTo>
                <a:cubicBezTo>
                  <a:pt x="7594831" y="1083772"/>
                  <a:pt x="7595870" y="1084999"/>
                  <a:pt x="7596671" y="1086020"/>
                </a:cubicBezTo>
                <a:cubicBezTo>
                  <a:pt x="7599547" y="1089291"/>
                  <a:pt x="7602199" y="1092561"/>
                  <a:pt x="7607318" y="1090925"/>
                </a:cubicBezTo>
                <a:cubicBezTo>
                  <a:pt x="7608334" y="1090721"/>
                  <a:pt x="7608941" y="1091539"/>
                  <a:pt x="7609352" y="1092357"/>
                </a:cubicBezTo>
                <a:cubicBezTo>
                  <a:pt x="7611614" y="1096444"/>
                  <a:pt x="7615296" y="1099714"/>
                  <a:pt x="7618364" y="1103188"/>
                </a:cubicBezTo>
                <a:cubicBezTo>
                  <a:pt x="7623071" y="1108503"/>
                  <a:pt x="7625728" y="1114429"/>
                  <a:pt x="7623885" y="1121582"/>
                </a:cubicBezTo>
                <a:cubicBezTo>
                  <a:pt x="7623259" y="1124444"/>
                  <a:pt x="7624907" y="1126283"/>
                  <a:pt x="7626549" y="1127918"/>
                </a:cubicBezTo>
                <a:cubicBezTo>
                  <a:pt x="7630219" y="1131802"/>
                  <a:pt x="7630021" y="1133845"/>
                  <a:pt x="7625918" y="1136910"/>
                </a:cubicBezTo>
                <a:cubicBezTo>
                  <a:pt x="7621433" y="1139976"/>
                  <a:pt x="7621433" y="1139976"/>
                  <a:pt x="7625103" y="1144472"/>
                </a:cubicBezTo>
                <a:cubicBezTo>
                  <a:pt x="7625918" y="1145494"/>
                  <a:pt x="7626549" y="1146312"/>
                  <a:pt x="7625317" y="1147539"/>
                </a:cubicBezTo>
                <a:cubicBezTo>
                  <a:pt x="7621216" y="1152239"/>
                  <a:pt x="7617536" y="1156940"/>
                  <a:pt x="7613239" y="1161436"/>
                </a:cubicBezTo>
                <a:cubicBezTo>
                  <a:pt x="7610170" y="1164910"/>
                  <a:pt x="7606284" y="1167159"/>
                  <a:pt x="7601786" y="1168180"/>
                </a:cubicBezTo>
                <a:cubicBezTo>
                  <a:pt x="7598933" y="1168998"/>
                  <a:pt x="7593412" y="1176356"/>
                  <a:pt x="7593194" y="1179421"/>
                </a:cubicBezTo>
                <a:cubicBezTo>
                  <a:pt x="7593194" y="1180443"/>
                  <a:pt x="7593194" y="1181261"/>
                  <a:pt x="7594422" y="1181670"/>
                </a:cubicBezTo>
                <a:cubicBezTo>
                  <a:pt x="7600779" y="1184531"/>
                  <a:pt x="7603846" y="1190049"/>
                  <a:pt x="7606502" y="1195976"/>
                </a:cubicBezTo>
                <a:cubicBezTo>
                  <a:pt x="7607100" y="1197203"/>
                  <a:pt x="7607511" y="1198225"/>
                  <a:pt x="7608139" y="1199246"/>
                </a:cubicBezTo>
                <a:lnTo>
                  <a:pt x="7609682" y="1208978"/>
                </a:lnTo>
                <a:lnTo>
                  <a:pt x="7711936" y="1143485"/>
                </a:lnTo>
                <a:cubicBezTo>
                  <a:pt x="7926513" y="1009986"/>
                  <a:pt x="8147376" y="887789"/>
                  <a:pt x="8386838" y="800356"/>
                </a:cubicBezTo>
                <a:cubicBezTo>
                  <a:pt x="8470729" y="769426"/>
                  <a:pt x="8556102" y="744523"/>
                  <a:pt x="8642502" y="723473"/>
                </a:cubicBezTo>
                <a:lnTo>
                  <a:pt x="8655782" y="720746"/>
                </a:lnTo>
                <a:lnTo>
                  <a:pt x="8652892" y="715079"/>
                </a:lnTo>
                <a:cubicBezTo>
                  <a:pt x="8651129" y="712754"/>
                  <a:pt x="8649031" y="710710"/>
                  <a:pt x="8647600" y="710301"/>
                </a:cubicBezTo>
                <a:cubicBezTo>
                  <a:pt x="8643102" y="709280"/>
                  <a:pt x="8639217" y="707031"/>
                  <a:pt x="8636152" y="703557"/>
                </a:cubicBezTo>
                <a:cubicBezTo>
                  <a:pt x="8631855" y="699061"/>
                  <a:pt x="8628176" y="694360"/>
                  <a:pt x="8624086" y="689660"/>
                </a:cubicBezTo>
                <a:cubicBezTo>
                  <a:pt x="8622859" y="688433"/>
                  <a:pt x="8623472" y="687615"/>
                  <a:pt x="8624289" y="686593"/>
                </a:cubicBezTo>
                <a:cubicBezTo>
                  <a:pt x="8627970" y="682097"/>
                  <a:pt x="8627970" y="682097"/>
                  <a:pt x="8623472" y="679031"/>
                </a:cubicBezTo>
                <a:cubicBezTo>
                  <a:pt x="8619382" y="675966"/>
                  <a:pt x="8619178" y="673923"/>
                  <a:pt x="8622859" y="670039"/>
                </a:cubicBezTo>
                <a:cubicBezTo>
                  <a:pt x="8624496" y="668404"/>
                  <a:pt x="8626131" y="666565"/>
                  <a:pt x="8625520" y="663703"/>
                </a:cubicBezTo>
                <a:cubicBezTo>
                  <a:pt x="8623676" y="656550"/>
                  <a:pt x="8626333" y="650623"/>
                  <a:pt x="8631040" y="645309"/>
                </a:cubicBezTo>
                <a:cubicBezTo>
                  <a:pt x="8634103" y="641835"/>
                  <a:pt x="8637786" y="638565"/>
                  <a:pt x="8640035" y="634477"/>
                </a:cubicBezTo>
                <a:cubicBezTo>
                  <a:pt x="8640444" y="633660"/>
                  <a:pt x="8641058" y="632842"/>
                  <a:pt x="8642079" y="633046"/>
                </a:cubicBezTo>
                <a:cubicBezTo>
                  <a:pt x="8647192" y="634682"/>
                  <a:pt x="8649851" y="631412"/>
                  <a:pt x="8652713" y="628141"/>
                </a:cubicBezTo>
                <a:cubicBezTo>
                  <a:pt x="8653530" y="627120"/>
                  <a:pt x="8654553" y="625893"/>
                  <a:pt x="8656393" y="626302"/>
                </a:cubicBezTo>
                <a:cubicBezTo>
                  <a:pt x="8661506" y="627529"/>
                  <a:pt x="8666822" y="626915"/>
                  <a:pt x="8671936" y="627324"/>
                </a:cubicBezTo>
                <a:cubicBezTo>
                  <a:pt x="8676228" y="627529"/>
                  <a:pt x="8680526" y="627937"/>
                  <a:pt x="8684410" y="630594"/>
                </a:cubicBezTo>
                <a:cubicBezTo>
                  <a:pt x="8686044" y="631820"/>
                  <a:pt x="8687272" y="631412"/>
                  <a:pt x="8688500" y="629981"/>
                </a:cubicBezTo>
                <a:cubicBezTo>
                  <a:pt x="8689114" y="628959"/>
                  <a:pt x="8689727" y="628141"/>
                  <a:pt x="8690544" y="627324"/>
                </a:cubicBezTo>
                <a:cubicBezTo>
                  <a:pt x="8691364" y="626507"/>
                  <a:pt x="8692794" y="625689"/>
                  <a:pt x="8693816" y="626507"/>
                </a:cubicBezTo>
                <a:cubicBezTo>
                  <a:pt x="8695042" y="627324"/>
                  <a:pt x="8694634" y="628959"/>
                  <a:pt x="8694021" y="630185"/>
                </a:cubicBezTo>
                <a:cubicBezTo>
                  <a:pt x="8693816" y="630799"/>
                  <a:pt x="8693406" y="631208"/>
                  <a:pt x="8692999" y="631820"/>
                </a:cubicBezTo>
                <a:cubicBezTo>
                  <a:pt x="8689727" y="636521"/>
                  <a:pt x="8690954" y="639586"/>
                  <a:pt x="8696476" y="640199"/>
                </a:cubicBezTo>
                <a:cubicBezTo>
                  <a:pt x="8697496" y="640404"/>
                  <a:pt x="8698520" y="640404"/>
                  <a:pt x="8699338" y="640608"/>
                </a:cubicBezTo>
                <a:cubicBezTo>
                  <a:pt x="8700770" y="641017"/>
                  <a:pt x="8702406" y="640608"/>
                  <a:pt x="8702815" y="642857"/>
                </a:cubicBezTo>
                <a:cubicBezTo>
                  <a:pt x="8703224" y="644491"/>
                  <a:pt x="8702406" y="645309"/>
                  <a:pt x="8701178" y="646127"/>
                </a:cubicBezTo>
                <a:cubicBezTo>
                  <a:pt x="8698928" y="647761"/>
                  <a:pt x="8699133" y="649192"/>
                  <a:pt x="8701383" y="651031"/>
                </a:cubicBezTo>
                <a:cubicBezTo>
                  <a:pt x="8704245" y="653280"/>
                  <a:pt x="8706902" y="656141"/>
                  <a:pt x="8706698" y="660229"/>
                </a:cubicBezTo>
                <a:cubicBezTo>
                  <a:pt x="8706494" y="663499"/>
                  <a:pt x="8707312" y="665134"/>
                  <a:pt x="8710994" y="664316"/>
                </a:cubicBezTo>
                <a:cubicBezTo>
                  <a:pt x="8711812" y="664112"/>
                  <a:pt x="8712834" y="664316"/>
                  <a:pt x="8713242" y="665543"/>
                </a:cubicBezTo>
                <a:cubicBezTo>
                  <a:pt x="8713652" y="666565"/>
                  <a:pt x="8712630" y="667177"/>
                  <a:pt x="8712016" y="667791"/>
                </a:cubicBezTo>
                <a:cubicBezTo>
                  <a:pt x="8710586" y="669222"/>
                  <a:pt x="8708948" y="670652"/>
                  <a:pt x="8707926" y="672287"/>
                </a:cubicBezTo>
                <a:cubicBezTo>
                  <a:pt x="8704655" y="676579"/>
                  <a:pt x="8704860" y="679031"/>
                  <a:pt x="8707926" y="683528"/>
                </a:cubicBezTo>
                <a:cubicBezTo>
                  <a:pt x="8710380" y="687002"/>
                  <a:pt x="8712220" y="690681"/>
                  <a:pt x="8712426" y="695177"/>
                </a:cubicBezTo>
                <a:cubicBezTo>
                  <a:pt x="8712630" y="698447"/>
                  <a:pt x="8710994" y="698856"/>
                  <a:pt x="8708336" y="697834"/>
                </a:cubicBezTo>
                <a:cubicBezTo>
                  <a:pt x="8706494" y="697222"/>
                  <a:pt x="8705472" y="695382"/>
                  <a:pt x="8704040" y="694360"/>
                </a:cubicBezTo>
                <a:cubicBezTo>
                  <a:pt x="8702406" y="693134"/>
                  <a:pt x="8700156" y="691499"/>
                  <a:pt x="8698520" y="693134"/>
                </a:cubicBezTo>
                <a:cubicBezTo>
                  <a:pt x="8696678" y="695177"/>
                  <a:pt x="8697702" y="697631"/>
                  <a:pt x="8699543" y="699469"/>
                </a:cubicBezTo>
                <a:cubicBezTo>
                  <a:pt x="8700361" y="700287"/>
                  <a:pt x="8701588" y="701105"/>
                  <a:pt x="8702406" y="702126"/>
                </a:cubicBezTo>
                <a:cubicBezTo>
                  <a:pt x="8703428" y="703148"/>
                  <a:pt x="8704245" y="704375"/>
                  <a:pt x="8703020" y="705805"/>
                </a:cubicBezTo>
                <a:cubicBezTo>
                  <a:pt x="8701998" y="707031"/>
                  <a:pt x="8700770" y="706418"/>
                  <a:pt x="8699543" y="705397"/>
                </a:cubicBezTo>
                <a:cubicBezTo>
                  <a:pt x="8698316" y="704579"/>
                  <a:pt x="8697088" y="703557"/>
                  <a:pt x="8695861" y="702944"/>
                </a:cubicBezTo>
                <a:cubicBezTo>
                  <a:pt x="8694021" y="701717"/>
                  <a:pt x="8691977" y="702330"/>
                  <a:pt x="8690544" y="703557"/>
                </a:cubicBezTo>
                <a:cubicBezTo>
                  <a:pt x="8689114" y="704784"/>
                  <a:pt x="8689932" y="706622"/>
                  <a:pt x="8690544" y="708053"/>
                </a:cubicBezTo>
                <a:lnTo>
                  <a:pt x="8695871" y="712514"/>
                </a:lnTo>
                <a:lnTo>
                  <a:pt x="8833254" y="684302"/>
                </a:lnTo>
                <a:lnTo>
                  <a:pt x="8834152" y="681882"/>
                </a:lnTo>
                <a:cubicBezTo>
                  <a:pt x="8832220" y="674936"/>
                  <a:pt x="8834538" y="669534"/>
                  <a:pt x="8839562" y="664903"/>
                </a:cubicBezTo>
                <a:cubicBezTo>
                  <a:pt x="8841492" y="662974"/>
                  <a:pt x="8843426" y="661430"/>
                  <a:pt x="8844197" y="658730"/>
                </a:cubicBezTo>
                <a:cubicBezTo>
                  <a:pt x="8844971" y="654485"/>
                  <a:pt x="8847289" y="652169"/>
                  <a:pt x="8851540" y="652555"/>
                </a:cubicBezTo>
                <a:cubicBezTo>
                  <a:pt x="8854629" y="652555"/>
                  <a:pt x="8856948" y="650626"/>
                  <a:pt x="8858108" y="649082"/>
                </a:cubicBezTo>
                <a:cubicBezTo>
                  <a:pt x="8864676" y="639821"/>
                  <a:pt x="8874334" y="644838"/>
                  <a:pt x="8882448" y="643680"/>
                </a:cubicBezTo>
                <a:cubicBezTo>
                  <a:pt x="8885927" y="643294"/>
                  <a:pt x="8893267" y="641365"/>
                  <a:pt x="8894812" y="644066"/>
                </a:cubicBezTo>
                <a:cubicBezTo>
                  <a:pt x="8899448" y="651783"/>
                  <a:pt x="8911426" y="648696"/>
                  <a:pt x="8914130" y="659115"/>
                </a:cubicBezTo>
                <a:lnTo>
                  <a:pt x="8915251" y="668076"/>
                </a:lnTo>
                <a:lnTo>
                  <a:pt x="9085203" y="642648"/>
                </a:lnTo>
                <a:cubicBezTo>
                  <a:pt x="9097801" y="641352"/>
                  <a:pt x="9110955" y="640339"/>
                  <a:pt x="9124174" y="640237"/>
                </a:cubicBezTo>
                <a:lnTo>
                  <a:pt x="9136268" y="641172"/>
                </a:lnTo>
                <a:lnTo>
                  <a:pt x="9136283" y="641088"/>
                </a:lnTo>
                <a:cubicBezTo>
                  <a:pt x="9137356" y="640820"/>
                  <a:pt x="9137625" y="639212"/>
                  <a:pt x="9136550" y="638409"/>
                </a:cubicBezTo>
                <a:cubicBezTo>
                  <a:pt x="9133062" y="635460"/>
                  <a:pt x="9136819" y="634120"/>
                  <a:pt x="9137356" y="631976"/>
                </a:cubicBezTo>
                <a:cubicBezTo>
                  <a:pt x="9139235" y="624739"/>
                  <a:pt x="9147554" y="626883"/>
                  <a:pt x="9150774" y="621523"/>
                </a:cubicBezTo>
                <a:cubicBezTo>
                  <a:pt x="9151847" y="619647"/>
                  <a:pt x="9156946" y="620987"/>
                  <a:pt x="9159363" y="621255"/>
                </a:cubicBezTo>
                <a:cubicBezTo>
                  <a:pt x="9162178" y="621657"/>
                  <a:pt x="9165265" y="620987"/>
                  <a:pt x="9168217" y="621020"/>
                </a:cubicBezTo>
                <a:lnTo>
                  <a:pt x="9168219" y="621020"/>
                </a:lnTo>
                <a:cubicBezTo>
                  <a:pt x="9171171" y="621054"/>
                  <a:pt x="9173989" y="621790"/>
                  <a:pt x="9176268" y="625007"/>
                </a:cubicBezTo>
                <a:cubicBezTo>
                  <a:pt x="9177074" y="626079"/>
                  <a:pt x="9178684" y="627419"/>
                  <a:pt x="9180830" y="627419"/>
                </a:cubicBezTo>
                <a:cubicBezTo>
                  <a:pt x="9183784" y="627152"/>
                  <a:pt x="9185393" y="628760"/>
                  <a:pt x="9185932" y="631707"/>
                </a:cubicBezTo>
                <a:cubicBezTo>
                  <a:pt x="9186467" y="633584"/>
                  <a:pt x="9187809" y="634656"/>
                  <a:pt x="9189150" y="635996"/>
                </a:cubicBezTo>
                <a:lnTo>
                  <a:pt x="9191804" y="644325"/>
                </a:lnTo>
                <a:lnTo>
                  <a:pt x="9216932" y="645251"/>
                </a:lnTo>
                <a:cubicBezTo>
                  <a:pt x="9234573" y="643017"/>
                  <a:pt x="9251959" y="637844"/>
                  <a:pt x="9268811" y="629588"/>
                </a:cubicBezTo>
                <a:cubicBezTo>
                  <a:pt x="9287913" y="619673"/>
                  <a:pt x="9304697" y="619808"/>
                  <a:pt x="9319660" y="637272"/>
                </a:cubicBezTo>
                <a:cubicBezTo>
                  <a:pt x="9337399" y="657555"/>
                  <a:pt x="9359184" y="661648"/>
                  <a:pt x="9384428" y="653459"/>
                </a:cubicBezTo>
                <a:cubicBezTo>
                  <a:pt x="9423132" y="640906"/>
                  <a:pt x="9462838" y="642905"/>
                  <a:pt x="9502498" y="650498"/>
                </a:cubicBezTo>
                <a:cubicBezTo>
                  <a:pt x="9537132" y="656932"/>
                  <a:pt x="9571903" y="663786"/>
                  <a:pt x="9606748" y="670152"/>
                </a:cubicBezTo>
                <a:lnTo>
                  <a:pt x="9612232" y="671028"/>
                </a:lnTo>
                <a:lnTo>
                  <a:pt x="9613534" y="664016"/>
                </a:lnTo>
                <a:cubicBezTo>
                  <a:pt x="9614688" y="663727"/>
                  <a:pt x="9614976" y="661999"/>
                  <a:pt x="9613823" y="661135"/>
                </a:cubicBezTo>
                <a:cubicBezTo>
                  <a:pt x="9610074" y="657967"/>
                  <a:pt x="9614110" y="656527"/>
                  <a:pt x="9614688" y="654223"/>
                </a:cubicBezTo>
                <a:cubicBezTo>
                  <a:pt x="9616707" y="646446"/>
                  <a:pt x="9625646" y="648750"/>
                  <a:pt x="9629108" y="642990"/>
                </a:cubicBezTo>
                <a:cubicBezTo>
                  <a:pt x="9630261" y="640974"/>
                  <a:pt x="9635740" y="642413"/>
                  <a:pt x="9638335" y="642702"/>
                </a:cubicBezTo>
                <a:cubicBezTo>
                  <a:pt x="9644391" y="643566"/>
                  <a:pt x="9651602" y="639821"/>
                  <a:pt x="9656506" y="646734"/>
                </a:cubicBezTo>
                <a:cubicBezTo>
                  <a:pt x="9657370" y="647886"/>
                  <a:pt x="9659101" y="649326"/>
                  <a:pt x="9661408" y="649326"/>
                </a:cubicBezTo>
                <a:cubicBezTo>
                  <a:pt x="9664581" y="649039"/>
                  <a:pt x="9666310" y="650767"/>
                  <a:pt x="9666888" y="653935"/>
                </a:cubicBezTo>
                <a:cubicBezTo>
                  <a:pt x="9667464" y="655951"/>
                  <a:pt x="9668906" y="657103"/>
                  <a:pt x="9670348" y="658543"/>
                </a:cubicBezTo>
                <a:cubicBezTo>
                  <a:pt x="9674097" y="661999"/>
                  <a:pt x="9675828" y="666032"/>
                  <a:pt x="9674385" y="671216"/>
                </a:cubicBezTo>
                <a:cubicBezTo>
                  <a:pt x="9673520" y="674097"/>
                  <a:pt x="9674385" y="677265"/>
                  <a:pt x="9677270" y="678993"/>
                </a:cubicBezTo>
                <a:lnTo>
                  <a:pt x="9677270" y="681415"/>
                </a:lnTo>
                <a:lnTo>
                  <a:pt x="9711442" y="686872"/>
                </a:lnTo>
                <a:lnTo>
                  <a:pt x="9824543" y="708328"/>
                </a:lnTo>
                <a:lnTo>
                  <a:pt x="9827713" y="698989"/>
                </a:lnTo>
                <a:cubicBezTo>
                  <a:pt x="9833694" y="672065"/>
                  <a:pt x="9824723" y="648134"/>
                  <a:pt x="9815752" y="624202"/>
                </a:cubicBezTo>
                <a:cubicBezTo>
                  <a:pt x="9808276" y="606255"/>
                  <a:pt x="9804538" y="589054"/>
                  <a:pt x="9804912" y="572226"/>
                </a:cubicBezTo>
                <a:lnTo>
                  <a:pt x="9813791" y="540299"/>
                </a:lnTo>
                <a:lnTo>
                  <a:pt x="9809715" y="537720"/>
                </a:lnTo>
                <a:cubicBezTo>
                  <a:pt x="9806544" y="535704"/>
                  <a:pt x="9804813" y="530231"/>
                  <a:pt x="9803372" y="525911"/>
                </a:cubicBezTo>
                <a:cubicBezTo>
                  <a:pt x="9802794" y="524184"/>
                  <a:pt x="9803082" y="522455"/>
                  <a:pt x="9801352" y="521015"/>
                </a:cubicBezTo>
                <a:cubicBezTo>
                  <a:pt x="9799621" y="519575"/>
                  <a:pt x="9799911" y="517847"/>
                  <a:pt x="9801066" y="516119"/>
                </a:cubicBezTo>
                <a:cubicBezTo>
                  <a:pt x="9801642" y="514967"/>
                  <a:pt x="9802794" y="513527"/>
                  <a:pt x="9801928" y="512375"/>
                </a:cubicBezTo>
                <a:cubicBezTo>
                  <a:pt x="9799045" y="508918"/>
                  <a:pt x="9798756" y="506326"/>
                  <a:pt x="9803372" y="504597"/>
                </a:cubicBezTo>
                <a:cubicBezTo>
                  <a:pt x="9804527" y="504310"/>
                  <a:pt x="9804813" y="502581"/>
                  <a:pt x="9803659" y="501718"/>
                </a:cubicBezTo>
                <a:cubicBezTo>
                  <a:pt x="9799911" y="498549"/>
                  <a:pt x="9803948" y="497109"/>
                  <a:pt x="9804527" y="494805"/>
                </a:cubicBezTo>
                <a:cubicBezTo>
                  <a:pt x="9806544" y="487028"/>
                  <a:pt x="9815483" y="489332"/>
                  <a:pt x="9818944" y="483572"/>
                </a:cubicBezTo>
                <a:cubicBezTo>
                  <a:pt x="9820098" y="481556"/>
                  <a:pt x="9825577" y="482996"/>
                  <a:pt x="9828174" y="483283"/>
                </a:cubicBezTo>
                <a:cubicBezTo>
                  <a:pt x="9834229" y="484148"/>
                  <a:pt x="9841439" y="480404"/>
                  <a:pt x="9846342" y="487316"/>
                </a:cubicBezTo>
                <a:cubicBezTo>
                  <a:pt x="9847209" y="488469"/>
                  <a:pt x="9848938" y="489908"/>
                  <a:pt x="9851245" y="489908"/>
                </a:cubicBezTo>
                <a:cubicBezTo>
                  <a:pt x="9854418" y="489621"/>
                  <a:pt x="9856147" y="491348"/>
                  <a:pt x="9856724" y="494516"/>
                </a:cubicBezTo>
                <a:cubicBezTo>
                  <a:pt x="9857302" y="496533"/>
                  <a:pt x="9858744" y="497685"/>
                  <a:pt x="9860184" y="499126"/>
                </a:cubicBezTo>
                <a:cubicBezTo>
                  <a:pt x="9863934" y="502581"/>
                  <a:pt x="9865665" y="506614"/>
                  <a:pt x="9864224" y="511798"/>
                </a:cubicBezTo>
                <a:cubicBezTo>
                  <a:pt x="9863357" y="514678"/>
                  <a:pt x="9864224" y="517847"/>
                  <a:pt x="9867106" y="519575"/>
                </a:cubicBezTo>
                <a:cubicBezTo>
                  <a:pt x="9867106" y="520727"/>
                  <a:pt x="9867106" y="521879"/>
                  <a:pt x="9867106" y="523031"/>
                </a:cubicBezTo>
                <a:cubicBezTo>
                  <a:pt x="9864512" y="524471"/>
                  <a:pt x="9863357" y="526200"/>
                  <a:pt x="9863647" y="529944"/>
                </a:cubicBezTo>
                <a:cubicBezTo>
                  <a:pt x="9863934" y="535128"/>
                  <a:pt x="9861628" y="539161"/>
                  <a:pt x="9855860" y="540312"/>
                </a:cubicBezTo>
                <a:lnTo>
                  <a:pt x="9854626" y="542774"/>
                </a:lnTo>
                <a:lnTo>
                  <a:pt x="9854626" y="588306"/>
                </a:lnTo>
                <a:cubicBezTo>
                  <a:pt x="9854626" y="606255"/>
                  <a:pt x="9851636" y="624202"/>
                  <a:pt x="9857618" y="639160"/>
                </a:cubicBezTo>
                <a:cubicBezTo>
                  <a:pt x="9863599" y="670570"/>
                  <a:pt x="9875561" y="690014"/>
                  <a:pt x="9893130" y="698241"/>
                </a:cubicBezTo>
                <a:lnTo>
                  <a:pt x="9893504" y="698290"/>
                </a:lnTo>
                <a:lnTo>
                  <a:pt x="9896644" y="696735"/>
                </a:lnTo>
                <a:cubicBezTo>
                  <a:pt x="9900895" y="696687"/>
                  <a:pt x="9905339" y="697652"/>
                  <a:pt x="9909397" y="697073"/>
                </a:cubicBezTo>
                <a:cubicBezTo>
                  <a:pt x="9912874" y="696687"/>
                  <a:pt x="9920218" y="694758"/>
                  <a:pt x="9921764" y="697459"/>
                </a:cubicBezTo>
                <a:lnTo>
                  <a:pt x="9927482" y="701044"/>
                </a:lnTo>
                <a:lnTo>
                  <a:pt x="9962283" y="690014"/>
                </a:lnTo>
                <a:cubicBezTo>
                  <a:pt x="10001159" y="666083"/>
                  <a:pt x="10010130" y="669074"/>
                  <a:pt x="10037044" y="698989"/>
                </a:cubicBezTo>
                <a:cubicBezTo>
                  <a:pt x="10066949" y="734886"/>
                  <a:pt x="10087881" y="734886"/>
                  <a:pt x="10114796" y="695998"/>
                </a:cubicBezTo>
                <a:cubicBezTo>
                  <a:pt x="10117787" y="690014"/>
                  <a:pt x="10120777" y="681040"/>
                  <a:pt x="10123768" y="675058"/>
                </a:cubicBezTo>
                <a:cubicBezTo>
                  <a:pt x="10144700" y="630186"/>
                  <a:pt x="10177594" y="630186"/>
                  <a:pt x="10216470" y="663092"/>
                </a:cubicBezTo>
                <a:cubicBezTo>
                  <a:pt x="10225442" y="675058"/>
                  <a:pt x="10234414" y="687023"/>
                  <a:pt x="10243384" y="701981"/>
                </a:cubicBezTo>
                <a:cubicBezTo>
                  <a:pt x="10279270" y="749844"/>
                  <a:pt x="10309174" y="800698"/>
                  <a:pt x="10330107" y="857536"/>
                </a:cubicBezTo>
                <a:cubicBezTo>
                  <a:pt x="10333846" y="868006"/>
                  <a:pt x="10338144" y="876980"/>
                  <a:pt x="10343144" y="884365"/>
                </a:cubicBezTo>
                <a:lnTo>
                  <a:pt x="10358962" y="900231"/>
                </a:lnTo>
                <a:lnTo>
                  <a:pt x="10368416" y="904253"/>
                </a:lnTo>
                <a:lnTo>
                  <a:pt x="10382674" y="908858"/>
                </a:lnTo>
                <a:cubicBezTo>
                  <a:pt x="10391038" y="909511"/>
                  <a:pt x="10400382" y="908390"/>
                  <a:pt x="10410849" y="905399"/>
                </a:cubicBezTo>
                <a:cubicBezTo>
                  <a:pt x="10416830" y="905399"/>
                  <a:pt x="10422811" y="905399"/>
                  <a:pt x="10428792" y="905399"/>
                </a:cubicBezTo>
                <a:cubicBezTo>
                  <a:pt x="10445239" y="908390"/>
                  <a:pt x="10456454" y="912878"/>
                  <a:pt x="10462061" y="920355"/>
                </a:cubicBezTo>
                <a:lnTo>
                  <a:pt x="10461792" y="943976"/>
                </a:lnTo>
                <a:lnTo>
                  <a:pt x="10463990" y="944911"/>
                </a:lnTo>
                <a:lnTo>
                  <a:pt x="10501548" y="964264"/>
                </a:lnTo>
                <a:lnTo>
                  <a:pt x="10507371" y="939192"/>
                </a:lnTo>
                <a:cubicBezTo>
                  <a:pt x="10508182" y="919702"/>
                  <a:pt x="10513060" y="900211"/>
                  <a:pt x="10518746" y="880720"/>
                </a:cubicBezTo>
                <a:cubicBezTo>
                  <a:pt x="10521996" y="871787"/>
                  <a:pt x="10526871" y="866102"/>
                  <a:pt x="10536623" y="863665"/>
                </a:cubicBezTo>
                <a:cubicBezTo>
                  <a:pt x="10569934" y="853920"/>
                  <a:pt x="10603247" y="851485"/>
                  <a:pt x="10634124" y="872599"/>
                </a:cubicBezTo>
                <a:cubicBezTo>
                  <a:pt x="10645498" y="880720"/>
                  <a:pt x="10652810" y="889654"/>
                  <a:pt x="10651186" y="905084"/>
                </a:cubicBezTo>
                <a:cubicBezTo>
                  <a:pt x="10647936" y="927822"/>
                  <a:pt x="10659310" y="948125"/>
                  <a:pt x="10670686" y="967616"/>
                </a:cubicBezTo>
                <a:cubicBezTo>
                  <a:pt x="10673125" y="973301"/>
                  <a:pt x="10677998" y="974112"/>
                  <a:pt x="10683686" y="974924"/>
                </a:cubicBezTo>
                <a:cubicBezTo>
                  <a:pt x="10703187" y="977361"/>
                  <a:pt x="10722687" y="978986"/>
                  <a:pt x="10742187" y="978173"/>
                </a:cubicBezTo>
                <a:cubicBezTo>
                  <a:pt x="10754376" y="978173"/>
                  <a:pt x="10762500" y="982234"/>
                  <a:pt x="10769814" y="991167"/>
                </a:cubicBezTo>
                <a:cubicBezTo>
                  <a:pt x="10777127" y="999288"/>
                  <a:pt x="10783626" y="1008221"/>
                  <a:pt x="10794189" y="1013094"/>
                </a:cubicBezTo>
                <a:cubicBezTo>
                  <a:pt x="10805563" y="1017966"/>
                  <a:pt x="10815317" y="1019591"/>
                  <a:pt x="10827506" y="1011469"/>
                </a:cubicBezTo>
                <a:cubicBezTo>
                  <a:pt x="10842131" y="1000912"/>
                  <a:pt x="10855130" y="1005784"/>
                  <a:pt x="10860818" y="1023651"/>
                </a:cubicBezTo>
                <a:cubicBezTo>
                  <a:pt x="10871380" y="1054511"/>
                  <a:pt x="10886006" y="1057760"/>
                  <a:pt x="10911193" y="1035021"/>
                </a:cubicBezTo>
                <a:cubicBezTo>
                  <a:pt x="10925006" y="1023651"/>
                  <a:pt x="10933944" y="1008221"/>
                  <a:pt x="10946132" y="995227"/>
                </a:cubicBezTo>
                <a:cubicBezTo>
                  <a:pt x="10955882" y="985482"/>
                  <a:pt x="10965632" y="976549"/>
                  <a:pt x="10984320" y="974112"/>
                </a:cubicBezTo>
                <a:cubicBezTo>
                  <a:pt x="10968882" y="999288"/>
                  <a:pt x="10956694" y="1021215"/>
                  <a:pt x="10942069" y="1043954"/>
                </a:cubicBezTo>
                <a:cubicBezTo>
                  <a:pt x="10927445" y="1067505"/>
                  <a:pt x="10946945" y="1114607"/>
                  <a:pt x="10975382" y="1112171"/>
                </a:cubicBezTo>
                <a:cubicBezTo>
                  <a:pt x="11008696" y="1109735"/>
                  <a:pt x="11019258" y="1127601"/>
                  <a:pt x="11025758" y="1154400"/>
                </a:cubicBezTo>
                <a:cubicBezTo>
                  <a:pt x="11027382" y="1158461"/>
                  <a:pt x="11028196" y="1162522"/>
                  <a:pt x="11029820" y="1166582"/>
                </a:cubicBezTo>
                <a:cubicBezTo>
                  <a:pt x="11034695" y="1184449"/>
                  <a:pt x="11036321" y="1185260"/>
                  <a:pt x="11052572" y="1176327"/>
                </a:cubicBezTo>
                <a:cubicBezTo>
                  <a:pt x="11066384" y="1168207"/>
                  <a:pt x="11076946" y="1156837"/>
                  <a:pt x="11086698" y="1143843"/>
                </a:cubicBezTo>
                <a:cubicBezTo>
                  <a:pt x="11092384" y="1135722"/>
                  <a:pt x="11097259" y="1132473"/>
                  <a:pt x="11107822" y="1136535"/>
                </a:cubicBezTo>
                <a:cubicBezTo>
                  <a:pt x="11116759" y="1139783"/>
                  <a:pt x="11126510" y="1140595"/>
                  <a:pt x="11136260" y="1141407"/>
                </a:cubicBezTo>
                <a:cubicBezTo>
                  <a:pt x="11142760" y="1142219"/>
                  <a:pt x="11148449" y="1138970"/>
                  <a:pt x="11150072" y="1132473"/>
                </a:cubicBezTo>
                <a:cubicBezTo>
                  <a:pt x="11151698" y="1125165"/>
                  <a:pt x="11149260" y="1120292"/>
                  <a:pt x="11142760" y="1117043"/>
                </a:cubicBezTo>
                <a:cubicBezTo>
                  <a:pt x="11137885" y="1114607"/>
                  <a:pt x="11133010" y="1112983"/>
                  <a:pt x="11128134" y="1110547"/>
                </a:cubicBezTo>
                <a:cubicBezTo>
                  <a:pt x="11120009" y="1106486"/>
                  <a:pt x="11116759" y="1100801"/>
                  <a:pt x="11118385" y="1091056"/>
                </a:cubicBezTo>
                <a:cubicBezTo>
                  <a:pt x="11123259" y="1061820"/>
                  <a:pt x="11112696" y="1041518"/>
                  <a:pt x="11086698" y="1028524"/>
                </a:cubicBezTo>
                <a:cubicBezTo>
                  <a:pt x="11082635" y="1026088"/>
                  <a:pt x="11073696" y="1026899"/>
                  <a:pt x="11075321" y="1019591"/>
                </a:cubicBezTo>
                <a:cubicBezTo>
                  <a:pt x="11076134" y="1012281"/>
                  <a:pt x="11083447" y="1010658"/>
                  <a:pt x="11090760" y="1009846"/>
                </a:cubicBezTo>
                <a:cubicBezTo>
                  <a:pt x="11091572" y="1009846"/>
                  <a:pt x="11092384" y="1009846"/>
                  <a:pt x="11093196" y="1009846"/>
                </a:cubicBezTo>
                <a:cubicBezTo>
                  <a:pt x="11112696" y="1006597"/>
                  <a:pt x="11118385" y="997664"/>
                  <a:pt x="11108634" y="982234"/>
                </a:cubicBezTo>
                <a:cubicBezTo>
                  <a:pt x="11099697" y="967616"/>
                  <a:pt x="11102135" y="956246"/>
                  <a:pt x="11110260" y="944064"/>
                </a:cubicBezTo>
                <a:cubicBezTo>
                  <a:pt x="11120821" y="927822"/>
                  <a:pt x="11128949" y="910769"/>
                  <a:pt x="11124072" y="890465"/>
                </a:cubicBezTo>
                <a:cubicBezTo>
                  <a:pt x="11121635" y="881532"/>
                  <a:pt x="11130572" y="877472"/>
                  <a:pt x="11136260" y="875847"/>
                </a:cubicBezTo>
                <a:cubicBezTo>
                  <a:pt x="11157385" y="868539"/>
                  <a:pt x="11167135" y="854733"/>
                  <a:pt x="11169572" y="833618"/>
                </a:cubicBezTo>
                <a:cubicBezTo>
                  <a:pt x="11171198" y="820625"/>
                  <a:pt x="11176074" y="818188"/>
                  <a:pt x="11189073" y="826309"/>
                </a:cubicBezTo>
                <a:cubicBezTo>
                  <a:pt x="11216698" y="843363"/>
                  <a:pt x="11257324" y="831182"/>
                  <a:pt x="11269512" y="802758"/>
                </a:cubicBezTo>
                <a:cubicBezTo>
                  <a:pt x="11271950" y="797073"/>
                  <a:pt x="11275200" y="789764"/>
                  <a:pt x="11269512" y="784891"/>
                </a:cubicBezTo>
                <a:cubicBezTo>
                  <a:pt x="11263825" y="780018"/>
                  <a:pt x="11255700" y="777583"/>
                  <a:pt x="11248387" y="782455"/>
                </a:cubicBezTo>
                <a:cubicBezTo>
                  <a:pt x="11243511" y="784891"/>
                  <a:pt x="11238636" y="788952"/>
                  <a:pt x="11233763" y="792200"/>
                </a:cubicBezTo>
                <a:cubicBezTo>
                  <a:pt x="11228886" y="796261"/>
                  <a:pt x="11224011" y="798697"/>
                  <a:pt x="11219949" y="793825"/>
                </a:cubicBezTo>
                <a:cubicBezTo>
                  <a:pt x="11215074" y="788140"/>
                  <a:pt x="11218324" y="783267"/>
                  <a:pt x="11222388" y="779206"/>
                </a:cubicBezTo>
                <a:cubicBezTo>
                  <a:pt x="11225638" y="775146"/>
                  <a:pt x="11230512" y="771898"/>
                  <a:pt x="11233763" y="768649"/>
                </a:cubicBezTo>
                <a:cubicBezTo>
                  <a:pt x="11241074" y="761340"/>
                  <a:pt x="11245138" y="751595"/>
                  <a:pt x="11237824" y="743474"/>
                </a:cubicBezTo>
                <a:cubicBezTo>
                  <a:pt x="11231324" y="736976"/>
                  <a:pt x="11222388" y="743474"/>
                  <a:pt x="11215886" y="748346"/>
                </a:cubicBezTo>
                <a:cubicBezTo>
                  <a:pt x="11210199" y="752408"/>
                  <a:pt x="11206136" y="759716"/>
                  <a:pt x="11198824" y="762153"/>
                </a:cubicBezTo>
                <a:cubicBezTo>
                  <a:pt x="11188261" y="766213"/>
                  <a:pt x="11181761" y="764588"/>
                  <a:pt x="11182573" y="751595"/>
                </a:cubicBezTo>
                <a:cubicBezTo>
                  <a:pt x="11183385" y="733728"/>
                  <a:pt x="11190699" y="719111"/>
                  <a:pt x="11200449" y="705304"/>
                </a:cubicBezTo>
                <a:cubicBezTo>
                  <a:pt x="11212636" y="687439"/>
                  <a:pt x="11213448" y="677693"/>
                  <a:pt x="11200449" y="660639"/>
                </a:cubicBezTo>
                <a:cubicBezTo>
                  <a:pt x="11196386" y="654142"/>
                  <a:pt x="11189886" y="648457"/>
                  <a:pt x="11184198" y="642772"/>
                </a:cubicBezTo>
                <a:cubicBezTo>
                  <a:pt x="11181761" y="640336"/>
                  <a:pt x="11177698" y="637900"/>
                  <a:pt x="11179324" y="633839"/>
                </a:cubicBezTo>
                <a:cubicBezTo>
                  <a:pt x="11180947" y="628967"/>
                  <a:pt x="11185011" y="628154"/>
                  <a:pt x="11188261" y="628967"/>
                </a:cubicBezTo>
                <a:cubicBezTo>
                  <a:pt x="11202885" y="632215"/>
                  <a:pt x="11206136" y="625719"/>
                  <a:pt x="11205323" y="612724"/>
                </a:cubicBezTo>
                <a:cubicBezTo>
                  <a:pt x="11204511" y="596482"/>
                  <a:pt x="11215074" y="585112"/>
                  <a:pt x="11226449" y="576179"/>
                </a:cubicBezTo>
                <a:cubicBezTo>
                  <a:pt x="11235386" y="568870"/>
                  <a:pt x="11236199" y="563185"/>
                  <a:pt x="11227261" y="556688"/>
                </a:cubicBezTo>
                <a:cubicBezTo>
                  <a:pt x="11222388" y="553440"/>
                  <a:pt x="11219136" y="550192"/>
                  <a:pt x="11220761" y="543695"/>
                </a:cubicBezTo>
                <a:cubicBezTo>
                  <a:pt x="11222388" y="534762"/>
                  <a:pt x="11228886" y="536385"/>
                  <a:pt x="11234574" y="534762"/>
                </a:cubicBezTo>
                <a:cubicBezTo>
                  <a:pt x="11237824" y="533950"/>
                  <a:pt x="11241888" y="533950"/>
                  <a:pt x="11245949" y="533137"/>
                </a:cubicBezTo>
                <a:cubicBezTo>
                  <a:pt x="11267887" y="530700"/>
                  <a:pt x="11272763" y="518520"/>
                  <a:pt x="11259762" y="499841"/>
                </a:cubicBezTo>
                <a:cubicBezTo>
                  <a:pt x="11258137" y="497405"/>
                  <a:pt x="11256512" y="495780"/>
                  <a:pt x="11255700" y="493343"/>
                </a:cubicBezTo>
                <a:cubicBezTo>
                  <a:pt x="11253263" y="488471"/>
                  <a:pt x="11251636" y="481975"/>
                  <a:pt x="11256512" y="478726"/>
                </a:cubicBezTo>
                <a:cubicBezTo>
                  <a:pt x="11260574" y="475478"/>
                  <a:pt x="11266262" y="478726"/>
                  <a:pt x="11269512" y="481975"/>
                </a:cubicBezTo>
                <a:cubicBezTo>
                  <a:pt x="11272763" y="485223"/>
                  <a:pt x="11275200" y="488471"/>
                  <a:pt x="11277637" y="492532"/>
                </a:cubicBezTo>
                <a:cubicBezTo>
                  <a:pt x="11282513" y="498217"/>
                  <a:pt x="11287387" y="499841"/>
                  <a:pt x="11293888" y="494968"/>
                </a:cubicBezTo>
                <a:cubicBezTo>
                  <a:pt x="11309325" y="484411"/>
                  <a:pt x="11326389" y="482786"/>
                  <a:pt x="11343451" y="481975"/>
                </a:cubicBezTo>
                <a:cubicBezTo>
                  <a:pt x="11363763" y="480350"/>
                  <a:pt x="11384889" y="482786"/>
                  <a:pt x="11405201" y="477913"/>
                </a:cubicBezTo>
                <a:cubicBezTo>
                  <a:pt x="11412514" y="476290"/>
                  <a:pt x="11416578" y="481163"/>
                  <a:pt x="11419828" y="485223"/>
                </a:cubicBezTo>
                <a:cubicBezTo>
                  <a:pt x="11431203" y="498217"/>
                  <a:pt x="11441765" y="511210"/>
                  <a:pt x="11462078" y="504713"/>
                </a:cubicBezTo>
                <a:cubicBezTo>
                  <a:pt x="11466142" y="503901"/>
                  <a:pt x="11468578" y="507150"/>
                  <a:pt x="11470203" y="510398"/>
                </a:cubicBezTo>
                <a:cubicBezTo>
                  <a:pt x="11479140" y="526640"/>
                  <a:pt x="11493766" y="539634"/>
                  <a:pt x="11505953" y="553440"/>
                </a:cubicBezTo>
                <a:cubicBezTo>
                  <a:pt x="11524641" y="574555"/>
                  <a:pt x="11535204" y="598107"/>
                  <a:pt x="11527892" y="626530"/>
                </a:cubicBezTo>
                <a:cubicBezTo>
                  <a:pt x="11525454" y="637900"/>
                  <a:pt x="11531954" y="645209"/>
                  <a:pt x="11538454" y="651706"/>
                </a:cubicBezTo>
                <a:cubicBezTo>
                  <a:pt x="11553079" y="667136"/>
                  <a:pt x="11552267" y="675257"/>
                  <a:pt x="11536017" y="687439"/>
                </a:cubicBezTo>
                <a:cubicBezTo>
                  <a:pt x="11518142" y="699620"/>
                  <a:pt x="11518142" y="699620"/>
                  <a:pt x="11532766" y="717486"/>
                </a:cubicBezTo>
                <a:cubicBezTo>
                  <a:pt x="11536017" y="721546"/>
                  <a:pt x="11538454" y="724796"/>
                  <a:pt x="11533579" y="729668"/>
                </a:cubicBezTo>
                <a:cubicBezTo>
                  <a:pt x="11517328" y="748346"/>
                  <a:pt x="11502704" y="767025"/>
                  <a:pt x="11485642" y="784891"/>
                </a:cubicBezTo>
                <a:cubicBezTo>
                  <a:pt x="11473453" y="798697"/>
                  <a:pt x="11458015" y="807630"/>
                  <a:pt x="11440140" y="811691"/>
                </a:cubicBezTo>
                <a:cubicBezTo>
                  <a:pt x="11428765" y="814940"/>
                  <a:pt x="11406827" y="844175"/>
                  <a:pt x="11406015" y="856357"/>
                </a:cubicBezTo>
                <a:cubicBezTo>
                  <a:pt x="11406015" y="860417"/>
                  <a:pt x="11406015" y="863665"/>
                  <a:pt x="11410890" y="865290"/>
                </a:cubicBezTo>
                <a:cubicBezTo>
                  <a:pt x="11436078" y="876660"/>
                  <a:pt x="11448265" y="898587"/>
                  <a:pt x="11458828" y="922137"/>
                </a:cubicBezTo>
                <a:cubicBezTo>
                  <a:pt x="11461266" y="927010"/>
                  <a:pt x="11462890" y="931071"/>
                  <a:pt x="11465328" y="935132"/>
                </a:cubicBezTo>
                <a:cubicBezTo>
                  <a:pt x="11473453" y="948125"/>
                  <a:pt x="11477517" y="959494"/>
                  <a:pt x="11471828" y="975737"/>
                </a:cubicBezTo>
                <a:lnTo>
                  <a:pt x="11481872" y="1017329"/>
                </a:lnTo>
                <a:lnTo>
                  <a:pt x="11491053" y="1017615"/>
                </a:lnTo>
                <a:cubicBezTo>
                  <a:pt x="11495689" y="1025332"/>
                  <a:pt x="11507666" y="1022245"/>
                  <a:pt x="11510371" y="1032664"/>
                </a:cubicBezTo>
                <a:cubicBezTo>
                  <a:pt x="11511144" y="1035751"/>
                  <a:pt x="11516553" y="1037681"/>
                  <a:pt x="11511530" y="1041926"/>
                </a:cubicBezTo>
                <a:cubicBezTo>
                  <a:pt x="11509985" y="1043083"/>
                  <a:pt x="11510371" y="1045398"/>
                  <a:pt x="11511917" y="1045784"/>
                </a:cubicBezTo>
                <a:cubicBezTo>
                  <a:pt x="11518099" y="1048099"/>
                  <a:pt x="11517712" y="1051572"/>
                  <a:pt x="11513848" y="1056202"/>
                </a:cubicBezTo>
                <a:cubicBezTo>
                  <a:pt x="11512689" y="1057746"/>
                  <a:pt x="11514234" y="1059675"/>
                  <a:pt x="11515007" y="1061219"/>
                </a:cubicBezTo>
                <a:cubicBezTo>
                  <a:pt x="11516553" y="1063535"/>
                  <a:pt x="11516939" y="1065850"/>
                  <a:pt x="11514621" y="1067780"/>
                </a:cubicBezTo>
                <a:cubicBezTo>
                  <a:pt x="11512303" y="1069708"/>
                  <a:pt x="11512689" y="1072024"/>
                  <a:pt x="11511917" y="1074339"/>
                </a:cubicBezTo>
                <a:cubicBezTo>
                  <a:pt x="11509985" y="1080127"/>
                  <a:pt x="11507666" y="1087459"/>
                  <a:pt x="11503417" y="1090160"/>
                </a:cubicBezTo>
                <a:cubicBezTo>
                  <a:pt x="11494145" y="1095948"/>
                  <a:pt x="11485257" y="1102123"/>
                  <a:pt x="11475984" y="1107524"/>
                </a:cubicBezTo>
                <a:cubicBezTo>
                  <a:pt x="11475212" y="1107524"/>
                  <a:pt x="11473666" y="1107524"/>
                  <a:pt x="11473280" y="1106753"/>
                </a:cubicBezTo>
                <a:cubicBezTo>
                  <a:pt x="11469416" y="1103279"/>
                  <a:pt x="11465940" y="1100193"/>
                  <a:pt x="11460917" y="1105209"/>
                </a:cubicBezTo>
                <a:cubicBezTo>
                  <a:pt x="11459371" y="1107138"/>
                  <a:pt x="11458212" y="1105209"/>
                  <a:pt x="11457826" y="1103665"/>
                </a:cubicBezTo>
                <a:cubicBezTo>
                  <a:pt x="11457245" y="1100386"/>
                  <a:pt x="11456182" y="1098746"/>
                  <a:pt x="11454686" y="1098408"/>
                </a:cubicBezTo>
                <a:lnTo>
                  <a:pt x="11451372" y="1099882"/>
                </a:lnTo>
                <a:lnTo>
                  <a:pt x="11439328" y="1147092"/>
                </a:lnTo>
                <a:cubicBezTo>
                  <a:pt x="11438514" y="1152777"/>
                  <a:pt x="11436890" y="1155213"/>
                  <a:pt x="11431203" y="1153588"/>
                </a:cubicBezTo>
                <a:cubicBezTo>
                  <a:pt x="11408453" y="1148715"/>
                  <a:pt x="11393826" y="1160897"/>
                  <a:pt x="11381639" y="1177140"/>
                </a:cubicBezTo>
                <a:cubicBezTo>
                  <a:pt x="11375952" y="1184449"/>
                  <a:pt x="11371076" y="1188509"/>
                  <a:pt x="11360513" y="1183637"/>
                </a:cubicBezTo>
                <a:cubicBezTo>
                  <a:pt x="11347513" y="1176327"/>
                  <a:pt x="11335326" y="1182824"/>
                  <a:pt x="11324763" y="1191757"/>
                </a:cubicBezTo>
                <a:cubicBezTo>
                  <a:pt x="11315826" y="1199067"/>
                  <a:pt x="11306887" y="1208000"/>
                  <a:pt x="11297950" y="1215309"/>
                </a:cubicBezTo>
                <a:cubicBezTo>
                  <a:pt x="11289013" y="1221805"/>
                  <a:pt x="11280887" y="1222617"/>
                  <a:pt x="11278450" y="1208812"/>
                </a:cubicBezTo>
                <a:cubicBezTo>
                  <a:pt x="11278450" y="1205564"/>
                  <a:pt x="11277637" y="1202315"/>
                  <a:pt x="11276013" y="1199067"/>
                </a:cubicBezTo>
                <a:cubicBezTo>
                  <a:pt x="11274386" y="1195006"/>
                  <a:pt x="11274386" y="1188509"/>
                  <a:pt x="11268700" y="1187697"/>
                </a:cubicBezTo>
                <a:cubicBezTo>
                  <a:pt x="11263825" y="1187697"/>
                  <a:pt x="11260574" y="1191757"/>
                  <a:pt x="11258137" y="1195006"/>
                </a:cubicBezTo>
                <a:cubicBezTo>
                  <a:pt x="11245949" y="1208812"/>
                  <a:pt x="11241074" y="1208000"/>
                  <a:pt x="11233763" y="1190945"/>
                </a:cubicBezTo>
                <a:cubicBezTo>
                  <a:pt x="11232136" y="1186885"/>
                  <a:pt x="11231324" y="1183637"/>
                  <a:pt x="11228886" y="1180388"/>
                </a:cubicBezTo>
                <a:cubicBezTo>
                  <a:pt x="11225638" y="1175515"/>
                  <a:pt x="11222388" y="1171455"/>
                  <a:pt x="11214263" y="1174703"/>
                </a:cubicBezTo>
                <a:cubicBezTo>
                  <a:pt x="11206949" y="1178764"/>
                  <a:pt x="11206949" y="1182012"/>
                  <a:pt x="11208574" y="1188509"/>
                </a:cubicBezTo>
                <a:cubicBezTo>
                  <a:pt x="11216698" y="1225054"/>
                  <a:pt x="11207761" y="1256726"/>
                  <a:pt x="11185823" y="1286774"/>
                </a:cubicBezTo>
                <a:cubicBezTo>
                  <a:pt x="11172822" y="1304641"/>
                  <a:pt x="11155760" y="1316010"/>
                  <a:pt x="11133822" y="1319258"/>
                </a:cubicBezTo>
                <a:cubicBezTo>
                  <a:pt x="11124072" y="1320883"/>
                  <a:pt x="11122447" y="1324131"/>
                  <a:pt x="11125698" y="1333064"/>
                </a:cubicBezTo>
                <a:cubicBezTo>
                  <a:pt x="11129760" y="1343621"/>
                  <a:pt x="11133010" y="1355803"/>
                  <a:pt x="11140324" y="1364736"/>
                </a:cubicBezTo>
                <a:lnTo>
                  <a:pt x="11139266" y="1369228"/>
                </a:lnTo>
                <a:lnTo>
                  <a:pt x="11297806" y="1320298"/>
                </a:lnTo>
                <a:cubicBezTo>
                  <a:pt x="11346667" y="1306668"/>
                  <a:pt x="11395972" y="1298990"/>
                  <a:pt x="11446716" y="1297193"/>
                </a:cubicBezTo>
                <a:cubicBezTo>
                  <a:pt x="11450759" y="1297888"/>
                  <a:pt x="11454727" y="1297592"/>
                  <a:pt x="11458695" y="1297294"/>
                </a:cubicBezTo>
                <a:cubicBezTo>
                  <a:pt x="11464722" y="1297842"/>
                  <a:pt x="11469756" y="1298463"/>
                  <a:pt x="11471267" y="1305334"/>
                </a:cubicBezTo>
                <a:cubicBezTo>
                  <a:pt x="11472853" y="1313196"/>
                  <a:pt x="11467049" y="1315626"/>
                  <a:pt x="11461171" y="1317063"/>
                </a:cubicBezTo>
                <a:cubicBezTo>
                  <a:pt x="11447431" y="1320086"/>
                  <a:pt x="11433616" y="1322116"/>
                  <a:pt x="11419876" y="1325139"/>
                </a:cubicBezTo>
                <a:cubicBezTo>
                  <a:pt x="11414990" y="1326502"/>
                  <a:pt x="11410177" y="1328857"/>
                  <a:pt x="11405440" y="1332204"/>
                </a:cubicBezTo>
                <a:cubicBezTo>
                  <a:pt x="11422823" y="1337888"/>
                  <a:pt x="11439614" y="1335635"/>
                  <a:pt x="11456257" y="1331398"/>
                </a:cubicBezTo>
                <a:cubicBezTo>
                  <a:pt x="11537559" y="1311352"/>
                  <a:pt x="11620298" y="1297185"/>
                  <a:pt x="11703928" y="1294923"/>
                </a:cubicBezTo>
                <a:cubicBezTo>
                  <a:pt x="11808389" y="1291103"/>
                  <a:pt x="11908828" y="1313524"/>
                  <a:pt x="12009562" y="1339913"/>
                </a:cubicBezTo>
                <a:lnTo>
                  <a:pt x="12145400" y="1382661"/>
                </a:lnTo>
                <a:lnTo>
                  <a:pt x="12141852" y="1377822"/>
                </a:lnTo>
                <a:cubicBezTo>
                  <a:pt x="12137860" y="1376315"/>
                  <a:pt x="12136786" y="1373220"/>
                  <a:pt x="12137943" y="1369063"/>
                </a:cubicBezTo>
                <a:cubicBezTo>
                  <a:pt x="12138426" y="1366296"/>
                  <a:pt x="12137362" y="1364064"/>
                  <a:pt x="12136466" y="1361485"/>
                </a:cubicBezTo>
                <a:cubicBezTo>
                  <a:pt x="12133968" y="1355127"/>
                  <a:pt x="12134240" y="1349254"/>
                  <a:pt x="12139010" y="1343848"/>
                </a:cubicBezTo>
                <a:cubicBezTo>
                  <a:pt x="12141736" y="1340883"/>
                  <a:pt x="12142546" y="1336557"/>
                  <a:pt x="12140082" y="1332787"/>
                </a:cubicBezTo>
                <a:cubicBezTo>
                  <a:pt x="12140754" y="1331399"/>
                  <a:pt x="12141428" y="1330011"/>
                  <a:pt x="12142101" y="1328622"/>
                </a:cubicBezTo>
                <a:cubicBezTo>
                  <a:pt x="12146074" y="1328403"/>
                  <a:pt x="12148474" y="1326995"/>
                  <a:pt x="12150316" y="1322313"/>
                </a:cubicBezTo>
                <a:cubicBezTo>
                  <a:pt x="12153001" y="1315896"/>
                  <a:pt x="12158138" y="1312384"/>
                  <a:pt x="12165766" y="1314368"/>
                </a:cubicBezTo>
                <a:cubicBezTo>
                  <a:pt x="12169062" y="1315538"/>
                  <a:pt x="12169546" y="1312771"/>
                  <a:pt x="12170557" y="1310688"/>
                </a:cubicBezTo>
                <a:cubicBezTo>
                  <a:pt x="12172241" y="1307216"/>
                  <a:pt x="12173968" y="1307197"/>
                  <a:pt x="12175571" y="1310976"/>
                </a:cubicBezTo>
                <a:cubicBezTo>
                  <a:pt x="12178057" y="1316471"/>
                  <a:pt x="12180839" y="1317820"/>
                  <a:pt x="12184744" y="1312425"/>
                </a:cubicBezTo>
                <a:cubicBezTo>
                  <a:pt x="12185765" y="1311205"/>
                  <a:pt x="12187650" y="1309974"/>
                  <a:pt x="12188199" y="1312384"/>
                </a:cubicBezTo>
                <a:lnTo>
                  <a:pt x="12192528" y="1316854"/>
                </a:lnTo>
                <a:lnTo>
                  <a:pt x="12192528" y="1502417"/>
                </a:lnTo>
                <a:lnTo>
                  <a:pt x="12172292" y="1494365"/>
                </a:lnTo>
                <a:cubicBezTo>
                  <a:pt x="12133996" y="1481008"/>
                  <a:pt x="12095051" y="1469281"/>
                  <a:pt x="12055557" y="1459253"/>
                </a:cubicBezTo>
                <a:lnTo>
                  <a:pt x="12041903" y="1456628"/>
                </a:lnTo>
                <a:lnTo>
                  <a:pt x="12041538" y="1462401"/>
                </a:lnTo>
                <a:cubicBezTo>
                  <a:pt x="12041767" y="1466401"/>
                  <a:pt x="12041645" y="1470229"/>
                  <a:pt x="12042045" y="1473880"/>
                </a:cubicBezTo>
                <a:lnTo>
                  <a:pt x="12045528" y="1483851"/>
                </a:lnTo>
                <a:lnTo>
                  <a:pt x="12181815" y="1525576"/>
                </a:lnTo>
                <a:lnTo>
                  <a:pt x="12192528" y="1530531"/>
                </a:lnTo>
                <a:lnTo>
                  <a:pt x="12192528" y="1654878"/>
                </a:lnTo>
                <a:lnTo>
                  <a:pt x="12189630" y="1653690"/>
                </a:lnTo>
                <a:cubicBezTo>
                  <a:pt x="12185270" y="1651613"/>
                  <a:pt x="12182105" y="1649447"/>
                  <a:pt x="12176969" y="1645025"/>
                </a:cubicBezTo>
                <a:cubicBezTo>
                  <a:pt x="12176969" y="1645025"/>
                  <a:pt x="12174400" y="1642814"/>
                  <a:pt x="12174400" y="1642814"/>
                </a:cubicBezTo>
                <a:cubicBezTo>
                  <a:pt x="12174400" y="1642814"/>
                  <a:pt x="12174400" y="1642814"/>
                  <a:pt x="12172010" y="1642993"/>
                </a:cubicBezTo>
                <a:cubicBezTo>
                  <a:pt x="12172010" y="1642993"/>
                  <a:pt x="12172189" y="1645382"/>
                  <a:pt x="12172189" y="1645382"/>
                </a:cubicBezTo>
                <a:cubicBezTo>
                  <a:pt x="12172189" y="1645382"/>
                  <a:pt x="12169798" y="1645561"/>
                  <a:pt x="12167232" y="1643350"/>
                </a:cubicBezTo>
                <a:cubicBezTo>
                  <a:pt x="12167232" y="1643350"/>
                  <a:pt x="12167232" y="1643350"/>
                  <a:pt x="12169620" y="1643171"/>
                </a:cubicBezTo>
                <a:cubicBezTo>
                  <a:pt x="12169620" y="1643171"/>
                  <a:pt x="12169620" y="1643171"/>
                  <a:pt x="12169442" y="1640781"/>
                </a:cubicBezTo>
                <a:cubicBezTo>
                  <a:pt x="12167053" y="1640960"/>
                  <a:pt x="12167053" y="1640960"/>
                  <a:pt x="12164664" y="1641139"/>
                </a:cubicBezTo>
                <a:cubicBezTo>
                  <a:pt x="12162096" y="1638928"/>
                  <a:pt x="12162096" y="1638928"/>
                  <a:pt x="12162096" y="1638928"/>
                </a:cubicBezTo>
                <a:cubicBezTo>
                  <a:pt x="12159527" y="1636718"/>
                  <a:pt x="12147224" y="1632831"/>
                  <a:pt x="12154927" y="1639464"/>
                </a:cubicBezTo>
                <a:cubicBezTo>
                  <a:pt x="12152359" y="1637253"/>
                  <a:pt x="12152359" y="1637253"/>
                  <a:pt x="12149969" y="1637432"/>
                </a:cubicBezTo>
                <a:cubicBezTo>
                  <a:pt x="12149969" y="1637432"/>
                  <a:pt x="12150149" y="1639821"/>
                  <a:pt x="12152538" y="1639642"/>
                </a:cubicBezTo>
                <a:cubicBezTo>
                  <a:pt x="12152538" y="1639642"/>
                  <a:pt x="12152717" y="1642032"/>
                  <a:pt x="12155105" y="1641854"/>
                </a:cubicBezTo>
                <a:cubicBezTo>
                  <a:pt x="12152717" y="1642032"/>
                  <a:pt x="12150327" y="1642211"/>
                  <a:pt x="12150327" y="1642211"/>
                </a:cubicBezTo>
                <a:cubicBezTo>
                  <a:pt x="12147759" y="1640001"/>
                  <a:pt x="12142802" y="1637968"/>
                  <a:pt x="12135455" y="1636114"/>
                </a:cubicBezTo>
                <a:cubicBezTo>
                  <a:pt x="12125540" y="1632051"/>
                  <a:pt x="12115625" y="1627985"/>
                  <a:pt x="12108279" y="1626133"/>
                </a:cubicBezTo>
                <a:cubicBezTo>
                  <a:pt x="12105888" y="1626311"/>
                  <a:pt x="12105711" y="1623922"/>
                  <a:pt x="12105711" y="1623922"/>
                </a:cubicBezTo>
                <a:cubicBezTo>
                  <a:pt x="12105711" y="1623922"/>
                  <a:pt x="12103321" y="1624101"/>
                  <a:pt x="12103321" y="1624101"/>
                </a:cubicBezTo>
                <a:cubicBezTo>
                  <a:pt x="12098542" y="1624458"/>
                  <a:pt x="12093586" y="1622426"/>
                  <a:pt x="12091016" y="1620214"/>
                </a:cubicBezTo>
                <a:cubicBezTo>
                  <a:pt x="12088628" y="1620393"/>
                  <a:pt x="12083670" y="1618361"/>
                  <a:pt x="12081281" y="1618540"/>
                </a:cubicBezTo>
                <a:cubicBezTo>
                  <a:pt x="12076323" y="1616508"/>
                  <a:pt x="12068797" y="1612265"/>
                  <a:pt x="12063841" y="1610233"/>
                </a:cubicBezTo>
                <a:cubicBezTo>
                  <a:pt x="12063662" y="1607843"/>
                  <a:pt x="12063662" y="1607843"/>
                  <a:pt x="12063662" y="1607843"/>
                </a:cubicBezTo>
                <a:cubicBezTo>
                  <a:pt x="12061272" y="1608022"/>
                  <a:pt x="12061272" y="1608022"/>
                  <a:pt x="12058883" y="1608200"/>
                </a:cubicBezTo>
                <a:cubicBezTo>
                  <a:pt x="12056314" y="1605990"/>
                  <a:pt x="12056494" y="1608380"/>
                  <a:pt x="12056494" y="1608380"/>
                </a:cubicBezTo>
                <a:cubicBezTo>
                  <a:pt x="12059062" y="1610589"/>
                  <a:pt x="12059062" y="1610589"/>
                  <a:pt x="12059062" y="1610589"/>
                </a:cubicBezTo>
                <a:cubicBezTo>
                  <a:pt x="12054103" y="1608558"/>
                  <a:pt x="12046399" y="1601925"/>
                  <a:pt x="12041800" y="1604673"/>
                </a:cubicBezTo>
                <a:cubicBezTo>
                  <a:pt x="12041620" y="1602283"/>
                  <a:pt x="12041620" y="1602283"/>
                  <a:pt x="12039231" y="1602462"/>
                </a:cubicBezTo>
                <a:cubicBezTo>
                  <a:pt x="12036664" y="1600250"/>
                  <a:pt x="12036842" y="1602640"/>
                  <a:pt x="12036842" y="1602640"/>
                </a:cubicBezTo>
                <a:cubicBezTo>
                  <a:pt x="12029317" y="1598396"/>
                  <a:pt x="12022505" y="1603712"/>
                  <a:pt x="12019759" y="1599111"/>
                </a:cubicBezTo>
                <a:cubicBezTo>
                  <a:pt x="12022149" y="1598933"/>
                  <a:pt x="12022149" y="1598933"/>
                  <a:pt x="12022149" y="1598933"/>
                </a:cubicBezTo>
                <a:cubicBezTo>
                  <a:pt x="12027106" y="1600965"/>
                  <a:pt x="12029495" y="1600787"/>
                  <a:pt x="12029317" y="1598396"/>
                </a:cubicBezTo>
                <a:cubicBezTo>
                  <a:pt x="12029317" y="1598396"/>
                  <a:pt x="12026748" y="1596186"/>
                  <a:pt x="12024359" y="1596365"/>
                </a:cubicBezTo>
                <a:cubicBezTo>
                  <a:pt x="12021792" y="1594155"/>
                  <a:pt x="12021792" y="1594155"/>
                  <a:pt x="12021792" y="1594155"/>
                </a:cubicBezTo>
                <a:cubicBezTo>
                  <a:pt x="12021434" y="1589376"/>
                  <a:pt x="12028780" y="1591229"/>
                  <a:pt x="12031528" y="1595829"/>
                </a:cubicBezTo>
                <a:cubicBezTo>
                  <a:pt x="12028780" y="1591229"/>
                  <a:pt x="12040908" y="1592726"/>
                  <a:pt x="12033559" y="1590872"/>
                </a:cubicBezTo>
                <a:cubicBezTo>
                  <a:pt x="12029139" y="1596009"/>
                  <a:pt x="12025677" y="1581850"/>
                  <a:pt x="12016298" y="1584954"/>
                </a:cubicBezTo>
                <a:cubicBezTo>
                  <a:pt x="12013730" y="1582743"/>
                  <a:pt x="12013730" y="1582743"/>
                  <a:pt x="12013730" y="1582743"/>
                </a:cubicBezTo>
                <a:cubicBezTo>
                  <a:pt x="12013730" y="1582743"/>
                  <a:pt x="12011341" y="1582922"/>
                  <a:pt x="12011341" y="1582922"/>
                </a:cubicBezTo>
                <a:cubicBezTo>
                  <a:pt x="12008772" y="1580712"/>
                  <a:pt x="12008951" y="1583101"/>
                  <a:pt x="12008951" y="1583101"/>
                </a:cubicBezTo>
                <a:cubicBezTo>
                  <a:pt x="12011341" y="1582922"/>
                  <a:pt x="12011519" y="1585311"/>
                  <a:pt x="12011519" y="1585311"/>
                </a:cubicBezTo>
                <a:cubicBezTo>
                  <a:pt x="12009130" y="1585491"/>
                  <a:pt x="12004172" y="1583457"/>
                  <a:pt x="12004351" y="1585847"/>
                </a:cubicBezTo>
                <a:cubicBezTo>
                  <a:pt x="12006919" y="1588059"/>
                  <a:pt x="12001961" y="1586026"/>
                  <a:pt x="12002139" y="1588415"/>
                </a:cubicBezTo>
                <a:cubicBezTo>
                  <a:pt x="12007099" y="1590447"/>
                  <a:pt x="12009487" y="1590269"/>
                  <a:pt x="12014444" y="1592300"/>
                </a:cubicBezTo>
                <a:cubicBezTo>
                  <a:pt x="12012055" y="1592480"/>
                  <a:pt x="12012055" y="1592480"/>
                  <a:pt x="12012055" y="1592480"/>
                </a:cubicBezTo>
                <a:cubicBezTo>
                  <a:pt x="12009665" y="1592658"/>
                  <a:pt x="12007275" y="1592837"/>
                  <a:pt x="12007456" y="1595226"/>
                </a:cubicBezTo>
                <a:lnTo>
                  <a:pt x="12011728" y="1596978"/>
                </a:lnTo>
                <a:lnTo>
                  <a:pt x="12007291" y="1597041"/>
                </a:lnTo>
                <a:cubicBezTo>
                  <a:pt x="12003916" y="1596092"/>
                  <a:pt x="12000197" y="1594568"/>
                  <a:pt x="11995331" y="1593730"/>
                </a:cubicBezTo>
                <a:cubicBezTo>
                  <a:pt x="12010380" y="1602216"/>
                  <a:pt x="11993119" y="1596298"/>
                  <a:pt x="11988697" y="1601434"/>
                </a:cubicBezTo>
                <a:cubicBezTo>
                  <a:pt x="11986129" y="1599224"/>
                  <a:pt x="11990908" y="1598866"/>
                  <a:pt x="11990908" y="1598866"/>
                </a:cubicBezTo>
                <a:cubicBezTo>
                  <a:pt x="11990730" y="1596477"/>
                  <a:pt x="11990730" y="1596477"/>
                  <a:pt x="11990730" y="1596477"/>
                </a:cubicBezTo>
                <a:cubicBezTo>
                  <a:pt x="11993119" y="1596298"/>
                  <a:pt x="11993119" y="1596298"/>
                  <a:pt x="11990551" y="1594088"/>
                </a:cubicBezTo>
                <a:cubicBezTo>
                  <a:pt x="11990551" y="1594088"/>
                  <a:pt x="11988160" y="1594266"/>
                  <a:pt x="11985771" y="1594444"/>
                </a:cubicBezTo>
                <a:cubicBezTo>
                  <a:pt x="11983384" y="1594622"/>
                  <a:pt x="11983384" y="1594622"/>
                  <a:pt x="11983384" y="1594622"/>
                </a:cubicBezTo>
                <a:cubicBezTo>
                  <a:pt x="11980814" y="1592413"/>
                  <a:pt x="11983024" y="1589845"/>
                  <a:pt x="11978246" y="1590202"/>
                </a:cubicBezTo>
                <a:cubicBezTo>
                  <a:pt x="11980635" y="1590023"/>
                  <a:pt x="11980635" y="1590023"/>
                  <a:pt x="11983024" y="1589845"/>
                </a:cubicBezTo>
                <a:cubicBezTo>
                  <a:pt x="11985414" y="1589666"/>
                  <a:pt x="11985235" y="1587276"/>
                  <a:pt x="11982847" y="1587455"/>
                </a:cubicBezTo>
                <a:cubicBezTo>
                  <a:pt x="11982668" y="1585065"/>
                  <a:pt x="11980279" y="1585244"/>
                  <a:pt x="11977889" y="1585423"/>
                </a:cubicBezTo>
                <a:cubicBezTo>
                  <a:pt x="11975499" y="1585601"/>
                  <a:pt x="11975499" y="1585601"/>
                  <a:pt x="11973110" y="1585780"/>
                </a:cubicBezTo>
                <a:cubicBezTo>
                  <a:pt x="11968332" y="1586138"/>
                  <a:pt x="11963730" y="1588884"/>
                  <a:pt x="11968688" y="1590916"/>
                </a:cubicBezTo>
                <a:cubicBezTo>
                  <a:pt x="11966300" y="1591096"/>
                  <a:pt x="11966300" y="1591096"/>
                  <a:pt x="11966478" y="1593484"/>
                </a:cubicBezTo>
                <a:cubicBezTo>
                  <a:pt x="11966478" y="1593484"/>
                  <a:pt x="11966478" y="1593484"/>
                  <a:pt x="11969047" y="1595695"/>
                </a:cubicBezTo>
                <a:cubicBezTo>
                  <a:pt x="11966656" y="1595873"/>
                  <a:pt x="11961699" y="1593842"/>
                  <a:pt x="11956920" y="1594199"/>
                </a:cubicBezTo>
                <a:cubicBezTo>
                  <a:pt x="11961699" y="1593842"/>
                  <a:pt x="11966656" y="1595873"/>
                  <a:pt x="11964088" y="1593664"/>
                </a:cubicBezTo>
                <a:cubicBezTo>
                  <a:pt x="11961342" y="1589063"/>
                  <a:pt x="11956920" y="1594199"/>
                  <a:pt x="11954174" y="1589599"/>
                </a:cubicBezTo>
                <a:cubicBezTo>
                  <a:pt x="11953994" y="1587209"/>
                  <a:pt x="11953994" y="1587209"/>
                  <a:pt x="11953994" y="1587209"/>
                </a:cubicBezTo>
                <a:cubicBezTo>
                  <a:pt x="11953994" y="1587209"/>
                  <a:pt x="11953994" y="1587209"/>
                  <a:pt x="11951606" y="1587387"/>
                </a:cubicBezTo>
                <a:cubicBezTo>
                  <a:pt x="11951606" y="1587387"/>
                  <a:pt x="11951606" y="1587387"/>
                  <a:pt x="11949216" y="1587567"/>
                </a:cubicBezTo>
                <a:cubicBezTo>
                  <a:pt x="11949395" y="1589957"/>
                  <a:pt x="11949395" y="1589957"/>
                  <a:pt x="11949395" y="1589957"/>
                </a:cubicBezTo>
                <a:cubicBezTo>
                  <a:pt x="11946826" y="1587745"/>
                  <a:pt x="11946826" y="1587745"/>
                  <a:pt x="11944259" y="1585534"/>
                </a:cubicBezTo>
                <a:lnTo>
                  <a:pt x="11934701" y="1586249"/>
                </a:lnTo>
                <a:lnTo>
                  <a:pt x="11926526" y="1585359"/>
                </a:lnTo>
                <a:cubicBezTo>
                  <a:pt x="11925009" y="1585171"/>
                  <a:pt x="11923770" y="1584664"/>
                  <a:pt x="11920008" y="1582542"/>
                </a:cubicBezTo>
                <a:cubicBezTo>
                  <a:pt x="11922397" y="1582364"/>
                  <a:pt x="11922218" y="1579974"/>
                  <a:pt x="11922218" y="1579974"/>
                </a:cubicBezTo>
                <a:cubicBezTo>
                  <a:pt x="11922218" y="1579974"/>
                  <a:pt x="11919829" y="1580152"/>
                  <a:pt x="11919829" y="1580152"/>
                </a:cubicBezTo>
                <a:cubicBezTo>
                  <a:pt x="11919651" y="1577764"/>
                  <a:pt x="11919651" y="1577764"/>
                  <a:pt x="11919651" y="1577764"/>
                </a:cubicBezTo>
                <a:cubicBezTo>
                  <a:pt x="11934344" y="1581471"/>
                  <a:pt x="11922040" y="1577585"/>
                  <a:pt x="11921861" y="1575196"/>
                </a:cubicBezTo>
                <a:cubicBezTo>
                  <a:pt x="11929208" y="1577049"/>
                  <a:pt x="11936555" y="1578902"/>
                  <a:pt x="11943723" y="1578366"/>
                </a:cubicBezTo>
                <a:cubicBezTo>
                  <a:pt x="11943901" y="1580756"/>
                  <a:pt x="11943901" y="1580756"/>
                  <a:pt x="11943901" y="1580756"/>
                </a:cubicBezTo>
                <a:cubicBezTo>
                  <a:pt x="11948858" y="1582788"/>
                  <a:pt x="11951248" y="1582609"/>
                  <a:pt x="11953637" y="1582431"/>
                </a:cubicBezTo>
                <a:cubicBezTo>
                  <a:pt x="11948680" y="1580398"/>
                  <a:pt x="11946291" y="1580578"/>
                  <a:pt x="11946112" y="1578188"/>
                </a:cubicBezTo>
                <a:cubicBezTo>
                  <a:pt x="11953458" y="1580041"/>
                  <a:pt x="11953279" y="1577651"/>
                  <a:pt x="11958237" y="1579684"/>
                </a:cubicBezTo>
                <a:cubicBezTo>
                  <a:pt x="11958237" y="1579684"/>
                  <a:pt x="11960629" y="1579505"/>
                  <a:pt x="11960807" y="1581895"/>
                </a:cubicBezTo>
                <a:cubicBezTo>
                  <a:pt x="11963195" y="1581716"/>
                  <a:pt x="11963195" y="1581716"/>
                  <a:pt x="11963195" y="1581716"/>
                </a:cubicBezTo>
                <a:cubicBezTo>
                  <a:pt x="11965586" y="1581537"/>
                  <a:pt x="11967974" y="1581359"/>
                  <a:pt x="11965405" y="1579148"/>
                </a:cubicBezTo>
                <a:cubicBezTo>
                  <a:pt x="11962837" y="1576937"/>
                  <a:pt x="11962837" y="1576937"/>
                  <a:pt x="11962837" y="1576937"/>
                </a:cubicBezTo>
                <a:cubicBezTo>
                  <a:pt x="11962659" y="1574548"/>
                  <a:pt x="11960269" y="1574727"/>
                  <a:pt x="11957881" y="1574905"/>
                </a:cubicBezTo>
                <a:cubicBezTo>
                  <a:pt x="11955491" y="1575084"/>
                  <a:pt x="11955491" y="1575084"/>
                  <a:pt x="11955491" y="1575084"/>
                </a:cubicBezTo>
                <a:cubicBezTo>
                  <a:pt x="11955670" y="1577473"/>
                  <a:pt x="11955670" y="1577473"/>
                  <a:pt x="11955670" y="1577473"/>
                </a:cubicBezTo>
                <a:cubicBezTo>
                  <a:pt x="11948502" y="1578008"/>
                  <a:pt x="11931240" y="1572091"/>
                  <a:pt x="11921682" y="1572806"/>
                </a:cubicBezTo>
                <a:cubicBezTo>
                  <a:pt x="11919114" y="1570595"/>
                  <a:pt x="11919114" y="1570595"/>
                  <a:pt x="11919114" y="1570595"/>
                </a:cubicBezTo>
                <a:cubicBezTo>
                  <a:pt x="11919114" y="1570595"/>
                  <a:pt x="11919114" y="1570595"/>
                  <a:pt x="11916724" y="1570775"/>
                </a:cubicBezTo>
                <a:cubicBezTo>
                  <a:pt x="11916724" y="1570775"/>
                  <a:pt x="11914336" y="1570953"/>
                  <a:pt x="11914336" y="1570953"/>
                </a:cubicBezTo>
                <a:cubicBezTo>
                  <a:pt x="11909557" y="1571310"/>
                  <a:pt x="11902210" y="1569456"/>
                  <a:pt x="11899642" y="1567246"/>
                </a:cubicBezTo>
                <a:cubicBezTo>
                  <a:pt x="11899820" y="1569635"/>
                  <a:pt x="11899820" y="1569635"/>
                  <a:pt x="11899820" y="1569635"/>
                </a:cubicBezTo>
                <a:cubicBezTo>
                  <a:pt x="11897253" y="1567424"/>
                  <a:pt x="11897253" y="1567424"/>
                  <a:pt x="11897253" y="1567424"/>
                </a:cubicBezTo>
                <a:cubicBezTo>
                  <a:pt x="11897253" y="1567424"/>
                  <a:pt x="11894685" y="1565213"/>
                  <a:pt x="11892295" y="1565391"/>
                </a:cubicBezTo>
                <a:cubicBezTo>
                  <a:pt x="11892295" y="1565391"/>
                  <a:pt x="11889906" y="1565571"/>
                  <a:pt x="11890083" y="1567961"/>
                </a:cubicBezTo>
                <a:cubicBezTo>
                  <a:pt x="11866012" y="1567357"/>
                  <a:pt x="11853529" y="1561082"/>
                  <a:pt x="11836982" y="1564722"/>
                </a:cubicBezTo>
                <a:cubicBezTo>
                  <a:pt x="11836803" y="1562333"/>
                  <a:pt x="11834416" y="1562511"/>
                  <a:pt x="11832026" y="1562690"/>
                </a:cubicBezTo>
                <a:cubicBezTo>
                  <a:pt x="11832026" y="1562690"/>
                  <a:pt x="11829635" y="1562868"/>
                  <a:pt x="11829635" y="1562868"/>
                </a:cubicBezTo>
                <a:cubicBezTo>
                  <a:pt x="11829813" y="1565258"/>
                  <a:pt x="11829813" y="1565258"/>
                  <a:pt x="11829813" y="1565258"/>
                </a:cubicBezTo>
                <a:cubicBezTo>
                  <a:pt x="11827068" y="1560658"/>
                  <a:pt x="11819899" y="1561194"/>
                  <a:pt x="11815120" y="1561551"/>
                </a:cubicBezTo>
                <a:cubicBezTo>
                  <a:pt x="11815120" y="1561551"/>
                  <a:pt x="11812730" y="1561730"/>
                  <a:pt x="11812730" y="1561730"/>
                </a:cubicBezTo>
                <a:cubicBezTo>
                  <a:pt x="11810163" y="1559519"/>
                  <a:pt x="11810163" y="1559519"/>
                  <a:pt x="11807953" y="1562088"/>
                </a:cubicBezTo>
                <a:cubicBezTo>
                  <a:pt x="11805563" y="1562266"/>
                  <a:pt x="11805563" y="1562266"/>
                  <a:pt x="11805563" y="1562266"/>
                </a:cubicBezTo>
                <a:cubicBezTo>
                  <a:pt x="11805563" y="1562266"/>
                  <a:pt x="11805385" y="1559876"/>
                  <a:pt x="11802995" y="1560055"/>
                </a:cubicBezTo>
                <a:cubicBezTo>
                  <a:pt x="11802995" y="1560055"/>
                  <a:pt x="11802995" y="1560055"/>
                  <a:pt x="11800605" y="1560235"/>
                </a:cubicBezTo>
                <a:cubicBezTo>
                  <a:pt x="11796005" y="1562981"/>
                  <a:pt x="11785913" y="1556526"/>
                  <a:pt x="11786270" y="1561305"/>
                </a:cubicBezTo>
                <a:cubicBezTo>
                  <a:pt x="11786270" y="1561305"/>
                  <a:pt x="11786270" y="1561305"/>
                  <a:pt x="11783880" y="1561484"/>
                </a:cubicBezTo>
                <a:cubicBezTo>
                  <a:pt x="11781491" y="1561662"/>
                  <a:pt x="11779101" y="1561842"/>
                  <a:pt x="11779101" y="1561842"/>
                </a:cubicBezTo>
                <a:cubicBezTo>
                  <a:pt x="11779101" y="1561842"/>
                  <a:pt x="11776711" y="1562020"/>
                  <a:pt x="11776711" y="1562020"/>
                </a:cubicBezTo>
                <a:cubicBezTo>
                  <a:pt x="11773965" y="1557420"/>
                  <a:pt x="11764764" y="1562913"/>
                  <a:pt x="11759986" y="1563271"/>
                </a:cubicBezTo>
                <a:cubicBezTo>
                  <a:pt x="11752817" y="1563806"/>
                  <a:pt x="11757240" y="1558670"/>
                  <a:pt x="11750071" y="1559207"/>
                </a:cubicBezTo>
                <a:cubicBezTo>
                  <a:pt x="11750071" y="1559207"/>
                  <a:pt x="11747681" y="1559384"/>
                  <a:pt x="11747503" y="1556995"/>
                </a:cubicBezTo>
                <a:cubicBezTo>
                  <a:pt x="11747503" y="1556995"/>
                  <a:pt x="11745114" y="1557175"/>
                  <a:pt x="11745114" y="1557175"/>
                </a:cubicBezTo>
                <a:cubicBezTo>
                  <a:pt x="11742726" y="1557353"/>
                  <a:pt x="11742726" y="1557353"/>
                  <a:pt x="11745293" y="1559563"/>
                </a:cubicBezTo>
                <a:cubicBezTo>
                  <a:pt x="11745293" y="1559563"/>
                  <a:pt x="11745293" y="1559563"/>
                  <a:pt x="11747681" y="1559384"/>
                </a:cubicBezTo>
                <a:cubicBezTo>
                  <a:pt x="11743082" y="1562131"/>
                  <a:pt x="11738124" y="1560099"/>
                  <a:pt x="11738304" y="1562489"/>
                </a:cubicBezTo>
                <a:cubicBezTo>
                  <a:pt x="11730957" y="1560636"/>
                  <a:pt x="11738124" y="1560099"/>
                  <a:pt x="11737946" y="1557710"/>
                </a:cubicBezTo>
                <a:lnTo>
                  <a:pt x="11740023" y="1555298"/>
                </a:lnTo>
                <a:lnTo>
                  <a:pt x="11753411" y="1555164"/>
                </a:lnTo>
                <a:cubicBezTo>
                  <a:pt x="11766989" y="1554487"/>
                  <a:pt x="11775400" y="1552507"/>
                  <a:pt x="11787943" y="1551570"/>
                </a:cubicBezTo>
                <a:cubicBezTo>
                  <a:pt x="11787943" y="1551570"/>
                  <a:pt x="11788121" y="1553958"/>
                  <a:pt x="11790511" y="1553780"/>
                </a:cubicBezTo>
                <a:cubicBezTo>
                  <a:pt x="11790511" y="1553780"/>
                  <a:pt x="11792903" y="1553602"/>
                  <a:pt x="11792903" y="1553602"/>
                </a:cubicBezTo>
                <a:cubicBezTo>
                  <a:pt x="11800070" y="1553065"/>
                  <a:pt x="11802458" y="1552887"/>
                  <a:pt x="11804670" y="1550319"/>
                </a:cubicBezTo>
                <a:cubicBezTo>
                  <a:pt x="11795112" y="1551033"/>
                  <a:pt x="11795112" y="1551033"/>
                  <a:pt x="11795112" y="1551033"/>
                </a:cubicBezTo>
                <a:cubicBezTo>
                  <a:pt x="11795112" y="1551033"/>
                  <a:pt x="11797500" y="1550855"/>
                  <a:pt x="11797322" y="1548465"/>
                </a:cubicBezTo>
                <a:cubicBezTo>
                  <a:pt x="11797322" y="1548465"/>
                  <a:pt x="11794933" y="1548644"/>
                  <a:pt x="11794933" y="1548644"/>
                </a:cubicBezTo>
                <a:cubicBezTo>
                  <a:pt x="11792544" y="1548822"/>
                  <a:pt x="11792544" y="1548822"/>
                  <a:pt x="11792544" y="1548822"/>
                </a:cubicBezTo>
                <a:cubicBezTo>
                  <a:pt x="11790155" y="1549000"/>
                  <a:pt x="11790155" y="1549000"/>
                  <a:pt x="11790155" y="1549000"/>
                </a:cubicBezTo>
                <a:cubicBezTo>
                  <a:pt x="11785019" y="1544581"/>
                  <a:pt x="11782272" y="1539979"/>
                  <a:pt x="11765367" y="1538841"/>
                </a:cubicBezTo>
                <a:cubicBezTo>
                  <a:pt x="11752706" y="1530176"/>
                  <a:pt x="11728276" y="1524794"/>
                  <a:pt x="11711194" y="1521266"/>
                </a:cubicBezTo>
                <a:cubicBezTo>
                  <a:pt x="11708805" y="1521445"/>
                  <a:pt x="11708625" y="1519056"/>
                  <a:pt x="11708625" y="1519056"/>
                </a:cubicBezTo>
                <a:cubicBezTo>
                  <a:pt x="11708625" y="1519056"/>
                  <a:pt x="11708447" y="1516666"/>
                  <a:pt x="11706058" y="1516845"/>
                </a:cubicBezTo>
                <a:cubicBezTo>
                  <a:pt x="11706058" y="1516845"/>
                  <a:pt x="11708447" y="1516666"/>
                  <a:pt x="11708268" y="1514276"/>
                </a:cubicBezTo>
                <a:cubicBezTo>
                  <a:pt x="11703489" y="1514633"/>
                  <a:pt x="11701100" y="1514813"/>
                  <a:pt x="11701100" y="1514813"/>
                </a:cubicBezTo>
                <a:cubicBezTo>
                  <a:pt x="11686406" y="1511104"/>
                  <a:pt x="11667113" y="1510146"/>
                  <a:pt x="11654987" y="1508649"/>
                </a:cubicBezTo>
                <a:cubicBezTo>
                  <a:pt x="11652419" y="1506439"/>
                  <a:pt x="11657198" y="1506081"/>
                  <a:pt x="11659587" y="1505903"/>
                </a:cubicBezTo>
                <a:cubicBezTo>
                  <a:pt x="11652240" y="1504049"/>
                  <a:pt x="11623211" y="1501414"/>
                  <a:pt x="11629842" y="1493709"/>
                </a:cubicBezTo>
                <a:cubicBezTo>
                  <a:pt x="11634621" y="1493352"/>
                  <a:pt x="11634621" y="1493352"/>
                  <a:pt x="11634621" y="1493352"/>
                </a:cubicBezTo>
                <a:cubicBezTo>
                  <a:pt x="11637011" y="1493173"/>
                  <a:pt x="11637011" y="1493173"/>
                  <a:pt x="11637011" y="1493173"/>
                </a:cubicBezTo>
                <a:cubicBezTo>
                  <a:pt x="11637011" y="1493173"/>
                  <a:pt x="11636832" y="1490784"/>
                  <a:pt x="11634444" y="1490964"/>
                </a:cubicBezTo>
                <a:cubicBezTo>
                  <a:pt x="11629664" y="1491320"/>
                  <a:pt x="11629664" y="1491320"/>
                  <a:pt x="11629664" y="1491320"/>
                </a:cubicBezTo>
                <a:cubicBezTo>
                  <a:pt x="11639043" y="1488216"/>
                  <a:pt x="11653559" y="1489534"/>
                  <a:pt x="11667895" y="1488462"/>
                </a:cubicBezTo>
                <a:cubicBezTo>
                  <a:pt x="11678948" y="1475621"/>
                  <a:pt x="11637614" y="1469101"/>
                  <a:pt x="11603984" y="1469213"/>
                </a:cubicBezTo>
                <a:cubicBezTo>
                  <a:pt x="11601416" y="1467001"/>
                  <a:pt x="11603626" y="1464433"/>
                  <a:pt x="11596100" y="1460191"/>
                </a:cubicBezTo>
                <a:cubicBezTo>
                  <a:pt x="11603448" y="1462044"/>
                  <a:pt x="11603269" y="1459656"/>
                  <a:pt x="11603090" y="1457266"/>
                </a:cubicBezTo>
                <a:cubicBezTo>
                  <a:pt x="11622206" y="1455837"/>
                  <a:pt x="11641498" y="1456797"/>
                  <a:pt x="11660615" y="1455368"/>
                </a:cubicBezTo>
                <a:cubicBezTo>
                  <a:pt x="11672562" y="1454475"/>
                  <a:pt x="11660257" y="1450588"/>
                  <a:pt x="11669457" y="1445095"/>
                </a:cubicBezTo>
                <a:cubicBezTo>
                  <a:pt x="11681583" y="1446591"/>
                  <a:pt x="11686183" y="1443844"/>
                  <a:pt x="11700698" y="1445162"/>
                </a:cubicBezTo>
                <a:cubicBezTo>
                  <a:pt x="11700520" y="1442773"/>
                  <a:pt x="11695561" y="1440740"/>
                  <a:pt x="11686004" y="1441455"/>
                </a:cubicBezTo>
                <a:cubicBezTo>
                  <a:pt x="11690784" y="1441098"/>
                  <a:pt x="11695383" y="1438352"/>
                  <a:pt x="11705119" y="1440026"/>
                </a:cubicBezTo>
                <a:cubicBezTo>
                  <a:pt x="11700163" y="1437994"/>
                  <a:pt x="11702373" y="1435426"/>
                  <a:pt x="11695026" y="1433573"/>
                </a:cubicBezTo>
                <a:cubicBezTo>
                  <a:pt x="11736003" y="1435315"/>
                  <a:pt x="11776979" y="1437056"/>
                  <a:pt x="11818135" y="1441187"/>
                </a:cubicBezTo>
                <a:cubicBezTo>
                  <a:pt x="11822915" y="1440830"/>
                  <a:pt x="11827693" y="1440474"/>
                  <a:pt x="11830260" y="1442684"/>
                </a:cubicBezTo>
                <a:lnTo>
                  <a:pt x="12005870" y="1472296"/>
                </a:lnTo>
                <a:lnTo>
                  <a:pt x="12004793" y="1467472"/>
                </a:lnTo>
                <a:cubicBezTo>
                  <a:pt x="12002673" y="1465580"/>
                  <a:pt x="12001775" y="1463849"/>
                  <a:pt x="12001048" y="1461769"/>
                </a:cubicBezTo>
                <a:lnTo>
                  <a:pt x="12002499" y="1449052"/>
                </a:lnTo>
                <a:lnTo>
                  <a:pt x="11894890" y="1428363"/>
                </a:lnTo>
                <a:cubicBezTo>
                  <a:pt x="11840518" y="1421193"/>
                  <a:pt x="11785408" y="1417204"/>
                  <a:pt x="11729796" y="1416557"/>
                </a:cubicBezTo>
                <a:cubicBezTo>
                  <a:pt x="11698554" y="1416490"/>
                  <a:pt x="11669703" y="1416244"/>
                  <a:pt x="11638642" y="1418566"/>
                </a:cubicBezTo>
                <a:cubicBezTo>
                  <a:pt x="11638642" y="1418566"/>
                  <a:pt x="11638462" y="1416176"/>
                  <a:pt x="11636073" y="1416356"/>
                </a:cubicBezTo>
                <a:cubicBezTo>
                  <a:pt x="11628904" y="1416891"/>
                  <a:pt x="11628904" y="1416891"/>
                  <a:pt x="11628904" y="1416891"/>
                </a:cubicBezTo>
                <a:cubicBezTo>
                  <a:pt x="11628904" y="1416891"/>
                  <a:pt x="11626516" y="1417070"/>
                  <a:pt x="11626695" y="1419459"/>
                </a:cubicBezTo>
                <a:lnTo>
                  <a:pt x="11559791" y="1424462"/>
                </a:lnTo>
                <a:cubicBezTo>
                  <a:pt x="11507403" y="1430781"/>
                  <a:pt x="11457584" y="1439311"/>
                  <a:pt x="11405552" y="1450408"/>
                </a:cubicBezTo>
                <a:cubicBezTo>
                  <a:pt x="11363587" y="1459553"/>
                  <a:pt x="11322354" y="1470445"/>
                  <a:pt x="11281960" y="1483039"/>
                </a:cubicBezTo>
                <a:lnTo>
                  <a:pt x="11235063" y="1499986"/>
                </a:lnTo>
                <a:lnTo>
                  <a:pt x="11239348" y="1504926"/>
                </a:lnTo>
                <a:lnTo>
                  <a:pt x="11386016" y="1464785"/>
                </a:lnTo>
                <a:cubicBezTo>
                  <a:pt x="11439119" y="1453456"/>
                  <a:pt x="11493452" y="1445039"/>
                  <a:pt x="11548916" y="1439691"/>
                </a:cubicBezTo>
                <a:cubicBezTo>
                  <a:pt x="11549094" y="1442081"/>
                  <a:pt x="11549094" y="1442081"/>
                  <a:pt x="11549274" y="1444469"/>
                </a:cubicBezTo>
                <a:cubicBezTo>
                  <a:pt x="11516000" y="1449361"/>
                  <a:pt x="11502736" y="1464769"/>
                  <a:pt x="11481946" y="1475934"/>
                </a:cubicBezTo>
                <a:cubicBezTo>
                  <a:pt x="11481946" y="1475934"/>
                  <a:pt x="11486904" y="1477966"/>
                  <a:pt x="11491682" y="1477609"/>
                </a:cubicBezTo>
                <a:cubicBezTo>
                  <a:pt x="11482482" y="1483102"/>
                  <a:pt x="11463188" y="1482142"/>
                  <a:pt x="11449030" y="1485604"/>
                </a:cubicBezTo>
                <a:cubicBezTo>
                  <a:pt x="11437441" y="1491275"/>
                  <a:pt x="11418862" y="1499873"/>
                  <a:pt x="11418862" y="1499873"/>
                </a:cubicBezTo>
                <a:cubicBezTo>
                  <a:pt x="11421609" y="1504473"/>
                  <a:pt x="11431166" y="1503758"/>
                  <a:pt x="11443113" y="1502865"/>
                </a:cubicBezTo>
                <a:cubicBezTo>
                  <a:pt x="11443292" y="1505255"/>
                  <a:pt x="11440902" y="1505433"/>
                  <a:pt x="11440902" y="1505433"/>
                </a:cubicBezTo>
                <a:cubicBezTo>
                  <a:pt x="11438513" y="1505612"/>
                  <a:pt x="11438513" y="1505612"/>
                  <a:pt x="11438513" y="1505612"/>
                </a:cubicBezTo>
                <a:cubicBezTo>
                  <a:pt x="11438513" y="1505612"/>
                  <a:pt x="11436122" y="1505790"/>
                  <a:pt x="11436122" y="1505790"/>
                </a:cubicBezTo>
                <a:cubicBezTo>
                  <a:pt x="11436122" y="1505790"/>
                  <a:pt x="11433734" y="1505970"/>
                  <a:pt x="11431345" y="1506148"/>
                </a:cubicBezTo>
                <a:cubicBezTo>
                  <a:pt x="11431523" y="1508538"/>
                  <a:pt x="11431523" y="1508538"/>
                  <a:pt x="11433912" y="1508358"/>
                </a:cubicBezTo>
                <a:cubicBezTo>
                  <a:pt x="11433912" y="1508358"/>
                  <a:pt x="11436303" y="1508179"/>
                  <a:pt x="11436303" y="1508179"/>
                </a:cubicBezTo>
                <a:cubicBezTo>
                  <a:pt x="11438692" y="1508001"/>
                  <a:pt x="11438692" y="1508001"/>
                  <a:pt x="11438692" y="1508001"/>
                </a:cubicBezTo>
                <a:cubicBezTo>
                  <a:pt x="11424712" y="1513851"/>
                  <a:pt x="11443828" y="1512422"/>
                  <a:pt x="11446038" y="1509855"/>
                </a:cubicBezTo>
                <a:cubicBezTo>
                  <a:pt x="11448427" y="1509676"/>
                  <a:pt x="11448248" y="1507286"/>
                  <a:pt x="11448248" y="1507286"/>
                </a:cubicBezTo>
                <a:cubicBezTo>
                  <a:pt x="11448248" y="1507286"/>
                  <a:pt x="11445861" y="1507465"/>
                  <a:pt x="11445861" y="1507465"/>
                </a:cubicBezTo>
                <a:cubicBezTo>
                  <a:pt x="11443292" y="1505255"/>
                  <a:pt x="11443292" y="1505255"/>
                  <a:pt x="11443292" y="1505255"/>
                </a:cubicBezTo>
                <a:cubicBezTo>
                  <a:pt x="11443292" y="1505255"/>
                  <a:pt x="11448070" y="1504897"/>
                  <a:pt x="11450459" y="1504719"/>
                </a:cubicBezTo>
                <a:cubicBezTo>
                  <a:pt x="11452849" y="1504540"/>
                  <a:pt x="11452849" y="1504540"/>
                  <a:pt x="11452849" y="1504540"/>
                </a:cubicBezTo>
                <a:cubicBezTo>
                  <a:pt x="11469574" y="1503290"/>
                  <a:pt x="11481879" y="1507175"/>
                  <a:pt x="11472858" y="1515058"/>
                </a:cubicBezTo>
                <a:cubicBezTo>
                  <a:pt x="11460911" y="1515951"/>
                  <a:pt x="11461089" y="1518341"/>
                  <a:pt x="11444363" y="1519591"/>
                </a:cubicBezTo>
                <a:cubicBezTo>
                  <a:pt x="11442331" y="1524548"/>
                  <a:pt x="11451888" y="1523834"/>
                  <a:pt x="11454635" y="1528433"/>
                </a:cubicBezTo>
                <a:cubicBezTo>
                  <a:pt x="11433667" y="1537210"/>
                  <a:pt x="11398183" y="1544669"/>
                  <a:pt x="11399077" y="1556614"/>
                </a:cubicBezTo>
                <a:cubicBezTo>
                  <a:pt x="11399077" y="1556614"/>
                  <a:pt x="11396686" y="1556794"/>
                  <a:pt x="11396686" y="1556794"/>
                </a:cubicBezTo>
                <a:cubicBezTo>
                  <a:pt x="11396686" y="1556794"/>
                  <a:pt x="11391909" y="1557151"/>
                  <a:pt x="11391909" y="1557151"/>
                </a:cubicBezTo>
                <a:cubicBezTo>
                  <a:pt x="11389698" y="1559718"/>
                  <a:pt x="11387308" y="1559897"/>
                  <a:pt x="11389698" y="1559718"/>
                </a:cubicBezTo>
                <a:cubicBezTo>
                  <a:pt x="11385098" y="1562465"/>
                  <a:pt x="11377929" y="1563001"/>
                  <a:pt x="11363950" y="1568852"/>
                </a:cubicBezTo>
                <a:cubicBezTo>
                  <a:pt x="11359350" y="1571598"/>
                  <a:pt x="11356960" y="1571778"/>
                  <a:pt x="11354572" y="1571956"/>
                </a:cubicBezTo>
                <a:cubicBezTo>
                  <a:pt x="11354572" y="1571956"/>
                  <a:pt x="11352361" y="1574524"/>
                  <a:pt x="11352361" y="1574524"/>
                </a:cubicBezTo>
                <a:cubicBezTo>
                  <a:pt x="11349972" y="1574703"/>
                  <a:pt x="11349972" y="1574703"/>
                  <a:pt x="11349972" y="1574703"/>
                </a:cubicBezTo>
                <a:cubicBezTo>
                  <a:pt x="11347581" y="1574881"/>
                  <a:pt x="11350150" y="1577092"/>
                  <a:pt x="11350150" y="1577092"/>
                </a:cubicBezTo>
                <a:cubicBezTo>
                  <a:pt x="11347760" y="1577271"/>
                  <a:pt x="11347760" y="1577271"/>
                  <a:pt x="11347760" y="1577271"/>
                </a:cubicBezTo>
                <a:cubicBezTo>
                  <a:pt x="11347938" y="1579660"/>
                  <a:pt x="11338382" y="1580374"/>
                  <a:pt x="11338560" y="1582765"/>
                </a:cubicBezTo>
                <a:cubicBezTo>
                  <a:pt x="11350328" y="1579481"/>
                  <a:pt x="11340950" y="1582585"/>
                  <a:pt x="11345908" y="1584618"/>
                </a:cubicBezTo>
                <a:cubicBezTo>
                  <a:pt x="11331750" y="1588079"/>
                  <a:pt x="11350864" y="1586650"/>
                  <a:pt x="11341485" y="1589754"/>
                </a:cubicBezTo>
                <a:cubicBezTo>
                  <a:pt x="11327328" y="1593215"/>
                  <a:pt x="11327507" y="1595605"/>
                  <a:pt x="11320159" y="1593751"/>
                </a:cubicBezTo>
                <a:lnTo>
                  <a:pt x="11317664" y="1595200"/>
                </a:lnTo>
                <a:lnTo>
                  <a:pt x="11333078" y="1612970"/>
                </a:lnTo>
                <a:lnTo>
                  <a:pt x="11388303" y="1598219"/>
                </a:lnTo>
                <a:cubicBezTo>
                  <a:pt x="11407754" y="1593299"/>
                  <a:pt x="11427337" y="1589307"/>
                  <a:pt x="11447717" y="1588132"/>
                </a:cubicBezTo>
                <a:cubicBezTo>
                  <a:pt x="11451639" y="1587981"/>
                  <a:pt x="11455486" y="1585870"/>
                  <a:pt x="11458791" y="1590064"/>
                </a:cubicBezTo>
                <a:cubicBezTo>
                  <a:pt x="11460132" y="1594333"/>
                  <a:pt x="11456632" y="1595253"/>
                  <a:pt x="11454672" y="1595329"/>
                </a:cubicBezTo>
                <a:cubicBezTo>
                  <a:pt x="11422483" y="1600983"/>
                  <a:pt x="11390848" y="1608211"/>
                  <a:pt x="11359640" y="1616676"/>
                </a:cubicBezTo>
                <a:lnTo>
                  <a:pt x="11341256" y="1622396"/>
                </a:lnTo>
                <a:lnTo>
                  <a:pt x="11347775" y="1629910"/>
                </a:lnTo>
                <a:lnTo>
                  <a:pt x="11365669" y="1623987"/>
                </a:lnTo>
                <a:cubicBezTo>
                  <a:pt x="11370448" y="1623630"/>
                  <a:pt x="11375049" y="1620883"/>
                  <a:pt x="11382038" y="1617958"/>
                </a:cubicBezTo>
                <a:cubicBezTo>
                  <a:pt x="11389384" y="1619811"/>
                  <a:pt x="11389206" y="1617421"/>
                  <a:pt x="11389028" y="1615033"/>
                </a:cubicBezTo>
                <a:cubicBezTo>
                  <a:pt x="11391417" y="1614853"/>
                  <a:pt x="11391417" y="1614853"/>
                  <a:pt x="11391417" y="1614853"/>
                </a:cubicBezTo>
                <a:cubicBezTo>
                  <a:pt x="11393806" y="1614675"/>
                  <a:pt x="11396374" y="1616886"/>
                  <a:pt x="11398764" y="1616708"/>
                </a:cubicBezTo>
                <a:cubicBezTo>
                  <a:pt x="11398764" y="1616708"/>
                  <a:pt x="11401153" y="1616528"/>
                  <a:pt x="11401153" y="1616528"/>
                </a:cubicBezTo>
                <a:cubicBezTo>
                  <a:pt x="11403542" y="1616350"/>
                  <a:pt x="11403542" y="1616350"/>
                  <a:pt x="11405753" y="1613782"/>
                </a:cubicBezTo>
                <a:cubicBezTo>
                  <a:pt x="11405753" y="1613782"/>
                  <a:pt x="11405753" y="1613782"/>
                  <a:pt x="11405575" y="1611392"/>
                </a:cubicBezTo>
                <a:cubicBezTo>
                  <a:pt x="11417521" y="1610500"/>
                  <a:pt x="11417521" y="1610500"/>
                  <a:pt x="11417521" y="1610500"/>
                </a:cubicBezTo>
                <a:cubicBezTo>
                  <a:pt x="11417521" y="1610500"/>
                  <a:pt x="11419733" y="1607932"/>
                  <a:pt x="11419733" y="1607932"/>
                </a:cubicBezTo>
                <a:cubicBezTo>
                  <a:pt x="11419733" y="1607932"/>
                  <a:pt x="11417343" y="1608111"/>
                  <a:pt x="11417343" y="1608111"/>
                </a:cubicBezTo>
                <a:cubicBezTo>
                  <a:pt x="11405575" y="1611392"/>
                  <a:pt x="11405575" y="1611392"/>
                  <a:pt x="11405575" y="1611392"/>
                </a:cubicBezTo>
                <a:cubicBezTo>
                  <a:pt x="11405575" y="1611392"/>
                  <a:pt x="11405396" y="1609004"/>
                  <a:pt x="11405396" y="1609004"/>
                </a:cubicBezTo>
                <a:cubicBezTo>
                  <a:pt x="11407786" y="1608825"/>
                  <a:pt x="11410174" y="1608647"/>
                  <a:pt x="11410174" y="1608647"/>
                </a:cubicBezTo>
                <a:cubicBezTo>
                  <a:pt x="11412564" y="1608468"/>
                  <a:pt x="11412564" y="1608468"/>
                  <a:pt x="11412564" y="1608468"/>
                </a:cubicBezTo>
                <a:cubicBezTo>
                  <a:pt x="11414953" y="1608289"/>
                  <a:pt x="11417164" y="1605721"/>
                  <a:pt x="11419553" y="1605542"/>
                </a:cubicBezTo>
                <a:cubicBezTo>
                  <a:pt x="11421943" y="1605364"/>
                  <a:pt x="11424333" y="1605185"/>
                  <a:pt x="11429110" y="1604828"/>
                </a:cubicBezTo>
                <a:cubicBezTo>
                  <a:pt x="11426722" y="1605006"/>
                  <a:pt x="11426900" y="1607397"/>
                  <a:pt x="11426900" y="1607397"/>
                </a:cubicBezTo>
                <a:cubicBezTo>
                  <a:pt x="11426900" y="1607397"/>
                  <a:pt x="11429290" y="1607218"/>
                  <a:pt x="11431680" y="1607038"/>
                </a:cubicBezTo>
                <a:cubicBezTo>
                  <a:pt x="11431680" y="1607038"/>
                  <a:pt x="11434068" y="1606860"/>
                  <a:pt x="11436458" y="1606682"/>
                </a:cubicBezTo>
                <a:cubicBezTo>
                  <a:pt x="11438669" y="1604113"/>
                  <a:pt x="11441058" y="1603935"/>
                  <a:pt x="11443448" y="1603755"/>
                </a:cubicBezTo>
                <a:cubicBezTo>
                  <a:pt x="11445837" y="1603577"/>
                  <a:pt x="11445837" y="1603577"/>
                  <a:pt x="11448226" y="1603399"/>
                </a:cubicBezTo>
                <a:cubicBezTo>
                  <a:pt x="11450437" y="1600831"/>
                  <a:pt x="11450437" y="1600831"/>
                  <a:pt x="11450437" y="1600831"/>
                </a:cubicBezTo>
                <a:cubicBezTo>
                  <a:pt x="11452827" y="1600652"/>
                  <a:pt x="11455038" y="1598084"/>
                  <a:pt x="11457426" y="1597904"/>
                </a:cubicBezTo>
                <a:cubicBezTo>
                  <a:pt x="11459815" y="1597726"/>
                  <a:pt x="11462206" y="1597548"/>
                  <a:pt x="11462206" y="1597548"/>
                </a:cubicBezTo>
                <a:cubicBezTo>
                  <a:pt x="11462384" y="1599937"/>
                  <a:pt x="11462384" y="1599937"/>
                  <a:pt x="11464774" y="1599758"/>
                </a:cubicBezTo>
                <a:cubicBezTo>
                  <a:pt x="11464774" y="1599758"/>
                  <a:pt x="11467163" y="1599580"/>
                  <a:pt x="11466984" y="1597190"/>
                </a:cubicBezTo>
                <a:cubicBezTo>
                  <a:pt x="11466984" y="1597190"/>
                  <a:pt x="11469374" y="1597012"/>
                  <a:pt x="11471942" y="1599223"/>
                </a:cubicBezTo>
                <a:cubicBezTo>
                  <a:pt x="11476542" y="1596475"/>
                  <a:pt x="11476542" y="1596475"/>
                  <a:pt x="11476542" y="1596475"/>
                </a:cubicBezTo>
                <a:cubicBezTo>
                  <a:pt x="11476542" y="1596475"/>
                  <a:pt x="11474153" y="1596655"/>
                  <a:pt x="11473974" y="1594265"/>
                </a:cubicBezTo>
                <a:cubicBezTo>
                  <a:pt x="11476365" y="1594087"/>
                  <a:pt x="11478752" y="1593909"/>
                  <a:pt x="11481142" y="1593729"/>
                </a:cubicBezTo>
                <a:cubicBezTo>
                  <a:pt x="11483532" y="1593551"/>
                  <a:pt x="11483532" y="1593551"/>
                  <a:pt x="11483532" y="1593551"/>
                </a:cubicBezTo>
                <a:cubicBezTo>
                  <a:pt x="11488131" y="1590804"/>
                  <a:pt x="11490521" y="1590626"/>
                  <a:pt x="11492910" y="1590446"/>
                </a:cubicBezTo>
                <a:cubicBezTo>
                  <a:pt x="11497689" y="1590089"/>
                  <a:pt x="11500078" y="1589911"/>
                  <a:pt x="11502468" y="1589732"/>
                </a:cubicBezTo>
                <a:cubicBezTo>
                  <a:pt x="11504858" y="1589553"/>
                  <a:pt x="11504858" y="1589553"/>
                  <a:pt x="11509636" y="1589196"/>
                </a:cubicBezTo>
                <a:cubicBezTo>
                  <a:pt x="11512204" y="1591407"/>
                  <a:pt x="11519193" y="1588482"/>
                  <a:pt x="11523972" y="1588124"/>
                </a:cubicBezTo>
                <a:cubicBezTo>
                  <a:pt x="11526362" y="1587946"/>
                  <a:pt x="11528930" y="1590157"/>
                  <a:pt x="11531320" y="1589978"/>
                </a:cubicBezTo>
                <a:cubicBezTo>
                  <a:pt x="11531320" y="1589978"/>
                  <a:pt x="11529109" y="1592545"/>
                  <a:pt x="11529109" y="1592545"/>
                </a:cubicBezTo>
                <a:cubicBezTo>
                  <a:pt x="11526719" y="1592725"/>
                  <a:pt x="11526897" y="1595114"/>
                  <a:pt x="11526897" y="1595114"/>
                </a:cubicBezTo>
                <a:cubicBezTo>
                  <a:pt x="11526897" y="1595114"/>
                  <a:pt x="11526897" y="1595114"/>
                  <a:pt x="11529287" y="1594935"/>
                </a:cubicBezTo>
                <a:cubicBezTo>
                  <a:pt x="11531676" y="1594757"/>
                  <a:pt x="11531676" y="1594757"/>
                  <a:pt x="11531676" y="1594757"/>
                </a:cubicBezTo>
                <a:cubicBezTo>
                  <a:pt x="11534067" y="1594578"/>
                  <a:pt x="11534067" y="1594578"/>
                  <a:pt x="11533889" y="1592188"/>
                </a:cubicBezTo>
                <a:cubicBezTo>
                  <a:pt x="11533889" y="1592188"/>
                  <a:pt x="11536098" y="1589621"/>
                  <a:pt x="11536098" y="1589621"/>
                </a:cubicBezTo>
                <a:cubicBezTo>
                  <a:pt x="11535920" y="1587231"/>
                  <a:pt x="11535920" y="1587231"/>
                  <a:pt x="11535920" y="1587231"/>
                </a:cubicBezTo>
                <a:cubicBezTo>
                  <a:pt x="11533530" y="1587409"/>
                  <a:pt x="11528572" y="1585377"/>
                  <a:pt x="11523794" y="1585734"/>
                </a:cubicBezTo>
                <a:cubicBezTo>
                  <a:pt x="11521405" y="1585914"/>
                  <a:pt x="11521405" y="1585914"/>
                  <a:pt x="11521405" y="1585914"/>
                </a:cubicBezTo>
                <a:cubicBezTo>
                  <a:pt x="11519015" y="1586092"/>
                  <a:pt x="11514415" y="1588839"/>
                  <a:pt x="11511847" y="1586628"/>
                </a:cubicBezTo>
                <a:cubicBezTo>
                  <a:pt x="11509457" y="1586807"/>
                  <a:pt x="11509457" y="1586807"/>
                  <a:pt x="11507068" y="1586985"/>
                </a:cubicBezTo>
                <a:cubicBezTo>
                  <a:pt x="11509279" y="1584418"/>
                  <a:pt x="11514057" y="1584061"/>
                  <a:pt x="11518837" y="1583703"/>
                </a:cubicBezTo>
                <a:cubicBezTo>
                  <a:pt x="11523616" y="1583346"/>
                  <a:pt x="11528394" y="1582988"/>
                  <a:pt x="11532994" y="1580242"/>
                </a:cubicBezTo>
                <a:cubicBezTo>
                  <a:pt x="11535383" y="1580063"/>
                  <a:pt x="11535562" y="1582453"/>
                  <a:pt x="11537952" y="1582274"/>
                </a:cubicBezTo>
                <a:cubicBezTo>
                  <a:pt x="11542730" y="1581917"/>
                  <a:pt x="11542730" y="1581917"/>
                  <a:pt x="11542730" y="1581917"/>
                </a:cubicBezTo>
                <a:cubicBezTo>
                  <a:pt x="11547508" y="1581559"/>
                  <a:pt x="11549899" y="1581381"/>
                  <a:pt x="11554677" y="1581024"/>
                </a:cubicBezTo>
                <a:cubicBezTo>
                  <a:pt x="11552466" y="1583591"/>
                  <a:pt x="11552466" y="1583591"/>
                  <a:pt x="11552466" y="1583591"/>
                </a:cubicBezTo>
                <a:cubicBezTo>
                  <a:pt x="11550077" y="1583770"/>
                  <a:pt x="11550077" y="1583770"/>
                  <a:pt x="11552645" y="1585980"/>
                </a:cubicBezTo>
                <a:cubicBezTo>
                  <a:pt x="11552645" y="1585980"/>
                  <a:pt x="11552645" y="1585980"/>
                  <a:pt x="11555034" y="1585802"/>
                </a:cubicBezTo>
                <a:cubicBezTo>
                  <a:pt x="11555034" y="1585802"/>
                  <a:pt x="11557424" y="1585623"/>
                  <a:pt x="11557424" y="1585623"/>
                </a:cubicBezTo>
                <a:cubicBezTo>
                  <a:pt x="11559634" y="1583055"/>
                  <a:pt x="11559634" y="1583055"/>
                  <a:pt x="11559634" y="1583055"/>
                </a:cubicBezTo>
                <a:cubicBezTo>
                  <a:pt x="11559634" y="1583055"/>
                  <a:pt x="11562024" y="1582877"/>
                  <a:pt x="11562024" y="1582877"/>
                </a:cubicBezTo>
                <a:cubicBezTo>
                  <a:pt x="11562024" y="1582877"/>
                  <a:pt x="11562024" y="1582877"/>
                  <a:pt x="11564413" y="1582697"/>
                </a:cubicBezTo>
                <a:cubicBezTo>
                  <a:pt x="11566803" y="1582519"/>
                  <a:pt x="11571403" y="1579773"/>
                  <a:pt x="11573792" y="1579595"/>
                </a:cubicBezTo>
                <a:cubicBezTo>
                  <a:pt x="11580960" y="1579058"/>
                  <a:pt x="11583171" y="1576490"/>
                  <a:pt x="11585740" y="1578702"/>
                </a:cubicBezTo>
                <a:cubicBezTo>
                  <a:pt x="11585918" y="1581090"/>
                  <a:pt x="11588308" y="1580911"/>
                  <a:pt x="11588308" y="1580911"/>
                </a:cubicBezTo>
                <a:cubicBezTo>
                  <a:pt x="11588308" y="1580911"/>
                  <a:pt x="11588486" y="1583301"/>
                  <a:pt x="11586097" y="1583480"/>
                </a:cubicBezTo>
                <a:cubicBezTo>
                  <a:pt x="11576539" y="1584194"/>
                  <a:pt x="11566982" y="1584909"/>
                  <a:pt x="11557602" y="1588013"/>
                </a:cubicBezTo>
                <a:cubicBezTo>
                  <a:pt x="11555212" y="1588192"/>
                  <a:pt x="11555212" y="1588192"/>
                  <a:pt x="11555212" y="1588192"/>
                </a:cubicBezTo>
                <a:cubicBezTo>
                  <a:pt x="11555392" y="1590581"/>
                  <a:pt x="11557781" y="1590401"/>
                  <a:pt x="11557781" y="1590401"/>
                </a:cubicBezTo>
                <a:cubicBezTo>
                  <a:pt x="11567160" y="1587299"/>
                  <a:pt x="11576718" y="1586584"/>
                  <a:pt x="11586276" y="1585869"/>
                </a:cubicBezTo>
                <a:cubicBezTo>
                  <a:pt x="11586454" y="1588258"/>
                  <a:pt x="11586632" y="1590647"/>
                  <a:pt x="11591591" y="1592680"/>
                </a:cubicBezTo>
                <a:cubicBezTo>
                  <a:pt x="11603537" y="1591787"/>
                  <a:pt x="11606283" y="1596387"/>
                  <a:pt x="11618231" y="1595494"/>
                </a:cubicBezTo>
                <a:cubicBezTo>
                  <a:pt x="11650186" y="1605119"/>
                  <a:pt x="11688773" y="1607038"/>
                  <a:pt x="11715235" y="1607464"/>
                </a:cubicBezTo>
                <a:cubicBezTo>
                  <a:pt x="11717625" y="1607284"/>
                  <a:pt x="11717625" y="1607284"/>
                  <a:pt x="11717625" y="1607284"/>
                </a:cubicBezTo>
                <a:cubicBezTo>
                  <a:pt x="11717625" y="1607284"/>
                  <a:pt x="11720015" y="1607106"/>
                  <a:pt x="11720015" y="1607106"/>
                </a:cubicBezTo>
                <a:cubicBezTo>
                  <a:pt x="11719836" y="1604716"/>
                  <a:pt x="11719836" y="1604716"/>
                  <a:pt x="11717447" y="1604895"/>
                </a:cubicBezTo>
                <a:cubicBezTo>
                  <a:pt x="11690985" y="1604471"/>
                  <a:pt x="11654786" y="1602371"/>
                  <a:pt x="11622830" y="1592748"/>
                </a:cubicBezTo>
                <a:cubicBezTo>
                  <a:pt x="11625220" y="1592568"/>
                  <a:pt x="11625220" y="1592568"/>
                  <a:pt x="11625220" y="1592568"/>
                </a:cubicBezTo>
                <a:cubicBezTo>
                  <a:pt x="11625041" y="1590178"/>
                  <a:pt x="11622652" y="1590358"/>
                  <a:pt x="11620084" y="1588147"/>
                </a:cubicBezTo>
                <a:cubicBezTo>
                  <a:pt x="11622475" y="1587968"/>
                  <a:pt x="11624862" y="1587790"/>
                  <a:pt x="11627251" y="1587610"/>
                </a:cubicBezTo>
                <a:cubicBezTo>
                  <a:pt x="11627251" y="1587610"/>
                  <a:pt x="11627251" y="1587610"/>
                  <a:pt x="11627431" y="1590000"/>
                </a:cubicBezTo>
                <a:cubicBezTo>
                  <a:pt x="11629822" y="1589822"/>
                  <a:pt x="11629822" y="1589822"/>
                  <a:pt x="11629822" y="1589822"/>
                </a:cubicBezTo>
                <a:cubicBezTo>
                  <a:pt x="11629822" y="1589822"/>
                  <a:pt x="11629822" y="1589822"/>
                  <a:pt x="11632209" y="1589643"/>
                </a:cubicBezTo>
                <a:cubicBezTo>
                  <a:pt x="11632209" y="1589643"/>
                  <a:pt x="11632031" y="1587254"/>
                  <a:pt x="11632031" y="1587254"/>
                </a:cubicBezTo>
                <a:cubicBezTo>
                  <a:pt x="11636988" y="1589286"/>
                  <a:pt x="11641768" y="1588929"/>
                  <a:pt x="11644156" y="1588750"/>
                </a:cubicBezTo>
                <a:cubicBezTo>
                  <a:pt x="11646546" y="1588571"/>
                  <a:pt x="11646546" y="1588571"/>
                  <a:pt x="11648936" y="1588392"/>
                </a:cubicBezTo>
                <a:cubicBezTo>
                  <a:pt x="11651324" y="1588214"/>
                  <a:pt x="11653714" y="1588036"/>
                  <a:pt x="11656104" y="1587856"/>
                </a:cubicBezTo>
                <a:lnTo>
                  <a:pt x="11658493" y="1587678"/>
                </a:lnTo>
                <a:cubicBezTo>
                  <a:pt x="11658672" y="1590068"/>
                  <a:pt x="11658672" y="1590068"/>
                  <a:pt x="11661061" y="1589889"/>
                </a:cubicBezTo>
                <a:cubicBezTo>
                  <a:pt x="11663451" y="1589711"/>
                  <a:pt x="11663451" y="1589711"/>
                  <a:pt x="11665839" y="1589531"/>
                </a:cubicBezTo>
                <a:cubicBezTo>
                  <a:pt x="11665839" y="1589531"/>
                  <a:pt x="11668051" y="1586963"/>
                  <a:pt x="11668051" y="1586963"/>
                </a:cubicBezTo>
                <a:cubicBezTo>
                  <a:pt x="11686987" y="1583145"/>
                  <a:pt x="11706102" y="1581716"/>
                  <a:pt x="11725396" y="1582676"/>
                </a:cubicBezTo>
                <a:cubicBezTo>
                  <a:pt x="11735131" y="1584351"/>
                  <a:pt x="11742300" y="1583815"/>
                  <a:pt x="11752037" y="1585490"/>
                </a:cubicBezTo>
                <a:cubicBezTo>
                  <a:pt x="11752037" y="1585490"/>
                  <a:pt x="11751856" y="1583101"/>
                  <a:pt x="11749470" y="1583279"/>
                </a:cubicBezTo>
                <a:cubicBezTo>
                  <a:pt x="11766371" y="1584417"/>
                  <a:pt x="11780709" y="1583346"/>
                  <a:pt x="11797614" y="1584485"/>
                </a:cubicBezTo>
                <a:cubicBezTo>
                  <a:pt x="11800003" y="1584307"/>
                  <a:pt x="11800003" y="1584307"/>
                  <a:pt x="11799824" y="1581917"/>
                </a:cubicBezTo>
                <a:cubicBezTo>
                  <a:pt x="11804602" y="1581559"/>
                  <a:pt x="11807171" y="1583770"/>
                  <a:pt x="11811950" y="1583413"/>
                </a:cubicBezTo>
                <a:cubicBezTo>
                  <a:pt x="11809561" y="1583592"/>
                  <a:pt x="11812129" y="1585802"/>
                  <a:pt x="11814519" y="1585624"/>
                </a:cubicBezTo>
                <a:cubicBezTo>
                  <a:pt x="11814337" y="1583234"/>
                  <a:pt x="11816727" y="1583056"/>
                  <a:pt x="11819118" y="1582877"/>
                </a:cubicBezTo>
                <a:cubicBezTo>
                  <a:pt x="11823896" y="1582520"/>
                  <a:pt x="11828854" y="1584553"/>
                  <a:pt x="11833634" y="1584195"/>
                </a:cubicBezTo>
                <a:cubicBezTo>
                  <a:pt x="11833634" y="1584195"/>
                  <a:pt x="11836023" y="1584017"/>
                  <a:pt x="11836023" y="1584017"/>
                </a:cubicBezTo>
                <a:cubicBezTo>
                  <a:pt x="11838412" y="1583838"/>
                  <a:pt x="11840980" y="1586048"/>
                  <a:pt x="11843368" y="1585869"/>
                </a:cubicBezTo>
                <a:cubicBezTo>
                  <a:pt x="11845758" y="1585691"/>
                  <a:pt x="11845758" y="1585691"/>
                  <a:pt x="11845758" y="1585691"/>
                </a:cubicBezTo>
                <a:cubicBezTo>
                  <a:pt x="11845758" y="1585691"/>
                  <a:pt x="11848148" y="1585511"/>
                  <a:pt x="11848148" y="1585511"/>
                </a:cubicBezTo>
                <a:cubicBezTo>
                  <a:pt x="11862662" y="1586830"/>
                  <a:pt x="11877356" y="1590537"/>
                  <a:pt x="11889481" y="1592033"/>
                </a:cubicBezTo>
                <a:cubicBezTo>
                  <a:pt x="11889481" y="1592033"/>
                  <a:pt x="11894081" y="1589286"/>
                  <a:pt x="11896649" y="1591497"/>
                </a:cubicBezTo>
                <a:cubicBezTo>
                  <a:pt x="11896649" y="1591497"/>
                  <a:pt x="11899040" y="1591318"/>
                  <a:pt x="11899040" y="1591318"/>
                </a:cubicBezTo>
                <a:cubicBezTo>
                  <a:pt x="11896649" y="1591497"/>
                  <a:pt x="11903819" y="1590961"/>
                  <a:pt x="11908596" y="1590603"/>
                </a:cubicBezTo>
                <a:cubicBezTo>
                  <a:pt x="11918333" y="1592279"/>
                  <a:pt x="11928247" y="1596342"/>
                  <a:pt x="11935594" y="1598196"/>
                </a:cubicBezTo>
                <a:cubicBezTo>
                  <a:pt x="11977107" y="1607106"/>
                  <a:pt x="12008884" y="1614341"/>
                  <a:pt x="12038271" y="1621756"/>
                </a:cubicBezTo>
                <a:cubicBezTo>
                  <a:pt x="12040662" y="1621577"/>
                  <a:pt x="12040662" y="1621577"/>
                  <a:pt x="12040662" y="1621577"/>
                </a:cubicBezTo>
                <a:cubicBezTo>
                  <a:pt x="12043230" y="1623788"/>
                  <a:pt x="12043230" y="1623788"/>
                  <a:pt x="12043230" y="1623788"/>
                </a:cubicBezTo>
                <a:cubicBezTo>
                  <a:pt x="12054429" y="1628958"/>
                  <a:pt x="12065030" y="1634171"/>
                  <a:pt x="12076227" y="1639341"/>
                </a:cubicBezTo>
                <a:lnTo>
                  <a:pt x="12108878" y="1652983"/>
                </a:lnTo>
                <a:lnTo>
                  <a:pt x="12108167" y="1652759"/>
                </a:lnTo>
                <a:cubicBezTo>
                  <a:pt x="12105098" y="1651899"/>
                  <a:pt x="12102344" y="1651204"/>
                  <a:pt x="12100508" y="1650742"/>
                </a:cubicBezTo>
                <a:cubicBezTo>
                  <a:pt x="12098118" y="1650920"/>
                  <a:pt x="12095550" y="1648709"/>
                  <a:pt x="12095550" y="1648709"/>
                </a:cubicBezTo>
                <a:cubicBezTo>
                  <a:pt x="12085634" y="1644645"/>
                  <a:pt x="12080498" y="1640224"/>
                  <a:pt x="12078288" y="1642791"/>
                </a:cubicBezTo>
                <a:cubicBezTo>
                  <a:pt x="12075542" y="1638191"/>
                  <a:pt x="12060847" y="1634484"/>
                  <a:pt x="12048722" y="1632987"/>
                </a:cubicBezTo>
                <a:cubicBezTo>
                  <a:pt x="12046332" y="1633167"/>
                  <a:pt x="12043943" y="1633345"/>
                  <a:pt x="12043764" y="1630956"/>
                </a:cubicBezTo>
                <a:cubicBezTo>
                  <a:pt x="12043764" y="1630956"/>
                  <a:pt x="12041196" y="1628746"/>
                  <a:pt x="12038808" y="1628924"/>
                </a:cubicBezTo>
                <a:cubicBezTo>
                  <a:pt x="12036418" y="1629102"/>
                  <a:pt x="12034028" y="1629281"/>
                  <a:pt x="12036596" y="1631492"/>
                </a:cubicBezTo>
                <a:cubicBezTo>
                  <a:pt x="12036775" y="1633881"/>
                  <a:pt x="12041733" y="1635913"/>
                  <a:pt x="12046691" y="1637945"/>
                </a:cubicBezTo>
                <a:cubicBezTo>
                  <a:pt x="12049080" y="1637767"/>
                  <a:pt x="12049080" y="1637767"/>
                  <a:pt x="12049080" y="1637767"/>
                </a:cubicBezTo>
                <a:cubicBezTo>
                  <a:pt x="12068909" y="1645895"/>
                  <a:pt x="12076435" y="1650138"/>
                  <a:pt x="12093517" y="1653667"/>
                </a:cubicBezTo>
                <a:cubicBezTo>
                  <a:pt x="12093517" y="1653667"/>
                  <a:pt x="12095908" y="1653488"/>
                  <a:pt x="12095908" y="1653488"/>
                </a:cubicBezTo>
                <a:cubicBezTo>
                  <a:pt x="12098476" y="1655698"/>
                  <a:pt x="12106000" y="1659941"/>
                  <a:pt x="12108568" y="1662152"/>
                </a:cubicBezTo>
                <a:cubicBezTo>
                  <a:pt x="12113169" y="1659406"/>
                  <a:pt x="12113526" y="1664184"/>
                  <a:pt x="12123441" y="1668249"/>
                </a:cubicBezTo>
                <a:cubicBezTo>
                  <a:pt x="12132072" y="1671207"/>
                  <a:pt x="12142540" y="1674630"/>
                  <a:pt x="12153074" y="1678948"/>
                </a:cubicBezTo>
                <a:lnTo>
                  <a:pt x="12178245" y="1692420"/>
                </a:lnTo>
                <a:lnTo>
                  <a:pt x="12175762" y="1693170"/>
                </a:lnTo>
                <a:lnTo>
                  <a:pt x="12192528" y="1701733"/>
                </a:lnTo>
                <a:lnTo>
                  <a:pt x="12192528" y="1875532"/>
                </a:lnTo>
                <a:lnTo>
                  <a:pt x="12155044" y="1856672"/>
                </a:lnTo>
                <a:cubicBezTo>
                  <a:pt x="12144715" y="1849597"/>
                  <a:pt x="12132436" y="1842669"/>
                  <a:pt x="12122398" y="1839496"/>
                </a:cubicBezTo>
                <a:cubicBezTo>
                  <a:pt x="12122398" y="1839496"/>
                  <a:pt x="12122251" y="1837546"/>
                  <a:pt x="12120302" y="1837691"/>
                </a:cubicBezTo>
                <a:cubicBezTo>
                  <a:pt x="12118207" y="1835885"/>
                  <a:pt x="12118207" y="1835885"/>
                  <a:pt x="12116257" y="1836031"/>
                </a:cubicBezTo>
                <a:lnTo>
                  <a:pt x="12106796" y="1831249"/>
                </a:lnTo>
                <a:lnTo>
                  <a:pt x="12109476" y="1836130"/>
                </a:lnTo>
                <a:lnTo>
                  <a:pt x="12116404" y="1837982"/>
                </a:lnTo>
                <a:cubicBezTo>
                  <a:pt x="12114455" y="1838128"/>
                  <a:pt x="12114455" y="1838128"/>
                  <a:pt x="12114455" y="1838128"/>
                </a:cubicBezTo>
                <a:cubicBezTo>
                  <a:pt x="12114455" y="1838128"/>
                  <a:pt x="12116551" y="1839933"/>
                  <a:pt x="12118499" y="1839787"/>
                </a:cubicBezTo>
                <a:cubicBezTo>
                  <a:pt x="12118645" y="1841738"/>
                  <a:pt x="12120595" y="1841592"/>
                  <a:pt x="12120595" y="1841592"/>
                </a:cubicBezTo>
                <a:lnTo>
                  <a:pt x="12165737" y="1871806"/>
                </a:lnTo>
                <a:lnTo>
                  <a:pt x="12164154" y="1873647"/>
                </a:lnTo>
                <a:cubicBezTo>
                  <a:pt x="12164154" y="1873647"/>
                  <a:pt x="12166103" y="1873501"/>
                  <a:pt x="12166103" y="1873501"/>
                </a:cubicBezTo>
                <a:cubicBezTo>
                  <a:pt x="12166103" y="1873501"/>
                  <a:pt x="12166103" y="1873501"/>
                  <a:pt x="12168053" y="1873355"/>
                </a:cubicBezTo>
                <a:cubicBezTo>
                  <a:pt x="12168199" y="1875306"/>
                  <a:pt x="12170148" y="1875161"/>
                  <a:pt x="12170148" y="1875161"/>
                </a:cubicBezTo>
                <a:cubicBezTo>
                  <a:pt x="12168343" y="1877256"/>
                  <a:pt x="12174483" y="1880722"/>
                  <a:pt x="12180624" y="1884185"/>
                </a:cubicBezTo>
                <a:cubicBezTo>
                  <a:pt x="12182426" y="1882090"/>
                  <a:pt x="12178383" y="1880430"/>
                  <a:pt x="12178383" y="1880430"/>
                </a:cubicBezTo>
                <a:cubicBezTo>
                  <a:pt x="12180331" y="1880285"/>
                  <a:pt x="12180331" y="1880285"/>
                  <a:pt x="12180331" y="1880285"/>
                </a:cubicBezTo>
                <a:cubicBezTo>
                  <a:pt x="12182281" y="1880138"/>
                  <a:pt x="12182281" y="1880138"/>
                  <a:pt x="12182281" y="1880138"/>
                </a:cubicBezTo>
                <a:cubicBezTo>
                  <a:pt x="12182281" y="1880138"/>
                  <a:pt x="12180184" y="1878333"/>
                  <a:pt x="12180184" y="1878333"/>
                </a:cubicBezTo>
                <a:cubicBezTo>
                  <a:pt x="12183254" y="1880066"/>
                  <a:pt x="12184753" y="1880444"/>
                  <a:pt x="12186513" y="1881048"/>
                </a:cubicBezTo>
                <a:lnTo>
                  <a:pt x="12192528" y="1884146"/>
                </a:lnTo>
                <a:lnTo>
                  <a:pt x="12192528" y="1885258"/>
                </a:lnTo>
                <a:lnTo>
                  <a:pt x="12192465" y="1885262"/>
                </a:lnTo>
                <a:cubicBezTo>
                  <a:pt x="12192465" y="1885262"/>
                  <a:pt x="12192465" y="1885262"/>
                  <a:pt x="12190369" y="1883457"/>
                </a:cubicBezTo>
                <a:cubicBezTo>
                  <a:pt x="12188421" y="1883603"/>
                  <a:pt x="12188421" y="1883603"/>
                  <a:pt x="12188421" y="1883603"/>
                </a:cubicBezTo>
                <a:lnTo>
                  <a:pt x="12192528" y="1887143"/>
                </a:lnTo>
                <a:lnTo>
                  <a:pt x="12192528" y="1958759"/>
                </a:lnTo>
                <a:lnTo>
                  <a:pt x="12158038" y="1934428"/>
                </a:lnTo>
                <a:cubicBezTo>
                  <a:pt x="12117895" y="1910105"/>
                  <a:pt x="12075607" y="1888318"/>
                  <a:pt x="12031094" y="1869163"/>
                </a:cubicBezTo>
                <a:lnTo>
                  <a:pt x="11963817" y="1845439"/>
                </a:lnTo>
                <a:lnTo>
                  <a:pt x="11890564" y="1829006"/>
                </a:lnTo>
                <a:cubicBezTo>
                  <a:pt x="11864194" y="1823832"/>
                  <a:pt x="11837618" y="1819648"/>
                  <a:pt x="11810821" y="1817337"/>
                </a:cubicBezTo>
                <a:cubicBezTo>
                  <a:pt x="11803709" y="1816235"/>
                  <a:pt x="11796962" y="1814432"/>
                  <a:pt x="11790325" y="1814196"/>
                </a:cubicBezTo>
                <a:cubicBezTo>
                  <a:pt x="11783687" y="1813960"/>
                  <a:pt x="11777159" y="1815291"/>
                  <a:pt x="11770484" y="1820457"/>
                </a:cubicBezTo>
                <a:cubicBezTo>
                  <a:pt x="11762866" y="1826642"/>
                  <a:pt x="11750948" y="1823171"/>
                  <a:pt x="11740721" y="1822778"/>
                </a:cubicBezTo>
                <a:cubicBezTo>
                  <a:pt x="11686703" y="1817388"/>
                  <a:pt x="11632563" y="1819073"/>
                  <a:pt x="11578846" y="1821529"/>
                </a:cubicBezTo>
                <a:cubicBezTo>
                  <a:pt x="11574924" y="1821679"/>
                  <a:pt x="11571772" y="1821407"/>
                  <a:pt x="11569192" y="1825827"/>
                </a:cubicBezTo>
                <a:cubicBezTo>
                  <a:pt x="11571032" y="1832827"/>
                  <a:pt x="11577610" y="1830218"/>
                  <a:pt x="11581531" y="1830067"/>
                </a:cubicBezTo>
                <a:cubicBezTo>
                  <a:pt x="11664589" y="1824522"/>
                  <a:pt x="11746137" y="1830819"/>
                  <a:pt x="11827489" y="1842230"/>
                </a:cubicBezTo>
                <a:cubicBezTo>
                  <a:pt x="11830641" y="1842501"/>
                  <a:pt x="11833794" y="1842773"/>
                  <a:pt x="11836946" y="1843046"/>
                </a:cubicBezTo>
                <a:cubicBezTo>
                  <a:pt x="11841292" y="1843663"/>
                  <a:pt x="11844519" y="1845897"/>
                  <a:pt x="11842362" y="1851086"/>
                </a:cubicBezTo>
                <a:cubicBezTo>
                  <a:pt x="11841819" y="1857391"/>
                  <a:pt x="11838244" y="1856350"/>
                  <a:pt x="11833901" y="1855732"/>
                </a:cubicBezTo>
                <a:cubicBezTo>
                  <a:pt x="11817868" y="1852518"/>
                  <a:pt x="11801726" y="1850239"/>
                  <a:pt x="11785510" y="1848597"/>
                </a:cubicBezTo>
                <a:lnTo>
                  <a:pt x="11767387" y="1847364"/>
                </a:lnTo>
                <a:lnTo>
                  <a:pt x="11845289" y="1862300"/>
                </a:lnTo>
                <a:cubicBezTo>
                  <a:pt x="11970245" y="1894430"/>
                  <a:pt x="12086789" y="1949095"/>
                  <a:pt x="12189934" y="2022009"/>
                </a:cubicBezTo>
                <a:lnTo>
                  <a:pt x="12192528" y="2024036"/>
                </a:lnTo>
                <a:lnTo>
                  <a:pt x="12192528" y="3912503"/>
                </a:lnTo>
                <a:lnTo>
                  <a:pt x="8919422" y="3912503"/>
                </a:lnTo>
                <a:lnTo>
                  <a:pt x="7502493" y="3912503"/>
                </a:lnTo>
                <a:lnTo>
                  <a:pt x="7486248" y="3912503"/>
                </a:lnTo>
                <a:lnTo>
                  <a:pt x="6270700" y="3912503"/>
                </a:lnTo>
                <a:lnTo>
                  <a:pt x="2570428" y="3912503"/>
                </a:lnTo>
                <a:lnTo>
                  <a:pt x="2568147" y="3901375"/>
                </a:lnTo>
                <a:cubicBezTo>
                  <a:pt x="2570303" y="3898823"/>
                  <a:pt x="2570303" y="3898823"/>
                  <a:pt x="2570303" y="3898823"/>
                </a:cubicBezTo>
                <a:cubicBezTo>
                  <a:pt x="2570303" y="3898823"/>
                  <a:pt x="2567750" y="3896665"/>
                  <a:pt x="2567750" y="3896665"/>
                </a:cubicBezTo>
                <a:cubicBezTo>
                  <a:pt x="2569906" y="3894114"/>
                  <a:pt x="2566957" y="3887246"/>
                  <a:pt x="2566957" y="3887246"/>
                </a:cubicBezTo>
                <a:cubicBezTo>
                  <a:pt x="2566560" y="3882536"/>
                  <a:pt x="2564403" y="3885089"/>
                  <a:pt x="2564800" y="3889799"/>
                </a:cubicBezTo>
                <a:cubicBezTo>
                  <a:pt x="2562644" y="3892351"/>
                  <a:pt x="2562644" y="3892351"/>
                  <a:pt x="2565197" y="3894508"/>
                </a:cubicBezTo>
                <a:cubicBezTo>
                  <a:pt x="2559693" y="3885484"/>
                  <a:pt x="2562815" y="3866250"/>
                  <a:pt x="2555553" y="3864488"/>
                </a:cubicBezTo>
                <a:cubicBezTo>
                  <a:pt x="2556062" y="3884602"/>
                  <a:pt x="2551805" y="3897410"/>
                  <a:pt x="2548775" y="3910707"/>
                </a:cubicBezTo>
                <a:lnTo>
                  <a:pt x="2548533" y="3912503"/>
                </a:lnTo>
                <a:lnTo>
                  <a:pt x="528" y="3912503"/>
                </a:lnTo>
                <a:lnTo>
                  <a:pt x="528" y="2422816"/>
                </a:lnTo>
                <a:lnTo>
                  <a:pt x="562" y="2422797"/>
                </a:lnTo>
                <a:lnTo>
                  <a:pt x="562" y="2354170"/>
                </a:lnTo>
                <a:lnTo>
                  <a:pt x="528" y="2354165"/>
                </a:lnTo>
                <a:lnTo>
                  <a:pt x="528" y="2245643"/>
                </a:lnTo>
                <a:lnTo>
                  <a:pt x="562" y="2245615"/>
                </a:lnTo>
                <a:lnTo>
                  <a:pt x="562" y="2234827"/>
                </a:lnTo>
                <a:lnTo>
                  <a:pt x="528" y="2234823"/>
                </a:lnTo>
                <a:lnTo>
                  <a:pt x="528" y="2160151"/>
                </a:lnTo>
                <a:lnTo>
                  <a:pt x="562" y="2160070"/>
                </a:lnTo>
                <a:lnTo>
                  <a:pt x="562" y="2014682"/>
                </a:lnTo>
                <a:lnTo>
                  <a:pt x="528" y="2014748"/>
                </a:lnTo>
                <a:lnTo>
                  <a:pt x="528" y="1980386"/>
                </a:lnTo>
                <a:lnTo>
                  <a:pt x="562" y="1980516"/>
                </a:lnTo>
                <a:lnTo>
                  <a:pt x="562" y="1921057"/>
                </a:lnTo>
                <a:lnTo>
                  <a:pt x="65793" y="1885408"/>
                </a:lnTo>
                <a:lnTo>
                  <a:pt x="130401" y="1855429"/>
                </a:lnTo>
                <a:lnTo>
                  <a:pt x="147299" y="1842541"/>
                </a:lnTo>
                <a:cubicBezTo>
                  <a:pt x="155496" y="1837857"/>
                  <a:pt x="164083" y="1834346"/>
                  <a:pt x="172670" y="1832005"/>
                </a:cubicBezTo>
                <a:cubicBezTo>
                  <a:pt x="247615" y="1806244"/>
                  <a:pt x="321680" y="1773458"/>
                  <a:pt x="400135" y="1753406"/>
                </a:cubicBezTo>
                <a:lnTo>
                  <a:pt x="421747" y="1749338"/>
                </a:lnTo>
                <a:lnTo>
                  <a:pt x="454512" y="1738616"/>
                </a:lnTo>
                <a:lnTo>
                  <a:pt x="475466" y="1732990"/>
                </a:lnTo>
                <a:lnTo>
                  <a:pt x="472883" y="1730110"/>
                </a:lnTo>
                <a:cubicBezTo>
                  <a:pt x="464248" y="1724768"/>
                  <a:pt x="452538" y="1726232"/>
                  <a:pt x="444340" y="1718036"/>
                </a:cubicBezTo>
                <a:cubicBezTo>
                  <a:pt x="478690" y="1700861"/>
                  <a:pt x="514601" y="1693056"/>
                  <a:pt x="550512" y="1686811"/>
                </a:cubicBezTo>
                <a:lnTo>
                  <a:pt x="605595" y="1677864"/>
                </a:lnTo>
                <a:lnTo>
                  <a:pt x="611881" y="1672556"/>
                </a:lnTo>
                <a:cubicBezTo>
                  <a:pt x="617385" y="1670164"/>
                  <a:pt x="623228" y="1669384"/>
                  <a:pt x="629208" y="1669316"/>
                </a:cubicBezTo>
                <a:lnTo>
                  <a:pt x="654158" y="1669977"/>
                </a:lnTo>
                <a:lnTo>
                  <a:pt x="736748" y="1656562"/>
                </a:lnTo>
                <a:lnTo>
                  <a:pt x="784107" y="1651855"/>
                </a:lnTo>
                <a:lnTo>
                  <a:pt x="778563" y="1641534"/>
                </a:lnTo>
                <a:cubicBezTo>
                  <a:pt x="777948" y="1639694"/>
                  <a:pt x="778255" y="1637853"/>
                  <a:pt x="776413" y="1636320"/>
                </a:cubicBezTo>
                <a:cubicBezTo>
                  <a:pt x="774569" y="1634787"/>
                  <a:pt x="774877" y="1632945"/>
                  <a:pt x="776105" y="1631105"/>
                </a:cubicBezTo>
                <a:cubicBezTo>
                  <a:pt x="776719" y="1629878"/>
                  <a:pt x="777948" y="1628345"/>
                  <a:pt x="777027" y="1627118"/>
                </a:cubicBezTo>
                <a:lnTo>
                  <a:pt x="777210" y="1626130"/>
                </a:lnTo>
                <a:lnTo>
                  <a:pt x="752801" y="1628923"/>
                </a:lnTo>
                <a:cubicBezTo>
                  <a:pt x="604670" y="1651098"/>
                  <a:pt x="459174" y="1687982"/>
                  <a:pt x="316312" y="1733647"/>
                </a:cubicBezTo>
                <a:cubicBezTo>
                  <a:pt x="277279" y="1746137"/>
                  <a:pt x="236684" y="1758626"/>
                  <a:pt x="196090" y="1764871"/>
                </a:cubicBezTo>
                <a:cubicBezTo>
                  <a:pt x="341293" y="1701643"/>
                  <a:pt x="490400" y="1654024"/>
                  <a:pt x="643409" y="1622411"/>
                </a:cubicBezTo>
                <a:lnTo>
                  <a:pt x="789090" y="1600242"/>
                </a:lnTo>
                <a:lnTo>
                  <a:pt x="795148" y="1596443"/>
                </a:lnTo>
                <a:cubicBezTo>
                  <a:pt x="796377" y="1594296"/>
                  <a:pt x="802212" y="1595830"/>
                  <a:pt x="804975" y="1596138"/>
                </a:cubicBezTo>
                <a:cubicBezTo>
                  <a:pt x="808201" y="1596597"/>
                  <a:pt x="811731" y="1595830"/>
                  <a:pt x="815110" y="1595868"/>
                </a:cubicBezTo>
                <a:lnTo>
                  <a:pt x="815751" y="1596185"/>
                </a:lnTo>
                <a:lnTo>
                  <a:pt x="875852" y="1587040"/>
                </a:lnTo>
                <a:cubicBezTo>
                  <a:pt x="954309" y="1579282"/>
                  <a:pt x="1033742" y="1575574"/>
                  <a:pt x="1114150" y="1575965"/>
                </a:cubicBezTo>
                <a:cubicBezTo>
                  <a:pt x="1103221" y="1557230"/>
                  <a:pt x="1084484" y="1565036"/>
                  <a:pt x="1064186" y="1552546"/>
                </a:cubicBezTo>
                <a:cubicBezTo>
                  <a:pt x="1120395" y="1552546"/>
                  <a:pt x="1168796" y="1552546"/>
                  <a:pt x="1215635" y="1557230"/>
                </a:cubicBezTo>
                <a:cubicBezTo>
                  <a:pt x="1285896" y="1565036"/>
                  <a:pt x="1356155" y="1574404"/>
                  <a:pt x="1427976" y="1580649"/>
                </a:cubicBezTo>
                <a:cubicBezTo>
                  <a:pt x="1432659" y="1582209"/>
                  <a:pt x="1443590" y="1588454"/>
                  <a:pt x="1445151" y="1577525"/>
                </a:cubicBezTo>
                <a:lnTo>
                  <a:pt x="1444119" y="1575061"/>
                </a:lnTo>
                <a:lnTo>
                  <a:pt x="1439234" y="1568556"/>
                </a:lnTo>
                <a:lnTo>
                  <a:pt x="1431100" y="1566598"/>
                </a:lnTo>
                <a:cubicBezTo>
                  <a:pt x="1365524" y="1553717"/>
                  <a:pt x="1301704" y="1537325"/>
                  <a:pt x="1235689" y="1533226"/>
                </a:cubicBezTo>
                <a:lnTo>
                  <a:pt x="1229745" y="1533279"/>
                </a:lnTo>
                <a:lnTo>
                  <a:pt x="1229336" y="1534098"/>
                </a:lnTo>
                <a:cubicBezTo>
                  <a:pt x="1229336" y="1536953"/>
                  <a:pt x="1228192" y="1537524"/>
                  <a:pt x="1225906" y="1535526"/>
                </a:cubicBezTo>
                <a:cubicBezTo>
                  <a:pt x="1222476" y="1532672"/>
                  <a:pt x="1220189" y="1532672"/>
                  <a:pt x="1219332" y="1537524"/>
                </a:cubicBezTo>
                <a:cubicBezTo>
                  <a:pt x="1219047" y="1538665"/>
                  <a:pt x="1218189" y="1540092"/>
                  <a:pt x="1217045" y="1538665"/>
                </a:cubicBezTo>
                <a:cubicBezTo>
                  <a:pt x="1213331" y="1534955"/>
                  <a:pt x="1210759" y="1537238"/>
                  <a:pt x="1207900" y="1539807"/>
                </a:cubicBezTo>
                <a:cubicBezTo>
                  <a:pt x="1207614" y="1540378"/>
                  <a:pt x="1206470" y="1540378"/>
                  <a:pt x="1205899" y="1540378"/>
                </a:cubicBezTo>
                <a:lnTo>
                  <a:pt x="1195161" y="1533581"/>
                </a:lnTo>
                <a:lnTo>
                  <a:pt x="1168796" y="1533811"/>
                </a:lnTo>
                <a:cubicBezTo>
                  <a:pt x="1148499" y="1536934"/>
                  <a:pt x="1126640" y="1526006"/>
                  <a:pt x="1104782" y="1522884"/>
                </a:cubicBezTo>
                <a:cubicBezTo>
                  <a:pt x="1014225" y="1507271"/>
                  <a:pt x="925230" y="1526006"/>
                  <a:pt x="834671" y="1535372"/>
                </a:cubicBezTo>
                <a:lnTo>
                  <a:pt x="590413" y="1575123"/>
                </a:lnTo>
                <a:lnTo>
                  <a:pt x="586633" y="1580157"/>
                </a:lnTo>
                <a:cubicBezTo>
                  <a:pt x="583869" y="1580462"/>
                  <a:pt x="584483" y="1582609"/>
                  <a:pt x="584483" y="1584451"/>
                </a:cubicBezTo>
                <a:cubicBezTo>
                  <a:pt x="584483" y="1587518"/>
                  <a:pt x="583254" y="1588131"/>
                  <a:pt x="580797" y="1585983"/>
                </a:cubicBezTo>
                <a:cubicBezTo>
                  <a:pt x="577111" y="1582917"/>
                  <a:pt x="574654" y="1582917"/>
                  <a:pt x="573734" y="1588131"/>
                </a:cubicBezTo>
                <a:cubicBezTo>
                  <a:pt x="573427" y="1589358"/>
                  <a:pt x="572505" y="1590893"/>
                  <a:pt x="571276" y="1589358"/>
                </a:cubicBezTo>
                <a:cubicBezTo>
                  <a:pt x="567284" y="1585370"/>
                  <a:pt x="564520" y="1587825"/>
                  <a:pt x="561449" y="1590585"/>
                </a:cubicBezTo>
                <a:cubicBezTo>
                  <a:pt x="561141" y="1591198"/>
                  <a:pt x="559913" y="1591198"/>
                  <a:pt x="559299" y="1591198"/>
                </a:cubicBezTo>
                <a:lnTo>
                  <a:pt x="545458" y="1582437"/>
                </a:lnTo>
                <a:lnTo>
                  <a:pt x="536068" y="1583966"/>
                </a:lnTo>
                <a:lnTo>
                  <a:pt x="359357" y="1631156"/>
                </a:lnTo>
                <a:lnTo>
                  <a:pt x="355670" y="1635560"/>
                </a:lnTo>
                <a:cubicBezTo>
                  <a:pt x="352760" y="1637629"/>
                  <a:pt x="348601" y="1637215"/>
                  <a:pt x="346523" y="1640113"/>
                </a:cubicBezTo>
                <a:cubicBezTo>
                  <a:pt x="343612" y="1640113"/>
                  <a:pt x="341116" y="1640113"/>
                  <a:pt x="338206" y="1640113"/>
                </a:cubicBezTo>
                <a:cubicBezTo>
                  <a:pt x="338206" y="1638871"/>
                  <a:pt x="337789" y="1638458"/>
                  <a:pt x="336959" y="1638458"/>
                </a:cubicBezTo>
                <a:lnTo>
                  <a:pt x="335701" y="1637474"/>
                </a:lnTo>
                <a:lnTo>
                  <a:pt x="244491" y="1661832"/>
                </a:lnTo>
                <a:cubicBezTo>
                  <a:pt x="214436" y="1671199"/>
                  <a:pt x="185064" y="1682225"/>
                  <a:pt x="156106" y="1694300"/>
                </a:cubicBezTo>
                <a:lnTo>
                  <a:pt x="75309" y="1730759"/>
                </a:lnTo>
                <a:lnTo>
                  <a:pt x="77712" y="1732282"/>
                </a:lnTo>
                <a:cubicBezTo>
                  <a:pt x="78882" y="1735003"/>
                  <a:pt x="80054" y="1736559"/>
                  <a:pt x="82397" y="1737724"/>
                </a:cubicBezTo>
                <a:cubicBezTo>
                  <a:pt x="82397" y="1742389"/>
                  <a:pt x="82397" y="1747054"/>
                  <a:pt x="82397" y="1751718"/>
                </a:cubicBezTo>
                <a:cubicBezTo>
                  <a:pt x="78492" y="1753662"/>
                  <a:pt x="75369" y="1756771"/>
                  <a:pt x="73807" y="1760270"/>
                </a:cubicBezTo>
                <a:cubicBezTo>
                  <a:pt x="71854" y="1763380"/>
                  <a:pt x="70293" y="1766878"/>
                  <a:pt x="68340" y="1770377"/>
                </a:cubicBezTo>
                <a:lnTo>
                  <a:pt x="67944" y="1771344"/>
                </a:lnTo>
                <a:lnTo>
                  <a:pt x="69426" y="1780598"/>
                </a:lnTo>
                <a:cubicBezTo>
                  <a:pt x="67666" y="1785620"/>
                  <a:pt x="70430" y="1790642"/>
                  <a:pt x="72942" y="1795163"/>
                </a:cubicBezTo>
                <a:cubicBezTo>
                  <a:pt x="73949" y="1797424"/>
                  <a:pt x="74450" y="1798931"/>
                  <a:pt x="72692" y="1801191"/>
                </a:cubicBezTo>
                <a:cubicBezTo>
                  <a:pt x="65656" y="1810735"/>
                  <a:pt x="60379" y="1821284"/>
                  <a:pt x="59374" y="1833591"/>
                </a:cubicBezTo>
                <a:cubicBezTo>
                  <a:pt x="59123" y="1835348"/>
                  <a:pt x="58619" y="1836102"/>
                  <a:pt x="56861" y="1835600"/>
                </a:cubicBezTo>
                <a:cubicBezTo>
                  <a:pt x="49825" y="1834092"/>
                  <a:pt x="45302" y="1837860"/>
                  <a:pt x="41533" y="1842882"/>
                </a:cubicBezTo>
                <a:cubicBezTo>
                  <a:pt x="39774" y="1845143"/>
                  <a:pt x="38266" y="1846398"/>
                  <a:pt x="35000" y="1844892"/>
                </a:cubicBezTo>
                <a:cubicBezTo>
                  <a:pt x="30979" y="1842632"/>
                  <a:pt x="27210" y="1844641"/>
                  <a:pt x="23943" y="1847403"/>
                </a:cubicBezTo>
                <a:cubicBezTo>
                  <a:pt x="21179" y="1849664"/>
                  <a:pt x="18416" y="1852427"/>
                  <a:pt x="15651" y="1854687"/>
                </a:cubicBezTo>
                <a:cubicBezTo>
                  <a:pt x="14270" y="1855692"/>
                  <a:pt x="12950" y="1856256"/>
                  <a:pt x="11883" y="1856037"/>
                </a:cubicBezTo>
                <a:cubicBezTo>
                  <a:pt x="10814" y="1855818"/>
                  <a:pt x="9998" y="1854812"/>
                  <a:pt x="9620" y="1852677"/>
                </a:cubicBezTo>
                <a:cubicBezTo>
                  <a:pt x="9620" y="1851673"/>
                  <a:pt x="9369" y="1850669"/>
                  <a:pt x="8867" y="1849664"/>
                </a:cubicBezTo>
                <a:cubicBezTo>
                  <a:pt x="8364" y="1848408"/>
                  <a:pt x="8364" y="1846398"/>
                  <a:pt x="6605" y="1846148"/>
                </a:cubicBezTo>
                <a:cubicBezTo>
                  <a:pt x="5097" y="1846148"/>
                  <a:pt x="4093" y="1847403"/>
                  <a:pt x="3338" y="1848408"/>
                </a:cubicBezTo>
                <a:lnTo>
                  <a:pt x="562" y="1847945"/>
                </a:lnTo>
                <a:lnTo>
                  <a:pt x="562" y="1732372"/>
                </a:lnTo>
                <a:lnTo>
                  <a:pt x="6856" y="1727102"/>
                </a:lnTo>
                <a:cubicBezTo>
                  <a:pt x="7609" y="1725344"/>
                  <a:pt x="8616" y="1723083"/>
                  <a:pt x="6856" y="1721576"/>
                </a:cubicBezTo>
                <a:lnTo>
                  <a:pt x="562" y="1720849"/>
                </a:lnTo>
                <a:lnTo>
                  <a:pt x="562" y="1641326"/>
                </a:lnTo>
                <a:lnTo>
                  <a:pt x="3841" y="1633420"/>
                </a:lnTo>
                <a:cubicBezTo>
                  <a:pt x="3338" y="1632667"/>
                  <a:pt x="2836" y="1632166"/>
                  <a:pt x="2585" y="1631411"/>
                </a:cubicBezTo>
                <a:cubicBezTo>
                  <a:pt x="1830" y="1629905"/>
                  <a:pt x="1328" y="1627895"/>
                  <a:pt x="2836" y="1626890"/>
                </a:cubicBezTo>
                <a:cubicBezTo>
                  <a:pt x="4093" y="1625887"/>
                  <a:pt x="5852" y="1626890"/>
                  <a:pt x="6856" y="1627895"/>
                </a:cubicBezTo>
                <a:cubicBezTo>
                  <a:pt x="7861" y="1628900"/>
                  <a:pt x="8616" y="1629905"/>
                  <a:pt x="9369" y="1631160"/>
                </a:cubicBezTo>
                <a:cubicBezTo>
                  <a:pt x="10877" y="1632919"/>
                  <a:pt x="12385" y="1633420"/>
                  <a:pt x="14395" y="1631914"/>
                </a:cubicBezTo>
                <a:cubicBezTo>
                  <a:pt x="19170" y="1628649"/>
                  <a:pt x="24447" y="1628147"/>
                  <a:pt x="29723" y="1627895"/>
                </a:cubicBezTo>
                <a:cubicBezTo>
                  <a:pt x="36005" y="1627394"/>
                  <a:pt x="42538" y="1628147"/>
                  <a:pt x="48821" y="1626640"/>
                </a:cubicBezTo>
                <a:cubicBezTo>
                  <a:pt x="51082" y="1626137"/>
                  <a:pt x="52338" y="1627645"/>
                  <a:pt x="53344" y="1628900"/>
                </a:cubicBezTo>
                <a:cubicBezTo>
                  <a:pt x="56861" y="1632919"/>
                  <a:pt x="60128" y="1636937"/>
                  <a:pt x="66410" y="1634927"/>
                </a:cubicBezTo>
                <a:cubicBezTo>
                  <a:pt x="67666" y="1634677"/>
                  <a:pt x="68420" y="1635681"/>
                  <a:pt x="68922" y="1636686"/>
                </a:cubicBezTo>
                <a:cubicBezTo>
                  <a:pt x="71687" y="1641709"/>
                  <a:pt x="76210" y="1645727"/>
                  <a:pt x="79980" y="1649997"/>
                </a:cubicBezTo>
                <a:cubicBezTo>
                  <a:pt x="85759" y="1656527"/>
                  <a:pt x="89025" y="1663810"/>
                  <a:pt x="86763" y="1672601"/>
                </a:cubicBezTo>
                <a:cubicBezTo>
                  <a:pt x="86009" y="1676117"/>
                  <a:pt x="88020" y="1678378"/>
                  <a:pt x="90031" y="1680387"/>
                </a:cubicBezTo>
                <a:cubicBezTo>
                  <a:pt x="94554" y="1685159"/>
                  <a:pt x="94302" y="1687670"/>
                  <a:pt x="89276" y="1691438"/>
                </a:cubicBezTo>
                <a:cubicBezTo>
                  <a:pt x="83749" y="1695205"/>
                  <a:pt x="83749" y="1695205"/>
                  <a:pt x="88271" y="1700730"/>
                </a:cubicBezTo>
                <a:lnTo>
                  <a:pt x="88282" y="1700881"/>
                </a:lnTo>
                <a:lnTo>
                  <a:pt x="191406" y="1652464"/>
                </a:lnTo>
                <a:lnTo>
                  <a:pt x="323467" y="1609882"/>
                </a:lnTo>
                <a:lnTo>
                  <a:pt x="327394" y="1598715"/>
                </a:lnTo>
                <a:cubicBezTo>
                  <a:pt x="329057" y="1597059"/>
                  <a:pt x="330720" y="1595817"/>
                  <a:pt x="333631" y="1594990"/>
                </a:cubicBezTo>
                <a:lnTo>
                  <a:pt x="339777" y="1587261"/>
                </a:lnTo>
                <a:lnTo>
                  <a:pt x="338724" y="1585497"/>
                </a:lnTo>
                <a:cubicBezTo>
                  <a:pt x="337227" y="1585160"/>
                  <a:pt x="335295" y="1586124"/>
                  <a:pt x="332976" y="1588054"/>
                </a:cubicBezTo>
                <a:cubicBezTo>
                  <a:pt x="329886" y="1590754"/>
                  <a:pt x="328340" y="1589984"/>
                  <a:pt x="328340" y="1586124"/>
                </a:cubicBezTo>
                <a:cubicBezTo>
                  <a:pt x="328340" y="1583809"/>
                  <a:pt x="329113" y="1581108"/>
                  <a:pt x="325635" y="1580722"/>
                </a:cubicBezTo>
                <a:cubicBezTo>
                  <a:pt x="317908" y="1579178"/>
                  <a:pt x="314818" y="1573776"/>
                  <a:pt x="315204" y="1566830"/>
                </a:cubicBezTo>
                <a:cubicBezTo>
                  <a:pt x="315590" y="1561814"/>
                  <a:pt x="314045" y="1559499"/>
                  <a:pt x="310567" y="1557569"/>
                </a:cubicBezTo>
                <a:cubicBezTo>
                  <a:pt x="310567" y="1556025"/>
                  <a:pt x="310567" y="1554483"/>
                  <a:pt x="310567" y="1552939"/>
                </a:cubicBezTo>
                <a:cubicBezTo>
                  <a:pt x="314431" y="1550624"/>
                  <a:pt x="315590" y="1546379"/>
                  <a:pt x="314431" y="1542521"/>
                </a:cubicBezTo>
                <a:cubicBezTo>
                  <a:pt x="312499" y="1535574"/>
                  <a:pt x="314818" y="1530172"/>
                  <a:pt x="319840" y="1525542"/>
                </a:cubicBezTo>
                <a:cubicBezTo>
                  <a:pt x="321772" y="1523612"/>
                  <a:pt x="323704" y="1522068"/>
                  <a:pt x="324476" y="1519368"/>
                </a:cubicBezTo>
                <a:cubicBezTo>
                  <a:pt x="325249" y="1515123"/>
                  <a:pt x="327567" y="1512807"/>
                  <a:pt x="331818" y="1513193"/>
                </a:cubicBezTo>
                <a:cubicBezTo>
                  <a:pt x="334908" y="1513193"/>
                  <a:pt x="337227" y="1511264"/>
                  <a:pt x="338386" y="1509720"/>
                </a:cubicBezTo>
                <a:cubicBezTo>
                  <a:pt x="341670" y="1505090"/>
                  <a:pt x="345727" y="1504029"/>
                  <a:pt x="349977" y="1503980"/>
                </a:cubicBezTo>
                <a:cubicBezTo>
                  <a:pt x="354228" y="1503932"/>
                  <a:pt x="358671" y="1504897"/>
                  <a:pt x="362727" y="1504318"/>
                </a:cubicBezTo>
                <a:cubicBezTo>
                  <a:pt x="366204" y="1503933"/>
                  <a:pt x="373545" y="1502003"/>
                  <a:pt x="375091" y="1504704"/>
                </a:cubicBezTo>
                <a:cubicBezTo>
                  <a:pt x="379728" y="1512422"/>
                  <a:pt x="391705" y="1509334"/>
                  <a:pt x="394410" y="1519753"/>
                </a:cubicBezTo>
                <a:cubicBezTo>
                  <a:pt x="395182" y="1522840"/>
                  <a:pt x="400591" y="1524770"/>
                  <a:pt x="395569" y="1529015"/>
                </a:cubicBezTo>
                <a:cubicBezTo>
                  <a:pt x="394023" y="1530172"/>
                  <a:pt x="394410" y="1532487"/>
                  <a:pt x="395955" y="1532873"/>
                </a:cubicBezTo>
                <a:cubicBezTo>
                  <a:pt x="402137" y="1535188"/>
                  <a:pt x="401751" y="1538661"/>
                  <a:pt x="397886" y="1543291"/>
                </a:cubicBezTo>
                <a:cubicBezTo>
                  <a:pt x="396728" y="1544835"/>
                  <a:pt x="398273" y="1546765"/>
                  <a:pt x="399046" y="1548308"/>
                </a:cubicBezTo>
                <a:cubicBezTo>
                  <a:pt x="400591" y="1550624"/>
                  <a:pt x="400978" y="1552939"/>
                  <a:pt x="398659" y="1554869"/>
                </a:cubicBezTo>
                <a:cubicBezTo>
                  <a:pt x="396342" y="1556797"/>
                  <a:pt x="396728" y="1559113"/>
                  <a:pt x="395955" y="1561428"/>
                </a:cubicBezTo>
                <a:cubicBezTo>
                  <a:pt x="394023" y="1567216"/>
                  <a:pt x="391705" y="1574548"/>
                  <a:pt x="387455" y="1577250"/>
                </a:cubicBezTo>
                <a:lnTo>
                  <a:pt x="380836" y="1581439"/>
                </a:lnTo>
                <a:lnTo>
                  <a:pt x="381453" y="1582156"/>
                </a:lnTo>
                <a:lnTo>
                  <a:pt x="381453" y="1591186"/>
                </a:lnTo>
                <a:lnTo>
                  <a:pt x="426240" y="1576746"/>
                </a:lnTo>
                <a:lnTo>
                  <a:pt x="528308" y="1554876"/>
                </a:lnTo>
                <a:lnTo>
                  <a:pt x="528278" y="1554390"/>
                </a:lnTo>
                <a:cubicBezTo>
                  <a:pt x="528894" y="1553163"/>
                  <a:pt x="530121" y="1551629"/>
                  <a:pt x="529200" y="1550402"/>
                </a:cubicBezTo>
                <a:cubicBezTo>
                  <a:pt x="526129" y="1546722"/>
                  <a:pt x="525822" y="1543960"/>
                  <a:pt x="530736" y="1542121"/>
                </a:cubicBezTo>
                <a:cubicBezTo>
                  <a:pt x="531965" y="1541813"/>
                  <a:pt x="532272" y="1539973"/>
                  <a:pt x="531043" y="1539053"/>
                </a:cubicBezTo>
                <a:cubicBezTo>
                  <a:pt x="527050" y="1535679"/>
                  <a:pt x="531349" y="1534146"/>
                  <a:pt x="531965" y="1531691"/>
                </a:cubicBezTo>
                <a:cubicBezTo>
                  <a:pt x="534114" y="1523410"/>
                  <a:pt x="543635" y="1525863"/>
                  <a:pt x="547321" y="1519728"/>
                </a:cubicBezTo>
                <a:cubicBezTo>
                  <a:pt x="548550" y="1517582"/>
                  <a:pt x="554385" y="1519115"/>
                  <a:pt x="557148" y="1519422"/>
                </a:cubicBezTo>
                <a:cubicBezTo>
                  <a:pt x="563599" y="1520343"/>
                  <a:pt x="571276" y="1516354"/>
                  <a:pt x="576498" y="1523716"/>
                </a:cubicBezTo>
                <a:cubicBezTo>
                  <a:pt x="577419" y="1524943"/>
                  <a:pt x="579262" y="1526477"/>
                  <a:pt x="581718" y="1526477"/>
                </a:cubicBezTo>
                <a:cubicBezTo>
                  <a:pt x="585098" y="1526170"/>
                  <a:pt x="586940" y="1528011"/>
                  <a:pt x="587553" y="1531385"/>
                </a:cubicBezTo>
                <a:cubicBezTo>
                  <a:pt x="588169" y="1533532"/>
                  <a:pt x="589705" y="1534759"/>
                  <a:pt x="591240" y="1536293"/>
                </a:cubicBezTo>
                <a:lnTo>
                  <a:pt x="592760" y="1541067"/>
                </a:lnTo>
                <a:lnTo>
                  <a:pt x="664878" y="1525615"/>
                </a:lnTo>
                <a:cubicBezTo>
                  <a:pt x="825303" y="1499856"/>
                  <a:pt x="988463" y="1490878"/>
                  <a:pt x="1154743" y="1499465"/>
                </a:cubicBezTo>
                <a:lnTo>
                  <a:pt x="1178003" y="1501806"/>
                </a:lnTo>
                <a:lnTo>
                  <a:pt x="1179320" y="1494708"/>
                </a:lnTo>
                <a:cubicBezTo>
                  <a:pt x="1180463" y="1494422"/>
                  <a:pt x="1180749" y="1492710"/>
                  <a:pt x="1179605" y="1491853"/>
                </a:cubicBezTo>
                <a:cubicBezTo>
                  <a:pt x="1175889" y="1488714"/>
                  <a:pt x="1179892" y="1487286"/>
                  <a:pt x="1180463" y="1485004"/>
                </a:cubicBezTo>
                <a:cubicBezTo>
                  <a:pt x="1181463" y="1481149"/>
                  <a:pt x="1184178" y="1479793"/>
                  <a:pt x="1187073" y="1478687"/>
                </a:cubicBezTo>
                <a:lnTo>
                  <a:pt x="1190229" y="1476707"/>
                </a:lnTo>
                <a:lnTo>
                  <a:pt x="1159428" y="1474486"/>
                </a:lnTo>
                <a:cubicBezTo>
                  <a:pt x="1009541" y="1471363"/>
                  <a:pt x="859654" y="1468241"/>
                  <a:pt x="711328" y="1491660"/>
                </a:cubicBezTo>
                <a:cubicBezTo>
                  <a:pt x="653558" y="1502588"/>
                  <a:pt x="594229" y="1494782"/>
                  <a:pt x="536460" y="1494781"/>
                </a:cubicBezTo>
                <a:cubicBezTo>
                  <a:pt x="725380" y="1460435"/>
                  <a:pt x="915860" y="1440139"/>
                  <a:pt x="1107905" y="1440139"/>
                </a:cubicBezTo>
                <a:cubicBezTo>
                  <a:pt x="1301508" y="1441701"/>
                  <a:pt x="1490429" y="1465118"/>
                  <a:pt x="1677788" y="1516639"/>
                </a:cubicBezTo>
                <a:cubicBezTo>
                  <a:pt x="1512287" y="1458874"/>
                  <a:pt x="1337419" y="1433895"/>
                  <a:pt x="1167234" y="1397987"/>
                </a:cubicBezTo>
                <a:cubicBezTo>
                  <a:pt x="1167234" y="1394864"/>
                  <a:pt x="1168796" y="1391742"/>
                  <a:pt x="1168796" y="1390180"/>
                </a:cubicBezTo>
                <a:cubicBezTo>
                  <a:pt x="1217197" y="1394864"/>
                  <a:pt x="1265599" y="1399548"/>
                  <a:pt x="1315562" y="1405792"/>
                </a:cubicBezTo>
                <a:cubicBezTo>
                  <a:pt x="1391091" y="1416037"/>
                  <a:pt x="1465577" y="1429302"/>
                  <a:pt x="1539021" y="1445523"/>
                </a:cubicBezTo>
                <a:lnTo>
                  <a:pt x="1712598" y="1491453"/>
                </a:lnTo>
                <a:lnTo>
                  <a:pt x="1708390" y="1487758"/>
                </a:lnTo>
                <a:cubicBezTo>
                  <a:pt x="1705733" y="1485509"/>
                  <a:pt x="1702665" y="1483875"/>
                  <a:pt x="1699393" y="1485714"/>
                </a:cubicBezTo>
                <a:cubicBezTo>
                  <a:pt x="1696735" y="1486940"/>
                  <a:pt x="1695509" y="1485918"/>
                  <a:pt x="1694076" y="1484079"/>
                </a:cubicBezTo>
                <a:cubicBezTo>
                  <a:pt x="1691010" y="1479992"/>
                  <a:pt x="1687329" y="1476926"/>
                  <a:pt x="1681604" y="1478152"/>
                </a:cubicBezTo>
                <a:cubicBezTo>
                  <a:pt x="1680173" y="1478561"/>
                  <a:pt x="1679763" y="1477947"/>
                  <a:pt x="1679558" y="1476517"/>
                </a:cubicBezTo>
                <a:cubicBezTo>
                  <a:pt x="1678740" y="1466502"/>
                  <a:pt x="1674446" y="1457918"/>
                  <a:pt x="1668721" y="1450152"/>
                </a:cubicBezTo>
                <a:cubicBezTo>
                  <a:pt x="1667290" y="1448313"/>
                  <a:pt x="1667699" y="1447086"/>
                  <a:pt x="1668516" y="1445247"/>
                </a:cubicBezTo>
                <a:cubicBezTo>
                  <a:pt x="1670561" y="1441569"/>
                  <a:pt x="1672811" y="1437481"/>
                  <a:pt x="1671380" y="1433394"/>
                </a:cubicBezTo>
                <a:cubicBezTo>
                  <a:pt x="1669948" y="1429306"/>
                  <a:pt x="1670971" y="1426444"/>
                  <a:pt x="1673015" y="1423174"/>
                </a:cubicBezTo>
                <a:cubicBezTo>
                  <a:pt x="1673628" y="1422153"/>
                  <a:pt x="1674037" y="1421131"/>
                  <a:pt x="1674651" y="1419904"/>
                </a:cubicBezTo>
                <a:cubicBezTo>
                  <a:pt x="1677309" y="1413978"/>
                  <a:pt x="1680377" y="1408459"/>
                  <a:pt x="1686716" y="1405598"/>
                </a:cubicBezTo>
                <a:cubicBezTo>
                  <a:pt x="1687942" y="1405189"/>
                  <a:pt x="1687942" y="1404371"/>
                  <a:pt x="1687942" y="1403349"/>
                </a:cubicBezTo>
                <a:cubicBezTo>
                  <a:pt x="1687738" y="1400284"/>
                  <a:pt x="1682217" y="1392926"/>
                  <a:pt x="1679354" y="1392108"/>
                </a:cubicBezTo>
                <a:cubicBezTo>
                  <a:pt x="1674855" y="1391087"/>
                  <a:pt x="1670971" y="1388839"/>
                  <a:pt x="1667903" y="1385364"/>
                </a:cubicBezTo>
                <a:cubicBezTo>
                  <a:pt x="1663609" y="1380868"/>
                  <a:pt x="1659928" y="1376167"/>
                  <a:pt x="1655838" y="1371467"/>
                </a:cubicBezTo>
                <a:cubicBezTo>
                  <a:pt x="1654612" y="1370240"/>
                  <a:pt x="1655225" y="1369423"/>
                  <a:pt x="1656043" y="1368400"/>
                </a:cubicBezTo>
                <a:cubicBezTo>
                  <a:pt x="1659724" y="1363904"/>
                  <a:pt x="1659724" y="1363904"/>
                  <a:pt x="1655225" y="1360839"/>
                </a:cubicBezTo>
                <a:cubicBezTo>
                  <a:pt x="1651135" y="1357773"/>
                  <a:pt x="1650931" y="1355730"/>
                  <a:pt x="1654612" y="1351847"/>
                </a:cubicBezTo>
                <a:cubicBezTo>
                  <a:pt x="1656248" y="1350211"/>
                  <a:pt x="1657884" y="1348372"/>
                  <a:pt x="1657270" y="1345510"/>
                </a:cubicBezTo>
                <a:cubicBezTo>
                  <a:pt x="1655429" y="1338357"/>
                  <a:pt x="1658088" y="1332431"/>
                  <a:pt x="1662791" y="1327116"/>
                </a:cubicBezTo>
                <a:cubicBezTo>
                  <a:pt x="1665858" y="1323642"/>
                  <a:pt x="1669539" y="1320372"/>
                  <a:pt x="1671789" y="1316285"/>
                </a:cubicBezTo>
                <a:cubicBezTo>
                  <a:pt x="1672197" y="1315467"/>
                  <a:pt x="1672811" y="1314649"/>
                  <a:pt x="1673833" y="1314854"/>
                </a:cubicBezTo>
                <a:cubicBezTo>
                  <a:pt x="1678945" y="1316489"/>
                  <a:pt x="1681604" y="1313219"/>
                  <a:pt x="1684466" y="1309948"/>
                </a:cubicBezTo>
                <a:cubicBezTo>
                  <a:pt x="1685285" y="1308927"/>
                  <a:pt x="1686307" y="1307701"/>
                  <a:pt x="1688147" y="1308109"/>
                </a:cubicBezTo>
                <a:cubicBezTo>
                  <a:pt x="1693259" y="1309336"/>
                  <a:pt x="1698575" y="1308723"/>
                  <a:pt x="1703687" y="1309132"/>
                </a:cubicBezTo>
                <a:cubicBezTo>
                  <a:pt x="1707981" y="1309336"/>
                  <a:pt x="1712276" y="1309744"/>
                  <a:pt x="1716161" y="1312401"/>
                </a:cubicBezTo>
                <a:cubicBezTo>
                  <a:pt x="1717796" y="1313627"/>
                  <a:pt x="1719024" y="1313219"/>
                  <a:pt x="1720251" y="1311788"/>
                </a:cubicBezTo>
                <a:cubicBezTo>
                  <a:pt x="1720864" y="1310766"/>
                  <a:pt x="1721477" y="1309948"/>
                  <a:pt x="1722295" y="1309132"/>
                </a:cubicBezTo>
                <a:cubicBezTo>
                  <a:pt x="1723113" y="1308314"/>
                  <a:pt x="1724545" y="1307496"/>
                  <a:pt x="1725567" y="1308314"/>
                </a:cubicBezTo>
                <a:cubicBezTo>
                  <a:pt x="1726794" y="1309132"/>
                  <a:pt x="1726385" y="1310766"/>
                  <a:pt x="1725772" y="1311993"/>
                </a:cubicBezTo>
                <a:cubicBezTo>
                  <a:pt x="1725567" y="1312606"/>
                  <a:pt x="1725158" y="1313015"/>
                  <a:pt x="1724749" y="1313627"/>
                </a:cubicBezTo>
                <a:cubicBezTo>
                  <a:pt x="1721477" y="1318328"/>
                  <a:pt x="1722704" y="1321393"/>
                  <a:pt x="1728225" y="1322007"/>
                </a:cubicBezTo>
                <a:cubicBezTo>
                  <a:pt x="1729248" y="1322211"/>
                  <a:pt x="1730270" y="1322211"/>
                  <a:pt x="1731088" y="1322416"/>
                </a:cubicBezTo>
                <a:cubicBezTo>
                  <a:pt x="1732519" y="1322824"/>
                  <a:pt x="1734156" y="1322416"/>
                  <a:pt x="1734565" y="1324664"/>
                </a:cubicBezTo>
                <a:cubicBezTo>
                  <a:pt x="1734973" y="1326299"/>
                  <a:pt x="1734156" y="1327116"/>
                  <a:pt x="1732928" y="1327934"/>
                </a:cubicBezTo>
                <a:cubicBezTo>
                  <a:pt x="1730679" y="1329569"/>
                  <a:pt x="1730884" y="1331000"/>
                  <a:pt x="1733132" y="1332838"/>
                </a:cubicBezTo>
                <a:cubicBezTo>
                  <a:pt x="1735996" y="1335087"/>
                  <a:pt x="1738654" y="1337948"/>
                  <a:pt x="1738450" y="1342036"/>
                </a:cubicBezTo>
                <a:cubicBezTo>
                  <a:pt x="1738245" y="1345306"/>
                  <a:pt x="1739063" y="1346941"/>
                  <a:pt x="1742743" y="1346124"/>
                </a:cubicBezTo>
                <a:cubicBezTo>
                  <a:pt x="1743562" y="1345919"/>
                  <a:pt x="1744584" y="1346124"/>
                  <a:pt x="1744993" y="1347350"/>
                </a:cubicBezTo>
                <a:cubicBezTo>
                  <a:pt x="1745402" y="1348372"/>
                  <a:pt x="1744380" y="1348985"/>
                  <a:pt x="1743766" y="1349598"/>
                </a:cubicBezTo>
                <a:cubicBezTo>
                  <a:pt x="1742334" y="1351029"/>
                  <a:pt x="1740699" y="1352459"/>
                  <a:pt x="1739676" y="1354094"/>
                </a:cubicBezTo>
                <a:cubicBezTo>
                  <a:pt x="1736404" y="1358386"/>
                  <a:pt x="1736609" y="1360839"/>
                  <a:pt x="1739676" y="1365335"/>
                </a:cubicBezTo>
                <a:cubicBezTo>
                  <a:pt x="1742130" y="1368809"/>
                  <a:pt x="1743971" y="1372488"/>
                  <a:pt x="1744175" y="1376985"/>
                </a:cubicBezTo>
                <a:cubicBezTo>
                  <a:pt x="1744380" y="1380254"/>
                  <a:pt x="1742743" y="1380663"/>
                  <a:pt x="1740085" y="1379641"/>
                </a:cubicBezTo>
                <a:cubicBezTo>
                  <a:pt x="1738245" y="1379029"/>
                  <a:pt x="1737222" y="1377189"/>
                  <a:pt x="1735791" y="1376167"/>
                </a:cubicBezTo>
                <a:cubicBezTo>
                  <a:pt x="1734156" y="1374941"/>
                  <a:pt x="1731906" y="1373306"/>
                  <a:pt x="1730270" y="1374941"/>
                </a:cubicBezTo>
                <a:cubicBezTo>
                  <a:pt x="1728429" y="1376985"/>
                  <a:pt x="1729453" y="1379438"/>
                  <a:pt x="1731292" y="1381277"/>
                </a:cubicBezTo>
                <a:cubicBezTo>
                  <a:pt x="1732110" y="1382094"/>
                  <a:pt x="1733337" y="1382912"/>
                  <a:pt x="1734156" y="1383933"/>
                </a:cubicBezTo>
                <a:cubicBezTo>
                  <a:pt x="1735178" y="1384955"/>
                  <a:pt x="1735996" y="1386182"/>
                  <a:pt x="1734769" y="1387612"/>
                </a:cubicBezTo>
                <a:cubicBezTo>
                  <a:pt x="1733747" y="1388839"/>
                  <a:pt x="1732519" y="1388225"/>
                  <a:pt x="1731292" y="1387204"/>
                </a:cubicBezTo>
                <a:cubicBezTo>
                  <a:pt x="1730066" y="1386386"/>
                  <a:pt x="1728839" y="1385364"/>
                  <a:pt x="1727612" y="1384751"/>
                </a:cubicBezTo>
                <a:cubicBezTo>
                  <a:pt x="1725772" y="1383524"/>
                  <a:pt x="1723726" y="1384138"/>
                  <a:pt x="1722295" y="1385364"/>
                </a:cubicBezTo>
                <a:cubicBezTo>
                  <a:pt x="1720864" y="1386591"/>
                  <a:pt x="1721682" y="1388430"/>
                  <a:pt x="1722295" y="1389861"/>
                </a:cubicBezTo>
                <a:cubicBezTo>
                  <a:pt x="1725363" y="1397014"/>
                  <a:pt x="1735587" y="1400079"/>
                  <a:pt x="1742539" y="1395787"/>
                </a:cubicBezTo>
                <a:cubicBezTo>
                  <a:pt x="1745811" y="1393744"/>
                  <a:pt x="1747037" y="1394357"/>
                  <a:pt x="1747446" y="1397627"/>
                </a:cubicBezTo>
                <a:cubicBezTo>
                  <a:pt x="1748061" y="1402940"/>
                  <a:pt x="1750514" y="1406416"/>
                  <a:pt x="1755830" y="1408254"/>
                </a:cubicBezTo>
                <a:cubicBezTo>
                  <a:pt x="1757261" y="1408663"/>
                  <a:pt x="1759511" y="1409686"/>
                  <a:pt x="1758898" y="1411933"/>
                </a:cubicBezTo>
                <a:cubicBezTo>
                  <a:pt x="1757671" y="1417043"/>
                  <a:pt x="1759716" y="1421335"/>
                  <a:pt x="1762374" y="1425423"/>
                </a:cubicBezTo>
                <a:cubicBezTo>
                  <a:pt x="1764419" y="1428488"/>
                  <a:pt x="1765032" y="1431349"/>
                  <a:pt x="1762783" y="1435028"/>
                </a:cubicBezTo>
                <a:cubicBezTo>
                  <a:pt x="1760329" y="1438911"/>
                  <a:pt x="1761760" y="1441160"/>
                  <a:pt x="1766667" y="1441977"/>
                </a:cubicBezTo>
                <a:cubicBezTo>
                  <a:pt x="1766872" y="1441977"/>
                  <a:pt x="1767076" y="1441977"/>
                  <a:pt x="1767282" y="1441977"/>
                </a:cubicBezTo>
                <a:cubicBezTo>
                  <a:pt x="1769122" y="1442181"/>
                  <a:pt x="1770962" y="1442590"/>
                  <a:pt x="1771166" y="1444430"/>
                </a:cubicBezTo>
                <a:cubicBezTo>
                  <a:pt x="1771575" y="1446269"/>
                  <a:pt x="1769326" y="1446064"/>
                  <a:pt x="1768304" y="1446677"/>
                </a:cubicBezTo>
                <a:cubicBezTo>
                  <a:pt x="1761760" y="1449947"/>
                  <a:pt x="1759102" y="1455057"/>
                  <a:pt x="1760329" y="1462415"/>
                </a:cubicBezTo>
                <a:cubicBezTo>
                  <a:pt x="1760738" y="1464868"/>
                  <a:pt x="1759920" y="1466298"/>
                  <a:pt x="1757876" y="1467320"/>
                </a:cubicBezTo>
                <a:cubicBezTo>
                  <a:pt x="1756648" y="1467933"/>
                  <a:pt x="1755421" y="1468342"/>
                  <a:pt x="1754195" y="1468955"/>
                </a:cubicBezTo>
                <a:cubicBezTo>
                  <a:pt x="1752558" y="1469772"/>
                  <a:pt x="1751945" y="1470999"/>
                  <a:pt x="1752354" y="1472839"/>
                </a:cubicBezTo>
                <a:lnTo>
                  <a:pt x="1753269" y="1474136"/>
                </a:lnTo>
                <a:lnTo>
                  <a:pt x="1737287" y="1490031"/>
                </a:lnTo>
                <a:lnTo>
                  <a:pt x="1737631" y="1486940"/>
                </a:lnTo>
                <a:cubicBezTo>
                  <a:pt x="1738041" y="1485305"/>
                  <a:pt x="1738041" y="1484487"/>
                  <a:pt x="1736200" y="1483466"/>
                </a:cubicBezTo>
                <a:cubicBezTo>
                  <a:pt x="1734156" y="1482648"/>
                  <a:pt x="1733337" y="1483670"/>
                  <a:pt x="1732519" y="1484896"/>
                </a:cubicBezTo>
                <a:cubicBezTo>
                  <a:pt x="1731906" y="1485714"/>
                  <a:pt x="1731701" y="1486531"/>
                  <a:pt x="1731292" y="1487554"/>
                </a:cubicBezTo>
                <a:cubicBezTo>
                  <a:pt x="1729453" y="1491846"/>
                  <a:pt x="1728225" y="1492050"/>
                  <a:pt x="1725158" y="1488575"/>
                </a:cubicBezTo>
                <a:cubicBezTo>
                  <a:pt x="1724545" y="1487758"/>
                  <a:pt x="1723726" y="1486736"/>
                  <a:pt x="1722500" y="1486736"/>
                </a:cubicBezTo>
                <a:cubicBezTo>
                  <a:pt x="1721068" y="1486940"/>
                  <a:pt x="1721068" y="1488575"/>
                  <a:pt x="1720660" y="1489597"/>
                </a:cubicBezTo>
                <a:cubicBezTo>
                  <a:pt x="1720251" y="1490415"/>
                  <a:pt x="1720046" y="1491232"/>
                  <a:pt x="1720046" y="1492050"/>
                </a:cubicBezTo>
                <a:lnTo>
                  <a:pt x="1719261" y="1493216"/>
                </a:lnTo>
                <a:lnTo>
                  <a:pt x="1756221" y="1502996"/>
                </a:lnTo>
                <a:cubicBezTo>
                  <a:pt x="1898936" y="1547143"/>
                  <a:pt x="2037479" y="1602871"/>
                  <a:pt x="2171851" y="1669686"/>
                </a:cubicBezTo>
                <a:lnTo>
                  <a:pt x="2193858" y="1682084"/>
                </a:lnTo>
                <a:lnTo>
                  <a:pt x="2203401" y="1657369"/>
                </a:lnTo>
                <a:cubicBezTo>
                  <a:pt x="2212031" y="1644718"/>
                  <a:pt x="2212606" y="1637817"/>
                  <a:pt x="2203401" y="1625741"/>
                </a:cubicBezTo>
                <a:cubicBezTo>
                  <a:pt x="2200525" y="1621141"/>
                  <a:pt x="2195921" y="1617116"/>
                  <a:pt x="2191894" y="1613090"/>
                </a:cubicBezTo>
                <a:cubicBezTo>
                  <a:pt x="2190169" y="1611365"/>
                  <a:pt x="2187291" y="1609640"/>
                  <a:pt x="2188442" y="1606765"/>
                </a:cubicBezTo>
                <a:cubicBezTo>
                  <a:pt x="2189592" y="1603313"/>
                  <a:pt x="2192470" y="1602738"/>
                  <a:pt x="2194771" y="1603313"/>
                </a:cubicBezTo>
                <a:cubicBezTo>
                  <a:pt x="2205127" y="1605614"/>
                  <a:pt x="2207429" y="1601013"/>
                  <a:pt x="2206854" y="1591813"/>
                </a:cubicBezTo>
                <a:cubicBezTo>
                  <a:pt x="2206277" y="1580312"/>
                  <a:pt x="2213757" y="1572261"/>
                  <a:pt x="2221812" y="1565936"/>
                </a:cubicBezTo>
                <a:cubicBezTo>
                  <a:pt x="2228141" y="1560760"/>
                  <a:pt x="2228716" y="1556734"/>
                  <a:pt x="2222387" y="1552133"/>
                </a:cubicBezTo>
                <a:cubicBezTo>
                  <a:pt x="2218936" y="1549833"/>
                  <a:pt x="2216634" y="1547533"/>
                  <a:pt x="2217785" y="1542933"/>
                </a:cubicBezTo>
                <a:cubicBezTo>
                  <a:pt x="2218936" y="1536607"/>
                  <a:pt x="2223539" y="1537757"/>
                  <a:pt x="2227566" y="1536607"/>
                </a:cubicBezTo>
                <a:cubicBezTo>
                  <a:pt x="2229867" y="1536032"/>
                  <a:pt x="2232744" y="1536032"/>
                  <a:pt x="2235620" y="1535457"/>
                </a:cubicBezTo>
                <a:cubicBezTo>
                  <a:pt x="2251155" y="1533732"/>
                  <a:pt x="2254606" y="1525106"/>
                  <a:pt x="2245401" y="1511880"/>
                </a:cubicBezTo>
                <a:cubicBezTo>
                  <a:pt x="2244251" y="1510155"/>
                  <a:pt x="2243100" y="1509005"/>
                  <a:pt x="2242525" y="1507280"/>
                </a:cubicBezTo>
                <a:cubicBezTo>
                  <a:pt x="2240799" y="1503830"/>
                  <a:pt x="2239647" y="1499229"/>
                  <a:pt x="2243100" y="1496929"/>
                </a:cubicBezTo>
                <a:cubicBezTo>
                  <a:pt x="2245976" y="1494628"/>
                  <a:pt x="2250004" y="1496929"/>
                  <a:pt x="2252305" y="1499229"/>
                </a:cubicBezTo>
                <a:cubicBezTo>
                  <a:pt x="2254606" y="1501530"/>
                  <a:pt x="2256332" y="1503830"/>
                  <a:pt x="2258059" y="1506705"/>
                </a:cubicBezTo>
                <a:lnTo>
                  <a:pt x="2260397" y="1507055"/>
                </a:lnTo>
                <a:lnTo>
                  <a:pt x="2261117" y="1501310"/>
                </a:lnTo>
                <a:cubicBezTo>
                  <a:pt x="2263135" y="1493534"/>
                  <a:pt x="2272075" y="1495837"/>
                  <a:pt x="2275536" y="1490077"/>
                </a:cubicBezTo>
                <a:cubicBezTo>
                  <a:pt x="2276690" y="1488061"/>
                  <a:pt x="2282169" y="1489501"/>
                  <a:pt x="2284764" y="1489789"/>
                </a:cubicBezTo>
                <a:cubicBezTo>
                  <a:pt x="2290821" y="1490653"/>
                  <a:pt x="2298030" y="1486909"/>
                  <a:pt x="2302933" y="1493821"/>
                </a:cubicBezTo>
                <a:cubicBezTo>
                  <a:pt x="2303798" y="1494973"/>
                  <a:pt x="2305528" y="1496413"/>
                  <a:pt x="2307835" y="1496413"/>
                </a:cubicBezTo>
                <a:lnTo>
                  <a:pt x="2310709" y="1498832"/>
                </a:lnTo>
                <a:lnTo>
                  <a:pt x="2348388" y="1496353"/>
                </a:lnTo>
                <a:cubicBezTo>
                  <a:pt x="2353566" y="1495203"/>
                  <a:pt x="2356443" y="1498654"/>
                  <a:pt x="2358744" y="1501530"/>
                </a:cubicBezTo>
                <a:cubicBezTo>
                  <a:pt x="2366799" y="1510730"/>
                  <a:pt x="2374278" y="1519931"/>
                  <a:pt x="2388661" y="1515331"/>
                </a:cubicBezTo>
                <a:cubicBezTo>
                  <a:pt x="2391539" y="1514756"/>
                  <a:pt x="2393264" y="1517056"/>
                  <a:pt x="2394415" y="1519356"/>
                </a:cubicBezTo>
                <a:cubicBezTo>
                  <a:pt x="2400744" y="1530857"/>
                  <a:pt x="2411100" y="1540058"/>
                  <a:pt x="2419730" y="1549833"/>
                </a:cubicBezTo>
                <a:cubicBezTo>
                  <a:pt x="2432964" y="1564786"/>
                  <a:pt x="2440443" y="1581462"/>
                  <a:pt x="2435265" y="1601588"/>
                </a:cubicBezTo>
                <a:cubicBezTo>
                  <a:pt x="2433539" y="1609640"/>
                  <a:pt x="2438141" y="1614815"/>
                  <a:pt x="2442744" y="1619416"/>
                </a:cubicBezTo>
                <a:cubicBezTo>
                  <a:pt x="2453100" y="1630342"/>
                  <a:pt x="2452525" y="1636092"/>
                  <a:pt x="2441018" y="1644718"/>
                </a:cubicBezTo>
                <a:cubicBezTo>
                  <a:pt x="2428360" y="1653343"/>
                  <a:pt x="2428360" y="1653343"/>
                  <a:pt x="2438716" y="1665994"/>
                </a:cubicBezTo>
                <a:cubicBezTo>
                  <a:pt x="2441018" y="1668871"/>
                  <a:pt x="2442744" y="1671171"/>
                  <a:pt x="2439293" y="1674621"/>
                </a:cubicBezTo>
                <a:cubicBezTo>
                  <a:pt x="2427785" y="1687847"/>
                  <a:pt x="2417429" y="1701073"/>
                  <a:pt x="2405346" y="1713724"/>
                </a:cubicBezTo>
                <a:cubicBezTo>
                  <a:pt x="2396716" y="1723501"/>
                  <a:pt x="2385785" y="1729826"/>
                  <a:pt x="2373128" y="1732702"/>
                </a:cubicBezTo>
                <a:cubicBezTo>
                  <a:pt x="2365073" y="1735002"/>
                  <a:pt x="2349539" y="1755703"/>
                  <a:pt x="2348963" y="1764329"/>
                </a:cubicBezTo>
                <a:cubicBezTo>
                  <a:pt x="2348963" y="1767204"/>
                  <a:pt x="2348963" y="1769504"/>
                  <a:pt x="2352415" y="1770654"/>
                </a:cubicBezTo>
                <a:lnTo>
                  <a:pt x="2355478" y="1773134"/>
                </a:lnTo>
                <a:lnTo>
                  <a:pt x="2429009" y="1814559"/>
                </a:lnTo>
                <a:lnTo>
                  <a:pt x="2441530" y="1776982"/>
                </a:lnTo>
                <a:cubicBezTo>
                  <a:pt x="2456483" y="1729119"/>
                  <a:pt x="2492368" y="1693223"/>
                  <a:pt x="2528254" y="1660316"/>
                </a:cubicBezTo>
                <a:cubicBezTo>
                  <a:pt x="2531244" y="1654334"/>
                  <a:pt x="2543206" y="1651342"/>
                  <a:pt x="2549187" y="1654334"/>
                </a:cubicBezTo>
                <a:cubicBezTo>
                  <a:pt x="2588063" y="1657325"/>
                  <a:pt x="2629928" y="1639376"/>
                  <a:pt x="2668804" y="1654334"/>
                </a:cubicBezTo>
                <a:cubicBezTo>
                  <a:pt x="2674785" y="1615445"/>
                  <a:pt x="2638899" y="1594504"/>
                  <a:pt x="2644881" y="1555615"/>
                </a:cubicBezTo>
                <a:cubicBezTo>
                  <a:pt x="2671795" y="1576555"/>
                  <a:pt x="2692728" y="1591513"/>
                  <a:pt x="2713661" y="1609462"/>
                </a:cubicBezTo>
                <a:cubicBezTo>
                  <a:pt x="2721885" y="1616193"/>
                  <a:pt x="2730108" y="1622362"/>
                  <a:pt x="2738473" y="1627551"/>
                </a:cubicBezTo>
                <a:lnTo>
                  <a:pt x="2753930" y="1634901"/>
                </a:lnTo>
                <a:lnTo>
                  <a:pt x="2756826" y="1632145"/>
                </a:lnTo>
                <a:cubicBezTo>
                  <a:pt x="2756652" y="1628661"/>
                  <a:pt x="2758917" y="1626222"/>
                  <a:pt x="2761358" y="1624307"/>
                </a:cubicBezTo>
                <a:cubicBezTo>
                  <a:pt x="2763274" y="1622739"/>
                  <a:pt x="2763449" y="1621520"/>
                  <a:pt x="2761531" y="1620126"/>
                </a:cubicBezTo>
                <a:cubicBezTo>
                  <a:pt x="2760486" y="1619430"/>
                  <a:pt x="2759789" y="1618732"/>
                  <a:pt x="2760137" y="1617340"/>
                </a:cubicBezTo>
                <a:lnTo>
                  <a:pt x="2762472" y="1615830"/>
                </a:lnTo>
                <a:lnTo>
                  <a:pt x="2741438" y="1612164"/>
                </a:lnTo>
                <a:cubicBezTo>
                  <a:pt x="2735457" y="1615155"/>
                  <a:pt x="2732465" y="1612164"/>
                  <a:pt x="2729475" y="1606181"/>
                </a:cubicBezTo>
                <a:cubicBezTo>
                  <a:pt x="2741438" y="1591224"/>
                  <a:pt x="2762370" y="1594216"/>
                  <a:pt x="2774332" y="1582250"/>
                </a:cubicBezTo>
                <a:cubicBezTo>
                  <a:pt x="2774332" y="1579258"/>
                  <a:pt x="2774332" y="1576267"/>
                  <a:pt x="2774332" y="1570285"/>
                </a:cubicBezTo>
                <a:cubicBezTo>
                  <a:pt x="2771341" y="1507464"/>
                  <a:pt x="2759380" y="1441652"/>
                  <a:pt x="2795265" y="1378832"/>
                </a:cubicBezTo>
                <a:lnTo>
                  <a:pt x="2794669" y="1374358"/>
                </a:lnTo>
                <a:lnTo>
                  <a:pt x="2786788" y="1383378"/>
                </a:lnTo>
                <a:cubicBezTo>
                  <a:pt x="2761656" y="1416870"/>
                  <a:pt x="2735995" y="1455106"/>
                  <a:pt x="2707088" y="1499451"/>
                </a:cubicBezTo>
                <a:cubicBezTo>
                  <a:pt x="2708135" y="1476358"/>
                  <a:pt x="2725639" y="1449008"/>
                  <a:pt x="2739426" y="1420865"/>
                </a:cubicBezTo>
                <a:cubicBezTo>
                  <a:pt x="2752292" y="1406125"/>
                  <a:pt x="2767279" y="1386010"/>
                  <a:pt x="2781999" y="1364866"/>
                </a:cubicBezTo>
                <a:lnTo>
                  <a:pt x="2791485" y="1350472"/>
                </a:lnTo>
                <a:lnTo>
                  <a:pt x="2789370" y="1334601"/>
                </a:lnTo>
                <a:lnTo>
                  <a:pt x="2777442" y="1349807"/>
                </a:lnTo>
                <a:cubicBezTo>
                  <a:pt x="2763417" y="1367697"/>
                  <a:pt x="2749225" y="1384096"/>
                  <a:pt x="2733038" y="1396182"/>
                </a:cubicBezTo>
                <a:cubicBezTo>
                  <a:pt x="2720046" y="1420610"/>
                  <a:pt x="2700954" y="1455393"/>
                  <a:pt x="2690597" y="1449294"/>
                </a:cubicBezTo>
                <a:cubicBezTo>
                  <a:pt x="2704383" y="1421150"/>
                  <a:pt x="2712070" y="1403362"/>
                  <a:pt x="2734086" y="1373089"/>
                </a:cubicBezTo>
                <a:cubicBezTo>
                  <a:pt x="2734086" y="1373089"/>
                  <a:pt x="2737801" y="1373884"/>
                  <a:pt x="2736214" y="1381317"/>
                </a:cubicBezTo>
                <a:cubicBezTo>
                  <a:pt x="2736214" y="1381317"/>
                  <a:pt x="2753718" y="1353968"/>
                  <a:pt x="2751588" y="1345740"/>
                </a:cubicBezTo>
                <a:cubicBezTo>
                  <a:pt x="2760612" y="1339895"/>
                  <a:pt x="2765122" y="1336972"/>
                  <a:pt x="2768045" y="1341485"/>
                </a:cubicBezTo>
                <a:cubicBezTo>
                  <a:pt x="2771222" y="1326618"/>
                  <a:pt x="2805182" y="1295012"/>
                  <a:pt x="2817381" y="1274301"/>
                </a:cubicBezTo>
                <a:cubicBezTo>
                  <a:pt x="2822686" y="1267662"/>
                  <a:pt x="2823480" y="1263946"/>
                  <a:pt x="2828785" y="1257307"/>
                </a:cubicBezTo>
                <a:lnTo>
                  <a:pt x="2854356" y="1227686"/>
                </a:lnTo>
                <a:lnTo>
                  <a:pt x="2841467" y="1219528"/>
                </a:lnTo>
                <a:cubicBezTo>
                  <a:pt x="2838294" y="1217512"/>
                  <a:pt x="2836565" y="1212040"/>
                  <a:pt x="2835123" y="1207719"/>
                </a:cubicBezTo>
                <a:cubicBezTo>
                  <a:pt x="2834545" y="1205991"/>
                  <a:pt x="2834834" y="1204263"/>
                  <a:pt x="2833104" y="1202823"/>
                </a:cubicBezTo>
                <a:cubicBezTo>
                  <a:pt x="2831373" y="1201383"/>
                  <a:pt x="2831662" y="1199655"/>
                  <a:pt x="2832815" y="1197926"/>
                </a:cubicBezTo>
                <a:cubicBezTo>
                  <a:pt x="2833392" y="1196774"/>
                  <a:pt x="2834545" y="1195334"/>
                  <a:pt x="2833681" y="1194182"/>
                </a:cubicBezTo>
                <a:cubicBezTo>
                  <a:pt x="2830797" y="1190726"/>
                  <a:pt x="2830508" y="1188133"/>
                  <a:pt x="2835123" y="1186406"/>
                </a:cubicBezTo>
                <a:cubicBezTo>
                  <a:pt x="2836276" y="1186117"/>
                  <a:pt x="2836565" y="1184389"/>
                  <a:pt x="2835410" y="1183525"/>
                </a:cubicBezTo>
                <a:cubicBezTo>
                  <a:pt x="2831662" y="1180357"/>
                  <a:pt x="2835699" y="1178917"/>
                  <a:pt x="2836276" y="1176612"/>
                </a:cubicBezTo>
                <a:cubicBezTo>
                  <a:pt x="2838294" y="1168836"/>
                  <a:pt x="2847235" y="1171140"/>
                  <a:pt x="2850696" y="1165379"/>
                </a:cubicBezTo>
                <a:cubicBezTo>
                  <a:pt x="2851849" y="1163363"/>
                  <a:pt x="2857329" y="1164803"/>
                  <a:pt x="2859924" y="1165092"/>
                </a:cubicBezTo>
                <a:cubicBezTo>
                  <a:pt x="2865980" y="1165956"/>
                  <a:pt x="2873189" y="1162211"/>
                  <a:pt x="2878092" y="1169124"/>
                </a:cubicBezTo>
                <a:cubicBezTo>
                  <a:pt x="2878957" y="1170276"/>
                  <a:pt x="2880688" y="1171716"/>
                  <a:pt x="2882995" y="1171716"/>
                </a:cubicBezTo>
                <a:cubicBezTo>
                  <a:pt x="2886167" y="1171428"/>
                  <a:pt x="2887898" y="1173157"/>
                  <a:pt x="2888474" y="1176325"/>
                </a:cubicBezTo>
                <a:cubicBezTo>
                  <a:pt x="2889051" y="1178341"/>
                  <a:pt x="2890493" y="1179493"/>
                  <a:pt x="2891935" y="1180933"/>
                </a:cubicBezTo>
                <a:lnTo>
                  <a:pt x="2892685" y="1183288"/>
                </a:lnTo>
                <a:lnTo>
                  <a:pt x="2894641" y="1181023"/>
                </a:lnTo>
                <a:cubicBezTo>
                  <a:pt x="2918253" y="1156921"/>
                  <a:pt x="2942596" y="1133948"/>
                  <a:pt x="2964881" y="1111506"/>
                </a:cubicBezTo>
                <a:cubicBezTo>
                  <a:pt x="2980002" y="1095306"/>
                  <a:pt x="3002811" y="1061317"/>
                  <a:pt x="3008658" y="1070339"/>
                </a:cubicBezTo>
                <a:cubicBezTo>
                  <a:pt x="3019268" y="1057060"/>
                  <a:pt x="3029084" y="1047500"/>
                  <a:pt x="3030673" y="1040066"/>
                </a:cubicBezTo>
                <a:cubicBezTo>
                  <a:pt x="3044207" y="1031299"/>
                  <a:pt x="3042617" y="1038732"/>
                  <a:pt x="3041825" y="1042448"/>
                </a:cubicBezTo>
                <a:cubicBezTo>
                  <a:pt x="3014505" y="1079359"/>
                  <a:pt x="2971521" y="1116811"/>
                  <a:pt x="2946583" y="1142573"/>
                </a:cubicBezTo>
                <a:cubicBezTo>
                  <a:pt x="2942072" y="1145493"/>
                  <a:pt x="2941278" y="1149210"/>
                  <a:pt x="2944995" y="1150006"/>
                </a:cubicBezTo>
                <a:cubicBezTo>
                  <a:pt x="2945789" y="1146289"/>
                  <a:pt x="2945789" y="1146289"/>
                  <a:pt x="2950300" y="1143366"/>
                </a:cubicBezTo>
                <a:cubicBezTo>
                  <a:pt x="2951095" y="1139649"/>
                  <a:pt x="2955604" y="1136728"/>
                  <a:pt x="2959322" y="1137521"/>
                </a:cubicBezTo>
                <a:cubicBezTo>
                  <a:pt x="2959322" y="1137521"/>
                  <a:pt x="2958529" y="1141237"/>
                  <a:pt x="2954017" y="1144161"/>
                </a:cubicBezTo>
                <a:cubicBezTo>
                  <a:pt x="2954017" y="1144161"/>
                  <a:pt x="2954017" y="1144161"/>
                  <a:pt x="2953223" y="1147877"/>
                </a:cubicBezTo>
                <a:cubicBezTo>
                  <a:pt x="2990901" y="1117065"/>
                  <a:pt x="3025656" y="1081742"/>
                  <a:pt x="3064922" y="1043496"/>
                </a:cubicBezTo>
                <a:cubicBezTo>
                  <a:pt x="3099676" y="1008175"/>
                  <a:pt x="3138149" y="973646"/>
                  <a:pt x="3180338" y="939912"/>
                </a:cubicBezTo>
                <a:cubicBezTo>
                  <a:pt x="3186436" y="929557"/>
                  <a:pt x="3191742" y="922918"/>
                  <a:pt x="3200764" y="917073"/>
                </a:cubicBezTo>
                <a:cubicBezTo>
                  <a:pt x="3238442" y="886260"/>
                  <a:pt x="3258075" y="867138"/>
                  <a:pt x="3294164" y="843759"/>
                </a:cubicBezTo>
                <a:cubicBezTo>
                  <a:pt x="3294959" y="840044"/>
                  <a:pt x="3292830" y="831816"/>
                  <a:pt x="3289907" y="827305"/>
                </a:cubicBezTo>
                <a:cubicBezTo>
                  <a:pt x="3299722" y="817745"/>
                  <a:pt x="3305027" y="811104"/>
                  <a:pt x="3305822" y="807388"/>
                </a:cubicBezTo>
                <a:cubicBezTo>
                  <a:pt x="3305822" y="807388"/>
                  <a:pt x="3301310" y="810312"/>
                  <a:pt x="3301310" y="810312"/>
                </a:cubicBezTo>
                <a:cubicBezTo>
                  <a:pt x="3297592" y="809517"/>
                  <a:pt x="3297592" y="809517"/>
                  <a:pt x="3297592" y="809517"/>
                </a:cubicBezTo>
                <a:cubicBezTo>
                  <a:pt x="3298388" y="805800"/>
                  <a:pt x="3302898" y="802879"/>
                  <a:pt x="3306615" y="803671"/>
                </a:cubicBezTo>
                <a:cubicBezTo>
                  <a:pt x="3306615" y="803671"/>
                  <a:pt x="3307410" y="799956"/>
                  <a:pt x="3311127" y="800750"/>
                </a:cubicBezTo>
                <a:cubicBezTo>
                  <a:pt x="3305280" y="791729"/>
                  <a:pt x="3319609" y="779244"/>
                  <a:pt x="3342165" y="764634"/>
                </a:cubicBezTo>
                <a:cubicBezTo>
                  <a:pt x="3364722" y="750022"/>
                  <a:pt x="3391788" y="732486"/>
                  <a:pt x="3414344" y="717875"/>
                </a:cubicBezTo>
                <a:cubicBezTo>
                  <a:pt x="3426290" y="716541"/>
                  <a:pt x="3400017" y="730359"/>
                  <a:pt x="3403734" y="731153"/>
                </a:cubicBezTo>
                <a:cubicBezTo>
                  <a:pt x="3403734" y="731153"/>
                  <a:pt x="3408245" y="728230"/>
                  <a:pt x="3408245" y="728230"/>
                </a:cubicBezTo>
                <a:cubicBezTo>
                  <a:pt x="3412755" y="725309"/>
                  <a:pt x="3413550" y="721592"/>
                  <a:pt x="3416473" y="726102"/>
                </a:cubicBezTo>
                <a:cubicBezTo>
                  <a:pt x="3416473" y="726102"/>
                  <a:pt x="3416473" y="726102"/>
                  <a:pt x="3411962" y="729025"/>
                </a:cubicBezTo>
                <a:cubicBezTo>
                  <a:pt x="3411962" y="729025"/>
                  <a:pt x="3411962" y="729025"/>
                  <a:pt x="3411168" y="732742"/>
                </a:cubicBezTo>
                <a:cubicBezTo>
                  <a:pt x="3424701" y="723974"/>
                  <a:pt x="3438235" y="715207"/>
                  <a:pt x="3441159" y="719719"/>
                </a:cubicBezTo>
                <a:cubicBezTo>
                  <a:pt x="3435059" y="730074"/>
                  <a:pt x="3412503" y="744686"/>
                  <a:pt x="3407198" y="751324"/>
                </a:cubicBezTo>
                <a:cubicBezTo>
                  <a:pt x="3407198" y="751324"/>
                  <a:pt x="3407198" y="751324"/>
                  <a:pt x="3411709" y="748402"/>
                </a:cubicBezTo>
                <a:cubicBezTo>
                  <a:pt x="3416221" y="745479"/>
                  <a:pt x="3416221" y="745479"/>
                  <a:pt x="3420730" y="742557"/>
                </a:cubicBezTo>
                <a:cubicBezTo>
                  <a:pt x="3420730" y="742557"/>
                  <a:pt x="3419937" y="746274"/>
                  <a:pt x="3419937" y="746274"/>
                </a:cubicBezTo>
                <a:cubicBezTo>
                  <a:pt x="3416221" y="745479"/>
                  <a:pt x="3415427" y="749195"/>
                  <a:pt x="3415427" y="749195"/>
                </a:cubicBezTo>
                <a:cubicBezTo>
                  <a:pt x="3420730" y="742557"/>
                  <a:pt x="3432677" y="741223"/>
                  <a:pt x="3441699" y="735378"/>
                </a:cubicBezTo>
                <a:cubicBezTo>
                  <a:pt x="3482301" y="709077"/>
                  <a:pt x="3524489" y="675343"/>
                  <a:pt x="3568807" y="649835"/>
                </a:cubicBezTo>
                <a:cubicBezTo>
                  <a:pt x="3582342" y="641069"/>
                  <a:pt x="3590569" y="638940"/>
                  <a:pt x="3607821" y="630967"/>
                </a:cubicBezTo>
                <a:cubicBezTo>
                  <a:pt x="3647628" y="608383"/>
                  <a:pt x="3695664" y="583670"/>
                  <a:pt x="3735470" y="561085"/>
                </a:cubicBezTo>
                <a:lnTo>
                  <a:pt x="3772019" y="543441"/>
                </a:lnTo>
                <a:lnTo>
                  <a:pt x="3768755" y="537368"/>
                </a:lnTo>
                <a:cubicBezTo>
                  <a:pt x="3768219" y="535760"/>
                  <a:pt x="3768488" y="534152"/>
                  <a:pt x="3766877" y="532813"/>
                </a:cubicBezTo>
                <a:cubicBezTo>
                  <a:pt x="3765267" y="531472"/>
                  <a:pt x="3765536" y="529864"/>
                  <a:pt x="3766609" y="528256"/>
                </a:cubicBezTo>
                <a:cubicBezTo>
                  <a:pt x="3767146" y="527184"/>
                  <a:pt x="3768219" y="525843"/>
                  <a:pt x="3767414" y="524772"/>
                </a:cubicBezTo>
                <a:cubicBezTo>
                  <a:pt x="3764730" y="521556"/>
                  <a:pt x="3764462" y="519143"/>
                  <a:pt x="3768755" y="517535"/>
                </a:cubicBezTo>
                <a:cubicBezTo>
                  <a:pt x="3769829" y="517267"/>
                  <a:pt x="3770098" y="515659"/>
                  <a:pt x="3769024" y="514854"/>
                </a:cubicBezTo>
                <a:cubicBezTo>
                  <a:pt x="3765536" y="511906"/>
                  <a:pt x="3769292" y="510566"/>
                  <a:pt x="3769829" y="508421"/>
                </a:cubicBezTo>
                <a:cubicBezTo>
                  <a:pt x="3771708" y="501185"/>
                  <a:pt x="3780028" y="503329"/>
                  <a:pt x="3783247" y="497969"/>
                </a:cubicBezTo>
                <a:cubicBezTo>
                  <a:pt x="3784321" y="496093"/>
                  <a:pt x="3789420" y="497432"/>
                  <a:pt x="3791836" y="497701"/>
                </a:cubicBezTo>
                <a:cubicBezTo>
                  <a:pt x="3797471" y="498505"/>
                  <a:pt x="3804181" y="495020"/>
                  <a:pt x="3808743" y="501453"/>
                </a:cubicBezTo>
                <a:cubicBezTo>
                  <a:pt x="3809548" y="502526"/>
                  <a:pt x="3811158" y="503865"/>
                  <a:pt x="3813305" y="503865"/>
                </a:cubicBezTo>
                <a:cubicBezTo>
                  <a:pt x="3816258" y="503597"/>
                  <a:pt x="3817867" y="505205"/>
                  <a:pt x="3818404" y="508154"/>
                </a:cubicBezTo>
                <a:cubicBezTo>
                  <a:pt x="3818941" y="510030"/>
                  <a:pt x="3820283" y="511102"/>
                  <a:pt x="3821624" y="512442"/>
                </a:cubicBezTo>
                <a:cubicBezTo>
                  <a:pt x="3825113" y="515659"/>
                  <a:pt x="3826723" y="519411"/>
                  <a:pt x="3825382" y="524235"/>
                </a:cubicBezTo>
                <a:lnTo>
                  <a:pt x="3825824" y="525427"/>
                </a:lnTo>
                <a:lnTo>
                  <a:pt x="3832875" y="523603"/>
                </a:lnTo>
                <a:cubicBezTo>
                  <a:pt x="3832875" y="523603"/>
                  <a:pt x="3832875" y="523603"/>
                  <a:pt x="3828364" y="526525"/>
                </a:cubicBezTo>
                <a:lnTo>
                  <a:pt x="3826645" y="527639"/>
                </a:lnTo>
                <a:lnTo>
                  <a:pt x="3826895" y="528316"/>
                </a:lnTo>
                <a:lnTo>
                  <a:pt x="3870300" y="512168"/>
                </a:lnTo>
                <a:cubicBezTo>
                  <a:pt x="3873223" y="516679"/>
                  <a:pt x="3889681" y="512423"/>
                  <a:pt x="3888091" y="519856"/>
                </a:cubicBezTo>
                <a:cubicBezTo>
                  <a:pt x="3969835" y="482913"/>
                  <a:pt x="4033280" y="477037"/>
                  <a:pt x="4087415" y="441969"/>
                </a:cubicBezTo>
                <a:cubicBezTo>
                  <a:pt x="4140503" y="429994"/>
                  <a:pt x="4173958" y="437141"/>
                  <a:pt x="4228633" y="417733"/>
                </a:cubicBezTo>
                <a:cubicBezTo>
                  <a:pt x="4232352" y="418528"/>
                  <a:pt x="4244296" y="417194"/>
                  <a:pt x="4248810" y="414271"/>
                </a:cubicBezTo>
                <a:cubicBezTo>
                  <a:pt x="4273495" y="407886"/>
                  <a:pt x="4306408" y="399373"/>
                  <a:pt x="4334812" y="393783"/>
                </a:cubicBezTo>
                <a:cubicBezTo>
                  <a:pt x="4363212" y="388192"/>
                  <a:pt x="4394538" y="387112"/>
                  <a:pt x="4409405" y="390289"/>
                </a:cubicBezTo>
                <a:cubicBezTo>
                  <a:pt x="4404101" y="396928"/>
                  <a:pt x="4387644" y="401186"/>
                  <a:pt x="4367469" y="404647"/>
                </a:cubicBezTo>
                <a:cubicBezTo>
                  <a:pt x="4348089" y="404392"/>
                  <a:pt x="4327916" y="407855"/>
                  <a:pt x="4318895" y="413700"/>
                </a:cubicBezTo>
                <a:cubicBezTo>
                  <a:pt x="4306949" y="415034"/>
                  <a:pt x="4299515" y="413446"/>
                  <a:pt x="4288364" y="411063"/>
                </a:cubicBezTo>
                <a:cubicBezTo>
                  <a:pt x="4251733" y="418781"/>
                  <a:pt x="4238991" y="423832"/>
                  <a:pt x="4209796" y="433139"/>
                </a:cubicBezTo>
                <a:cubicBezTo>
                  <a:pt x="4215102" y="426501"/>
                  <a:pt x="4194131" y="433679"/>
                  <a:pt x="4182186" y="435013"/>
                </a:cubicBezTo>
                <a:cubicBezTo>
                  <a:pt x="4177675" y="437935"/>
                  <a:pt x="4164141" y="446703"/>
                  <a:pt x="4180598" y="442445"/>
                </a:cubicBezTo>
                <a:cubicBezTo>
                  <a:pt x="4151401" y="451753"/>
                  <a:pt x="4113976" y="463189"/>
                  <a:pt x="4072834" y="473829"/>
                </a:cubicBezTo>
                <a:cubicBezTo>
                  <a:pt x="4036203" y="481548"/>
                  <a:pt x="3994269" y="495905"/>
                  <a:pt x="3956843" y="507340"/>
                </a:cubicBezTo>
                <a:cubicBezTo>
                  <a:pt x="3956843" y="507340"/>
                  <a:pt x="3948614" y="509469"/>
                  <a:pt x="3950202" y="502035"/>
                </a:cubicBezTo>
                <a:cubicBezTo>
                  <a:pt x="3903755" y="519314"/>
                  <a:pt x="3879069" y="525700"/>
                  <a:pt x="3859436" y="544822"/>
                </a:cubicBezTo>
                <a:cubicBezTo>
                  <a:pt x="3834752" y="551206"/>
                  <a:pt x="3821219" y="559973"/>
                  <a:pt x="3804762" y="564231"/>
                </a:cubicBezTo>
                <a:cubicBezTo>
                  <a:pt x="3795739" y="570076"/>
                  <a:pt x="3808478" y="565025"/>
                  <a:pt x="3807686" y="568741"/>
                </a:cubicBezTo>
                <a:cubicBezTo>
                  <a:pt x="3790433" y="576714"/>
                  <a:pt x="3773182" y="584687"/>
                  <a:pt x="3755933" y="592660"/>
                </a:cubicBezTo>
                <a:cubicBezTo>
                  <a:pt x="3758314" y="581511"/>
                  <a:pt x="3744781" y="590278"/>
                  <a:pt x="3736552" y="592406"/>
                </a:cubicBezTo>
                <a:cubicBezTo>
                  <a:pt x="3729912" y="587101"/>
                  <a:pt x="3744239" y="574617"/>
                  <a:pt x="3754850" y="561339"/>
                </a:cubicBezTo>
                <a:cubicBezTo>
                  <a:pt x="3735470" y="561085"/>
                  <a:pt x="3684258" y="600664"/>
                  <a:pt x="3662496" y="611559"/>
                </a:cubicBezTo>
                <a:cubicBezTo>
                  <a:pt x="3666213" y="612354"/>
                  <a:pt x="3666213" y="612354"/>
                  <a:pt x="3666213" y="612354"/>
                </a:cubicBezTo>
                <a:cubicBezTo>
                  <a:pt x="3670725" y="609431"/>
                  <a:pt x="3674442" y="610225"/>
                  <a:pt x="3674442" y="610225"/>
                </a:cubicBezTo>
                <a:cubicBezTo>
                  <a:pt x="3669931" y="613148"/>
                  <a:pt x="3669137" y="616864"/>
                  <a:pt x="3665420" y="616071"/>
                </a:cubicBezTo>
                <a:cubicBezTo>
                  <a:pt x="3668342" y="620581"/>
                  <a:pt x="3637557" y="637321"/>
                  <a:pt x="3639146" y="629888"/>
                </a:cubicBezTo>
                <a:cubicBezTo>
                  <a:pt x="3638352" y="633604"/>
                  <a:pt x="3638352" y="633604"/>
                  <a:pt x="3633841" y="636527"/>
                </a:cubicBezTo>
                <a:cubicBezTo>
                  <a:pt x="3633841" y="636527"/>
                  <a:pt x="3633841" y="636527"/>
                  <a:pt x="3630124" y="635732"/>
                </a:cubicBezTo>
                <a:cubicBezTo>
                  <a:pt x="3630124" y="635732"/>
                  <a:pt x="3626407" y="634938"/>
                  <a:pt x="3626407" y="634938"/>
                </a:cubicBezTo>
                <a:cubicBezTo>
                  <a:pt x="3626407" y="634938"/>
                  <a:pt x="3626407" y="634938"/>
                  <a:pt x="3630918" y="632017"/>
                </a:cubicBezTo>
                <a:cubicBezTo>
                  <a:pt x="3600133" y="648755"/>
                  <a:pt x="3625612" y="638655"/>
                  <a:pt x="3628535" y="643165"/>
                </a:cubicBezTo>
                <a:cubicBezTo>
                  <a:pt x="3631458" y="647676"/>
                  <a:pt x="3622436" y="653521"/>
                  <a:pt x="3622436" y="653521"/>
                </a:cubicBezTo>
                <a:cubicBezTo>
                  <a:pt x="3625360" y="658032"/>
                  <a:pt x="3651632" y="644214"/>
                  <a:pt x="3641816" y="653775"/>
                </a:cubicBezTo>
                <a:cubicBezTo>
                  <a:pt x="3632000" y="663336"/>
                  <a:pt x="3622184" y="672897"/>
                  <a:pt x="3608649" y="681665"/>
                </a:cubicBezTo>
                <a:lnTo>
                  <a:pt x="3571460" y="702765"/>
                </a:lnTo>
                <a:lnTo>
                  <a:pt x="3599694" y="702765"/>
                </a:lnTo>
                <a:cubicBezTo>
                  <a:pt x="3602684" y="723705"/>
                  <a:pt x="3602684" y="744645"/>
                  <a:pt x="3599694" y="768577"/>
                </a:cubicBezTo>
                <a:cubicBezTo>
                  <a:pt x="3599694" y="786526"/>
                  <a:pt x="3596704" y="804474"/>
                  <a:pt x="3602684" y="819432"/>
                </a:cubicBezTo>
                <a:cubicBezTo>
                  <a:pt x="3614646" y="882252"/>
                  <a:pt x="3650531" y="897209"/>
                  <a:pt x="3707349" y="870286"/>
                </a:cubicBezTo>
                <a:cubicBezTo>
                  <a:pt x="3746226" y="846355"/>
                  <a:pt x="3755197" y="849346"/>
                  <a:pt x="3782110" y="879260"/>
                </a:cubicBezTo>
                <a:lnTo>
                  <a:pt x="3799180" y="895651"/>
                </a:lnTo>
                <a:lnTo>
                  <a:pt x="3865654" y="862751"/>
                </a:lnTo>
                <a:lnTo>
                  <a:pt x="3868834" y="855329"/>
                </a:lnTo>
                <a:cubicBezTo>
                  <a:pt x="3884533" y="821675"/>
                  <a:pt x="3906962" y="813261"/>
                  <a:pt x="3933595" y="825041"/>
                </a:cubicBezTo>
                <a:lnTo>
                  <a:pt x="3942951" y="831176"/>
                </a:lnTo>
                <a:lnTo>
                  <a:pt x="3986740" y="813795"/>
                </a:lnTo>
                <a:cubicBezTo>
                  <a:pt x="4024040" y="800573"/>
                  <a:pt x="4059803" y="789572"/>
                  <a:pt x="4089483" y="782669"/>
                </a:cubicBezTo>
                <a:lnTo>
                  <a:pt x="4092578" y="782146"/>
                </a:lnTo>
                <a:lnTo>
                  <a:pt x="4093388" y="777777"/>
                </a:lnTo>
                <a:cubicBezTo>
                  <a:pt x="4094543" y="777488"/>
                  <a:pt x="4094830" y="775760"/>
                  <a:pt x="4093677" y="774896"/>
                </a:cubicBezTo>
                <a:cubicBezTo>
                  <a:pt x="4089928" y="771728"/>
                  <a:pt x="4093966" y="770288"/>
                  <a:pt x="4094543" y="767984"/>
                </a:cubicBezTo>
                <a:cubicBezTo>
                  <a:pt x="4096561" y="760208"/>
                  <a:pt x="4105501" y="762511"/>
                  <a:pt x="4108962" y="756751"/>
                </a:cubicBezTo>
                <a:cubicBezTo>
                  <a:pt x="4110115" y="754735"/>
                  <a:pt x="4115595" y="756175"/>
                  <a:pt x="4118191" y="756463"/>
                </a:cubicBezTo>
                <a:cubicBezTo>
                  <a:pt x="4124246" y="757327"/>
                  <a:pt x="4131456" y="753583"/>
                  <a:pt x="4136359" y="760495"/>
                </a:cubicBezTo>
                <a:cubicBezTo>
                  <a:pt x="4137224" y="761647"/>
                  <a:pt x="4138955" y="763087"/>
                  <a:pt x="4141261" y="763087"/>
                </a:cubicBezTo>
                <a:cubicBezTo>
                  <a:pt x="4144434" y="762800"/>
                  <a:pt x="4146164" y="764528"/>
                  <a:pt x="4146741" y="767696"/>
                </a:cubicBezTo>
                <a:cubicBezTo>
                  <a:pt x="4147318" y="769712"/>
                  <a:pt x="4148760" y="770864"/>
                  <a:pt x="4150202" y="772304"/>
                </a:cubicBezTo>
                <a:cubicBezTo>
                  <a:pt x="4153950" y="775760"/>
                  <a:pt x="4155681" y="779793"/>
                  <a:pt x="4154239" y="784977"/>
                </a:cubicBezTo>
                <a:cubicBezTo>
                  <a:pt x="4153373" y="787858"/>
                  <a:pt x="4154239" y="791026"/>
                  <a:pt x="4157123" y="792754"/>
                </a:cubicBezTo>
                <a:cubicBezTo>
                  <a:pt x="4157123" y="793906"/>
                  <a:pt x="4157123" y="795058"/>
                  <a:pt x="4157123" y="796210"/>
                </a:cubicBezTo>
                <a:cubicBezTo>
                  <a:pt x="4154528" y="797650"/>
                  <a:pt x="4153373" y="799378"/>
                  <a:pt x="4153662" y="803123"/>
                </a:cubicBezTo>
                <a:cubicBezTo>
                  <a:pt x="4153950" y="808307"/>
                  <a:pt x="4151644" y="812340"/>
                  <a:pt x="4145876" y="813492"/>
                </a:cubicBezTo>
                <a:cubicBezTo>
                  <a:pt x="4143280" y="813780"/>
                  <a:pt x="4143857" y="815795"/>
                  <a:pt x="4143857" y="817524"/>
                </a:cubicBezTo>
                <a:cubicBezTo>
                  <a:pt x="4143857" y="820405"/>
                  <a:pt x="4142703" y="820981"/>
                  <a:pt x="4140397" y="818964"/>
                </a:cubicBezTo>
                <a:cubicBezTo>
                  <a:pt x="4136935" y="816084"/>
                  <a:pt x="4134629" y="816084"/>
                  <a:pt x="4133763" y="820981"/>
                </a:cubicBezTo>
                <a:cubicBezTo>
                  <a:pt x="4133475" y="822132"/>
                  <a:pt x="4132609" y="823573"/>
                  <a:pt x="4131456" y="822132"/>
                </a:cubicBezTo>
                <a:cubicBezTo>
                  <a:pt x="4127707" y="818388"/>
                  <a:pt x="4125112" y="820692"/>
                  <a:pt x="4122228" y="823284"/>
                </a:cubicBezTo>
                <a:cubicBezTo>
                  <a:pt x="4121939" y="823860"/>
                  <a:pt x="4120786" y="823860"/>
                  <a:pt x="4120209" y="823860"/>
                </a:cubicBezTo>
                <a:lnTo>
                  <a:pt x="4105114" y="814305"/>
                </a:lnTo>
                <a:lnTo>
                  <a:pt x="4091413" y="830179"/>
                </a:lnTo>
                <a:cubicBezTo>
                  <a:pt x="4139054" y="832011"/>
                  <a:pt x="4177535" y="811854"/>
                  <a:pt x="4216017" y="797194"/>
                </a:cubicBezTo>
                <a:cubicBezTo>
                  <a:pt x="4223344" y="793529"/>
                  <a:pt x="4227008" y="788033"/>
                  <a:pt x="4221512" y="780703"/>
                </a:cubicBezTo>
                <a:cubicBezTo>
                  <a:pt x="4199524" y="749550"/>
                  <a:pt x="4223344" y="742220"/>
                  <a:pt x="4245332" y="736721"/>
                </a:cubicBezTo>
                <a:cubicBezTo>
                  <a:pt x="4298474" y="722977"/>
                  <a:pt x="4351611" y="709692"/>
                  <a:pt x="4404977" y="697323"/>
                </a:cubicBezTo>
                <a:lnTo>
                  <a:pt x="4470970" y="683428"/>
                </a:lnTo>
                <a:lnTo>
                  <a:pt x="4469697" y="681056"/>
                </a:lnTo>
                <a:cubicBezTo>
                  <a:pt x="4469162" y="679448"/>
                  <a:pt x="4469429" y="677840"/>
                  <a:pt x="4467817" y="676499"/>
                </a:cubicBezTo>
                <a:cubicBezTo>
                  <a:pt x="4466209" y="675159"/>
                  <a:pt x="4466476" y="673551"/>
                  <a:pt x="4467550" y="671943"/>
                </a:cubicBezTo>
                <a:cubicBezTo>
                  <a:pt x="4468087" y="670870"/>
                  <a:pt x="4469162" y="669530"/>
                  <a:pt x="4468357" y="668459"/>
                </a:cubicBezTo>
                <a:cubicBezTo>
                  <a:pt x="4465672" y="665242"/>
                  <a:pt x="4465403" y="662829"/>
                  <a:pt x="4469697" y="661221"/>
                </a:cubicBezTo>
                <a:cubicBezTo>
                  <a:pt x="4470770" y="660953"/>
                  <a:pt x="4471039" y="659345"/>
                  <a:pt x="4469964" y="658542"/>
                </a:cubicBezTo>
                <a:cubicBezTo>
                  <a:pt x="4466476" y="655593"/>
                  <a:pt x="4470235" y="654253"/>
                  <a:pt x="4470770" y="652109"/>
                </a:cubicBezTo>
                <a:cubicBezTo>
                  <a:pt x="4472649" y="644872"/>
                  <a:pt x="4480970" y="647016"/>
                  <a:pt x="4484189" y="641656"/>
                </a:cubicBezTo>
                <a:cubicBezTo>
                  <a:pt x="4485263" y="639780"/>
                  <a:pt x="4490361" y="641120"/>
                  <a:pt x="4492776" y="641388"/>
                </a:cubicBezTo>
                <a:cubicBezTo>
                  <a:pt x="4498411" y="642191"/>
                  <a:pt x="4505121" y="638707"/>
                  <a:pt x="4509684" y="645140"/>
                </a:cubicBezTo>
                <a:cubicBezTo>
                  <a:pt x="4510490" y="646212"/>
                  <a:pt x="4512100" y="647553"/>
                  <a:pt x="4514246" y="647553"/>
                </a:cubicBezTo>
                <a:cubicBezTo>
                  <a:pt x="4517200" y="647285"/>
                  <a:pt x="4518808" y="648893"/>
                  <a:pt x="4519346" y="651840"/>
                </a:cubicBezTo>
                <a:cubicBezTo>
                  <a:pt x="4519883" y="653717"/>
                  <a:pt x="4521223" y="654789"/>
                  <a:pt x="4522565" y="656129"/>
                </a:cubicBezTo>
                <a:cubicBezTo>
                  <a:pt x="4526056" y="659345"/>
                  <a:pt x="4527664" y="663097"/>
                  <a:pt x="4526323" y="667922"/>
                </a:cubicBezTo>
                <a:lnTo>
                  <a:pt x="4527649" y="671496"/>
                </a:lnTo>
                <a:lnTo>
                  <a:pt x="4565998" y="663422"/>
                </a:lnTo>
                <a:cubicBezTo>
                  <a:pt x="4611807" y="654260"/>
                  <a:pt x="4657616" y="647846"/>
                  <a:pt x="4703654" y="644181"/>
                </a:cubicBezTo>
                <a:lnTo>
                  <a:pt x="4733360" y="643593"/>
                </a:lnTo>
                <a:lnTo>
                  <a:pt x="4726599" y="637387"/>
                </a:lnTo>
                <a:cubicBezTo>
                  <a:pt x="4723484" y="635518"/>
                  <a:pt x="4716631" y="636141"/>
                  <a:pt x="4717876" y="630537"/>
                </a:cubicBezTo>
                <a:cubicBezTo>
                  <a:pt x="4718501" y="624933"/>
                  <a:pt x="4724105" y="623688"/>
                  <a:pt x="4729714" y="623065"/>
                </a:cubicBezTo>
                <a:cubicBezTo>
                  <a:pt x="4730336" y="623065"/>
                  <a:pt x="4730958" y="623065"/>
                  <a:pt x="4731581" y="623065"/>
                </a:cubicBezTo>
                <a:cubicBezTo>
                  <a:pt x="4746534" y="620575"/>
                  <a:pt x="4750894" y="613726"/>
                  <a:pt x="4743419" y="601896"/>
                </a:cubicBezTo>
                <a:cubicBezTo>
                  <a:pt x="4736567" y="590688"/>
                  <a:pt x="4738433" y="581970"/>
                  <a:pt x="4744664" y="572631"/>
                </a:cubicBezTo>
                <a:cubicBezTo>
                  <a:pt x="4752765" y="560177"/>
                  <a:pt x="4758992" y="547101"/>
                  <a:pt x="4755257" y="531535"/>
                </a:cubicBezTo>
                <a:cubicBezTo>
                  <a:pt x="4753388" y="524685"/>
                  <a:pt x="4760239" y="521572"/>
                  <a:pt x="4764600" y="520327"/>
                </a:cubicBezTo>
                <a:cubicBezTo>
                  <a:pt x="4780796" y="514723"/>
                  <a:pt x="4788271" y="504138"/>
                  <a:pt x="4790142" y="487949"/>
                </a:cubicBezTo>
                <a:cubicBezTo>
                  <a:pt x="4791387" y="477987"/>
                  <a:pt x="4795125" y="476118"/>
                  <a:pt x="4805092" y="482345"/>
                </a:cubicBezTo>
                <a:cubicBezTo>
                  <a:pt x="4826272" y="495421"/>
                  <a:pt x="4857422" y="486081"/>
                  <a:pt x="4866768" y="464288"/>
                </a:cubicBezTo>
                <a:cubicBezTo>
                  <a:pt x="4868635" y="459930"/>
                  <a:pt x="4871127" y="454326"/>
                  <a:pt x="4866768" y="450590"/>
                </a:cubicBezTo>
                <a:cubicBezTo>
                  <a:pt x="4862405" y="446855"/>
                  <a:pt x="4856174" y="444986"/>
                  <a:pt x="4850570" y="448722"/>
                </a:cubicBezTo>
                <a:cubicBezTo>
                  <a:pt x="4846832" y="450590"/>
                  <a:pt x="4843093" y="453704"/>
                  <a:pt x="4839355" y="456194"/>
                </a:cubicBezTo>
                <a:cubicBezTo>
                  <a:pt x="4835618" y="459308"/>
                  <a:pt x="4831879" y="461175"/>
                  <a:pt x="4828764" y="457439"/>
                </a:cubicBezTo>
                <a:cubicBezTo>
                  <a:pt x="4825026" y="453081"/>
                  <a:pt x="4827520" y="449345"/>
                  <a:pt x="4830634" y="446231"/>
                </a:cubicBezTo>
                <a:cubicBezTo>
                  <a:pt x="4833127" y="443118"/>
                  <a:pt x="4836865" y="440627"/>
                  <a:pt x="4839355" y="438137"/>
                </a:cubicBezTo>
                <a:cubicBezTo>
                  <a:pt x="4844962" y="432533"/>
                  <a:pt x="4848078" y="425061"/>
                  <a:pt x="4842469" y="418835"/>
                </a:cubicBezTo>
                <a:cubicBezTo>
                  <a:pt x="4837488" y="413853"/>
                  <a:pt x="4830634" y="418835"/>
                  <a:pt x="4825649" y="422570"/>
                </a:cubicBezTo>
                <a:cubicBezTo>
                  <a:pt x="4821289" y="425684"/>
                  <a:pt x="4818174" y="431288"/>
                  <a:pt x="4812567" y="433155"/>
                </a:cubicBezTo>
                <a:cubicBezTo>
                  <a:pt x="4804469" y="436269"/>
                  <a:pt x="4799485" y="435023"/>
                  <a:pt x="4800108" y="425061"/>
                </a:cubicBezTo>
                <a:cubicBezTo>
                  <a:pt x="4800732" y="411363"/>
                  <a:pt x="4806339" y="400155"/>
                  <a:pt x="4813814" y="389570"/>
                </a:cubicBezTo>
                <a:cubicBezTo>
                  <a:pt x="4823157" y="375872"/>
                  <a:pt x="4823783" y="368399"/>
                  <a:pt x="4813814" y="355324"/>
                </a:cubicBezTo>
                <a:cubicBezTo>
                  <a:pt x="4810699" y="350342"/>
                  <a:pt x="4805715" y="345984"/>
                  <a:pt x="4801354" y="341626"/>
                </a:cubicBezTo>
                <a:cubicBezTo>
                  <a:pt x="4799485" y="339758"/>
                  <a:pt x="4796371" y="337889"/>
                  <a:pt x="4797617" y="334776"/>
                </a:cubicBezTo>
                <a:cubicBezTo>
                  <a:pt x="4798861" y="331040"/>
                  <a:pt x="4801977" y="330418"/>
                  <a:pt x="4804469" y="331040"/>
                </a:cubicBezTo>
                <a:cubicBezTo>
                  <a:pt x="4815682" y="333530"/>
                  <a:pt x="4818174" y="328550"/>
                  <a:pt x="4817552" y="318587"/>
                </a:cubicBezTo>
                <a:cubicBezTo>
                  <a:pt x="4816930" y="306134"/>
                  <a:pt x="4825026" y="297416"/>
                  <a:pt x="4833750" y="290567"/>
                </a:cubicBezTo>
                <a:cubicBezTo>
                  <a:pt x="4840602" y="284963"/>
                  <a:pt x="4841224" y="280605"/>
                  <a:pt x="4834373" y="275624"/>
                </a:cubicBezTo>
                <a:cubicBezTo>
                  <a:pt x="4830634" y="273133"/>
                  <a:pt x="4828142" y="270643"/>
                  <a:pt x="4829387" y="265661"/>
                </a:cubicBezTo>
                <a:cubicBezTo>
                  <a:pt x="4830634" y="258812"/>
                  <a:pt x="4835618" y="260057"/>
                  <a:pt x="4839979" y="258812"/>
                </a:cubicBezTo>
                <a:cubicBezTo>
                  <a:pt x="4842469" y="258190"/>
                  <a:pt x="4845585" y="258190"/>
                  <a:pt x="4848700" y="257567"/>
                </a:cubicBezTo>
                <a:cubicBezTo>
                  <a:pt x="4865519" y="255698"/>
                  <a:pt x="4869257" y="246359"/>
                  <a:pt x="4859290" y="232039"/>
                </a:cubicBezTo>
                <a:cubicBezTo>
                  <a:pt x="4858045" y="230170"/>
                  <a:pt x="4856798" y="228925"/>
                  <a:pt x="4856174" y="227057"/>
                </a:cubicBezTo>
                <a:cubicBezTo>
                  <a:pt x="4854307" y="223321"/>
                  <a:pt x="4853060" y="218340"/>
                  <a:pt x="4856798" y="215849"/>
                </a:cubicBezTo>
                <a:cubicBezTo>
                  <a:pt x="4859913" y="213358"/>
                  <a:pt x="4864274" y="215849"/>
                  <a:pt x="4866768" y="218340"/>
                </a:cubicBezTo>
                <a:cubicBezTo>
                  <a:pt x="4869257" y="220831"/>
                  <a:pt x="4871127" y="223321"/>
                  <a:pt x="4872995" y="226435"/>
                </a:cubicBezTo>
                <a:cubicBezTo>
                  <a:pt x="4876734" y="230793"/>
                  <a:pt x="4880470" y="232039"/>
                  <a:pt x="4885455" y="228302"/>
                </a:cubicBezTo>
                <a:cubicBezTo>
                  <a:pt x="4897290" y="220208"/>
                  <a:pt x="4910373" y="218962"/>
                  <a:pt x="4923454" y="218340"/>
                </a:cubicBezTo>
                <a:cubicBezTo>
                  <a:pt x="4939030" y="217094"/>
                  <a:pt x="4955227" y="218962"/>
                  <a:pt x="4970801" y="215227"/>
                </a:cubicBezTo>
                <a:close/>
                <a:moveTo>
                  <a:pt x="6682830" y="167741"/>
                </a:moveTo>
                <a:cubicBezTo>
                  <a:pt x="6689978" y="170477"/>
                  <a:pt x="6696577" y="174309"/>
                  <a:pt x="6699324" y="183068"/>
                </a:cubicBezTo>
                <a:cubicBezTo>
                  <a:pt x="6699876" y="184710"/>
                  <a:pt x="6703176" y="185805"/>
                  <a:pt x="6702627" y="189090"/>
                </a:cubicBezTo>
                <a:cubicBezTo>
                  <a:pt x="6700972" y="197849"/>
                  <a:pt x="6707570" y="200585"/>
                  <a:pt x="6713070" y="202227"/>
                </a:cubicBezTo>
                <a:cubicBezTo>
                  <a:pt x="6716920" y="203322"/>
                  <a:pt x="6719120" y="204964"/>
                  <a:pt x="6721318" y="207154"/>
                </a:cubicBezTo>
                <a:cubicBezTo>
                  <a:pt x="6727915" y="213176"/>
                  <a:pt x="6727366" y="221387"/>
                  <a:pt x="6729016" y="229051"/>
                </a:cubicBezTo>
                <a:cubicBezTo>
                  <a:pt x="6730115" y="236167"/>
                  <a:pt x="6726815" y="241640"/>
                  <a:pt x="6724067" y="247662"/>
                </a:cubicBezTo>
                <a:cubicBezTo>
                  <a:pt x="6721318" y="254231"/>
                  <a:pt x="6716920" y="259705"/>
                  <a:pt x="6708670" y="259705"/>
                </a:cubicBezTo>
                <a:cubicBezTo>
                  <a:pt x="6707570" y="259705"/>
                  <a:pt x="6707023" y="260253"/>
                  <a:pt x="6707023" y="261895"/>
                </a:cubicBezTo>
                <a:cubicBezTo>
                  <a:pt x="6703176" y="261895"/>
                  <a:pt x="6699876" y="261895"/>
                  <a:pt x="6696028" y="261895"/>
                </a:cubicBezTo>
                <a:cubicBezTo>
                  <a:pt x="6693276" y="258063"/>
                  <a:pt x="6687776" y="258611"/>
                  <a:pt x="6683927" y="255873"/>
                </a:cubicBezTo>
                <a:cubicBezTo>
                  <a:pt x="6680079" y="253136"/>
                  <a:pt x="6676782" y="250946"/>
                  <a:pt x="6675673" y="246020"/>
                </a:cubicBezTo>
                <a:cubicBezTo>
                  <a:pt x="6675125" y="240546"/>
                  <a:pt x="6672373" y="235619"/>
                  <a:pt x="6669635" y="231240"/>
                </a:cubicBezTo>
                <a:cubicBezTo>
                  <a:pt x="6666883" y="226313"/>
                  <a:pt x="6664680" y="221387"/>
                  <a:pt x="6661928" y="217008"/>
                </a:cubicBezTo>
                <a:cubicBezTo>
                  <a:pt x="6659727" y="212080"/>
                  <a:pt x="6655333" y="207702"/>
                  <a:pt x="6649829" y="204964"/>
                </a:cubicBezTo>
                <a:cubicBezTo>
                  <a:pt x="6649829" y="198395"/>
                  <a:pt x="6649829" y="191827"/>
                  <a:pt x="6649829" y="185258"/>
                </a:cubicBezTo>
                <a:cubicBezTo>
                  <a:pt x="6653126" y="183616"/>
                  <a:pt x="6654783" y="181426"/>
                  <a:pt x="6656429" y="177594"/>
                </a:cubicBezTo>
                <a:cubicBezTo>
                  <a:pt x="6658629" y="173215"/>
                  <a:pt x="6663576" y="169931"/>
                  <a:pt x="6668525" y="169931"/>
                </a:cubicBezTo>
                <a:cubicBezTo>
                  <a:pt x="6673481" y="169931"/>
                  <a:pt x="6677875" y="168835"/>
                  <a:pt x="6682830" y="167741"/>
                </a:cubicBezTo>
                <a:close/>
                <a:moveTo>
                  <a:pt x="6015172" y="165947"/>
                </a:moveTo>
                <a:cubicBezTo>
                  <a:pt x="6020122" y="167041"/>
                  <a:pt x="6024519" y="168137"/>
                  <a:pt x="6029467" y="168137"/>
                </a:cubicBezTo>
                <a:cubicBezTo>
                  <a:pt x="6034417" y="168137"/>
                  <a:pt x="6039366" y="171421"/>
                  <a:pt x="6041566" y="175800"/>
                </a:cubicBezTo>
                <a:cubicBezTo>
                  <a:pt x="6043214" y="179632"/>
                  <a:pt x="6044864" y="181822"/>
                  <a:pt x="6048165" y="183464"/>
                </a:cubicBezTo>
                <a:cubicBezTo>
                  <a:pt x="6048165" y="190033"/>
                  <a:pt x="6048165" y="196601"/>
                  <a:pt x="6048165" y="203170"/>
                </a:cubicBezTo>
                <a:cubicBezTo>
                  <a:pt x="6042665" y="205908"/>
                  <a:pt x="6038267" y="210286"/>
                  <a:pt x="6036067" y="215214"/>
                </a:cubicBezTo>
                <a:cubicBezTo>
                  <a:pt x="6033317" y="219593"/>
                  <a:pt x="6031120" y="224519"/>
                  <a:pt x="6028368" y="229446"/>
                </a:cubicBezTo>
                <a:cubicBezTo>
                  <a:pt x="6025620" y="233825"/>
                  <a:pt x="6022871" y="238752"/>
                  <a:pt x="6022320" y="244226"/>
                </a:cubicBezTo>
                <a:cubicBezTo>
                  <a:pt x="6021221" y="249152"/>
                  <a:pt x="6017920" y="251342"/>
                  <a:pt x="6014073" y="254079"/>
                </a:cubicBezTo>
                <a:cubicBezTo>
                  <a:pt x="6010225" y="256817"/>
                  <a:pt x="6004726" y="256269"/>
                  <a:pt x="6001974" y="260101"/>
                </a:cubicBezTo>
                <a:cubicBezTo>
                  <a:pt x="5998126" y="260101"/>
                  <a:pt x="5994826" y="260101"/>
                  <a:pt x="5990976" y="260101"/>
                </a:cubicBezTo>
                <a:cubicBezTo>
                  <a:pt x="5990976" y="258459"/>
                  <a:pt x="5990426" y="257911"/>
                  <a:pt x="5989329" y="257911"/>
                </a:cubicBezTo>
                <a:cubicBezTo>
                  <a:pt x="5981079" y="257911"/>
                  <a:pt x="5976681" y="252437"/>
                  <a:pt x="5973930" y="245868"/>
                </a:cubicBezTo>
                <a:cubicBezTo>
                  <a:pt x="5971182" y="239846"/>
                  <a:pt x="5967883" y="234373"/>
                  <a:pt x="5968982" y="227257"/>
                </a:cubicBezTo>
                <a:cubicBezTo>
                  <a:pt x="5970632" y="219593"/>
                  <a:pt x="5970082" y="211382"/>
                  <a:pt x="5976681" y="205360"/>
                </a:cubicBezTo>
                <a:cubicBezTo>
                  <a:pt x="5978881" y="203170"/>
                  <a:pt x="5981079" y="201528"/>
                  <a:pt x="5984929" y="200433"/>
                </a:cubicBezTo>
                <a:cubicBezTo>
                  <a:pt x="5990426" y="198791"/>
                  <a:pt x="5997026" y="196055"/>
                  <a:pt x="5995378" y="187296"/>
                </a:cubicBezTo>
                <a:cubicBezTo>
                  <a:pt x="5994826" y="184011"/>
                  <a:pt x="5998126" y="182916"/>
                  <a:pt x="5998676" y="181274"/>
                </a:cubicBezTo>
                <a:cubicBezTo>
                  <a:pt x="6001424" y="172515"/>
                  <a:pt x="6008021" y="168683"/>
                  <a:pt x="6015172" y="165947"/>
                </a:cubicBezTo>
                <a:close/>
                <a:moveTo>
                  <a:pt x="3712302" y="142724"/>
                </a:moveTo>
                <a:cubicBezTo>
                  <a:pt x="3716552" y="142675"/>
                  <a:pt x="3720995" y="143640"/>
                  <a:pt x="3725052" y="143061"/>
                </a:cubicBezTo>
                <a:cubicBezTo>
                  <a:pt x="3728530" y="142675"/>
                  <a:pt x="3735871" y="140747"/>
                  <a:pt x="3737417" y="143447"/>
                </a:cubicBezTo>
                <a:cubicBezTo>
                  <a:pt x="3742053" y="151165"/>
                  <a:pt x="3754029" y="148078"/>
                  <a:pt x="3756734" y="158496"/>
                </a:cubicBezTo>
                <a:cubicBezTo>
                  <a:pt x="3757507" y="161584"/>
                  <a:pt x="3762916" y="163513"/>
                  <a:pt x="3757894" y="167757"/>
                </a:cubicBezTo>
                <a:cubicBezTo>
                  <a:pt x="3756348" y="168915"/>
                  <a:pt x="3756734" y="171230"/>
                  <a:pt x="3758280" y="171616"/>
                </a:cubicBezTo>
                <a:cubicBezTo>
                  <a:pt x="3764462" y="173932"/>
                  <a:pt x="3764075" y="177405"/>
                  <a:pt x="3760212" y="182035"/>
                </a:cubicBezTo>
                <a:cubicBezTo>
                  <a:pt x="3759053" y="183579"/>
                  <a:pt x="3760599" y="185508"/>
                  <a:pt x="3761371" y="187052"/>
                </a:cubicBezTo>
                <a:cubicBezTo>
                  <a:pt x="3762916" y="189367"/>
                  <a:pt x="3763302" y="191682"/>
                  <a:pt x="3760985" y="193611"/>
                </a:cubicBezTo>
                <a:cubicBezTo>
                  <a:pt x="3758666" y="195541"/>
                  <a:pt x="3759053" y="197856"/>
                  <a:pt x="3758280" y="200172"/>
                </a:cubicBezTo>
                <a:cubicBezTo>
                  <a:pt x="3756348" y="205959"/>
                  <a:pt x="3754029" y="213292"/>
                  <a:pt x="3749780" y="215992"/>
                </a:cubicBezTo>
                <a:cubicBezTo>
                  <a:pt x="3740507" y="221781"/>
                  <a:pt x="3731620" y="227954"/>
                  <a:pt x="3722347" y="233357"/>
                </a:cubicBezTo>
                <a:cubicBezTo>
                  <a:pt x="3721574" y="233357"/>
                  <a:pt x="3720030" y="233357"/>
                  <a:pt x="3719643" y="232585"/>
                </a:cubicBezTo>
                <a:cubicBezTo>
                  <a:pt x="3715779" y="229112"/>
                  <a:pt x="3712302" y="226025"/>
                  <a:pt x="3707279" y="231042"/>
                </a:cubicBezTo>
                <a:cubicBezTo>
                  <a:pt x="3705733" y="232971"/>
                  <a:pt x="3704575" y="231042"/>
                  <a:pt x="3704189" y="229498"/>
                </a:cubicBezTo>
                <a:cubicBezTo>
                  <a:pt x="3703029" y="222938"/>
                  <a:pt x="3699938" y="222938"/>
                  <a:pt x="3695302" y="226796"/>
                </a:cubicBezTo>
                <a:cubicBezTo>
                  <a:pt x="3692211" y="229498"/>
                  <a:pt x="3690665" y="228726"/>
                  <a:pt x="3690665" y="224868"/>
                </a:cubicBezTo>
                <a:cubicBezTo>
                  <a:pt x="3690665" y="222553"/>
                  <a:pt x="3691438" y="219851"/>
                  <a:pt x="3687961" y="219465"/>
                </a:cubicBezTo>
                <a:cubicBezTo>
                  <a:pt x="3680234" y="217922"/>
                  <a:pt x="3677142" y="212520"/>
                  <a:pt x="3677529" y="205573"/>
                </a:cubicBezTo>
                <a:cubicBezTo>
                  <a:pt x="3677915" y="200558"/>
                  <a:pt x="3676370" y="198242"/>
                  <a:pt x="3672893" y="196313"/>
                </a:cubicBezTo>
                <a:cubicBezTo>
                  <a:pt x="3672893" y="194769"/>
                  <a:pt x="3672893" y="193225"/>
                  <a:pt x="3672893" y="191682"/>
                </a:cubicBezTo>
                <a:cubicBezTo>
                  <a:pt x="3676756" y="189367"/>
                  <a:pt x="3677915" y="185122"/>
                  <a:pt x="3676756" y="181263"/>
                </a:cubicBezTo>
                <a:cubicBezTo>
                  <a:pt x="3674824" y="174318"/>
                  <a:pt x="3677142" y="168915"/>
                  <a:pt x="3682165" y="164285"/>
                </a:cubicBezTo>
                <a:cubicBezTo>
                  <a:pt x="3684097" y="162355"/>
                  <a:pt x="3686029" y="160812"/>
                  <a:pt x="3686802" y="158110"/>
                </a:cubicBezTo>
                <a:cubicBezTo>
                  <a:pt x="3687575" y="153866"/>
                  <a:pt x="3689892" y="151551"/>
                  <a:pt x="3694143" y="151937"/>
                </a:cubicBezTo>
                <a:cubicBezTo>
                  <a:pt x="3697233" y="151937"/>
                  <a:pt x="3699552" y="150007"/>
                  <a:pt x="3700711" y="148464"/>
                </a:cubicBezTo>
                <a:cubicBezTo>
                  <a:pt x="3703995" y="143833"/>
                  <a:pt x="3708052" y="142772"/>
                  <a:pt x="3712302" y="142724"/>
                </a:cubicBezTo>
                <a:close/>
                <a:moveTo>
                  <a:pt x="6884850" y="103907"/>
                </a:moveTo>
                <a:cubicBezTo>
                  <a:pt x="6886976" y="103435"/>
                  <a:pt x="6888155" y="104850"/>
                  <a:pt x="6889099" y="106030"/>
                </a:cubicBezTo>
                <a:cubicBezTo>
                  <a:pt x="6892401" y="109802"/>
                  <a:pt x="6895469" y="113576"/>
                  <a:pt x="6901367" y="111689"/>
                </a:cubicBezTo>
                <a:cubicBezTo>
                  <a:pt x="6902548" y="111453"/>
                  <a:pt x="6903254" y="112397"/>
                  <a:pt x="6903727" y="113340"/>
                </a:cubicBezTo>
                <a:cubicBezTo>
                  <a:pt x="6906320" y="118056"/>
                  <a:pt x="6910570" y="121830"/>
                  <a:pt x="6914110" y="125839"/>
                </a:cubicBezTo>
                <a:cubicBezTo>
                  <a:pt x="6919535" y="131971"/>
                  <a:pt x="6922603" y="138810"/>
                  <a:pt x="6920479" y="147064"/>
                </a:cubicBezTo>
                <a:cubicBezTo>
                  <a:pt x="6919771" y="150366"/>
                  <a:pt x="6921656" y="152488"/>
                  <a:pt x="6923548" y="154375"/>
                </a:cubicBezTo>
                <a:cubicBezTo>
                  <a:pt x="6927794" y="158856"/>
                  <a:pt x="6927555" y="161214"/>
                  <a:pt x="6922838" y="164751"/>
                </a:cubicBezTo>
                <a:cubicBezTo>
                  <a:pt x="6917652" y="168288"/>
                  <a:pt x="6917652" y="168288"/>
                  <a:pt x="6921895" y="173477"/>
                </a:cubicBezTo>
                <a:cubicBezTo>
                  <a:pt x="6922838" y="174657"/>
                  <a:pt x="6923548" y="175599"/>
                  <a:pt x="6922129" y="177015"/>
                </a:cubicBezTo>
                <a:cubicBezTo>
                  <a:pt x="6917412" y="182438"/>
                  <a:pt x="6913166" y="187863"/>
                  <a:pt x="6908212" y="193051"/>
                </a:cubicBezTo>
                <a:cubicBezTo>
                  <a:pt x="6904672" y="197060"/>
                  <a:pt x="6900189" y="199655"/>
                  <a:pt x="6894999" y="200833"/>
                </a:cubicBezTo>
                <a:cubicBezTo>
                  <a:pt x="6891696" y="201777"/>
                  <a:pt x="6885326" y="210267"/>
                  <a:pt x="6885085" y="213804"/>
                </a:cubicBezTo>
                <a:cubicBezTo>
                  <a:pt x="6885085" y="214983"/>
                  <a:pt x="6885085" y="215926"/>
                  <a:pt x="6886502" y="216399"/>
                </a:cubicBezTo>
                <a:cubicBezTo>
                  <a:pt x="6893821" y="219700"/>
                  <a:pt x="6897357" y="226067"/>
                  <a:pt x="6900424" y="232907"/>
                </a:cubicBezTo>
                <a:cubicBezTo>
                  <a:pt x="6901132" y="234321"/>
                  <a:pt x="6901603" y="235501"/>
                  <a:pt x="6902316" y="236679"/>
                </a:cubicBezTo>
                <a:cubicBezTo>
                  <a:pt x="6904672" y="240453"/>
                  <a:pt x="6905851" y="243755"/>
                  <a:pt x="6904198" y="248471"/>
                </a:cubicBezTo>
                <a:cubicBezTo>
                  <a:pt x="6902548" y="253188"/>
                  <a:pt x="6905141" y="257905"/>
                  <a:pt x="6907504" y="262150"/>
                </a:cubicBezTo>
                <a:cubicBezTo>
                  <a:pt x="6908448" y="264272"/>
                  <a:pt x="6908918" y="265687"/>
                  <a:pt x="6907265" y="267809"/>
                </a:cubicBezTo>
                <a:cubicBezTo>
                  <a:pt x="6900662" y="276771"/>
                  <a:pt x="6895701" y="286675"/>
                  <a:pt x="6894763" y="298232"/>
                </a:cubicBezTo>
                <a:cubicBezTo>
                  <a:pt x="6894525" y="299883"/>
                  <a:pt x="6894052" y="300590"/>
                  <a:pt x="6892401" y="300118"/>
                </a:cubicBezTo>
                <a:cubicBezTo>
                  <a:pt x="6885794" y="298703"/>
                  <a:pt x="6881547" y="302241"/>
                  <a:pt x="6878010" y="306957"/>
                </a:cubicBezTo>
                <a:cubicBezTo>
                  <a:pt x="6876360" y="309080"/>
                  <a:pt x="6874941" y="310259"/>
                  <a:pt x="6871873" y="308844"/>
                </a:cubicBezTo>
                <a:cubicBezTo>
                  <a:pt x="6868098" y="306721"/>
                  <a:pt x="6864561" y="308608"/>
                  <a:pt x="6861493" y="311202"/>
                </a:cubicBezTo>
                <a:cubicBezTo>
                  <a:pt x="6858896" y="313324"/>
                  <a:pt x="6856301" y="315918"/>
                  <a:pt x="6853707" y="318041"/>
                </a:cubicBezTo>
                <a:cubicBezTo>
                  <a:pt x="6852412" y="318985"/>
                  <a:pt x="6851174" y="319515"/>
                  <a:pt x="6850168" y="319309"/>
                </a:cubicBezTo>
                <a:cubicBezTo>
                  <a:pt x="6849165" y="319103"/>
                  <a:pt x="6848396" y="318160"/>
                  <a:pt x="6848045" y="316155"/>
                </a:cubicBezTo>
                <a:cubicBezTo>
                  <a:pt x="6848045" y="315211"/>
                  <a:pt x="6847809" y="314268"/>
                  <a:pt x="6847333" y="313324"/>
                </a:cubicBezTo>
                <a:cubicBezTo>
                  <a:pt x="6846863" y="312146"/>
                  <a:pt x="6846863" y="310259"/>
                  <a:pt x="6845214" y="310023"/>
                </a:cubicBezTo>
                <a:cubicBezTo>
                  <a:pt x="6843798" y="310023"/>
                  <a:pt x="6842855" y="311202"/>
                  <a:pt x="6842145" y="312146"/>
                </a:cubicBezTo>
                <a:cubicBezTo>
                  <a:pt x="6838609" y="316155"/>
                  <a:pt x="6837191" y="315918"/>
                  <a:pt x="6835065" y="310966"/>
                </a:cubicBezTo>
                <a:cubicBezTo>
                  <a:pt x="6834596" y="309788"/>
                  <a:pt x="6834361" y="308844"/>
                  <a:pt x="6833651" y="307901"/>
                </a:cubicBezTo>
                <a:cubicBezTo>
                  <a:pt x="6832709" y="306486"/>
                  <a:pt x="6831765" y="305306"/>
                  <a:pt x="6829403" y="306250"/>
                </a:cubicBezTo>
                <a:cubicBezTo>
                  <a:pt x="6827282" y="307429"/>
                  <a:pt x="6827282" y="308372"/>
                  <a:pt x="6827752" y="310259"/>
                </a:cubicBezTo>
                <a:lnTo>
                  <a:pt x="6828150" y="313826"/>
                </a:lnTo>
                <a:lnTo>
                  <a:pt x="6809711" y="295485"/>
                </a:lnTo>
                <a:lnTo>
                  <a:pt x="6810763" y="293987"/>
                </a:lnTo>
                <a:cubicBezTo>
                  <a:pt x="6811240" y="291864"/>
                  <a:pt x="6810530" y="290449"/>
                  <a:pt x="6808642" y="289506"/>
                </a:cubicBezTo>
                <a:cubicBezTo>
                  <a:pt x="6807226" y="288798"/>
                  <a:pt x="6805812" y="288326"/>
                  <a:pt x="6804393" y="287619"/>
                </a:cubicBezTo>
                <a:cubicBezTo>
                  <a:pt x="6802037" y="286440"/>
                  <a:pt x="6801092" y="284790"/>
                  <a:pt x="6801564" y="281959"/>
                </a:cubicBezTo>
                <a:cubicBezTo>
                  <a:pt x="6802981" y="273469"/>
                  <a:pt x="6799914" y="267573"/>
                  <a:pt x="6792363" y="263800"/>
                </a:cubicBezTo>
                <a:cubicBezTo>
                  <a:pt x="6791185" y="263093"/>
                  <a:pt x="6788583" y="263328"/>
                  <a:pt x="6789059" y="261206"/>
                </a:cubicBezTo>
                <a:cubicBezTo>
                  <a:pt x="6789295" y="259083"/>
                  <a:pt x="6791419" y="258612"/>
                  <a:pt x="6793540" y="258376"/>
                </a:cubicBezTo>
                <a:cubicBezTo>
                  <a:pt x="6793776" y="258376"/>
                  <a:pt x="6794013" y="258376"/>
                  <a:pt x="6794252" y="258376"/>
                </a:cubicBezTo>
                <a:cubicBezTo>
                  <a:pt x="6799914" y="257432"/>
                  <a:pt x="6801564" y="254839"/>
                  <a:pt x="6798732" y="250358"/>
                </a:cubicBezTo>
                <a:cubicBezTo>
                  <a:pt x="6796139" y="246113"/>
                  <a:pt x="6796843" y="242811"/>
                  <a:pt x="6799205" y="239274"/>
                </a:cubicBezTo>
                <a:cubicBezTo>
                  <a:pt x="6802272" y="234557"/>
                  <a:pt x="6804634" y="229605"/>
                  <a:pt x="6803216" y="223709"/>
                </a:cubicBezTo>
                <a:cubicBezTo>
                  <a:pt x="6802510" y="221115"/>
                  <a:pt x="6805102" y="219935"/>
                  <a:pt x="6806755" y="219464"/>
                </a:cubicBezTo>
                <a:cubicBezTo>
                  <a:pt x="6812890" y="217341"/>
                  <a:pt x="6815722" y="213332"/>
                  <a:pt x="6816431" y="207201"/>
                </a:cubicBezTo>
                <a:cubicBezTo>
                  <a:pt x="6816900" y="203427"/>
                  <a:pt x="6818317" y="202720"/>
                  <a:pt x="6822093" y="205078"/>
                </a:cubicBezTo>
                <a:cubicBezTo>
                  <a:pt x="6830114" y="210031"/>
                  <a:pt x="6841912" y="206494"/>
                  <a:pt x="6845450" y="198239"/>
                </a:cubicBezTo>
                <a:cubicBezTo>
                  <a:pt x="6846159" y="196588"/>
                  <a:pt x="6847103" y="194466"/>
                  <a:pt x="6845450" y="193051"/>
                </a:cubicBezTo>
                <a:cubicBezTo>
                  <a:pt x="6843798" y="191636"/>
                  <a:pt x="6841438" y="190928"/>
                  <a:pt x="6839315" y="192344"/>
                </a:cubicBezTo>
                <a:cubicBezTo>
                  <a:pt x="6837899" y="193051"/>
                  <a:pt x="6836485" y="194230"/>
                  <a:pt x="6835065" y="195173"/>
                </a:cubicBezTo>
                <a:cubicBezTo>
                  <a:pt x="6833651" y="196353"/>
                  <a:pt x="6832239" y="197060"/>
                  <a:pt x="6831057" y="195646"/>
                </a:cubicBezTo>
                <a:cubicBezTo>
                  <a:pt x="6829641" y="193995"/>
                  <a:pt x="6830585" y="192579"/>
                  <a:pt x="6831765" y="191401"/>
                </a:cubicBezTo>
                <a:cubicBezTo>
                  <a:pt x="6832709" y="190221"/>
                  <a:pt x="6834124" y="189278"/>
                  <a:pt x="6835065" y="188334"/>
                </a:cubicBezTo>
                <a:cubicBezTo>
                  <a:pt x="6837191" y="186212"/>
                  <a:pt x="6838370" y="183382"/>
                  <a:pt x="6836248" y="181024"/>
                </a:cubicBezTo>
                <a:cubicBezTo>
                  <a:pt x="6834361" y="179137"/>
                  <a:pt x="6831765" y="181024"/>
                  <a:pt x="6829876" y="182438"/>
                </a:cubicBezTo>
                <a:cubicBezTo>
                  <a:pt x="6828228" y="183618"/>
                  <a:pt x="6827049" y="185740"/>
                  <a:pt x="6824924" y="186448"/>
                </a:cubicBezTo>
                <a:cubicBezTo>
                  <a:pt x="6821857" y="187627"/>
                  <a:pt x="6819964" y="187156"/>
                  <a:pt x="6820199" y="183382"/>
                </a:cubicBezTo>
                <a:cubicBezTo>
                  <a:pt x="6820441" y="178193"/>
                  <a:pt x="6822559" y="173948"/>
                  <a:pt x="6825396" y="169939"/>
                </a:cubicBezTo>
                <a:cubicBezTo>
                  <a:pt x="6828932" y="164751"/>
                  <a:pt x="6829168" y="161921"/>
                  <a:pt x="6825396" y="156969"/>
                </a:cubicBezTo>
                <a:cubicBezTo>
                  <a:pt x="6824215" y="155082"/>
                  <a:pt x="6822326" y="153431"/>
                  <a:pt x="6820679" y="151781"/>
                </a:cubicBezTo>
                <a:cubicBezTo>
                  <a:pt x="6819964" y="151073"/>
                  <a:pt x="6818789" y="150366"/>
                  <a:pt x="6819261" y="149186"/>
                </a:cubicBezTo>
                <a:cubicBezTo>
                  <a:pt x="6819731" y="147772"/>
                  <a:pt x="6820913" y="147536"/>
                  <a:pt x="6821857" y="147772"/>
                </a:cubicBezTo>
                <a:cubicBezTo>
                  <a:pt x="6826103" y="148715"/>
                  <a:pt x="6827049" y="146828"/>
                  <a:pt x="6826811" y="143054"/>
                </a:cubicBezTo>
                <a:cubicBezTo>
                  <a:pt x="6826573" y="138338"/>
                  <a:pt x="6829641" y="135037"/>
                  <a:pt x="6832944" y="132442"/>
                </a:cubicBezTo>
                <a:cubicBezTo>
                  <a:pt x="6835543" y="130320"/>
                  <a:pt x="6835775" y="128670"/>
                  <a:pt x="6833182" y="126783"/>
                </a:cubicBezTo>
                <a:cubicBezTo>
                  <a:pt x="6831765" y="125839"/>
                  <a:pt x="6830820" y="124896"/>
                  <a:pt x="6831296" y="123009"/>
                </a:cubicBezTo>
                <a:cubicBezTo>
                  <a:pt x="6831765" y="120416"/>
                  <a:pt x="6833651" y="120887"/>
                  <a:pt x="6835306" y="120416"/>
                </a:cubicBezTo>
                <a:cubicBezTo>
                  <a:pt x="6836248" y="120179"/>
                  <a:pt x="6837429" y="120179"/>
                  <a:pt x="6838609" y="119943"/>
                </a:cubicBezTo>
                <a:cubicBezTo>
                  <a:pt x="6844977" y="119236"/>
                  <a:pt x="6846391" y="115698"/>
                  <a:pt x="6842617" y="110275"/>
                </a:cubicBezTo>
                <a:cubicBezTo>
                  <a:pt x="6842145" y="109567"/>
                  <a:pt x="6841677" y="109095"/>
                  <a:pt x="6841438" y="108388"/>
                </a:cubicBezTo>
                <a:cubicBezTo>
                  <a:pt x="6840730" y="106973"/>
                  <a:pt x="6840260" y="105086"/>
                  <a:pt x="6841677" y="104143"/>
                </a:cubicBezTo>
                <a:cubicBezTo>
                  <a:pt x="6842855" y="103199"/>
                  <a:pt x="6844506" y="104143"/>
                  <a:pt x="6845450" y="105086"/>
                </a:cubicBezTo>
                <a:cubicBezTo>
                  <a:pt x="6846391" y="106030"/>
                  <a:pt x="6847103" y="106973"/>
                  <a:pt x="6847809" y="108152"/>
                </a:cubicBezTo>
                <a:cubicBezTo>
                  <a:pt x="6849227" y="109802"/>
                  <a:pt x="6850638" y="110275"/>
                  <a:pt x="6852528" y="108859"/>
                </a:cubicBezTo>
                <a:cubicBezTo>
                  <a:pt x="6857011" y="105793"/>
                  <a:pt x="6861966" y="105322"/>
                  <a:pt x="6866919" y="105086"/>
                </a:cubicBezTo>
                <a:cubicBezTo>
                  <a:pt x="6872819" y="104615"/>
                  <a:pt x="6878953" y="105322"/>
                  <a:pt x="6884850" y="103907"/>
                </a:cubicBezTo>
                <a:close/>
                <a:moveTo>
                  <a:pt x="5644234" y="691"/>
                </a:moveTo>
                <a:cubicBezTo>
                  <a:pt x="5648485" y="643"/>
                  <a:pt x="5652929" y="1607"/>
                  <a:pt x="5656985" y="1028"/>
                </a:cubicBezTo>
                <a:cubicBezTo>
                  <a:pt x="5660463" y="642"/>
                  <a:pt x="5667805" y="-1286"/>
                  <a:pt x="5669348" y="1414"/>
                </a:cubicBezTo>
                <a:cubicBezTo>
                  <a:pt x="5673986" y="9133"/>
                  <a:pt x="5685965" y="6045"/>
                  <a:pt x="5688667" y="16464"/>
                </a:cubicBezTo>
                <a:cubicBezTo>
                  <a:pt x="5689441" y="19551"/>
                  <a:pt x="5694850" y="21481"/>
                  <a:pt x="5689828" y="25725"/>
                </a:cubicBezTo>
                <a:cubicBezTo>
                  <a:pt x="5688281" y="26882"/>
                  <a:pt x="5688667" y="29198"/>
                  <a:pt x="5690214" y="29584"/>
                </a:cubicBezTo>
                <a:cubicBezTo>
                  <a:pt x="5696395" y="31899"/>
                  <a:pt x="5696008" y="35372"/>
                  <a:pt x="5692147" y="40002"/>
                </a:cubicBezTo>
                <a:cubicBezTo>
                  <a:pt x="5690986" y="41546"/>
                  <a:pt x="5692532" y="43476"/>
                  <a:pt x="5693305" y="45019"/>
                </a:cubicBezTo>
                <a:cubicBezTo>
                  <a:pt x="5694850" y="47334"/>
                  <a:pt x="5695234" y="49649"/>
                  <a:pt x="5692918" y="51579"/>
                </a:cubicBezTo>
                <a:cubicBezTo>
                  <a:pt x="5690600" y="53508"/>
                  <a:pt x="5690986" y="55824"/>
                  <a:pt x="5690214" y="58139"/>
                </a:cubicBezTo>
                <a:cubicBezTo>
                  <a:pt x="5688281" y="63927"/>
                  <a:pt x="5685965" y="71258"/>
                  <a:pt x="5681714" y="73959"/>
                </a:cubicBezTo>
                <a:cubicBezTo>
                  <a:pt x="5672441" y="79748"/>
                  <a:pt x="5663554" y="85922"/>
                  <a:pt x="5654282" y="91324"/>
                </a:cubicBezTo>
                <a:cubicBezTo>
                  <a:pt x="5653509" y="91324"/>
                  <a:pt x="5651963" y="91324"/>
                  <a:pt x="5651574" y="90553"/>
                </a:cubicBezTo>
                <a:cubicBezTo>
                  <a:pt x="5647714" y="87079"/>
                  <a:pt x="5644234" y="83992"/>
                  <a:pt x="5639212" y="89009"/>
                </a:cubicBezTo>
                <a:cubicBezTo>
                  <a:pt x="5637667" y="90939"/>
                  <a:pt x="5636509" y="89009"/>
                  <a:pt x="5636124" y="87465"/>
                </a:cubicBezTo>
                <a:cubicBezTo>
                  <a:pt x="5634963" y="80906"/>
                  <a:pt x="5631872" y="80906"/>
                  <a:pt x="5627235" y="84764"/>
                </a:cubicBezTo>
                <a:cubicBezTo>
                  <a:pt x="5624144" y="87465"/>
                  <a:pt x="5622600" y="86694"/>
                  <a:pt x="5622600" y="82834"/>
                </a:cubicBezTo>
                <a:cubicBezTo>
                  <a:pt x="5622600" y="80520"/>
                  <a:pt x="5623373" y="77819"/>
                  <a:pt x="5619896" y="77433"/>
                </a:cubicBezTo>
                <a:cubicBezTo>
                  <a:pt x="5612168" y="75889"/>
                  <a:pt x="5609076" y="70487"/>
                  <a:pt x="5609463" y="63541"/>
                </a:cubicBezTo>
                <a:cubicBezTo>
                  <a:pt x="5609850" y="58525"/>
                  <a:pt x="5608306" y="56210"/>
                  <a:pt x="5604825" y="54280"/>
                </a:cubicBezTo>
                <a:cubicBezTo>
                  <a:pt x="5604825" y="52736"/>
                  <a:pt x="5604825" y="51193"/>
                  <a:pt x="5604825" y="49649"/>
                </a:cubicBezTo>
                <a:cubicBezTo>
                  <a:pt x="5608691" y="47334"/>
                  <a:pt x="5609850" y="43090"/>
                  <a:pt x="5608691" y="39231"/>
                </a:cubicBezTo>
                <a:cubicBezTo>
                  <a:pt x="5606758" y="32285"/>
                  <a:pt x="5609076" y="26882"/>
                  <a:pt x="5614099" y="22253"/>
                </a:cubicBezTo>
                <a:cubicBezTo>
                  <a:pt x="5616031" y="20323"/>
                  <a:pt x="5617963" y="18779"/>
                  <a:pt x="5618735" y="16078"/>
                </a:cubicBezTo>
                <a:cubicBezTo>
                  <a:pt x="5619509" y="11834"/>
                  <a:pt x="5621825" y="9518"/>
                  <a:pt x="5626076" y="9904"/>
                </a:cubicBezTo>
                <a:cubicBezTo>
                  <a:pt x="5629168" y="9904"/>
                  <a:pt x="5631486" y="7975"/>
                  <a:pt x="5632644" y="6431"/>
                </a:cubicBezTo>
                <a:cubicBezTo>
                  <a:pt x="5635929" y="1801"/>
                  <a:pt x="5639984" y="740"/>
                  <a:pt x="5644234" y="691"/>
                </a:cubicBezTo>
                <a:close/>
              </a:path>
            </a:pathLst>
          </a:custGeom>
          <a:solidFill>
            <a:schemeClr val="bg1">
              <a:lumMod val="95000"/>
            </a:schemeClr>
          </a:solidFill>
          <a:ln w="19050">
            <a:noFill/>
          </a:ln>
        </p:spPr>
        <p:txBody>
          <a:bodyPr wrap="square" anchor="ctr">
            <a:noAutofit/>
          </a:bodyPr>
          <a:lstStyle>
            <a:lvl1pPr marL="0" indent="0" algn="ctr">
              <a:lnSpc>
                <a:spcPct val="100000"/>
              </a:lnSpc>
              <a:buNone/>
              <a:defRPr sz="1200">
                <a:solidFill>
                  <a:schemeClr val="tx1">
                    <a:lumMod val="75000"/>
                    <a:lumOff val="25000"/>
                  </a:schemeClr>
                </a:solidFill>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40870882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slide layout">
    <p:spTree>
      <p:nvGrpSpPr>
        <p:cNvPr id="1" name=""/>
        <p:cNvGrpSpPr/>
        <p:nvPr/>
      </p:nvGrpSpPr>
      <p:grpSpPr>
        <a:xfrm>
          <a:off x="0" y="0"/>
          <a:ext cx="0" cy="0"/>
          <a:chOff x="0" y="0"/>
          <a:chExt cx="0" cy="0"/>
        </a:xfrm>
      </p:grpSpPr>
      <p:grpSp>
        <p:nvGrpSpPr>
          <p:cNvPr id="3" name="Group 3">
            <a:extLst>
              <a:ext uri="{FF2B5EF4-FFF2-40B4-BE49-F238E27FC236}">
                <a16:creationId xmlns:a16="http://schemas.microsoft.com/office/drawing/2014/main" id="{6F3B20C2-1933-4539-9FE9-0E1191402DC6}"/>
              </a:ext>
            </a:extLst>
          </p:cNvPr>
          <p:cNvGrpSpPr/>
          <p:nvPr userDrawn="1"/>
        </p:nvGrpSpPr>
        <p:grpSpPr>
          <a:xfrm>
            <a:off x="729449" y="1780758"/>
            <a:ext cx="2449180" cy="4305530"/>
            <a:chOff x="445712" y="1449040"/>
            <a:chExt cx="2113018" cy="3924176"/>
          </a:xfrm>
        </p:grpSpPr>
        <p:sp>
          <p:nvSpPr>
            <p:cNvPr id="4" name="Rounded Rectangle 4">
              <a:extLst>
                <a:ext uri="{FF2B5EF4-FFF2-40B4-BE49-F238E27FC236}">
                  <a16:creationId xmlns:a16="http://schemas.microsoft.com/office/drawing/2014/main" id="{E1F8385A-BF99-4606-9C2E-8E14E818BCEA}"/>
                </a:ext>
              </a:extLst>
            </p:cNvPr>
            <p:cNvSpPr/>
            <p:nvPr userDrawn="1"/>
          </p:nvSpPr>
          <p:spPr>
            <a:xfrm>
              <a:off x="445712" y="1449040"/>
              <a:ext cx="2113018" cy="3924176"/>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dirty="0"/>
            </a:p>
          </p:txBody>
        </p:sp>
        <p:sp>
          <p:nvSpPr>
            <p:cNvPr id="5" name="Rectangle 5">
              <a:extLst>
                <a:ext uri="{FF2B5EF4-FFF2-40B4-BE49-F238E27FC236}">
                  <a16:creationId xmlns:a16="http://schemas.microsoft.com/office/drawing/2014/main" id="{F77EF5DA-C377-4F76-9416-E1BC5458C3FA}"/>
                </a:ext>
              </a:extLst>
            </p:cNvPr>
            <p:cNvSpPr/>
            <p:nvPr userDrawn="1"/>
          </p:nvSpPr>
          <p:spPr>
            <a:xfrm>
              <a:off x="1379920" y="1650572"/>
              <a:ext cx="216024" cy="34350"/>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nvGrpSpPr>
            <p:cNvPr id="6" name="Group 6">
              <a:extLst>
                <a:ext uri="{FF2B5EF4-FFF2-40B4-BE49-F238E27FC236}">
                  <a16:creationId xmlns:a16="http://schemas.microsoft.com/office/drawing/2014/main" id="{33C74E8A-4CF7-411F-BE02-D0BD068E9E59}"/>
                </a:ext>
              </a:extLst>
            </p:cNvPr>
            <p:cNvGrpSpPr/>
            <p:nvPr userDrawn="1"/>
          </p:nvGrpSpPr>
          <p:grpSpPr>
            <a:xfrm>
              <a:off x="1407705" y="5045834"/>
              <a:ext cx="211967" cy="211967"/>
              <a:chOff x="1549420" y="5712364"/>
              <a:chExt cx="312583" cy="312583"/>
            </a:xfrm>
          </p:grpSpPr>
          <p:sp>
            <p:nvSpPr>
              <p:cNvPr id="7" name="Oval 7">
                <a:extLst>
                  <a:ext uri="{FF2B5EF4-FFF2-40B4-BE49-F238E27FC236}">
                    <a16:creationId xmlns:a16="http://schemas.microsoft.com/office/drawing/2014/main" id="{1864B4B9-B961-4143-AEA3-77F52A0C22DF}"/>
                  </a:ext>
                </a:extLst>
              </p:cNvPr>
              <p:cNvSpPr/>
              <p:nvPr userDrawn="1"/>
            </p:nvSpPr>
            <p:spPr>
              <a:xfrm>
                <a:off x="1549420" y="5712364"/>
                <a:ext cx="312583" cy="312583"/>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8" name="Rounded Rectangle 8">
                <a:extLst>
                  <a:ext uri="{FF2B5EF4-FFF2-40B4-BE49-F238E27FC236}">
                    <a16:creationId xmlns:a16="http://schemas.microsoft.com/office/drawing/2014/main" id="{B1DAD7A4-56AC-4568-AC24-E27FFB284921}"/>
                  </a:ext>
                </a:extLst>
              </p:cNvPr>
              <p:cNvSpPr/>
              <p:nvPr userDrawn="1"/>
            </p:nvSpPr>
            <p:spPr>
              <a:xfrm>
                <a:off x="1634225" y="5796647"/>
                <a:ext cx="142969" cy="144016"/>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grpSp>
      <p:sp>
        <p:nvSpPr>
          <p:cNvPr id="9" name="Picture Placeholder 2">
            <a:extLst>
              <a:ext uri="{FF2B5EF4-FFF2-40B4-BE49-F238E27FC236}">
                <a16:creationId xmlns:a16="http://schemas.microsoft.com/office/drawing/2014/main" id="{E239173A-8563-40CD-851E-B781776F4BFC}"/>
              </a:ext>
            </a:extLst>
          </p:cNvPr>
          <p:cNvSpPr>
            <a:spLocks noGrp="1"/>
          </p:cNvSpPr>
          <p:nvPr>
            <p:ph type="pic" idx="15" hasCustomPrompt="1"/>
          </p:nvPr>
        </p:nvSpPr>
        <p:spPr>
          <a:xfrm>
            <a:off x="873465" y="2174930"/>
            <a:ext cx="2152765" cy="3348746"/>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16506562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2.pn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4.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2.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3.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e 7">
            <a:extLst>
              <a:ext uri="{FF2B5EF4-FFF2-40B4-BE49-F238E27FC236}">
                <a16:creationId xmlns:a16="http://schemas.microsoft.com/office/drawing/2014/main" id="{EAE43D1B-45F1-E245-BA37-67621F4B5713}"/>
              </a:ext>
            </a:extLst>
          </p:cNvPr>
          <p:cNvGrpSpPr/>
          <p:nvPr userDrawn="1"/>
        </p:nvGrpSpPr>
        <p:grpSpPr>
          <a:xfrm>
            <a:off x="9215952" y="135000"/>
            <a:ext cx="2369976" cy="1468581"/>
            <a:chOff x="9822024" y="70514"/>
            <a:chExt cx="2369976" cy="1468581"/>
          </a:xfrm>
        </p:grpSpPr>
        <p:pic>
          <p:nvPicPr>
            <p:cNvPr id="9" name="Picture 2" descr="Résultat de recherche d'images pour &quot;royaume du Maroc&quot;">
              <a:extLst>
                <a:ext uri="{FF2B5EF4-FFF2-40B4-BE49-F238E27FC236}">
                  <a16:creationId xmlns:a16="http://schemas.microsoft.com/office/drawing/2014/main" id="{1705A7FE-FBD4-A940-91D6-CCFD882CEDD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439692" y="70514"/>
              <a:ext cx="1128419" cy="1222359"/>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EBB344C8-2181-6D4A-966C-66A725DF081B}"/>
                </a:ext>
              </a:extLst>
            </p:cNvPr>
            <p:cNvSpPr txBox="1"/>
            <p:nvPr/>
          </p:nvSpPr>
          <p:spPr>
            <a:xfrm>
              <a:off x="9822024" y="1292874"/>
              <a:ext cx="2369976" cy="246221"/>
            </a:xfrm>
            <a:prstGeom prst="rect">
              <a:avLst/>
            </a:prstGeom>
            <a:noFill/>
          </p:spPr>
          <p:txBody>
            <a:bodyPr wrap="square" rtlCol="0">
              <a:spAutoFit/>
            </a:bodyPr>
            <a:lstStyle/>
            <a:p>
              <a:pPr algn="ctr"/>
              <a:endParaRPr lang="fr-FR" sz="1000" i="1" dirty="0"/>
            </a:p>
          </p:txBody>
        </p:sp>
      </p:grpSp>
    </p:spTree>
    <p:extLst>
      <p:ext uri="{BB962C8B-B14F-4D97-AF65-F5344CB8AC3E}">
        <p14:creationId xmlns:p14="http://schemas.microsoft.com/office/powerpoint/2010/main" val="691698797"/>
      </p:ext>
    </p:extLst>
  </p:cSld>
  <p:clrMap bg1="lt1" tx1="dk1" bg2="lt2" tx2="dk2" accent1="accent1" accent2="accent2" accent3="accent3" accent4="accent4" accent5="accent5" accent6="accent6" hlink="hlink" folHlink="folHlink"/>
  <p:sldLayoutIdLst>
    <p:sldLayoutId id="2147483704" r:id="rId1"/>
    <p:sldLayoutId id="2147483717"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arallélogramme 1">
            <a:extLst>
              <a:ext uri="{FF2B5EF4-FFF2-40B4-BE49-F238E27FC236}">
                <a16:creationId xmlns:a16="http://schemas.microsoft.com/office/drawing/2014/main" id="{2A096DB9-8C03-404C-A74B-D3B5355DB753}"/>
              </a:ext>
            </a:extLst>
          </p:cNvPr>
          <p:cNvSpPr/>
          <p:nvPr userDrawn="1"/>
        </p:nvSpPr>
        <p:spPr>
          <a:xfrm>
            <a:off x="1" y="0"/>
            <a:ext cx="12192000" cy="1296364"/>
          </a:xfrm>
          <a:prstGeom prst="parallelogram">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Text Placeholder 1">
            <a:extLst>
              <a:ext uri="{FF2B5EF4-FFF2-40B4-BE49-F238E27FC236}">
                <a16:creationId xmlns:a16="http://schemas.microsoft.com/office/drawing/2014/main" id="{16A8E92D-983E-2E48-9622-D14B6D35E75D}"/>
              </a:ext>
            </a:extLst>
          </p:cNvPr>
          <p:cNvSpPr txBox="1">
            <a:spLocks/>
          </p:cNvSpPr>
          <p:nvPr userDrawn="1"/>
        </p:nvSpPr>
        <p:spPr>
          <a:xfrm>
            <a:off x="1319514" y="215900"/>
            <a:ext cx="9089316" cy="6594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fr-FR" altLang="ko-KR" sz="2400" b="1" i="1" dirty="0">
              <a:solidFill>
                <a:schemeClr val="bg1"/>
              </a:solidFill>
              <a:cs typeface="Arial" pitchFamily="34" charset="0"/>
            </a:endParaRPr>
          </a:p>
        </p:txBody>
      </p:sp>
      <p:pic>
        <p:nvPicPr>
          <p:cNvPr id="15" name="Picture 2" descr="Résultat de recherche d'images pour &quot;royaume du Maroc&quot;">
            <a:extLst>
              <a:ext uri="{FF2B5EF4-FFF2-40B4-BE49-F238E27FC236}">
                <a16:creationId xmlns:a16="http://schemas.microsoft.com/office/drawing/2014/main" id="{249D7DB6-B3A5-DC44-92D6-788865E7904E}"/>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11124732" y="205987"/>
            <a:ext cx="816423" cy="88438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DGCT - Programme d'Appui à l'amélioration de la performance des communes au  Maroc">
            <a:extLst>
              <a:ext uri="{FF2B5EF4-FFF2-40B4-BE49-F238E27FC236}">
                <a16:creationId xmlns:a16="http://schemas.microsoft.com/office/drawing/2014/main" id="{671F2915-DBDC-4B6A-B7E4-248A7A933E23}"/>
              </a:ext>
            </a:extLst>
          </p:cNvPr>
          <p:cNvPicPr>
            <a:picLocks noChangeAspect="1" noChangeArrowheads="1"/>
          </p:cNvPicPr>
          <p:nvPr userDrawn="1"/>
        </p:nvPicPr>
        <p:blipFill rotWithShape="1">
          <a:blip r:embed="rId14" cstate="email">
            <a:extLst>
              <a:ext uri="{28A0092B-C50C-407E-A947-70E740481C1C}">
                <a14:useLocalDpi xmlns:a14="http://schemas.microsoft.com/office/drawing/2010/main"/>
              </a:ext>
            </a:extLst>
          </a:blip>
          <a:srcRect/>
          <a:stretch/>
        </p:blipFill>
        <p:spPr bwMode="auto">
          <a:xfrm>
            <a:off x="157363" y="221397"/>
            <a:ext cx="892498" cy="8689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816533"/>
      </p:ext>
    </p:extLst>
  </p:cSld>
  <p:clrMap bg1="lt1" tx1="dk1" bg2="lt2" tx2="dk2" accent1="accent1" accent2="accent2" accent3="accent3" accent4="accent4" accent5="accent5" accent6="accent6" hlink="hlink" folHlink="folHlink"/>
  <p:sldLayoutIdLst>
    <p:sldLayoutId id="2147483657" r:id="rId1"/>
    <p:sldLayoutId id="2147483666" r:id="rId2"/>
    <p:sldLayoutId id="2147483668" r:id="rId3"/>
    <p:sldLayoutId id="2147483678" r:id="rId4"/>
    <p:sldLayoutId id="2147483675" r:id="rId5"/>
    <p:sldLayoutId id="2147483665" r:id="rId6"/>
    <p:sldLayoutId id="2147483676" r:id="rId7"/>
    <p:sldLayoutId id="2147483718" r:id="rId8"/>
    <p:sldLayoutId id="2147483719" r:id="rId9"/>
    <p:sldLayoutId id="2147483721" r:id="rId10"/>
    <p:sldLayoutId id="2147483722"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arallélogramme 1">
            <a:extLst>
              <a:ext uri="{FF2B5EF4-FFF2-40B4-BE49-F238E27FC236}">
                <a16:creationId xmlns:a16="http://schemas.microsoft.com/office/drawing/2014/main" id="{2A096DB9-8C03-404C-A74B-D3B5355DB753}"/>
              </a:ext>
            </a:extLst>
          </p:cNvPr>
          <p:cNvSpPr/>
          <p:nvPr userDrawn="1"/>
        </p:nvSpPr>
        <p:spPr>
          <a:xfrm>
            <a:off x="1" y="0"/>
            <a:ext cx="12192000" cy="1296364"/>
          </a:xfrm>
          <a:prstGeom prst="parallelogram">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Text Placeholder 1">
            <a:extLst>
              <a:ext uri="{FF2B5EF4-FFF2-40B4-BE49-F238E27FC236}">
                <a16:creationId xmlns:a16="http://schemas.microsoft.com/office/drawing/2014/main" id="{16A8E92D-983E-2E48-9622-D14B6D35E75D}"/>
              </a:ext>
            </a:extLst>
          </p:cNvPr>
          <p:cNvSpPr txBox="1">
            <a:spLocks/>
          </p:cNvSpPr>
          <p:nvPr userDrawn="1"/>
        </p:nvSpPr>
        <p:spPr>
          <a:xfrm>
            <a:off x="1319513" y="215900"/>
            <a:ext cx="9644677" cy="6594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fr-FR" altLang="ko-KR" sz="2400" b="1" i="1" dirty="0">
              <a:solidFill>
                <a:schemeClr val="bg1"/>
              </a:solidFill>
              <a:cs typeface="Arial" pitchFamily="34" charset="0"/>
            </a:endParaRPr>
          </a:p>
        </p:txBody>
      </p:sp>
      <p:pic>
        <p:nvPicPr>
          <p:cNvPr id="15" name="Picture 2" descr="Résultat de recherche d'images pour &quot;royaume du Maroc&quot;">
            <a:extLst>
              <a:ext uri="{FF2B5EF4-FFF2-40B4-BE49-F238E27FC236}">
                <a16:creationId xmlns:a16="http://schemas.microsoft.com/office/drawing/2014/main" id="{249D7DB6-B3A5-DC44-92D6-788865E7904E}"/>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auto">
          <a:xfrm>
            <a:off x="91702" y="203394"/>
            <a:ext cx="816423" cy="884389"/>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 4" descr="Une image contenant dessin&#10;&#10;Description générée automatiquement">
            <a:extLst>
              <a:ext uri="{FF2B5EF4-FFF2-40B4-BE49-F238E27FC236}">
                <a16:creationId xmlns:a16="http://schemas.microsoft.com/office/drawing/2014/main" id="{8CBE8FF3-CD8C-4933-B8B5-9890027BA3F2}"/>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9595944" y="5937880"/>
            <a:ext cx="2596055" cy="920120"/>
          </a:xfrm>
          <a:prstGeom prst="rect">
            <a:avLst/>
          </a:prstGeom>
        </p:spPr>
      </p:pic>
      <p:sp>
        <p:nvSpPr>
          <p:cNvPr id="6" name="Rectangle 5">
            <a:extLst>
              <a:ext uri="{FF2B5EF4-FFF2-40B4-BE49-F238E27FC236}">
                <a16:creationId xmlns:a16="http://schemas.microsoft.com/office/drawing/2014/main" id="{270DB7E4-0B55-4342-9271-4DDA7D1EF5A1}"/>
              </a:ext>
            </a:extLst>
          </p:cNvPr>
          <p:cNvSpPr/>
          <p:nvPr userDrawn="1"/>
        </p:nvSpPr>
        <p:spPr>
          <a:xfrm>
            <a:off x="462435" y="5187"/>
            <a:ext cx="4258827" cy="1291177"/>
          </a:xfrm>
          <a:prstGeom prst="rect">
            <a:avLst/>
          </a:prstGeom>
        </p:spPr>
        <p:txBody>
          <a:bodyPr wrap="square" anchor="ctr" anchorCtr="0">
            <a:noAutofit/>
          </a:bodyPr>
          <a:lstStyle/>
          <a:p>
            <a:pPr algn="ctr">
              <a:lnSpc>
                <a:spcPct val="107000"/>
              </a:lnSpc>
              <a:spcAft>
                <a:spcPts val="0"/>
              </a:spcAft>
            </a:pPr>
            <a:r>
              <a:rPr lang="fr-FR" sz="1050" b="1" dirty="0">
                <a:solidFill>
                  <a:schemeClr val="bg1"/>
                </a:solidFill>
                <a:latin typeface="Arial" panose="020B0604020202020204" pitchFamily="34" charset="0"/>
                <a:cs typeface="Arial" panose="020B0604020202020204" pitchFamily="34" charset="0"/>
              </a:rPr>
              <a:t>ROYAUME DU MAROC</a:t>
            </a:r>
          </a:p>
          <a:p>
            <a:pPr algn="ctr">
              <a:lnSpc>
                <a:spcPct val="107000"/>
              </a:lnSpc>
              <a:spcAft>
                <a:spcPts val="0"/>
              </a:spcAft>
            </a:pPr>
            <a:r>
              <a:rPr lang="fr-FR" sz="1050" b="1" dirty="0">
                <a:solidFill>
                  <a:schemeClr val="bg1"/>
                </a:solidFill>
                <a:latin typeface="Arial" panose="020B0604020202020204" pitchFamily="34" charset="0"/>
                <a:cs typeface="Arial" panose="020B0604020202020204" pitchFamily="34" charset="0"/>
              </a:rPr>
              <a:t>MINISTERE DE L’INTERIEUR</a:t>
            </a:r>
          </a:p>
          <a:p>
            <a:pPr algn="ctr">
              <a:lnSpc>
                <a:spcPct val="107000"/>
              </a:lnSpc>
              <a:spcAft>
                <a:spcPts val="0"/>
              </a:spcAft>
            </a:pPr>
            <a:r>
              <a:rPr lang="fr-FR" sz="1050" b="1" dirty="0">
                <a:solidFill>
                  <a:schemeClr val="bg1"/>
                </a:solidFill>
                <a:latin typeface="Arial" panose="020B0604020202020204" pitchFamily="34" charset="0"/>
                <a:ea typeface="Calibri" panose="020F0502020204030204" pitchFamily="34" charset="0"/>
                <a:cs typeface="Arial" panose="020B0604020202020204" pitchFamily="34" charset="0"/>
              </a:rPr>
              <a:t>Direction Générale des Collectivités Territoriales</a:t>
            </a:r>
            <a:endParaRPr lang="fr-FR" sz="1050" dirty="0">
              <a:solidFill>
                <a:schemeClr val="bg1"/>
              </a:solidFill>
              <a:latin typeface="Calibri" panose="020F0502020204030204" pitchFamily="34" charset="0"/>
              <a:ea typeface="Calibri" panose="020F0502020204030204" pitchFamily="34" charset="0"/>
              <a:cs typeface="Arial" panose="020B0604020202020204" pitchFamily="34" charset="0"/>
            </a:endParaRPr>
          </a:p>
          <a:p>
            <a:pPr algn="ctr">
              <a:lnSpc>
                <a:spcPct val="107000"/>
              </a:lnSpc>
              <a:spcAft>
                <a:spcPts val="0"/>
              </a:spcAft>
            </a:pPr>
            <a:r>
              <a:rPr lang="fr-FR" sz="700" b="1" dirty="0">
                <a:solidFill>
                  <a:schemeClr val="bg1"/>
                </a:solidFill>
                <a:latin typeface="Arial" panose="020B0604020202020204" pitchFamily="34" charset="0"/>
                <a:cs typeface="Arial" panose="020B0604020202020204" pitchFamily="34" charset="0"/>
              </a:rPr>
              <a:t>                                 </a:t>
            </a:r>
            <a:endParaRPr lang="fr-FR" sz="1100" dirty="0">
              <a:solidFill>
                <a:schemeClr val="bg1"/>
              </a:solidFill>
            </a:endParaRPr>
          </a:p>
        </p:txBody>
      </p:sp>
    </p:spTree>
    <p:extLst>
      <p:ext uri="{BB962C8B-B14F-4D97-AF65-F5344CB8AC3E}">
        <p14:creationId xmlns:p14="http://schemas.microsoft.com/office/powerpoint/2010/main" val="115383769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eg"/><Relationship Id="rId1" Type="http://schemas.openxmlformats.org/officeDocument/2006/relationships/slideLayout" Target="../slideLayouts/slideLayout10.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 Id="rId4" Type="http://schemas.openxmlformats.org/officeDocument/2006/relationships/image" Target="../media/image10.gif"/></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0.gif"/><Relationship Id="rId1" Type="http://schemas.openxmlformats.org/officeDocument/2006/relationships/slideLayout" Target="../slideLayouts/slideLayout4.xml"/><Relationship Id="rId5" Type="http://schemas.openxmlformats.org/officeDocument/2006/relationships/image" Target="../media/image9.png"/><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12.xml"/><Relationship Id="rId4" Type="http://schemas.openxmlformats.org/officeDocument/2006/relationships/image" Target="../media/image9.png"/></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10.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0.gi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8.png"/><Relationship Id="rId5" Type="http://schemas.openxmlformats.org/officeDocument/2006/relationships/tags" Target="../tags/tag5.xml"/><Relationship Id="rId10" Type="http://schemas.openxmlformats.org/officeDocument/2006/relationships/notesSlide" Target="../notesSlides/notesSlide1.xml"/><Relationship Id="rId4" Type="http://schemas.openxmlformats.org/officeDocument/2006/relationships/tags" Target="../tags/tag4.xml"/><Relationship Id="rId9"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jpeg"/><Relationship Id="rId1" Type="http://schemas.openxmlformats.org/officeDocument/2006/relationships/slideLayout" Target="../slideLayouts/slideLayout10.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gif"/><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0.gif"/><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8.png"/><Relationship Id="rId7" Type="http://schemas.openxmlformats.org/officeDocument/2006/relationships/diagramQuickStyle" Target="../diagrams/quickStyle1.xml"/><Relationship Id="rId2" Type="http://schemas.openxmlformats.org/officeDocument/2006/relationships/image" Target="../media/image10.gif"/><Relationship Id="rId1" Type="http://schemas.openxmlformats.org/officeDocument/2006/relationships/slideLayout" Target="../slideLayouts/slideLayout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9.png"/><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C016C09B-4FD1-E041-862E-B20F0189DA08}"/>
              </a:ext>
            </a:extLst>
          </p:cNvPr>
          <p:cNvPicPr>
            <a:picLocks noChangeAspect="1"/>
          </p:cNvPicPr>
          <p:nvPr/>
        </p:nvPicPr>
        <p:blipFill rotWithShape="1">
          <a:blip r:embed="rId2"/>
          <a:srcRect/>
          <a:stretch/>
        </p:blipFill>
        <p:spPr>
          <a:xfrm>
            <a:off x="-151922" y="-72388"/>
            <a:ext cx="12369800" cy="6930388"/>
          </a:xfrm>
          <a:prstGeom prst="rect">
            <a:avLst/>
          </a:prstGeom>
        </p:spPr>
      </p:pic>
      <p:pic>
        <p:nvPicPr>
          <p:cNvPr id="7" name="Image 6">
            <a:extLst>
              <a:ext uri="{FF2B5EF4-FFF2-40B4-BE49-F238E27FC236}">
                <a16:creationId xmlns:a16="http://schemas.microsoft.com/office/drawing/2014/main" id="{AC91D33F-1998-441B-A5E9-44FDD11DDF6C}"/>
              </a:ext>
            </a:extLst>
          </p:cNvPr>
          <p:cNvPicPr>
            <a:picLocks noChangeAspect="1"/>
          </p:cNvPicPr>
          <p:nvPr/>
        </p:nvPicPr>
        <p:blipFill rotWithShape="1">
          <a:blip r:embed="rId3" cstate="print"/>
          <a:srcRect l="16491" t="50283" r="27967" b="37051"/>
          <a:stretch/>
        </p:blipFill>
        <p:spPr>
          <a:xfrm>
            <a:off x="4754100" y="6164457"/>
            <a:ext cx="2683797" cy="503762"/>
          </a:xfrm>
          <a:prstGeom prst="rect">
            <a:avLst/>
          </a:prstGeom>
        </p:spPr>
      </p:pic>
      <p:pic>
        <p:nvPicPr>
          <p:cNvPr id="8" name="Picture 2" descr="D:\Data Big Ideas\Clients\DGCT\Charte graphique\Logo CTs\DGCT\Logo DGCT VF.jpg"/>
          <p:cNvPicPr>
            <a:picLocks noChangeAspect="1" noChangeArrowheads="1"/>
          </p:cNvPicPr>
          <p:nvPr/>
        </p:nvPicPr>
        <p:blipFill>
          <a:blip r:embed="rId4"/>
          <a:srcRect/>
          <a:stretch>
            <a:fillRect/>
          </a:stretch>
        </p:blipFill>
        <p:spPr bwMode="auto">
          <a:xfrm>
            <a:off x="4498262" y="253491"/>
            <a:ext cx="3150317" cy="2093689"/>
          </a:xfrm>
          <a:prstGeom prst="rect">
            <a:avLst/>
          </a:prstGeom>
          <a:noFill/>
        </p:spPr>
      </p:pic>
      <p:sp>
        <p:nvSpPr>
          <p:cNvPr id="9" name="TextBox 30">
            <a:extLst>
              <a:ext uri="{FF2B5EF4-FFF2-40B4-BE49-F238E27FC236}">
                <a16:creationId xmlns:a16="http://schemas.microsoft.com/office/drawing/2014/main" id="{8DF3198C-AD1E-4080-9D53-80001ADB8D37}"/>
              </a:ext>
            </a:extLst>
          </p:cNvPr>
          <p:cNvSpPr txBox="1"/>
          <p:nvPr/>
        </p:nvSpPr>
        <p:spPr>
          <a:xfrm>
            <a:off x="722370" y="2828572"/>
            <a:ext cx="10570464" cy="1569660"/>
          </a:xfrm>
          <a:prstGeom prst="rect">
            <a:avLst/>
          </a:prstGeom>
          <a:noFill/>
        </p:spPr>
        <p:txBody>
          <a:bodyPr wrap="square" rtlCol="0" anchor="ctr">
            <a:spAutoFit/>
          </a:bodyPr>
          <a:lstStyle>
            <a:defPPr>
              <a:defRPr lang="en-US"/>
            </a:defPPr>
            <a:lvl1pPr algn="r">
              <a:defRPr sz="1400" b="1">
                <a:solidFill>
                  <a:srgbClr val="C00000"/>
                </a:solidFill>
                <a:cs typeface="Arial" pitchFamily="34" charset="0"/>
              </a:defRPr>
            </a:lvl1pPr>
          </a:lstStyle>
          <a:p>
            <a:pPr algn="ctr"/>
            <a:r>
              <a:rPr lang="fr-FR" altLang="ko-KR" sz="3200" dirty="0" smtClean="0">
                <a:solidFill>
                  <a:srgbClr val="002060"/>
                </a:solidFill>
                <a:latin typeface="Trebuchet MS" panose="020B0603020202020204" pitchFamily="34" charset="0"/>
                <a:cs typeface="Times New Roman" panose="02020603050405020304" pitchFamily="18" charset="0"/>
              </a:rPr>
              <a:t>Le processus de décentralisation au Maroc:</a:t>
            </a:r>
          </a:p>
          <a:p>
            <a:pPr algn="ctr"/>
            <a:r>
              <a:rPr lang="fr-FR" altLang="ko-KR" sz="3200" dirty="0" smtClean="0">
                <a:solidFill>
                  <a:srgbClr val="002060"/>
                </a:solidFill>
                <a:latin typeface="Trebuchet MS" panose="020B0603020202020204" pitchFamily="34" charset="0"/>
                <a:cs typeface="Times New Roman" panose="02020603050405020304" pitchFamily="18" charset="0"/>
              </a:rPr>
              <a:t>« de </a:t>
            </a:r>
            <a:r>
              <a:rPr lang="fr-FR" altLang="ko-KR" sz="3200" dirty="0">
                <a:solidFill>
                  <a:srgbClr val="002060"/>
                </a:solidFill>
                <a:latin typeface="Trebuchet MS" panose="020B0603020202020204" pitchFamily="34" charset="0"/>
                <a:cs typeface="Times New Roman" panose="02020603050405020304" pitchFamily="18" charset="0"/>
              </a:rPr>
              <a:t>la décentralisation naissante </a:t>
            </a:r>
            <a:endParaRPr lang="fr-FR" altLang="ko-KR" sz="3200" dirty="0" smtClean="0">
              <a:solidFill>
                <a:srgbClr val="002060"/>
              </a:solidFill>
              <a:latin typeface="Trebuchet MS" panose="020B0603020202020204" pitchFamily="34" charset="0"/>
              <a:cs typeface="Times New Roman" panose="02020603050405020304" pitchFamily="18" charset="0"/>
            </a:endParaRPr>
          </a:p>
          <a:p>
            <a:pPr algn="ctr"/>
            <a:r>
              <a:rPr lang="fr-FR" altLang="ko-KR" sz="3200" dirty="0" smtClean="0">
                <a:solidFill>
                  <a:srgbClr val="002060"/>
                </a:solidFill>
                <a:latin typeface="Trebuchet MS" panose="020B0603020202020204" pitchFamily="34" charset="0"/>
                <a:cs typeface="Times New Roman" panose="02020603050405020304" pitchFamily="18" charset="0"/>
              </a:rPr>
              <a:t>à </a:t>
            </a:r>
            <a:r>
              <a:rPr lang="fr-FR" altLang="ko-KR" sz="3200" dirty="0">
                <a:solidFill>
                  <a:srgbClr val="002060"/>
                </a:solidFill>
                <a:latin typeface="Trebuchet MS" panose="020B0603020202020204" pitchFamily="34" charset="0"/>
                <a:cs typeface="Times New Roman" panose="02020603050405020304" pitchFamily="18" charset="0"/>
              </a:rPr>
              <a:t>la Régionalisation </a:t>
            </a:r>
            <a:r>
              <a:rPr lang="fr-FR" altLang="ko-KR" sz="3200" dirty="0" smtClean="0">
                <a:solidFill>
                  <a:srgbClr val="002060"/>
                </a:solidFill>
                <a:latin typeface="Trebuchet MS" panose="020B0603020202020204" pitchFamily="34" charset="0"/>
                <a:cs typeface="Times New Roman" panose="02020603050405020304" pitchFamily="18" charset="0"/>
              </a:rPr>
              <a:t>avancée » </a:t>
            </a:r>
            <a:endParaRPr lang="ar-MA" altLang="ko-KR" sz="3200" dirty="0">
              <a:solidFill>
                <a:srgbClr val="002060"/>
              </a:solidFill>
              <a:latin typeface="Trebuchet MS" panose="020B0603020202020204" pitchFamily="34" charset="0"/>
              <a:cs typeface="Times New Roman" panose="02020603050405020304" pitchFamily="18" charset="0"/>
            </a:endParaRPr>
          </a:p>
        </p:txBody>
      </p:sp>
      <p:sp>
        <p:nvSpPr>
          <p:cNvPr id="10" name="TextBox 30">
            <a:extLst>
              <a:ext uri="{FF2B5EF4-FFF2-40B4-BE49-F238E27FC236}">
                <a16:creationId xmlns:a16="http://schemas.microsoft.com/office/drawing/2014/main" id="{979AEEF3-3C71-4762-9274-5BE04E5C9E7A}"/>
              </a:ext>
            </a:extLst>
          </p:cNvPr>
          <p:cNvSpPr txBox="1"/>
          <p:nvPr/>
        </p:nvSpPr>
        <p:spPr>
          <a:xfrm>
            <a:off x="2850906" y="4761074"/>
            <a:ext cx="6185375" cy="461665"/>
          </a:xfrm>
          <a:prstGeom prst="rect">
            <a:avLst/>
          </a:prstGeom>
          <a:noFill/>
        </p:spPr>
        <p:txBody>
          <a:bodyPr wrap="square" rtlCol="0" anchor="ctr">
            <a:spAutoFit/>
          </a:bodyPr>
          <a:lstStyle/>
          <a:p>
            <a:pPr algn="ctr"/>
            <a:r>
              <a:rPr lang="fr-FR" sz="2400" b="1" dirty="0" smtClean="0">
                <a:solidFill>
                  <a:srgbClr val="002060"/>
                </a:solidFill>
                <a:latin typeface="Trebuchet MS" panose="020B0603020202020204" pitchFamily="34" charset="0"/>
                <a:cs typeface="+mj-cs"/>
              </a:rPr>
              <a:t>Lundi 06 juin 2022</a:t>
            </a:r>
            <a:endParaRPr lang="fr-FR" altLang="ko-KR" sz="3600" b="1" dirty="0">
              <a:solidFill>
                <a:srgbClr val="002060"/>
              </a:solidFill>
              <a:latin typeface="Trebuchet MS" panose="020B0603020202020204" pitchFamily="34" charset="0"/>
              <a:cs typeface="+mj-cs"/>
            </a:endParaRPr>
          </a:p>
        </p:txBody>
      </p:sp>
    </p:spTree>
    <p:extLst>
      <p:ext uri="{BB962C8B-B14F-4D97-AF65-F5344CB8AC3E}">
        <p14:creationId xmlns:p14="http://schemas.microsoft.com/office/powerpoint/2010/main" val="10918507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C016C09B-4FD1-E041-862E-B20F0189DA08}"/>
              </a:ext>
            </a:extLst>
          </p:cNvPr>
          <p:cNvPicPr>
            <a:picLocks noChangeAspect="1"/>
          </p:cNvPicPr>
          <p:nvPr/>
        </p:nvPicPr>
        <p:blipFill rotWithShape="1">
          <a:blip r:embed="rId2"/>
          <a:srcRect/>
          <a:stretch/>
        </p:blipFill>
        <p:spPr>
          <a:xfrm>
            <a:off x="-108792" y="-65256"/>
            <a:ext cx="12369800" cy="6930388"/>
          </a:xfrm>
          <a:prstGeom prst="rect">
            <a:avLst/>
          </a:prstGeom>
          <a:ln>
            <a:solidFill>
              <a:srgbClr val="0070C0"/>
            </a:solidFill>
          </a:ln>
        </p:spPr>
      </p:pic>
      <p:sp>
        <p:nvSpPr>
          <p:cNvPr id="20" name="Rectangle à coins arrondis 19"/>
          <p:cNvSpPr/>
          <p:nvPr/>
        </p:nvSpPr>
        <p:spPr>
          <a:xfrm>
            <a:off x="2432050" y="1628776"/>
            <a:ext cx="6448898" cy="720725"/>
          </a:xfrm>
          <a:prstGeom prst="roundRect">
            <a:avLst>
              <a:gd name="adj" fmla="val 45527"/>
            </a:avLst>
          </a:prstGeom>
          <a:solidFill>
            <a:schemeClr val="bg1">
              <a:lumMod val="9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chemeClr val="accent2">
                  <a:lumMod val="50000"/>
                </a:schemeClr>
              </a:buClr>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a:t>
            </a:r>
            <a:r>
              <a:rPr lang="fr-FR" b="1" dirty="0">
                <a:solidFill>
                  <a:schemeClr val="bg1">
                    <a:lumMod val="75000"/>
                  </a:schemeClr>
                </a:solidFill>
                <a:latin typeface="Trebuchet MS" panose="020B0603020202020204" pitchFamily="34" charset="0"/>
                <a:cs typeface="Times New Roman" panose="02020603050405020304" pitchFamily="18" charset="0"/>
              </a:rPr>
              <a:t>Bref aperçu </a:t>
            </a:r>
            <a:r>
              <a:rPr lang="fr-FR" b="1" dirty="0" smtClean="0">
                <a:solidFill>
                  <a:schemeClr val="bg1">
                    <a:lumMod val="75000"/>
                  </a:schemeClr>
                </a:solidFill>
                <a:latin typeface="Trebuchet MS" panose="020B0603020202020204" pitchFamily="34" charset="0"/>
                <a:cs typeface="Times New Roman" panose="02020603050405020304" pitchFamily="18" charset="0"/>
              </a:rPr>
              <a:t>sur le Processus de la Décentralisation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1" name="Rectangle à coins arrondis 20"/>
          <p:cNvSpPr/>
          <p:nvPr/>
        </p:nvSpPr>
        <p:spPr>
          <a:xfrm>
            <a:off x="2844801" y="2471739"/>
            <a:ext cx="6447226" cy="720725"/>
          </a:xfrm>
          <a:prstGeom prst="roundRect">
            <a:avLst>
              <a:gd name="adj" fmla="val 45527"/>
            </a:avLst>
          </a:prstGeom>
          <a:solidFill>
            <a:schemeClr val="bg1">
              <a:lumMod val="95000"/>
            </a:schemeClr>
          </a:solidFill>
        </p:spPr>
        <p:style>
          <a:lnRef idx="1">
            <a:schemeClr val="accent5"/>
          </a:lnRef>
          <a:fillRef idx="2">
            <a:schemeClr val="accent5"/>
          </a:fillRef>
          <a:effectRef idx="1">
            <a:schemeClr val="accent5"/>
          </a:effectRef>
          <a:fontRef idx="minor">
            <a:schemeClr val="dk1"/>
          </a:fontRef>
        </p:style>
        <p:txBody>
          <a:bodyPr anchor="ctr"/>
          <a:lstStyle/>
          <a:p>
            <a:pPr algn="l">
              <a:buClr>
                <a:schemeClr val="accent2">
                  <a:lumMod val="50000"/>
                </a:schemeClr>
              </a:buClr>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L’encadrement</a:t>
            </a:r>
            <a:r>
              <a:rPr lang="fr-FR" sz="2400" b="1" dirty="0" smtClean="0">
                <a:solidFill>
                  <a:schemeClr val="bg1">
                    <a:lumMod val="75000"/>
                  </a:schemeClr>
                </a:solidFill>
                <a:latin typeface="Times New Roman" panose="02020603050405020304" pitchFamily="18" charset="0"/>
                <a:cs typeface="Times New Roman" panose="02020603050405020304" pitchFamily="18" charset="0"/>
              </a:rPr>
              <a:t> </a:t>
            </a:r>
            <a:r>
              <a:rPr lang="fr-FR" b="1" dirty="0">
                <a:solidFill>
                  <a:schemeClr val="bg1">
                    <a:lumMod val="75000"/>
                  </a:schemeClr>
                </a:solidFill>
                <a:latin typeface="Trebuchet MS" panose="020B0603020202020204" pitchFamily="34" charset="0"/>
                <a:cs typeface="Times New Roman" panose="02020603050405020304" pitchFamily="18" charset="0"/>
              </a:rPr>
              <a:t>constitutionnel de la Régionalisation </a:t>
            </a:r>
            <a:r>
              <a:rPr lang="fr-FR" b="1" dirty="0" smtClean="0">
                <a:solidFill>
                  <a:schemeClr val="bg1">
                    <a:lumMod val="75000"/>
                  </a:schemeClr>
                </a:solidFill>
                <a:latin typeface="Trebuchet MS" panose="020B0603020202020204" pitchFamily="34" charset="0"/>
                <a:cs typeface="Times New Roman" panose="02020603050405020304" pitchFamily="18" charset="0"/>
              </a:rPr>
              <a:t>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2" name="Rectangle à coins arrondis 21"/>
          <p:cNvSpPr/>
          <p:nvPr/>
        </p:nvSpPr>
        <p:spPr>
          <a:xfrm>
            <a:off x="3108326" y="3357564"/>
            <a:ext cx="6447226" cy="719137"/>
          </a:xfrm>
          <a:prstGeom prst="roundRect">
            <a:avLst>
              <a:gd name="adj" fmla="val 45527"/>
            </a:avLst>
          </a:prstGeom>
        </p:spPr>
        <p:style>
          <a:lnRef idx="1">
            <a:schemeClr val="accent1"/>
          </a:lnRef>
          <a:fillRef idx="2">
            <a:schemeClr val="accent1"/>
          </a:fillRef>
          <a:effectRef idx="1">
            <a:schemeClr val="accent1"/>
          </a:effectRef>
          <a:fontRef idx="minor">
            <a:schemeClr val="dk1"/>
          </a:fontRef>
        </p:style>
        <p:txBody>
          <a:bodyPr anchor="ctr"/>
          <a:lstStyle/>
          <a:p>
            <a:pPr algn="l">
              <a:defRPr/>
            </a:pPr>
            <a:r>
              <a:rPr lang="fr-FR" b="1" dirty="0" smtClean="0">
                <a:solidFill>
                  <a:srgbClr val="002060"/>
                </a:solidFill>
                <a:latin typeface="Trebuchet MS" panose="020B0603020202020204" pitchFamily="34" charset="0"/>
                <a:cs typeface="Times New Roman" panose="02020603050405020304" pitchFamily="18" charset="0"/>
              </a:rPr>
              <a:t>    Les </a:t>
            </a:r>
            <a:r>
              <a:rPr lang="fr-FR" b="1" dirty="0">
                <a:solidFill>
                  <a:srgbClr val="002060"/>
                </a:solidFill>
                <a:latin typeface="Trebuchet MS" panose="020B0603020202020204" pitchFamily="34" charset="0"/>
                <a:cs typeface="Times New Roman" panose="02020603050405020304" pitchFamily="18" charset="0"/>
              </a:rPr>
              <a:t>compétences </a:t>
            </a:r>
            <a:r>
              <a:rPr lang="fr-FR" b="1" dirty="0" smtClean="0">
                <a:solidFill>
                  <a:srgbClr val="002060"/>
                </a:solidFill>
                <a:latin typeface="Trebuchet MS" panose="020B0603020202020204" pitchFamily="34" charset="0"/>
                <a:cs typeface="Times New Roman" panose="02020603050405020304" pitchFamily="18" charset="0"/>
              </a:rPr>
              <a:t>dévolues aux CT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23" name="Rectangle à coins arrondis 22"/>
          <p:cNvSpPr/>
          <p:nvPr/>
        </p:nvSpPr>
        <p:spPr>
          <a:xfrm>
            <a:off x="3430587" y="4221164"/>
            <a:ext cx="6447225" cy="720725"/>
          </a:xfrm>
          <a:prstGeom prst="roundRect">
            <a:avLst>
              <a:gd name="adj" fmla="val 45527"/>
            </a:avLst>
          </a:prstGeom>
          <a:solidFill>
            <a:schemeClr val="bg1">
              <a:lumMod val="95000"/>
            </a:schemeClr>
          </a:solidFill>
        </p:spPr>
        <p:style>
          <a:lnRef idx="1">
            <a:schemeClr val="accent6"/>
          </a:lnRef>
          <a:fillRef idx="2">
            <a:schemeClr val="accent6"/>
          </a:fillRef>
          <a:effectRef idx="1">
            <a:schemeClr val="accent6"/>
          </a:effectRef>
          <a:fontRef idx="minor">
            <a:schemeClr val="dk1"/>
          </a:fontRef>
        </p:style>
        <p:txBody>
          <a:bodyPr anchor="ctr"/>
          <a:lstStyle/>
          <a:p>
            <a:pPr>
              <a:defRPr/>
            </a:pPr>
            <a:r>
              <a:rPr lang="fr-FR" sz="3600" b="1" dirty="0" smtClean="0">
                <a:solidFill>
                  <a:schemeClr val="bg1">
                    <a:lumMod val="75000"/>
                  </a:schemeClr>
                </a:solidFill>
                <a:latin typeface="Arabic Typesetting" pitchFamily="66" charset="-78"/>
                <a:cs typeface="Arabic Typesetting" pitchFamily="66" charset="-78"/>
              </a:rPr>
              <a:t> </a:t>
            </a:r>
            <a:r>
              <a:rPr lang="ar-MA" sz="3600" b="1" dirty="0" smtClean="0">
                <a:solidFill>
                  <a:schemeClr val="bg1">
                    <a:lumMod val="75000"/>
                  </a:schemeClr>
                </a:solidFill>
                <a:latin typeface="Arabic Typesetting" pitchFamily="66" charset="-78"/>
                <a:cs typeface="Arabic Typesetting" pitchFamily="66" charset="-78"/>
              </a:rPr>
              <a:t>   </a:t>
            </a:r>
            <a:r>
              <a:rPr lang="fr-FR" b="1" dirty="0" smtClean="0">
                <a:solidFill>
                  <a:schemeClr val="bg1">
                    <a:lumMod val="75000"/>
                  </a:schemeClr>
                </a:solidFill>
                <a:latin typeface="Trebuchet MS" panose="020B0603020202020204" pitchFamily="34" charset="0"/>
                <a:cs typeface="Times New Roman" panose="02020603050405020304" pitchFamily="18" charset="0"/>
              </a:rPr>
              <a:t>L</a:t>
            </a:r>
            <a:r>
              <a:rPr lang="fr-FR" altLang="fr-FR" b="1" dirty="0" smtClean="0">
                <a:solidFill>
                  <a:schemeClr val="bg1">
                    <a:lumMod val="75000"/>
                  </a:schemeClr>
                </a:solidFill>
                <a:latin typeface="Trebuchet MS" panose="020B0603020202020204" pitchFamily="34" charset="0"/>
                <a:cs typeface="Times New Roman" panose="02020603050405020304" pitchFamily="18" charset="0"/>
              </a:rPr>
              <a:t>a </a:t>
            </a:r>
            <a:r>
              <a:rPr lang="fr-FR" altLang="fr-FR" b="1" dirty="0">
                <a:solidFill>
                  <a:schemeClr val="bg1">
                    <a:lumMod val="75000"/>
                  </a:schemeClr>
                </a:solidFill>
                <a:latin typeface="Trebuchet MS" panose="020B0603020202020204" pitchFamily="34" charset="0"/>
                <a:cs typeface="Times New Roman" panose="02020603050405020304" pitchFamily="18" charset="0"/>
              </a:rPr>
              <a:t>mise en œuvre de la Régionalisation Avancée </a:t>
            </a:r>
            <a:r>
              <a:rPr lang="fr-FR" altLang="fr-FR" b="1" dirty="0" smtClean="0">
                <a:solidFill>
                  <a:schemeClr val="bg1">
                    <a:lumMod val="75000"/>
                  </a:schemeClr>
                </a:solidFill>
                <a:latin typeface="Trebuchet MS" panose="020B0603020202020204" pitchFamily="34" charset="0"/>
                <a:cs typeface="Times New Roman" panose="02020603050405020304" pitchFamily="18" charset="0"/>
              </a:rPr>
              <a:t>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4" name="Ellipse 23"/>
          <p:cNvSpPr/>
          <p:nvPr/>
        </p:nvSpPr>
        <p:spPr>
          <a:xfrm>
            <a:off x="2254726" y="1683138"/>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2"/>
          </a:lnRef>
          <a:fillRef idx="3">
            <a:schemeClr val="accent2"/>
          </a:fillRef>
          <a:effectRef idx="3">
            <a:schemeClr val="accent2"/>
          </a:effectRef>
          <a:fontRef idx="minor">
            <a:schemeClr val="lt1"/>
          </a:fontRef>
        </p:style>
        <p:txBody>
          <a:bodyPr anchor="ctr"/>
          <a:lstStyle/>
          <a:p>
            <a:pPr algn="ctr">
              <a:defRPr/>
            </a:pPr>
            <a:r>
              <a:rPr lang="fr-FR" sz="3200" dirty="0">
                <a:solidFill>
                  <a:schemeClr val="bg1">
                    <a:lumMod val="75000"/>
                  </a:schemeClr>
                </a:solidFill>
                <a:sym typeface="Wingdings"/>
              </a:rPr>
              <a:t></a:t>
            </a:r>
            <a:endParaRPr lang="fr-FR" sz="2800" dirty="0">
              <a:solidFill>
                <a:schemeClr val="bg1">
                  <a:lumMod val="75000"/>
                </a:schemeClr>
              </a:solidFill>
            </a:endParaRPr>
          </a:p>
        </p:txBody>
      </p:sp>
      <p:sp>
        <p:nvSpPr>
          <p:cNvPr id="25" name="Ellipse 24"/>
          <p:cNvSpPr/>
          <p:nvPr/>
        </p:nvSpPr>
        <p:spPr>
          <a:xfrm>
            <a:off x="2560726" y="2526101"/>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3"/>
          </a:lnRef>
          <a:fillRef idx="3">
            <a:schemeClr val="accent3"/>
          </a:fillRef>
          <a:effectRef idx="3">
            <a:schemeClr val="accent3"/>
          </a:effectRef>
          <a:fontRef idx="minor">
            <a:schemeClr val="lt1"/>
          </a:fontRef>
        </p:style>
        <p:txBody>
          <a:bodyPr anchor="ctr"/>
          <a:lstStyle/>
          <a:p>
            <a:pPr algn="ctr">
              <a:defRPr/>
            </a:pPr>
            <a:r>
              <a:rPr lang="fr-FR" sz="3200" dirty="0">
                <a:solidFill>
                  <a:schemeClr val="bg1">
                    <a:lumMod val="75000"/>
                  </a:schemeClr>
                </a:solidFill>
                <a:sym typeface="Wingdings"/>
              </a:rPr>
              <a:t></a:t>
            </a:r>
            <a:endParaRPr lang="fr-FR" dirty="0">
              <a:solidFill>
                <a:schemeClr val="bg1">
                  <a:lumMod val="75000"/>
                </a:schemeClr>
              </a:solidFill>
            </a:endParaRPr>
          </a:p>
        </p:txBody>
      </p:sp>
      <p:sp>
        <p:nvSpPr>
          <p:cNvPr id="26" name="Ellipse 25"/>
          <p:cNvSpPr/>
          <p:nvPr/>
        </p:nvSpPr>
        <p:spPr>
          <a:xfrm>
            <a:off x="2876848" y="3411132"/>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fr-FR" sz="3200" dirty="0">
                <a:solidFill>
                  <a:schemeClr val="bg1"/>
                </a:solidFill>
                <a:sym typeface="Wingdings 2"/>
              </a:rPr>
              <a:t></a:t>
            </a:r>
            <a:endParaRPr lang="fr-FR" dirty="0">
              <a:solidFill>
                <a:schemeClr val="bg1"/>
              </a:solidFill>
            </a:endParaRPr>
          </a:p>
        </p:txBody>
      </p:sp>
      <p:sp>
        <p:nvSpPr>
          <p:cNvPr id="27" name="Ellipse 26"/>
          <p:cNvSpPr/>
          <p:nvPr/>
        </p:nvSpPr>
        <p:spPr>
          <a:xfrm>
            <a:off x="3182848" y="4274496"/>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a:solidFill>
                  <a:schemeClr val="bg1">
                    <a:lumMod val="75000"/>
                  </a:schemeClr>
                </a:solidFill>
                <a:sym typeface="Wingdings 2"/>
              </a:rPr>
              <a:t></a:t>
            </a:r>
            <a:endParaRPr lang="fr-FR" sz="3200" dirty="0">
              <a:solidFill>
                <a:schemeClr val="bg1">
                  <a:lumMod val="75000"/>
                </a:schemeClr>
              </a:solidFill>
            </a:endParaRPr>
          </a:p>
        </p:txBody>
      </p:sp>
      <p:sp>
        <p:nvSpPr>
          <p:cNvPr id="2" name="Rectangle 1"/>
          <p:cNvSpPr/>
          <p:nvPr/>
        </p:nvSpPr>
        <p:spPr>
          <a:xfrm>
            <a:off x="3531302" y="412428"/>
            <a:ext cx="4746812" cy="584775"/>
          </a:xfrm>
          <a:prstGeom prst="rect">
            <a:avLst/>
          </a:prstGeom>
        </p:spPr>
        <p:txBody>
          <a:bodyPr wrap="none">
            <a:spAutoFit/>
          </a:bodyPr>
          <a:lstStyle/>
          <a:p>
            <a:pPr algn="ctr"/>
            <a:r>
              <a:rPr lang="fr-FR" sz="3200" b="1" i="1" dirty="0">
                <a:latin typeface="Trebuchet MS" panose="020B0603020202020204" pitchFamily="34" charset="0"/>
              </a:rPr>
              <a:t>Plan de la présentation</a:t>
            </a:r>
            <a:endParaRPr lang="fr-FR" sz="3200" b="1" dirty="0">
              <a:solidFill>
                <a:schemeClr val="bg1"/>
              </a:solidFill>
              <a:latin typeface="Trebuchet MS" panose="020B0603020202020204" pitchFamily="34" charset="0"/>
              <a:cs typeface="Andalus" pitchFamily="18" charset="-78"/>
            </a:endParaRPr>
          </a:p>
        </p:txBody>
      </p:sp>
      <p:sp>
        <p:nvSpPr>
          <p:cNvPr id="13" name="Rectangle à coins arrondis 12"/>
          <p:cNvSpPr/>
          <p:nvPr/>
        </p:nvSpPr>
        <p:spPr>
          <a:xfrm>
            <a:off x="3866016" y="5124680"/>
            <a:ext cx="6447225" cy="720725"/>
          </a:xfrm>
          <a:prstGeom prst="roundRect">
            <a:avLst>
              <a:gd name="adj" fmla="val 45527"/>
            </a:avLst>
          </a:prstGeom>
          <a:solidFill>
            <a:schemeClr val="bg1">
              <a:lumMod val="95000"/>
            </a:schemeClr>
          </a:solidFill>
        </p:spPr>
        <p:style>
          <a:lnRef idx="1">
            <a:schemeClr val="accent6"/>
          </a:lnRef>
          <a:fillRef idx="2">
            <a:schemeClr val="accent6"/>
          </a:fillRef>
          <a:effectRef idx="1">
            <a:schemeClr val="accent6"/>
          </a:effectRef>
          <a:fontRef idx="minor">
            <a:schemeClr val="dk1"/>
          </a:fontRef>
        </p:style>
        <p:txBody>
          <a:bodyPr anchor="ctr"/>
          <a:lstStyle/>
          <a:p>
            <a:pPr>
              <a:lnSpc>
                <a:spcPct val="80000"/>
              </a:lnSpc>
              <a:defRPr/>
            </a:pPr>
            <a:r>
              <a:rPr lang="fr-FR" sz="3600" b="1" dirty="0" smtClean="0">
                <a:solidFill>
                  <a:schemeClr val="bg1">
                    <a:lumMod val="85000"/>
                  </a:schemeClr>
                </a:solidFill>
                <a:latin typeface="Arabic Typesetting" pitchFamily="66" charset="-78"/>
                <a:cs typeface="Arabic Typesetting" pitchFamily="66" charset="-78"/>
              </a:rPr>
              <a:t> </a:t>
            </a:r>
            <a:r>
              <a:rPr lang="ar-MA" sz="3600" b="1" dirty="0" smtClean="0">
                <a:solidFill>
                  <a:schemeClr val="bg1">
                    <a:lumMod val="85000"/>
                  </a:schemeClr>
                </a:solidFill>
                <a:latin typeface="Arabic Typesetting" pitchFamily="66" charset="-78"/>
                <a:cs typeface="Arabic Typesetting" pitchFamily="66" charset="-78"/>
              </a:rPr>
              <a:t>   </a:t>
            </a:r>
            <a:r>
              <a:rPr lang="fr-FR" b="1" dirty="0">
                <a:solidFill>
                  <a:schemeClr val="bg1">
                    <a:lumMod val="75000"/>
                  </a:schemeClr>
                </a:solidFill>
                <a:latin typeface="Trebuchet MS" panose="020B0603020202020204" pitchFamily="34" charset="0"/>
                <a:cs typeface="Times New Roman" panose="02020603050405020304" pitchFamily="18" charset="0"/>
              </a:rPr>
              <a:t>Le droit de regard de l’Etat sur les CT : de la tutelle</a:t>
            </a:r>
          </a:p>
          <a:p>
            <a:pPr>
              <a:lnSpc>
                <a:spcPct val="80000"/>
              </a:lnSpc>
              <a:defRPr/>
            </a:pPr>
            <a:r>
              <a:rPr lang="fr-FR" b="1" dirty="0">
                <a:solidFill>
                  <a:schemeClr val="bg1">
                    <a:lumMod val="75000"/>
                  </a:schemeClr>
                </a:solidFill>
                <a:latin typeface="Trebuchet MS" panose="020B0603020202020204" pitchFamily="34" charset="0"/>
                <a:cs typeface="Times New Roman" panose="02020603050405020304" pitchFamily="18" charset="0"/>
              </a:rPr>
              <a:t>     au Contrôle administratif </a:t>
            </a:r>
            <a:endParaRPr lang="fr-FR" b="1" dirty="0">
              <a:solidFill>
                <a:schemeClr val="bg1">
                  <a:lumMod val="85000"/>
                </a:schemeClr>
              </a:solidFill>
              <a:latin typeface="Trebuchet MS" panose="020B0603020202020204" pitchFamily="34" charset="0"/>
              <a:cs typeface="Times New Roman" panose="02020603050405020304" pitchFamily="18" charset="0"/>
            </a:endParaRPr>
          </a:p>
        </p:txBody>
      </p:sp>
      <p:sp>
        <p:nvSpPr>
          <p:cNvPr id="14" name="Ellipse 13"/>
          <p:cNvSpPr/>
          <p:nvPr/>
        </p:nvSpPr>
        <p:spPr>
          <a:xfrm>
            <a:off x="3618277" y="5178012"/>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smtClean="0">
                <a:solidFill>
                  <a:schemeClr val="bg1">
                    <a:lumMod val="85000"/>
                  </a:schemeClr>
                </a:solidFill>
                <a:sym typeface="Wingdings 2" panose="05020102010507070707" pitchFamily="18" charset="2"/>
              </a:rPr>
              <a:t></a:t>
            </a:r>
            <a:endParaRPr lang="fr-FR" sz="3200" dirty="0">
              <a:solidFill>
                <a:schemeClr val="bg1">
                  <a:lumMod val="85000"/>
                </a:schemeClr>
              </a:solidFill>
            </a:endParaRPr>
          </a:p>
        </p:txBody>
      </p:sp>
      <p:sp>
        <p:nvSpPr>
          <p:cNvPr id="15" name="Espace réservé du numéro de diapositive 3"/>
          <p:cNvSpPr txBox="1">
            <a:spLocks/>
          </p:cNvSpPr>
          <p:nvPr/>
        </p:nvSpPr>
        <p:spPr bwMode="auto">
          <a:xfrm>
            <a:off x="11531455" y="6329996"/>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0</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12511685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9685585" y="1825296"/>
            <a:ext cx="2208212" cy="738664"/>
          </a:xfrm>
          <a:prstGeom prst="rect">
            <a:avLst/>
          </a:prstGeom>
        </p:spPr>
        <p:txBody>
          <a:bodyPr wrap="square">
            <a:spAutoFit/>
          </a:bodyPr>
          <a:lstStyle/>
          <a:p>
            <a:pPr algn="ctr" eaLnBrk="1" hangingPunct="1">
              <a:spcBef>
                <a:spcPts val="0"/>
              </a:spcBef>
              <a:defRPr/>
            </a:pPr>
            <a:r>
              <a:rPr lang="fr-FR" sz="1400" b="1" i="1" dirty="0" smtClean="0">
                <a:solidFill>
                  <a:srgbClr val="002060"/>
                </a:solidFill>
                <a:latin typeface="Candara" panose="020E0502030303020204" pitchFamily="34" charset="0"/>
              </a:rPr>
              <a:t>Règle </a:t>
            </a:r>
            <a:r>
              <a:rPr lang="fr-FR" sz="1400" b="1" i="1" dirty="0">
                <a:solidFill>
                  <a:srgbClr val="002060"/>
                </a:solidFill>
                <a:latin typeface="Candara" panose="020E0502030303020204" pitchFamily="34" charset="0"/>
              </a:rPr>
              <a:t>de distinction entre missions, compétences et attributions</a:t>
            </a:r>
            <a:endParaRPr lang="fr-FR" sz="1400" b="1" i="1" dirty="0">
              <a:solidFill>
                <a:srgbClr val="002060"/>
              </a:solidFill>
              <a:latin typeface="Candara" panose="020E0502030303020204" pitchFamily="34" charset="0"/>
              <a:sym typeface="Wingdings 2"/>
            </a:endParaRPr>
          </a:p>
        </p:txBody>
      </p:sp>
      <p:grpSp>
        <p:nvGrpSpPr>
          <p:cNvPr id="36" name="Diagram group"/>
          <p:cNvGrpSpPr/>
          <p:nvPr/>
        </p:nvGrpSpPr>
        <p:grpSpPr>
          <a:xfrm>
            <a:off x="1203909" y="1556792"/>
            <a:ext cx="5544615" cy="4384123"/>
            <a:chOff x="1146277" y="2665"/>
            <a:chExt cx="6208179" cy="4384123"/>
          </a:xfrm>
          <a:scene3d>
            <a:camera prst="perspectiveLeft" zoom="91000"/>
            <a:lightRig rig="threePt" dir="t">
              <a:rot lat="0" lon="0" rev="20640000"/>
            </a:lightRig>
          </a:scene3d>
        </p:grpSpPr>
        <p:grpSp>
          <p:nvGrpSpPr>
            <p:cNvPr id="37" name="Groupe 36"/>
            <p:cNvGrpSpPr/>
            <p:nvPr/>
          </p:nvGrpSpPr>
          <p:grpSpPr>
            <a:xfrm>
              <a:off x="1146277" y="2665"/>
              <a:ext cx="2505213" cy="1252606"/>
              <a:chOff x="1146277" y="2665"/>
              <a:chExt cx="2505213" cy="1252606"/>
            </a:xfrm>
          </p:grpSpPr>
          <p:sp>
            <p:nvSpPr>
              <p:cNvPr id="56" name="Rectangle à coins arrondis 55"/>
              <p:cNvSpPr/>
              <p:nvPr/>
            </p:nvSpPr>
            <p:spPr>
              <a:xfrm>
                <a:off x="1146277" y="2665"/>
                <a:ext cx="2505213" cy="1252606"/>
              </a:xfrm>
              <a:prstGeom prst="roundRect">
                <a:avLst>
                  <a:gd name="adj" fmla="val 10000"/>
                </a:avLst>
              </a:prstGeom>
              <a:solidFill>
                <a:srgbClr val="99FFCC"/>
              </a:solidFill>
              <a:sp3d extrusionH="50600" prstMaterial="metal">
                <a:bevelT w="101600" h="80600" prst="relaxedInset"/>
                <a:bevelB w="80600" h="80600" prst="relaxedInset"/>
              </a:sp3d>
            </p:spPr>
            <p:style>
              <a:lnRef idx="0">
                <a:schemeClr val="lt1">
                  <a:hueOff val="0"/>
                  <a:satOff val="0"/>
                  <a:lumOff val="0"/>
                  <a:alphaOff val="0"/>
                </a:schemeClr>
              </a:lnRef>
              <a:fillRef idx="1">
                <a:scrgbClr r="0" g="0" b="0"/>
              </a:fillRef>
              <a:effectRef idx="1">
                <a:schemeClr val="accent4">
                  <a:alpha val="90000"/>
                  <a:hueOff val="0"/>
                  <a:satOff val="0"/>
                  <a:lumOff val="0"/>
                  <a:alphaOff val="0"/>
                </a:schemeClr>
              </a:effectRef>
              <a:fontRef idx="minor">
                <a:schemeClr val="dk1"/>
              </a:fontRef>
            </p:style>
          </p:sp>
          <p:sp>
            <p:nvSpPr>
              <p:cNvPr id="57" name="Rectangle 56"/>
              <p:cNvSpPr/>
              <p:nvPr/>
            </p:nvSpPr>
            <p:spPr>
              <a:xfrm>
                <a:off x="1182965" y="39353"/>
                <a:ext cx="2431837" cy="1179230"/>
              </a:xfrm>
              <a:prstGeom prst="rect">
                <a:avLst/>
              </a:prstGeom>
              <a:sp3d/>
            </p:spPr>
            <p:style>
              <a:lnRef idx="0">
                <a:scrgbClr r="0" g="0" b="0"/>
              </a:lnRef>
              <a:fillRef idx="0">
                <a:scrgbClr r="0" g="0" b="0"/>
              </a:fillRef>
              <a:effectRef idx="0">
                <a:scrgbClr r="0" g="0" b="0"/>
              </a:effectRef>
              <a:fontRef idx="minor">
                <a:schemeClr val="dk1"/>
              </a:fontRef>
            </p:style>
            <p:txBody>
              <a:bodyPr lIns="85725" tIns="57150" rIns="85725" bIns="57150" spcCol="1270" anchor="ctr"/>
              <a:lstStyle/>
              <a:p>
                <a:pPr algn="ctr" defTabSz="2000250">
                  <a:lnSpc>
                    <a:spcPct val="90000"/>
                  </a:lnSpc>
                  <a:spcAft>
                    <a:spcPct val="35000"/>
                  </a:spcAft>
                  <a:defRPr/>
                </a:pPr>
                <a:r>
                  <a:rPr lang="fr-FR" altLang="fr-FR" sz="2400" b="1" dirty="0" smtClean="0">
                    <a:solidFill>
                      <a:srgbClr val="000000"/>
                    </a:solidFill>
                    <a:latin typeface="Trebuchet MS" panose="020B0603020202020204" pitchFamily="34" charset="0"/>
                    <a:cs typeface="Sakkal Majalla" panose="02000000000000000000" pitchFamily="2" charset="-78"/>
                  </a:rPr>
                  <a:t>Attributions</a:t>
                </a:r>
                <a:endParaRPr lang="fr-FR" sz="2400" b="1" dirty="0">
                  <a:latin typeface="Sakkal Majalla" pitchFamily="2" charset="-78"/>
                  <a:cs typeface="Sakkal Majalla" pitchFamily="2" charset="-78"/>
                </a:endParaRPr>
              </a:p>
            </p:txBody>
          </p:sp>
        </p:grpSp>
        <p:sp>
          <p:nvSpPr>
            <p:cNvPr id="38" name="Connecteur droit 5"/>
            <p:cNvSpPr/>
            <p:nvPr/>
          </p:nvSpPr>
          <p:spPr>
            <a:xfrm>
              <a:off x="1396798" y="1255271"/>
              <a:ext cx="250501" cy="939455"/>
            </a:xfrm>
            <a:custGeom>
              <a:avLst/>
              <a:gdLst/>
              <a:ahLst/>
              <a:cxnLst/>
              <a:rect l="0" t="0" r="0" b="0"/>
              <a:pathLst>
                <a:path>
                  <a:moveTo>
                    <a:pt x="0" y="0"/>
                  </a:moveTo>
                  <a:lnTo>
                    <a:pt x="0" y="939455"/>
                  </a:lnTo>
                  <a:lnTo>
                    <a:pt x="250501" y="939455"/>
                  </a:lnTo>
                </a:path>
              </a:pathLst>
            </a:custGeom>
            <a:noFill/>
            <a:ln w="28575">
              <a:solidFill>
                <a:schemeClr val="accent2">
                  <a:lumMod val="50000"/>
                </a:schemeClr>
              </a:solidFill>
            </a:ln>
            <a:sp3d z="-110000"/>
          </p:spPr>
          <p:style>
            <a:lnRef idx="2">
              <a:schemeClr val="accent4">
                <a:tint val="90000"/>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grpSp>
          <p:nvGrpSpPr>
            <p:cNvPr id="39" name="Groupe 38"/>
            <p:cNvGrpSpPr/>
            <p:nvPr/>
          </p:nvGrpSpPr>
          <p:grpSpPr>
            <a:xfrm>
              <a:off x="1647300" y="1568423"/>
              <a:ext cx="2004170" cy="1252606"/>
              <a:chOff x="1647300" y="1568423"/>
              <a:chExt cx="2004170" cy="1252606"/>
            </a:xfrm>
          </p:grpSpPr>
          <p:sp>
            <p:nvSpPr>
              <p:cNvPr id="54" name="Rectangle à coins arrondis 53"/>
              <p:cNvSpPr/>
              <p:nvPr/>
            </p:nvSpPr>
            <p:spPr>
              <a:xfrm>
                <a:off x="1647300" y="1568423"/>
                <a:ext cx="2004170" cy="1252606"/>
              </a:xfrm>
              <a:prstGeom prst="roundRect">
                <a:avLst>
                  <a:gd name="adj" fmla="val 10000"/>
                </a:avLst>
              </a:prstGeom>
              <a:solidFill>
                <a:schemeClr val="accent1">
                  <a:lumMod val="40000"/>
                  <a:lumOff val="60000"/>
                  <a:alpha val="90000"/>
                </a:schemeClr>
              </a:solidFill>
              <a:sp3d z="-161800" extrusionH="10600" prstMaterial="matte">
                <a:bevelT w="90600" h="18600" prst="softRound"/>
                <a:bevelB w="48600" h="8600" prst="relaxedInset"/>
              </a:sp3d>
            </p:spPr>
            <p:style>
              <a:lnRef idx="1">
                <a:schemeClr val="accent4">
                  <a:alpha val="90000"/>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5" name="Rectangle 54"/>
              <p:cNvSpPr/>
              <p:nvPr/>
            </p:nvSpPr>
            <p:spPr>
              <a:xfrm>
                <a:off x="1683988" y="1605111"/>
                <a:ext cx="1930794" cy="1179230"/>
              </a:xfrm>
              <a:prstGeom prst="rect">
                <a:avLst/>
              </a:prstGeom>
              <a:sp3d z="-161800"/>
            </p:spPr>
            <p:style>
              <a:lnRef idx="0">
                <a:scrgbClr r="0" g="0" b="0"/>
              </a:lnRef>
              <a:fillRef idx="0">
                <a:scrgbClr r="0" g="0" b="0"/>
              </a:fillRef>
              <a:effectRef idx="0">
                <a:scrgbClr r="0" g="0" b="0"/>
              </a:effectRef>
              <a:fontRef idx="minor">
                <a:schemeClr val="dk1">
                  <a:hueOff val="0"/>
                  <a:satOff val="0"/>
                  <a:lumOff val="0"/>
                  <a:alphaOff val="0"/>
                </a:schemeClr>
              </a:fontRef>
            </p:style>
            <p:txBody>
              <a:bodyPr lIns="45720" tIns="30480" rIns="45720" bIns="30480" spcCol="1270" anchor="ctr"/>
              <a:lstStyle/>
              <a:p>
                <a:pPr algn="ctr" defTabSz="1066800">
                  <a:lnSpc>
                    <a:spcPct val="90000"/>
                  </a:lnSpc>
                  <a:spcAft>
                    <a:spcPct val="35000"/>
                  </a:spcAft>
                  <a:defRPr/>
                </a:pPr>
                <a:r>
                  <a:rPr lang="fr-FR" altLang="fr-FR" sz="1600" b="1" dirty="0" smtClean="0">
                    <a:solidFill>
                      <a:srgbClr val="000000"/>
                    </a:solidFill>
                    <a:latin typeface="Trebuchet MS" panose="020B0603020202020204" pitchFamily="34" charset="0"/>
                    <a:cs typeface="Sakkal Majalla" panose="02000000000000000000" pitchFamily="2" charset="-78"/>
                  </a:rPr>
                  <a:t>Attributions</a:t>
                </a:r>
              </a:p>
              <a:p>
                <a:pPr algn="ctr" defTabSz="1066800">
                  <a:lnSpc>
                    <a:spcPct val="90000"/>
                  </a:lnSpc>
                  <a:spcAft>
                    <a:spcPct val="35000"/>
                  </a:spcAft>
                  <a:defRPr/>
                </a:pPr>
                <a:r>
                  <a:rPr lang="fr-FR" altLang="fr-FR" sz="1600" b="1" dirty="0" smtClean="0">
                    <a:solidFill>
                      <a:srgbClr val="000000"/>
                    </a:solidFill>
                    <a:latin typeface="Trebuchet MS" panose="020B0603020202020204" pitchFamily="34" charset="0"/>
                    <a:cs typeface="Sakkal Majalla" panose="02000000000000000000" pitchFamily="2" charset="-78"/>
                  </a:rPr>
                  <a:t>du </a:t>
                </a:r>
                <a:r>
                  <a:rPr lang="fr-FR" sz="1600" b="1" dirty="0" smtClean="0">
                    <a:latin typeface="Trebuchet MS" panose="020B0603020202020204" pitchFamily="34" charset="0"/>
                    <a:cs typeface="Sakkal Majalla" pitchFamily="2" charset="-78"/>
                  </a:rPr>
                  <a:t>Conseil</a:t>
                </a:r>
                <a:endParaRPr lang="fr-FR" sz="1600" b="1" dirty="0">
                  <a:latin typeface="Trebuchet MS" panose="020B0603020202020204" pitchFamily="34" charset="0"/>
                  <a:cs typeface="Sakkal Majalla" pitchFamily="2" charset="-78"/>
                </a:endParaRPr>
              </a:p>
            </p:txBody>
          </p:sp>
        </p:grpSp>
        <p:sp>
          <p:nvSpPr>
            <p:cNvPr id="40" name="Connecteur droit 8"/>
            <p:cNvSpPr/>
            <p:nvPr/>
          </p:nvSpPr>
          <p:spPr>
            <a:xfrm>
              <a:off x="1396798" y="1255271"/>
              <a:ext cx="250501" cy="2505213"/>
            </a:xfrm>
            <a:custGeom>
              <a:avLst/>
              <a:gdLst/>
              <a:ahLst/>
              <a:cxnLst/>
              <a:rect l="0" t="0" r="0" b="0"/>
              <a:pathLst>
                <a:path>
                  <a:moveTo>
                    <a:pt x="0" y="0"/>
                  </a:moveTo>
                  <a:lnTo>
                    <a:pt x="0" y="2505213"/>
                  </a:lnTo>
                  <a:lnTo>
                    <a:pt x="250501" y="2505213"/>
                  </a:lnTo>
                </a:path>
              </a:pathLst>
            </a:custGeom>
            <a:noFill/>
            <a:ln w="28575">
              <a:solidFill>
                <a:schemeClr val="accent2">
                  <a:lumMod val="50000"/>
                </a:schemeClr>
              </a:solidFill>
            </a:ln>
            <a:sp3d z="-110000"/>
          </p:spPr>
          <p:style>
            <a:lnRef idx="2">
              <a:schemeClr val="accent4">
                <a:tint val="90000"/>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grpSp>
          <p:nvGrpSpPr>
            <p:cNvPr id="41" name="Groupe 40"/>
            <p:cNvGrpSpPr/>
            <p:nvPr/>
          </p:nvGrpSpPr>
          <p:grpSpPr>
            <a:xfrm>
              <a:off x="1647300" y="3134182"/>
              <a:ext cx="2004170" cy="1252606"/>
              <a:chOff x="1647300" y="3134182"/>
              <a:chExt cx="2004170" cy="1252606"/>
            </a:xfrm>
          </p:grpSpPr>
          <p:sp>
            <p:nvSpPr>
              <p:cNvPr id="52" name="Rectangle à coins arrondis 51"/>
              <p:cNvSpPr/>
              <p:nvPr/>
            </p:nvSpPr>
            <p:spPr>
              <a:xfrm>
                <a:off x="1647300" y="3134182"/>
                <a:ext cx="2004170" cy="1252606"/>
              </a:xfrm>
              <a:prstGeom prst="roundRect">
                <a:avLst>
                  <a:gd name="adj" fmla="val 10000"/>
                </a:avLst>
              </a:prstGeom>
              <a:solidFill>
                <a:schemeClr val="accent1">
                  <a:lumMod val="40000"/>
                  <a:lumOff val="60000"/>
                  <a:alpha val="90000"/>
                </a:schemeClr>
              </a:solidFill>
              <a:sp3d z="-161800" extrusionH="10600" prstMaterial="matte">
                <a:bevelT w="90600" h="18600" prst="softRound"/>
                <a:bevelB w="48600" h="8600" prst="relaxedInset"/>
              </a:sp3d>
            </p:spPr>
            <p:style>
              <a:lnRef idx="1">
                <a:schemeClr val="accent4">
                  <a:alpha val="90000"/>
                  <a:hueOff val="0"/>
                  <a:satOff val="0"/>
                  <a:lumOff val="0"/>
                  <a:alphaOff val="-13333"/>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3" name="Rectangle 52"/>
              <p:cNvSpPr/>
              <p:nvPr/>
            </p:nvSpPr>
            <p:spPr>
              <a:xfrm>
                <a:off x="1683988" y="3170870"/>
                <a:ext cx="1930794" cy="1179230"/>
              </a:xfrm>
              <a:prstGeom prst="rect">
                <a:avLst/>
              </a:prstGeom>
              <a:sp3d z="-161800"/>
            </p:spPr>
            <p:style>
              <a:lnRef idx="0">
                <a:scrgbClr r="0" g="0" b="0"/>
              </a:lnRef>
              <a:fillRef idx="0">
                <a:scrgbClr r="0" g="0" b="0"/>
              </a:fillRef>
              <a:effectRef idx="0">
                <a:scrgbClr r="0" g="0" b="0"/>
              </a:effectRef>
              <a:fontRef idx="minor">
                <a:schemeClr val="dk1">
                  <a:hueOff val="0"/>
                  <a:satOff val="0"/>
                  <a:lumOff val="0"/>
                  <a:alphaOff val="0"/>
                </a:schemeClr>
              </a:fontRef>
            </p:style>
            <p:txBody>
              <a:bodyPr lIns="45720" tIns="30480" rIns="45720" bIns="30480" spcCol="1270" anchor="ctr"/>
              <a:lstStyle/>
              <a:p>
                <a:pPr algn="ctr" defTabSz="1066800">
                  <a:lnSpc>
                    <a:spcPct val="90000"/>
                  </a:lnSpc>
                  <a:spcAft>
                    <a:spcPct val="35000"/>
                  </a:spcAft>
                  <a:defRPr/>
                </a:pPr>
                <a:r>
                  <a:rPr lang="fr-FR" altLang="fr-FR" sz="1600" b="1" dirty="0">
                    <a:solidFill>
                      <a:srgbClr val="000000"/>
                    </a:solidFill>
                    <a:latin typeface="Trebuchet MS" panose="020B0603020202020204" pitchFamily="34" charset="0"/>
                    <a:cs typeface="Sakkal Majalla" panose="02000000000000000000" pitchFamily="2" charset="-78"/>
                  </a:rPr>
                  <a:t>Attributions </a:t>
                </a:r>
                <a:endParaRPr lang="fr-FR" altLang="fr-FR" sz="1600" b="1" dirty="0" smtClean="0">
                  <a:solidFill>
                    <a:srgbClr val="000000"/>
                  </a:solidFill>
                  <a:latin typeface="Trebuchet MS" panose="020B0603020202020204" pitchFamily="34" charset="0"/>
                  <a:cs typeface="Sakkal Majalla" panose="02000000000000000000" pitchFamily="2" charset="-78"/>
                </a:endParaRPr>
              </a:p>
              <a:p>
                <a:pPr algn="ctr" defTabSz="1066800">
                  <a:lnSpc>
                    <a:spcPct val="90000"/>
                  </a:lnSpc>
                  <a:spcAft>
                    <a:spcPct val="35000"/>
                  </a:spcAft>
                  <a:defRPr/>
                </a:pPr>
                <a:r>
                  <a:rPr lang="fr-FR" altLang="fr-FR" sz="1600" b="1" dirty="0" smtClean="0">
                    <a:solidFill>
                      <a:srgbClr val="000000"/>
                    </a:solidFill>
                    <a:latin typeface="Trebuchet MS" panose="020B0603020202020204" pitchFamily="34" charset="0"/>
                    <a:cs typeface="Sakkal Majalla" panose="02000000000000000000" pitchFamily="2" charset="-78"/>
                  </a:rPr>
                  <a:t>du </a:t>
                </a:r>
                <a:r>
                  <a:rPr lang="fr-FR" altLang="fr-FR" sz="1600" b="1" dirty="0">
                    <a:solidFill>
                      <a:srgbClr val="000000"/>
                    </a:solidFill>
                    <a:latin typeface="Trebuchet MS" panose="020B0603020202020204" pitchFamily="34" charset="0"/>
                    <a:cs typeface="Sakkal Majalla" panose="02000000000000000000" pitchFamily="2" charset="-78"/>
                  </a:rPr>
                  <a:t>Président</a:t>
                </a:r>
                <a:endParaRPr lang="fr-FR" sz="1600" b="1" dirty="0">
                  <a:solidFill>
                    <a:srgbClr val="000000"/>
                  </a:solidFill>
                  <a:latin typeface="Trebuchet MS" panose="020B0603020202020204" pitchFamily="34" charset="0"/>
                  <a:cs typeface="Sakkal Majalla" panose="02000000000000000000" pitchFamily="2" charset="-78"/>
                </a:endParaRPr>
              </a:p>
            </p:txBody>
          </p:sp>
        </p:grpSp>
        <p:grpSp>
          <p:nvGrpSpPr>
            <p:cNvPr id="42" name="Groupe 41"/>
            <p:cNvGrpSpPr/>
            <p:nvPr/>
          </p:nvGrpSpPr>
          <p:grpSpPr>
            <a:xfrm>
              <a:off x="4849183" y="2665"/>
              <a:ext cx="2505213" cy="1252606"/>
              <a:chOff x="4849183" y="2665"/>
              <a:chExt cx="2505213" cy="1252606"/>
            </a:xfrm>
          </p:grpSpPr>
          <p:sp>
            <p:nvSpPr>
              <p:cNvPr id="50" name="Rectangle à coins arrondis 49"/>
              <p:cNvSpPr/>
              <p:nvPr/>
            </p:nvSpPr>
            <p:spPr>
              <a:xfrm>
                <a:off x="4849183" y="2665"/>
                <a:ext cx="2505213" cy="1252606"/>
              </a:xfrm>
              <a:prstGeom prst="roundRect">
                <a:avLst>
                  <a:gd name="adj" fmla="val 10000"/>
                </a:avLst>
              </a:prstGeom>
              <a:solidFill>
                <a:srgbClr val="99FF99"/>
              </a:solidFill>
              <a:sp3d extrusionH="50600" prstMaterial="metal">
                <a:bevelT w="101600" h="80600" prst="relaxedInset"/>
                <a:bevelB w="80600" h="80600" prst="relaxedInset"/>
              </a:sp3d>
            </p:spPr>
            <p:style>
              <a:lnRef idx="0">
                <a:schemeClr val="lt1">
                  <a:hueOff val="0"/>
                  <a:satOff val="0"/>
                  <a:lumOff val="0"/>
                  <a:alphaOff val="0"/>
                </a:schemeClr>
              </a:lnRef>
              <a:fillRef idx="1">
                <a:scrgbClr r="0" g="0" b="0"/>
              </a:fillRef>
              <a:effectRef idx="1">
                <a:schemeClr val="accent4">
                  <a:alpha val="90000"/>
                  <a:hueOff val="0"/>
                  <a:satOff val="0"/>
                  <a:lumOff val="0"/>
                  <a:alphaOff val="-40000"/>
                </a:schemeClr>
              </a:effectRef>
              <a:fontRef idx="minor">
                <a:schemeClr val="dk1"/>
              </a:fontRef>
            </p:style>
          </p:sp>
          <p:sp>
            <p:nvSpPr>
              <p:cNvPr id="51" name="Rectangle 50"/>
              <p:cNvSpPr/>
              <p:nvPr/>
            </p:nvSpPr>
            <p:spPr>
              <a:xfrm>
                <a:off x="4885871" y="39353"/>
                <a:ext cx="2431837" cy="1179230"/>
              </a:xfrm>
              <a:prstGeom prst="rect">
                <a:avLst/>
              </a:prstGeom>
              <a:sp3d/>
            </p:spPr>
            <p:style>
              <a:lnRef idx="0">
                <a:scrgbClr r="0" g="0" b="0"/>
              </a:lnRef>
              <a:fillRef idx="0">
                <a:scrgbClr r="0" g="0" b="0"/>
              </a:fillRef>
              <a:effectRef idx="0">
                <a:scrgbClr r="0" g="0" b="0"/>
              </a:effectRef>
              <a:fontRef idx="minor">
                <a:schemeClr val="dk1"/>
              </a:fontRef>
            </p:style>
            <p:txBody>
              <a:bodyPr lIns="85725" tIns="57150" rIns="85725" bIns="57150" spcCol="1270" anchor="ctr"/>
              <a:lstStyle/>
              <a:p>
                <a:pPr algn="ctr" defTabSz="2000250">
                  <a:lnSpc>
                    <a:spcPct val="90000"/>
                  </a:lnSpc>
                  <a:spcAft>
                    <a:spcPct val="35000"/>
                  </a:spcAft>
                  <a:defRPr/>
                </a:pPr>
                <a:r>
                  <a:rPr lang="fr-FR" altLang="fr-FR" sz="2200" b="1" dirty="0" smtClean="0">
                    <a:solidFill>
                      <a:srgbClr val="000000"/>
                    </a:solidFill>
                    <a:latin typeface="Trebuchet MS" panose="020B0603020202020204" pitchFamily="34" charset="0"/>
                    <a:cs typeface="Sakkal Majalla" panose="02000000000000000000" pitchFamily="2" charset="-78"/>
                  </a:rPr>
                  <a:t>Compétences</a:t>
                </a:r>
                <a:endParaRPr lang="fr-FR" sz="2200" b="1" dirty="0">
                  <a:solidFill>
                    <a:srgbClr val="000000"/>
                  </a:solidFill>
                  <a:latin typeface="Trebuchet MS" panose="020B0603020202020204" pitchFamily="34" charset="0"/>
                  <a:cs typeface="Sakkal Majalla" panose="02000000000000000000" pitchFamily="2" charset="-78"/>
                </a:endParaRPr>
              </a:p>
            </p:txBody>
          </p:sp>
        </p:grpSp>
        <p:grpSp>
          <p:nvGrpSpPr>
            <p:cNvPr id="43" name="Groupe 42"/>
            <p:cNvGrpSpPr/>
            <p:nvPr/>
          </p:nvGrpSpPr>
          <p:grpSpPr>
            <a:xfrm>
              <a:off x="5350286" y="1568423"/>
              <a:ext cx="2004170" cy="1252606"/>
              <a:chOff x="5350286" y="1568423"/>
              <a:chExt cx="2004170" cy="1252606"/>
            </a:xfrm>
          </p:grpSpPr>
          <p:sp>
            <p:nvSpPr>
              <p:cNvPr id="48" name="Rectangle à coins arrondis 47"/>
              <p:cNvSpPr/>
              <p:nvPr/>
            </p:nvSpPr>
            <p:spPr>
              <a:xfrm>
                <a:off x="5350286" y="1568423"/>
                <a:ext cx="2004170" cy="1252606"/>
              </a:xfrm>
              <a:prstGeom prst="roundRect">
                <a:avLst>
                  <a:gd name="adj" fmla="val 10000"/>
                </a:avLst>
              </a:prstGeom>
              <a:solidFill>
                <a:schemeClr val="tx1">
                  <a:lumMod val="20000"/>
                  <a:lumOff val="80000"/>
                  <a:alpha val="90000"/>
                </a:schemeClr>
              </a:solidFill>
              <a:sp3d z="-161800" extrusionH="10600" prstMaterial="matte">
                <a:bevelT w="90600" h="18600" prst="softRound"/>
                <a:bevelB w="48600" h="8600" prst="relaxedInset"/>
              </a:sp3d>
            </p:spPr>
            <p:style>
              <a:lnRef idx="1">
                <a:schemeClr val="accent4">
                  <a:alpha val="90000"/>
                  <a:hueOff val="0"/>
                  <a:satOff val="0"/>
                  <a:lumOff val="0"/>
                  <a:alphaOff val="-26667"/>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49" name="Rectangle 48"/>
              <p:cNvSpPr/>
              <p:nvPr/>
            </p:nvSpPr>
            <p:spPr>
              <a:xfrm>
                <a:off x="5386974" y="1605111"/>
                <a:ext cx="1930794" cy="1179230"/>
              </a:xfrm>
              <a:prstGeom prst="rect">
                <a:avLst/>
              </a:prstGeom>
              <a:sp3d z="-161800"/>
            </p:spPr>
            <p:style>
              <a:lnRef idx="0">
                <a:scrgbClr r="0" g="0" b="0"/>
              </a:lnRef>
              <a:fillRef idx="0">
                <a:scrgbClr r="0" g="0" b="0"/>
              </a:fillRef>
              <a:effectRef idx="0">
                <a:scrgbClr r="0" g="0" b="0"/>
              </a:effectRef>
              <a:fontRef idx="minor">
                <a:schemeClr val="dk1">
                  <a:hueOff val="0"/>
                  <a:satOff val="0"/>
                  <a:lumOff val="0"/>
                  <a:alphaOff val="0"/>
                </a:schemeClr>
              </a:fontRef>
            </p:style>
            <p:txBody>
              <a:bodyPr lIns="38100" tIns="25400" rIns="38100" bIns="25400" spcCol="1270" anchor="ctr"/>
              <a:lstStyle/>
              <a:p>
                <a:pPr algn="ctr" defTabSz="889000" eaLnBrk="1" hangingPunct="1">
                  <a:spcAft>
                    <a:spcPts val="0"/>
                  </a:spcAft>
                  <a:defRPr/>
                </a:pPr>
                <a:r>
                  <a:rPr lang="fr-FR" sz="1600" b="1" dirty="0" smtClean="0">
                    <a:solidFill>
                      <a:srgbClr val="0000FF"/>
                    </a:solidFill>
                    <a:latin typeface="Trebuchet MS" panose="020B0603020202020204" pitchFamily="34" charset="0"/>
                    <a:cs typeface="Sakkal Majalla" pitchFamily="2" charset="-78"/>
                  </a:rPr>
                  <a:t>CT :</a:t>
                </a:r>
                <a:endParaRPr lang="ar-MA" sz="1600" b="1" dirty="0">
                  <a:solidFill>
                    <a:srgbClr val="0000FF"/>
                  </a:solidFill>
                  <a:latin typeface="Trebuchet MS" panose="020B0603020202020204" pitchFamily="34" charset="0"/>
                  <a:cs typeface="Sakkal Majalla" pitchFamily="2" charset="-78"/>
                </a:endParaRPr>
              </a:p>
              <a:p>
                <a:pPr marL="85725" defTabSz="889000">
                  <a:defRPr/>
                </a:pPr>
                <a:r>
                  <a:rPr lang="fr-FR" b="1" dirty="0" smtClean="0">
                    <a:latin typeface="Trebuchet MS" panose="020B0603020202020204" pitchFamily="34" charset="0"/>
                    <a:cs typeface="Sakkal Majalla" pitchFamily="2" charset="-78"/>
                  </a:rPr>
                  <a:t>-</a:t>
                </a:r>
                <a:r>
                  <a:rPr lang="ar-MA" b="1" dirty="0" smtClean="0">
                    <a:latin typeface="Trebuchet MS" panose="020B0603020202020204" pitchFamily="34" charset="0"/>
                    <a:cs typeface="Sakkal Majalla" pitchFamily="2" charset="-78"/>
                  </a:rPr>
                  <a:t> </a:t>
                </a:r>
                <a:r>
                  <a:rPr lang="fr-FR" altLang="fr-FR" sz="1200" b="1" dirty="0">
                    <a:solidFill>
                      <a:schemeClr val="tx1"/>
                    </a:solidFill>
                    <a:latin typeface="Trebuchet MS" panose="020B0603020202020204" pitchFamily="34" charset="0"/>
                    <a:cs typeface="Sakkal Majalla" panose="02000000000000000000" pitchFamily="2" charset="-78"/>
                  </a:rPr>
                  <a:t>Régions</a:t>
                </a:r>
                <a:endParaRPr lang="ar-MA" sz="1200" b="1" dirty="0">
                  <a:solidFill>
                    <a:schemeClr val="tx1"/>
                  </a:solidFill>
                  <a:latin typeface="Trebuchet MS" panose="020B0603020202020204" pitchFamily="34" charset="0"/>
                  <a:cs typeface="Sakkal Majalla" pitchFamily="2" charset="-78"/>
                </a:endParaRPr>
              </a:p>
              <a:p>
                <a:pPr marL="85725" algn="ctr">
                  <a:spcBef>
                    <a:spcPct val="0"/>
                  </a:spcBef>
                </a:pPr>
                <a:r>
                  <a:rPr lang="fr-FR" altLang="fr-FR" sz="1200" b="1" dirty="0" smtClean="0">
                    <a:solidFill>
                      <a:schemeClr val="tx1"/>
                    </a:solidFill>
                    <a:latin typeface="Trebuchet MS" panose="020B0603020202020204" pitchFamily="34" charset="0"/>
                    <a:cs typeface="Sakkal Majalla" panose="02000000000000000000" pitchFamily="2" charset="-78"/>
                  </a:rPr>
                  <a:t>Préfecture/Provinces </a:t>
                </a:r>
                <a:endParaRPr lang="fr-FR" altLang="fr-FR" sz="1200" b="1" dirty="0">
                  <a:solidFill>
                    <a:schemeClr val="tx1"/>
                  </a:solidFill>
                  <a:latin typeface="Trebuchet MS" panose="020B0603020202020204" pitchFamily="34" charset="0"/>
                  <a:cs typeface="Sakkal Majalla" panose="02000000000000000000" pitchFamily="2" charset="-78"/>
                </a:endParaRPr>
              </a:p>
              <a:p>
                <a:pPr marL="85725" defTabSz="889000">
                  <a:defRPr/>
                </a:pPr>
                <a:r>
                  <a:rPr lang="fr-FR" sz="1200" b="1" dirty="0" smtClean="0">
                    <a:solidFill>
                      <a:schemeClr val="tx1"/>
                    </a:solidFill>
                    <a:latin typeface="Trebuchet MS" panose="020B0603020202020204" pitchFamily="34" charset="0"/>
                    <a:cs typeface="Sakkal Majalla" panose="02000000000000000000" pitchFamily="2" charset="-78"/>
                  </a:rPr>
                  <a:t>- </a:t>
                </a:r>
                <a:r>
                  <a:rPr lang="fr-FR" altLang="fr-FR" sz="1200" b="1" dirty="0" smtClean="0">
                    <a:solidFill>
                      <a:schemeClr val="tx1"/>
                    </a:solidFill>
                    <a:latin typeface="Trebuchet MS" panose="020B0603020202020204" pitchFamily="34" charset="0"/>
                    <a:cs typeface="Sakkal Majalla" panose="02000000000000000000" pitchFamily="2" charset="-78"/>
                  </a:rPr>
                  <a:t>Communes</a:t>
                </a:r>
                <a:endParaRPr lang="fr-FR" sz="1200" b="1" dirty="0">
                  <a:solidFill>
                    <a:schemeClr val="tx1"/>
                  </a:solidFill>
                  <a:latin typeface="Trebuchet MS" panose="020B0603020202020204" pitchFamily="34" charset="0"/>
                  <a:cs typeface="Sakkal Majalla" panose="02000000000000000000" pitchFamily="2" charset="-78"/>
                </a:endParaRPr>
              </a:p>
            </p:txBody>
          </p:sp>
        </p:grpSp>
        <p:sp>
          <p:nvSpPr>
            <p:cNvPr id="44" name="Connecteur droit 15"/>
            <p:cNvSpPr/>
            <p:nvPr/>
          </p:nvSpPr>
          <p:spPr>
            <a:xfrm>
              <a:off x="5099704" y="1255271"/>
              <a:ext cx="250581" cy="2505213"/>
            </a:xfrm>
            <a:custGeom>
              <a:avLst/>
              <a:gdLst/>
              <a:ahLst/>
              <a:cxnLst/>
              <a:rect l="0" t="0" r="0" b="0"/>
              <a:pathLst>
                <a:path>
                  <a:moveTo>
                    <a:pt x="0" y="0"/>
                  </a:moveTo>
                  <a:lnTo>
                    <a:pt x="0" y="2505213"/>
                  </a:lnTo>
                  <a:lnTo>
                    <a:pt x="250581" y="2505213"/>
                  </a:lnTo>
                </a:path>
              </a:pathLst>
            </a:custGeom>
            <a:noFill/>
            <a:ln w="28575">
              <a:solidFill>
                <a:schemeClr val="accent2">
                  <a:lumMod val="50000"/>
                </a:schemeClr>
              </a:solidFill>
            </a:ln>
            <a:sp3d z="-110000"/>
          </p:spPr>
          <p:style>
            <a:lnRef idx="2">
              <a:schemeClr val="accent4">
                <a:tint val="90000"/>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grpSp>
          <p:nvGrpSpPr>
            <p:cNvPr id="45" name="Groupe 44"/>
            <p:cNvGrpSpPr/>
            <p:nvPr/>
          </p:nvGrpSpPr>
          <p:grpSpPr>
            <a:xfrm>
              <a:off x="5350286" y="3134182"/>
              <a:ext cx="2004170" cy="1252606"/>
              <a:chOff x="5350286" y="3134182"/>
              <a:chExt cx="2004170" cy="1252606"/>
            </a:xfrm>
          </p:grpSpPr>
          <p:sp>
            <p:nvSpPr>
              <p:cNvPr id="46" name="Rectangle à coins arrondis 45"/>
              <p:cNvSpPr/>
              <p:nvPr/>
            </p:nvSpPr>
            <p:spPr>
              <a:xfrm>
                <a:off x="5350286" y="3134182"/>
                <a:ext cx="2004170" cy="1252606"/>
              </a:xfrm>
              <a:prstGeom prst="roundRect">
                <a:avLst>
                  <a:gd name="adj" fmla="val 10000"/>
                </a:avLst>
              </a:prstGeom>
              <a:solidFill>
                <a:schemeClr val="tx1">
                  <a:lumMod val="20000"/>
                  <a:lumOff val="80000"/>
                  <a:alpha val="90000"/>
                </a:schemeClr>
              </a:solidFill>
              <a:sp3d z="-161800" extrusionH="10600" prstMaterial="matte">
                <a:bevelT w="90600" h="18600" prst="softRound"/>
                <a:bevelB w="48600" h="8600" prst="relaxedInset"/>
              </a:sp3d>
            </p:spPr>
            <p:style>
              <a:lnRef idx="1">
                <a:schemeClr val="accent4">
                  <a:alpha val="90000"/>
                  <a:hueOff val="0"/>
                  <a:satOff val="0"/>
                  <a:lumOff val="0"/>
                  <a:alphaOff val="-4000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47" name="Rectangle 46"/>
              <p:cNvSpPr/>
              <p:nvPr/>
            </p:nvSpPr>
            <p:spPr>
              <a:xfrm>
                <a:off x="5386974" y="3170870"/>
                <a:ext cx="1930794" cy="1179230"/>
              </a:xfrm>
              <a:prstGeom prst="rect">
                <a:avLst/>
              </a:prstGeom>
              <a:sp3d z="-161800"/>
            </p:spPr>
            <p:style>
              <a:lnRef idx="0">
                <a:scrgbClr r="0" g="0" b="0"/>
              </a:lnRef>
              <a:fillRef idx="0">
                <a:scrgbClr r="0" g="0" b="0"/>
              </a:fillRef>
              <a:effectRef idx="0">
                <a:scrgbClr r="0" g="0" b="0"/>
              </a:effectRef>
              <a:fontRef idx="minor">
                <a:schemeClr val="dk1">
                  <a:hueOff val="0"/>
                  <a:satOff val="0"/>
                  <a:lumOff val="0"/>
                  <a:alphaOff val="0"/>
                </a:schemeClr>
              </a:fontRef>
            </p:style>
            <p:txBody>
              <a:bodyPr lIns="38100" tIns="25400" rIns="38100" bIns="25400" spcCol="1270" anchor="ctr"/>
              <a:lstStyle/>
              <a:p>
                <a:pPr algn="ctr" defTabSz="889000" eaLnBrk="1" hangingPunct="1">
                  <a:spcAft>
                    <a:spcPts val="0"/>
                  </a:spcAft>
                  <a:defRPr/>
                </a:pPr>
                <a:r>
                  <a:rPr lang="fr-FR" sz="1600" b="1" dirty="0">
                    <a:solidFill>
                      <a:srgbClr val="0000FF"/>
                    </a:solidFill>
                    <a:latin typeface="Trebuchet MS" panose="020B0603020202020204" pitchFamily="34" charset="0"/>
                    <a:cs typeface="Sakkal Majalla" pitchFamily="2" charset="-78"/>
                  </a:rPr>
                  <a:t>Compétences</a:t>
                </a:r>
                <a:r>
                  <a:rPr lang="fr-FR" sz="1200" b="1" dirty="0" smtClean="0">
                    <a:latin typeface="Trebuchet MS" panose="020B0603020202020204" pitchFamily="34" charset="0"/>
                    <a:cs typeface="Sakkal Majalla" pitchFamily="2" charset="-78"/>
                  </a:rPr>
                  <a:t> :</a:t>
                </a:r>
              </a:p>
              <a:p>
                <a:pPr marL="409575" indent="-228600" defTabSz="889000" eaLnBrk="1" hangingPunct="1">
                  <a:spcAft>
                    <a:spcPts val="0"/>
                  </a:spcAft>
                  <a:buFont typeface="+mj-lt"/>
                  <a:buAutoNum type="arabicPeriod"/>
                  <a:defRPr/>
                </a:pPr>
                <a:r>
                  <a:rPr lang="fr-FR" sz="1200" b="1" dirty="0" smtClean="0">
                    <a:latin typeface="Trebuchet MS" panose="020B0603020202020204" pitchFamily="34" charset="0"/>
                    <a:cs typeface="Sakkal Majalla" pitchFamily="2" charset="-78"/>
                  </a:rPr>
                  <a:t>propres</a:t>
                </a:r>
              </a:p>
              <a:p>
                <a:pPr marL="409575" indent="-228600" defTabSz="889000">
                  <a:buFont typeface="+mj-lt"/>
                  <a:buAutoNum type="arabicPeriod"/>
                  <a:defRPr/>
                </a:pPr>
                <a:r>
                  <a:rPr lang="fr-FR" sz="1200" b="1" dirty="0" smtClean="0">
                    <a:latin typeface="Trebuchet MS" panose="020B0603020202020204" pitchFamily="34" charset="0"/>
                    <a:cs typeface="Sakkal Majalla" pitchFamily="2" charset="-78"/>
                  </a:rPr>
                  <a:t>partagées </a:t>
                </a:r>
                <a:endParaRPr lang="ar-MA" sz="1200" b="1" dirty="0">
                  <a:latin typeface="Trebuchet MS" panose="020B0603020202020204" pitchFamily="34" charset="0"/>
                  <a:cs typeface="Sakkal Majalla" pitchFamily="2" charset="-78"/>
                </a:endParaRPr>
              </a:p>
              <a:p>
                <a:pPr marL="409575" indent="-228600" defTabSz="889000">
                  <a:buFont typeface="+mj-lt"/>
                  <a:buAutoNum type="arabicPeriod"/>
                  <a:defRPr/>
                </a:pPr>
                <a:r>
                  <a:rPr lang="fr-FR" sz="1200" b="1" dirty="0" smtClean="0">
                    <a:latin typeface="Trebuchet MS" panose="020B0603020202020204" pitchFamily="34" charset="0"/>
                    <a:cs typeface="Sakkal Majalla" pitchFamily="2" charset="-78"/>
                  </a:rPr>
                  <a:t>transférées</a:t>
                </a:r>
                <a:endParaRPr lang="fr-FR" sz="1200" b="1" dirty="0">
                  <a:latin typeface="Trebuchet MS" panose="020B0603020202020204" pitchFamily="34" charset="0"/>
                  <a:cs typeface="Sakkal Majalla" pitchFamily="2" charset="-78"/>
                </a:endParaRPr>
              </a:p>
            </p:txBody>
          </p:sp>
        </p:grpSp>
      </p:grpSp>
      <p:sp>
        <p:nvSpPr>
          <p:cNvPr id="58" name="Connecteur droit 5"/>
          <p:cNvSpPr/>
          <p:nvPr/>
        </p:nvSpPr>
        <p:spPr>
          <a:xfrm>
            <a:off x="7324588" y="2924944"/>
            <a:ext cx="243248" cy="976309"/>
          </a:xfrm>
          <a:custGeom>
            <a:avLst/>
            <a:gdLst/>
            <a:ahLst/>
            <a:cxnLst/>
            <a:rect l="0" t="0" r="0" b="0"/>
            <a:pathLst>
              <a:path>
                <a:moveTo>
                  <a:pt x="0" y="0"/>
                </a:moveTo>
                <a:lnTo>
                  <a:pt x="0" y="939455"/>
                </a:lnTo>
                <a:lnTo>
                  <a:pt x="250501" y="939455"/>
                </a:lnTo>
              </a:path>
            </a:pathLst>
          </a:custGeom>
          <a:noFill/>
          <a:ln w="28575">
            <a:solidFill>
              <a:schemeClr val="accent2">
                <a:lumMod val="50000"/>
              </a:schemeClr>
            </a:solidFill>
          </a:ln>
          <a:scene3d>
            <a:camera prst="perspectiveLeft" zoom="91000"/>
            <a:lightRig rig="threePt" dir="t">
              <a:rot lat="0" lon="0" rev="20640000"/>
            </a:lightRig>
          </a:scene3d>
          <a:sp3d z="-110000"/>
        </p:spPr>
        <p:style>
          <a:lnRef idx="2">
            <a:schemeClr val="accent4">
              <a:tint val="90000"/>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sp>
        <p:nvSpPr>
          <p:cNvPr id="59" name="Connecteur droit 8"/>
          <p:cNvSpPr/>
          <p:nvPr/>
        </p:nvSpPr>
        <p:spPr>
          <a:xfrm>
            <a:off x="7324588" y="3609870"/>
            <a:ext cx="216024" cy="2843466"/>
          </a:xfrm>
          <a:custGeom>
            <a:avLst/>
            <a:gdLst/>
            <a:ahLst/>
            <a:cxnLst/>
            <a:rect l="0" t="0" r="0" b="0"/>
            <a:pathLst>
              <a:path>
                <a:moveTo>
                  <a:pt x="0" y="0"/>
                </a:moveTo>
                <a:lnTo>
                  <a:pt x="0" y="2505213"/>
                </a:lnTo>
                <a:lnTo>
                  <a:pt x="250501" y="2505213"/>
                </a:lnTo>
              </a:path>
            </a:pathLst>
          </a:custGeom>
          <a:noFill/>
          <a:ln w="28575">
            <a:solidFill>
              <a:schemeClr val="accent2">
                <a:lumMod val="50000"/>
              </a:schemeClr>
            </a:solidFill>
          </a:ln>
          <a:scene3d>
            <a:camera prst="perspectiveLeft" zoom="91000"/>
            <a:lightRig rig="threePt" dir="t">
              <a:rot lat="0" lon="0" rev="20640000"/>
            </a:lightRig>
          </a:scene3d>
          <a:sp3d z="-110000"/>
        </p:spPr>
        <p:style>
          <a:lnRef idx="2">
            <a:schemeClr val="accent4">
              <a:tint val="90000"/>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sp>
        <p:nvSpPr>
          <p:cNvPr id="60" name="Rectangle à coins arrondis 59"/>
          <p:cNvSpPr/>
          <p:nvPr/>
        </p:nvSpPr>
        <p:spPr>
          <a:xfrm>
            <a:off x="6892540" y="1744346"/>
            <a:ext cx="2432682" cy="1252606"/>
          </a:xfrm>
          <a:prstGeom prst="roundRect">
            <a:avLst>
              <a:gd name="adj" fmla="val 10000"/>
            </a:avLst>
          </a:prstGeom>
          <a:solidFill>
            <a:schemeClr val="accent6">
              <a:lumMod val="40000"/>
              <a:lumOff val="60000"/>
            </a:schemeClr>
          </a:solidFill>
          <a:scene3d>
            <a:camera prst="perspectiveLeft" zoom="91000"/>
            <a:lightRig rig="threePt" dir="t">
              <a:rot lat="0" lon="0" rev="20640000"/>
            </a:lightRig>
          </a:scene3d>
          <a:sp3d extrusionH="50600" prstMaterial="metal">
            <a:bevelT w="101600" h="80600" prst="relaxedInset"/>
            <a:bevelB w="80600" h="80600" prst="relaxedInset"/>
          </a:sp3d>
        </p:spPr>
        <p:style>
          <a:lnRef idx="0">
            <a:schemeClr val="lt1">
              <a:hueOff val="0"/>
              <a:satOff val="0"/>
              <a:lumOff val="0"/>
              <a:alphaOff val="0"/>
            </a:schemeClr>
          </a:lnRef>
          <a:fillRef idx="1">
            <a:scrgbClr r="0" g="0" b="0"/>
          </a:fillRef>
          <a:effectRef idx="1">
            <a:schemeClr val="accent4">
              <a:alpha val="90000"/>
              <a:hueOff val="0"/>
              <a:satOff val="0"/>
              <a:lumOff val="0"/>
              <a:alphaOff val="0"/>
            </a:schemeClr>
          </a:effectRef>
          <a:fontRef idx="minor">
            <a:schemeClr val="dk1"/>
          </a:fontRef>
        </p:style>
      </p:sp>
      <p:sp>
        <p:nvSpPr>
          <p:cNvPr id="61" name="Rectangle 4"/>
          <p:cNvSpPr>
            <a:spLocks noChangeArrowheads="1"/>
          </p:cNvSpPr>
          <p:nvPr/>
        </p:nvSpPr>
        <p:spPr bwMode="auto">
          <a:xfrm>
            <a:off x="7325060" y="2133600"/>
            <a:ext cx="172720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2000250">
              <a:lnSpc>
                <a:spcPct val="90000"/>
              </a:lnSpc>
              <a:spcBef>
                <a:spcPct val="20000"/>
              </a:spcBef>
              <a:buBlip>
                <a:blip r:embed="rId2"/>
              </a:buBlip>
              <a:defRPr sz="3200">
                <a:solidFill>
                  <a:schemeClr val="tx1"/>
                </a:solidFill>
                <a:latin typeface="Calibri" panose="020F0502020204030204" pitchFamily="34" charset="0"/>
              </a:defRPr>
            </a:lvl1pPr>
            <a:lvl2pPr marL="742950" indent="-285750" defTabSz="2000250">
              <a:lnSpc>
                <a:spcPct val="90000"/>
              </a:lnSpc>
              <a:spcBef>
                <a:spcPct val="20000"/>
              </a:spcBef>
              <a:buBlip>
                <a:blip r:embed="rId3"/>
              </a:buBlip>
              <a:defRPr sz="2800">
                <a:solidFill>
                  <a:schemeClr val="tx1"/>
                </a:solidFill>
                <a:latin typeface="Calibri" panose="020F0502020204030204" pitchFamily="34" charset="0"/>
              </a:defRPr>
            </a:lvl2pPr>
            <a:lvl3pPr marL="1143000" indent="-228600" defTabSz="2000250">
              <a:lnSpc>
                <a:spcPct val="90000"/>
              </a:lnSpc>
              <a:spcBef>
                <a:spcPct val="20000"/>
              </a:spcBef>
              <a:buBlip>
                <a:blip r:embed="rId3"/>
              </a:buBlip>
              <a:defRPr sz="2400">
                <a:solidFill>
                  <a:schemeClr val="tx1"/>
                </a:solidFill>
                <a:latin typeface="Calibri" panose="020F0502020204030204" pitchFamily="34" charset="0"/>
              </a:defRPr>
            </a:lvl3pPr>
            <a:lvl4pPr marL="1600200" indent="-228600" defTabSz="2000250">
              <a:lnSpc>
                <a:spcPct val="90000"/>
              </a:lnSpc>
              <a:spcBef>
                <a:spcPct val="20000"/>
              </a:spcBef>
              <a:buBlip>
                <a:blip r:embed="rId3"/>
              </a:buBlip>
              <a:defRPr sz="2400">
                <a:solidFill>
                  <a:schemeClr val="tx1"/>
                </a:solidFill>
                <a:latin typeface="Calibri" panose="020F0502020204030204" pitchFamily="34" charset="0"/>
              </a:defRPr>
            </a:lvl4pPr>
            <a:lvl5pPr marL="2057400" indent="-228600" defTabSz="2000250">
              <a:lnSpc>
                <a:spcPct val="90000"/>
              </a:lnSpc>
              <a:spcBef>
                <a:spcPct val="20000"/>
              </a:spcBef>
              <a:buBlip>
                <a:blip r:embed="rId3"/>
              </a:buBlip>
              <a:defRPr sz="2400">
                <a:solidFill>
                  <a:schemeClr val="tx1"/>
                </a:solidFill>
                <a:latin typeface="Calibri" panose="020F0502020204030204" pitchFamily="34" charset="0"/>
              </a:defRPr>
            </a:lvl5pPr>
            <a:lvl6pPr marL="2514600" indent="-228600" defTabSz="200025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6pPr>
            <a:lvl7pPr marL="2971800" indent="-228600" defTabSz="200025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7pPr>
            <a:lvl8pPr marL="3429000" indent="-228600" defTabSz="200025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8pPr>
            <a:lvl9pPr marL="3886200" indent="-228600" defTabSz="200025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9pPr>
          </a:lstStyle>
          <a:p>
            <a:pPr algn="ctr" eaLnBrk="1" hangingPunct="1">
              <a:spcBef>
                <a:spcPct val="0"/>
              </a:spcBef>
              <a:spcAft>
                <a:spcPct val="35000"/>
              </a:spcAft>
              <a:buFontTx/>
              <a:buNone/>
            </a:pPr>
            <a:r>
              <a:rPr lang="fr-FR" altLang="fr-FR" sz="2400" b="1" dirty="0" smtClean="0">
                <a:solidFill>
                  <a:srgbClr val="000000"/>
                </a:solidFill>
                <a:latin typeface="Trebuchet MS" panose="020B0603020202020204" pitchFamily="34" charset="0"/>
                <a:cs typeface="Sakkal Majalla" panose="02000000000000000000" pitchFamily="2" charset="-78"/>
              </a:rPr>
              <a:t>Missions</a:t>
            </a:r>
            <a:endParaRPr lang="fr-FR" altLang="fr-FR" sz="3600" b="1" dirty="0">
              <a:solidFill>
                <a:srgbClr val="000000"/>
              </a:solidFill>
              <a:latin typeface="Trebuchet MS" panose="020B0603020202020204" pitchFamily="34" charset="0"/>
              <a:cs typeface="Sakkal Majalla" panose="02000000000000000000" pitchFamily="2" charset="-78"/>
            </a:endParaRPr>
          </a:p>
        </p:txBody>
      </p:sp>
      <p:sp>
        <p:nvSpPr>
          <p:cNvPr id="62" name="Connecteur droit 5"/>
          <p:cNvSpPr/>
          <p:nvPr/>
        </p:nvSpPr>
        <p:spPr>
          <a:xfrm>
            <a:off x="7324588" y="3892851"/>
            <a:ext cx="243248" cy="976309"/>
          </a:xfrm>
          <a:custGeom>
            <a:avLst/>
            <a:gdLst/>
            <a:ahLst/>
            <a:cxnLst/>
            <a:rect l="0" t="0" r="0" b="0"/>
            <a:pathLst>
              <a:path>
                <a:moveTo>
                  <a:pt x="0" y="0"/>
                </a:moveTo>
                <a:lnTo>
                  <a:pt x="0" y="939455"/>
                </a:lnTo>
                <a:lnTo>
                  <a:pt x="250501" y="939455"/>
                </a:lnTo>
              </a:path>
            </a:pathLst>
          </a:custGeom>
          <a:noFill/>
          <a:ln w="28575">
            <a:solidFill>
              <a:schemeClr val="accent2">
                <a:lumMod val="50000"/>
              </a:schemeClr>
            </a:solidFill>
          </a:ln>
          <a:scene3d>
            <a:camera prst="perspectiveLeft" zoom="91000"/>
            <a:lightRig rig="threePt" dir="t">
              <a:rot lat="0" lon="0" rev="20640000"/>
            </a:lightRig>
          </a:scene3d>
          <a:sp3d z="-110000"/>
        </p:spPr>
        <p:style>
          <a:lnRef idx="2">
            <a:schemeClr val="accent4">
              <a:tint val="90000"/>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sp>
        <p:nvSpPr>
          <p:cNvPr id="63" name="Connecteur droit 5"/>
          <p:cNvSpPr/>
          <p:nvPr/>
        </p:nvSpPr>
        <p:spPr>
          <a:xfrm>
            <a:off x="4624442" y="2924944"/>
            <a:ext cx="243248" cy="976309"/>
          </a:xfrm>
          <a:custGeom>
            <a:avLst/>
            <a:gdLst/>
            <a:ahLst/>
            <a:cxnLst/>
            <a:rect l="0" t="0" r="0" b="0"/>
            <a:pathLst>
              <a:path>
                <a:moveTo>
                  <a:pt x="0" y="0"/>
                </a:moveTo>
                <a:lnTo>
                  <a:pt x="0" y="939455"/>
                </a:lnTo>
                <a:lnTo>
                  <a:pt x="250501" y="939455"/>
                </a:lnTo>
              </a:path>
            </a:pathLst>
          </a:custGeom>
          <a:noFill/>
          <a:ln w="28575">
            <a:solidFill>
              <a:schemeClr val="accent2">
                <a:lumMod val="50000"/>
              </a:schemeClr>
            </a:solidFill>
          </a:ln>
          <a:scene3d>
            <a:camera prst="perspectiveLeft" zoom="91000"/>
            <a:lightRig rig="threePt" dir="t">
              <a:rot lat="0" lon="0" rev="20640000"/>
            </a:lightRig>
          </a:scene3d>
          <a:sp3d z="-110000"/>
        </p:spPr>
        <p:style>
          <a:lnRef idx="2">
            <a:schemeClr val="accent4">
              <a:tint val="90000"/>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cxnSp>
        <p:nvCxnSpPr>
          <p:cNvPr id="64" name="Connecteur droit 63"/>
          <p:cNvCxnSpPr/>
          <p:nvPr/>
        </p:nvCxnSpPr>
        <p:spPr>
          <a:xfrm>
            <a:off x="4084972" y="1844675"/>
            <a:ext cx="71438" cy="381635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5" name="Connecteur droit 64"/>
          <p:cNvCxnSpPr/>
          <p:nvPr/>
        </p:nvCxnSpPr>
        <p:spPr>
          <a:xfrm>
            <a:off x="6893260" y="1844675"/>
            <a:ext cx="71437" cy="403225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66" name="Rectangle à coins arrondis 65"/>
          <p:cNvSpPr/>
          <p:nvPr/>
        </p:nvSpPr>
        <p:spPr>
          <a:xfrm>
            <a:off x="7406843" y="4282942"/>
            <a:ext cx="1933970" cy="1080000"/>
          </a:xfrm>
          <a:prstGeom prst="roundRect">
            <a:avLst>
              <a:gd name="adj" fmla="val 10000"/>
            </a:avLst>
          </a:prstGeom>
          <a:solidFill>
            <a:schemeClr val="accent4">
              <a:lumMod val="20000"/>
              <a:lumOff val="80000"/>
              <a:alpha val="90000"/>
            </a:schemeClr>
          </a:solidFill>
          <a:scene3d>
            <a:camera prst="perspectiveLeft" zoom="91000"/>
            <a:lightRig rig="threePt" dir="t">
              <a:rot lat="0" lon="0" rev="20640000"/>
            </a:lightRig>
          </a:scene3d>
          <a:sp3d z="-161800" extrusionH="10600" prstMaterial="matte">
            <a:bevelT w="90600" h="18600" prst="softRound"/>
            <a:bevelB w="48600" h="8600" prst="relaxedInset"/>
          </a:sp3d>
        </p:spPr>
        <p:style>
          <a:lnRef idx="1">
            <a:schemeClr val="accent4">
              <a:alpha val="90000"/>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67" name="Rectangle à coins arrondis 66"/>
          <p:cNvSpPr/>
          <p:nvPr/>
        </p:nvSpPr>
        <p:spPr>
          <a:xfrm>
            <a:off x="7406843" y="5445104"/>
            <a:ext cx="1908000" cy="1080000"/>
          </a:xfrm>
          <a:prstGeom prst="roundRect">
            <a:avLst>
              <a:gd name="adj" fmla="val 10000"/>
            </a:avLst>
          </a:prstGeom>
          <a:solidFill>
            <a:schemeClr val="accent4">
              <a:lumMod val="20000"/>
              <a:lumOff val="80000"/>
            </a:schemeClr>
          </a:solidFill>
          <a:scene3d>
            <a:camera prst="perspectiveLeft" zoom="91000"/>
            <a:lightRig rig="threePt" dir="t">
              <a:rot lat="0" lon="0" rev="20640000"/>
            </a:lightRig>
          </a:scene3d>
          <a:sp3d z="-161800" extrusionH="10600" prstMaterial="matte">
            <a:bevelT w="90600" h="18600" prst="softRound"/>
            <a:bevelB w="48600" h="8600" prst="relaxedInset"/>
          </a:sp3d>
        </p:spPr>
        <p:style>
          <a:lnRef idx="1">
            <a:schemeClr val="accent4">
              <a:alpha val="90000"/>
              <a:hueOff val="0"/>
              <a:satOff val="0"/>
              <a:lumOff val="0"/>
              <a:alphaOff val="-13333"/>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68" name="Rectangle à coins arrondis 67"/>
          <p:cNvSpPr/>
          <p:nvPr/>
        </p:nvSpPr>
        <p:spPr>
          <a:xfrm>
            <a:off x="7396596" y="3140968"/>
            <a:ext cx="1908000" cy="1080000"/>
          </a:xfrm>
          <a:prstGeom prst="roundRect">
            <a:avLst>
              <a:gd name="adj" fmla="val 10000"/>
            </a:avLst>
          </a:prstGeom>
          <a:solidFill>
            <a:schemeClr val="accent4">
              <a:lumMod val="20000"/>
              <a:lumOff val="80000"/>
            </a:schemeClr>
          </a:solidFill>
          <a:scene3d>
            <a:camera prst="perspectiveLeft" zoom="91000"/>
            <a:lightRig rig="threePt" dir="t">
              <a:rot lat="0" lon="0" rev="20640000"/>
            </a:lightRig>
          </a:scene3d>
          <a:sp3d z="-161800" extrusionH="10600" prstMaterial="matte">
            <a:bevelT w="90600" h="18600" prst="softRound"/>
            <a:bevelB w="48600" h="8600" prst="relaxedInset"/>
          </a:sp3d>
        </p:spPr>
        <p:style>
          <a:lnRef idx="1">
            <a:schemeClr val="accent4">
              <a:alpha val="90000"/>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69" name="Rectangle 68"/>
          <p:cNvSpPr/>
          <p:nvPr/>
        </p:nvSpPr>
        <p:spPr>
          <a:xfrm>
            <a:off x="7650091" y="4360902"/>
            <a:ext cx="1656977" cy="954107"/>
          </a:xfrm>
          <a:prstGeom prst="rect">
            <a:avLst/>
          </a:prstGeom>
          <a:solidFill>
            <a:schemeClr val="accent4">
              <a:lumMod val="20000"/>
              <a:lumOff val="80000"/>
            </a:schemeClr>
          </a:solidFill>
        </p:spPr>
        <p:txBody>
          <a:bodyPr wrap="square">
            <a:spAutoFit/>
          </a:bodyPr>
          <a:lstStyle/>
          <a:p>
            <a:pPr algn="ctr">
              <a:spcBef>
                <a:spcPct val="0"/>
              </a:spcBef>
            </a:pPr>
            <a:r>
              <a:rPr lang="fr-FR" altLang="fr-FR" sz="1200" b="1" dirty="0" smtClean="0">
                <a:solidFill>
                  <a:srgbClr val="0033CC"/>
                </a:solidFill>
                <a:latin typeface="Trebuchet MS" panose="020B0603020202020204" pitchFamily="34" charset="0"/>
                <a:cs typeface="Sakkal Majalla" panose="02000000000000000000" pitchFamily="2" charset="-78"/>
              </a:rPr>
              <a:t>Préfecture/Province </a:t>
            </a:r>
            <a:endParaRPr lang="fr-FR" altLang="fr-FR" sz="1200" b="1" dirty="0">
              <a:solidFill>
                <a:srgbClr val="0033CC"/>
              </a:solidFill>
              <a:latin typeface="Trebuchet MS" panose="020B0603020202020204" pitchFamily="34" charset="0"/>
              <a:cs typeface="Sakkal Majalla" panose="02000000000000000000" pitchFamily="2" charset="-78"/>
            </a:endParaRPr>
          </a:p>
          <a:p>
            <a:pPr marL="82550" algn="just"/>
            <a:r>
              <a:rPr lang="fr-FR" sz="1100" dirty="0" err="1" smtClean="0">
                <a:solidFill>
                  <a:srgbClr val="002060"/>
                </a:solidFill>
                <a:latin typeface="Trebuchet MS" panose="020B0603020202020204" pitchFamily="34" charset="0"/>
                <a:cs typeface="Sakkal Majalla" panose="02000000000000000000" pitchFamily="2" charset="-78"/>
              </a:rPr>
              <a:t>Dév</a:t>
            </a:r>
            <a:r>
              <a:rPr lang="fr-FR" sz="1100" dirty="0" smtClean="0">
                <a:solidFill>
                  <a:srgbClr val="002060"/>
                </a:solidFill>
                <a:latin typeface="Trebuchet MS" panose="020B0603020202020204" pitchFamily="34" charset="0"/>
                <a:cs typeface="Sakkal Majalla" panose="02000000000000000000" pitchFamily="2" charset="-78"/>
              </a:rPr>
              <a:t> </a:t>
            </a:r>
            <a:r>
              <a:rPr lang="fr-FR" sz="1100" dirty="0">
                <a:solidFill>
                  <a:srgbClr val="002060"/>
                </a:solidFill>
                <a:latin typeface="Trebuchet MS" panose="020B0603020202020204" pitchFamily="34" charset="0"/>
                <a:cs typeface="Sakkal Majalla" panose="02000000000000000000" pitchFamily="2" charset="-78"/>
              </a:rPr>
              <a:t>social </a:t>
            </a:r>
            <a:r>
              <a:rPr lang="fr-FR" sz="1100" dirty="0" smtClean="0">
                <a:solidFill>
                  <a:srgbClr val="002060"/>
                </a:solidFill>
                <a:latin typeface="Trebuchet MS" panose="020B0603020202020204" pitchFamily="34" charset="0"/>
                <a:cs typeface="Sakkal Majalla" panose="02000000000000000000" pitchFamily="2" charset="-78"/>
              </a:rPr>
              <a:t>rural;</a:t>
            </a:r>
            <a:r>
              <a:rPr lang="fr-FR" sz="1100" dirty="0">
                <a:solidFill>
                  <a:srgbClr val="002060"/>
                </a:solidFill>
                <a:latin typeface="Trebuchet MS" panose="020B0603020202020204" pitchFamily="34" charset="0"/>
                <a:cs typeface="Sakkal Majalla" panose="02000000000000000000" pitchFamily="2" charset="-78"/>
              </a:rPr>
              <a:t> +</a:t>
            </a:r>
            <a:endParaRPr lang="fr-FR" sz="1100" dirty="0" smtClean="0">
              <a:solidFill>
                <a:srgbClr val="002060"/>
              </a:solidFill>
              <a:latin typeface="Trebuchet MS" panose="020B0603020202020204" pitchFamily="34" charset="0"/>
              <a:cs typeface="Sakkal Majalla" panose="02000000000000000000" pitchFamily="2" charset="-78"/>
            </a:endParaRPr>
          </a:p>
          <a:p>
            <a:pPr marL="82550" algn="just"/>
            <a:r>
              <a:rPr lang="fr-FR" sz="1100" dirty="0" smtClean="0">
                <a:solidFill>
                  <a:srgbClr val="002060"/>
                </a:solidFill>
                <a:latin typeface="Trebuchet MS" panose="020B0603020202020204" pitchFamily="34" charset="0"/>
                <a:cs typeface="Sakkal Majalla" panose="02000000000000000000" pitchFamily="2" charset="-78"/>
              </a:rPr>
              <a:t>mutualisation/ coopération communes</a:t>
            </a:r>
            <a:endParaRPr lang="fr-FR" sz="1100" dirty="0">
              <a:solidFill>
                <a:srgbClr val="002060"/>
              </a:solidFill>
              <a:latin typeface="Trebuchet MS" panose="020B0603020202020204" pitchFamily="34" charset="0"/>
              <a:cs typeface="Sakkal Majalla" panose="02000000000000000000" pitchFamily="2" charset="-78"/>
            </a:endParaRPr>
          </a:p>
        </p:txBody>
      </p:sp>
      <p:sp>
        <p:nvSpPr>
          <p:cNvPr id="70" name="Rectangle 40"/>
          <p:cNvSpPr>
            <a:spLocks noChangeArrowheads="1"/>
          </p:cNvSpPr>
          <p:nvPr/>
        </p:nvSpPr>
        <p:spPr bwMode="auto">
          <a:xfrm>
            <a:off x="7685422" y="5661025"/>
            <a:ext cx="15113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20000"/>
              </a:spcBef>
              <a:buBlip>
                <a:blip r:embed="rId2"/>
              </a:buBlip>
              <a:defRPr sz="3200">
                <a:solidFill>
                  <a:schemeClr val="tx1"/>
                </a:solidFill>
                <a:latin typeface="Calibri" panose="020F0502020204030204" pitchFamily="34" charset="0"/>
              </a:defRPr>
            </a:lvl1pPr>
            <a:lvl2pPr marL="742950" indent="-285750">
              <a:lnSpc>
                <a:spcPct val="90000"/>
              </a:lnSpc>
              <a:spcBef>
                <a:spcPct val="20000"/>
              </a:spcBef>
              <a:buBlip>
                <a:blip r:embed="rId3"/>
              </a:buBlip>
              <a:defRPr sz="2800">
                <a:solidFill>
                  <a:schemeClr val="tx1"/>
                </a:solidFill>
                <a:latin typeface="Calibri" panose="020F0502020204030204" pitchFamily="34" charset="0"/>
              </a:defRPr>
            </a:lvl2pPr>
            <a:lvl3pPr marL="1143000" indent="-228600">
              <a:lnSpc>
                <a:spcPct val="90000"/>
              </a:lnSpc>
              <a:spcBef>
                <a:spcPct val="20000"/>
              </a:spcBef>
              <a:buBlip>
                <a:blip r:embed="rId3"/>
              </a:buBlip>
              <a:defRPr sz="2400">
                <a:solidFill>
                  <a:schemeClr val="tx1"/>
                </a:solidFill>
                <a:latin typeface="Calibri" panose="020F0502020204030204" pitchFamily="34" charset="0"/>
              </a:defRPr>
            </a:lvl3pPr>
            <a:lvl4pPr marL="1600200" indent="-228600">
              <a:lnSpc>
                <a:spcPct val="90000"/>
              </a:lnSpc>
              <a:spcBef>
                <a:spcPct val="20000"/>
              </a:spcBef>
              <a:buBlip>
                <a:blip r:embed="rId3"/>
              </a:buBlip>
              <a:defRPr sz="2400">
                <a:solidFill>
                  <a:schemeClr val="tx1"/>
                </a:solidFill>
                <a:latin typeface="Calibri" panose="020F0502020204030204" pitchFamily="34" charset="0"/>
              </a:defRPr>
            </a:lvl4pPr>
            <a:lvl5pPr marL="2057400" indent="-228600">
              <a:lnSpc>
                <a:spcPct val="90000"/>
              </a:lnSpc>
              <a:spcBef>
                <a:spcPct val="20000"/>
              </a:spcBef>
              <a:buBlip>
                <a:blip r:embed="rId3"/>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9pPr>
          </a:lstStyle>
          <a:p>
            <a:pPr algn="ctr" eaLnBrk="1" hangingPunct="1">
              <a:lnSpc>
                <a:spcPct val="100000"/>
              </a:lnSpc>
              <a:spcBef>
                <a:spcPct val="0"/>
              </a:spcBef>
              <a:buFontTx/>
              <a:buNone/>
            </a:pPr>
            <a:r>
              <a:rPr lang="fr-FR" altLang="fr-FR" sz="1600" b="1" dirty="0">
                <a:solidFill>
                  <a:srgbClr val="0033CC"/>
                </a:solidFill>
                <a:latin typeface="Trebuchet MS" panose="020B0603020202020204" pitchFamily="34" charset="0"/>
                <a:cs typeface="Sakkal Majalla" panose="02000000000000000000" pitchFamily="2" charset="-78"/>
              </a:rPr>
              <a:t>Commune:</a:t>
            </a:r>
            <a:endParaRPr lang="ar-MA" altLang="fr-FR" sz="1600" b="1" dirty="0">
              <a:solidFill>
                <a:srgbClr val="0033CC"/>
              </a:solidFill>
              <a:latin typeface="Trebuchet MS" panose="020B0603020202020204" pitchFamily="34" charset="0"/>
              <a:cs typeface="Sakkal Majalla" panose="02000000000000000000" pitchFamily="2" charset="-78"/>
            </a:endParaRPr>
          </a:p>
          <a:p>
            <a:pPr algn="ctr">
              <a:lnSpc>
                <a:spcPct val="100000"/>
              </a:lnSpc>
              <a:spcBef>
                <a:spcPct val="0"/>
              </a:spcBef>
              <a:buNone/>
            </a:pPr>
            <a:r>
              <a:rPr lang="fr-FR" sz="1200" dirty="0">
                <a:solidFill>
                  <a:srgbClr val="002060"/>
                </a:solidFill>
                <a:latin typeface="Trebuchet MS" panose="020B0603020202020204" pitchFamily="34" charset="0"/>
                <a:cs typeface="Sakkal Majalla" panose="02000000000000000000" pitchFamily="2" charset="-78"/>
              </a:rPr>
              <a:t>Prestation </a:t>
            </a:r>
            <a:r>
              <a:rPr lang="fr-FR" sz="1200" dirty="0" smtClean="0">
                <a:solidFill>
                  <a:srgbClr val="002060"/>
                </a:solidFill>
                <a:latin typeface="Trebuchet MS" panose="020B0603020202020204" pitchFamily="34" charset="0"/>
                <a:cs typeface="Sakkal Majalla" panose="02000000000000000000" pitchFamily="2" charset="-78"/>
              </a:rPr>
              <a:t>services </a:t>
            </a:r>
            <a:r>
              <a:rPr lang="fr-FR" sz="1200" dirty="0">
                <a:solidFill>
                  <a:srgbClr val="002060"/>
                </a:solidFill>
                <a:latin typeface="Trebuchet MS" panose="020B0603020202020204" pitchFamily="34" charset="0"/>
                <a:cs typeface="Sakkal Majalla" panose="02000000000000000000" pitchFamily="2" charset="-78"/>
              </a:rPr>
              <a:t>de proximité</a:t>
            </a:r>
            <a:endParaRPr lang="fr-FR" altLang="fr-FR" sz="1200" dirty="0">
              <a:solidFill>
                <a:srgbClr val="002060"/>
              </a:solidFill>
              <a:latin typeface="Trebuchet MS" panose="020B0603020202020204" pitchFamily="34" charset="0"/>
              <a:cs typeface="Sakkal Majalla" panose="02000000000000000000" pitchFamily="2" charset="-78"/>
            </a:endParaRPr>
          </a:p>
        </p:txBody>
      </p:sp>
      <p:sp>
        <p:nvSpPr>
          <p:cNvPr id="71" name="Rectangle 46"/>
          <p:cNvSpPr>
            <a:spLocks noChangeArrowheads="1"/>
          </p:cNvSpPr>
          <p:nvPr/>
        </p:nvSpPr>
        <p:spPr bwMode="auto">
          <a:xfrm>
            <a:off x="7685422" y="3306763"/>
            <a:ext cx="15113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ct val="20000"/>
              </a:spcBef>
              <a:buBlip>
                <a:blip r:embed="rId2"/>
              </a:buBlip>
              <a:defRPr sz="3200">
                <a:solidFill>
                  <a:schemeClr val="tx1"/>
                </a:solidFill>
                <a:latin typeface="Calibri" panose="020F0502020204030204" pitchFamily="34" charset="0"/>
              </a:defRPr>
            </a:lvl1pPr>
            <a:lvl2pPr marL="742950" indent="-285750">
              <a:lnSpc>
                <a:spcPct val="90000"/>
              </a:lnSpc>
              <a:spcBef>
                <a:spcPct val="20000"/>
              </a:spcBef>
              <a:buBlip>
                <a:blip r:embed="rId3"/>
              </a:buBlip>
              <a:defRPr sz="2800">
                <a:solidFill>
                  <a:schemeClr val="tx1"/>
                </a:solidFill>
                <a:latin typeface="Calibri" panose="020F0502020204030204" pitchFamily="34" charset="0"/>
              </a:defRPr>
            </a:lvl2pPr>
            <a:lvl3pPr marL="1143000" indent="-228600">
              <a:lnSpc>
                <a:spcPct val="90000"/>
              </a:lnSpc>
              <a:spcBef>
                <a:spcPct val="20000"/>
              </a:spcBef>
              <a:buBlip>
                <a:blip r:embed="rId3"/>
              </a:buBlip>
              <a:defRPr sz="2400">
                <a:solidFill>
                  <a:schemeClr val="tx1"/>
                </a:solidFill>
                <a:latin typeface="Calibri" panose="020F0502020204030204" pitchFamily="34" charset="0"/>
              </a:defRPr>
            </a:lvl3pPr>
            <a:lvl4pPr marL="1600200" indent="-228600">
              <a:lnSpc>
                <a:spcPct val="90000"/>
              </a:lnSpc>
              <a:spcBef>
                <a:spcPct val="20000"/>
              </a:spcBef>
              <a:buBlip>
                <a:blip r:embed="rId3"/>
              </a:buBlip>
              <a:defRPr sz="2400">
                <a:solidFill>
                  <a:schemeClr val="tx1"/>
                </a:solidFill>
                <a:latin typeface="Calibri" panose="020F0502020204030204" pitchFamily="34" charset="0"/>
              </a:defRPr>
            </a:lvl4pPr>
            <a:lvl5pPr marL="2057400" indent="-228600">
              <a:lnSpc>
                <a:spcPct val="90000"/>
              </a:lnSpc>
              <a:spcBef>
                <a:spcPct val="20000"/>
              </a:spcBef>
              <a:buBlip>
                <a:blip r:embed="rId3"/>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9pPr>
          </a:lstStyle>
          <a:p>
            <a:pPr algn="ctr">
              <a:lnSpc>
                <a:spcPct val="100000"/>
              </a:lnSpc>
              <a:spcBef>
                <a:spcPct val="0"/>
              </a:spcBef>
              <a:buNone/>
            </a:pPr>
            <a:r>
              <a:rPr lang="fr-FR" altLang="fr-FR" sz="1600" b="1" dirty="0" smtClean="0">
                <a:solidFill>
                  <a:srgbClr val="0033CC"/>
                </a:solidFill>
                <a:latin typeface="Trebuchet MS" panose="020B0603020202020204" pitchFamily="34" charset="0"/>
                <a:cs typeface="Sakkal Majalla" panose="02000000000000000000" pitchFamily="2" charset="-78"/>
              </a:rPr>
              <a:t>Régions:</a:t>
            </a:r>
            <a:endParaRPr lang="ar-MA" altLang="fr-FR" sz="1600" b="1" dirty="0">
              <a:solidFill>
                <a:srgbClr val="0033CC"/>
              </a:solidFill>
              <a:latin typeface="Trebuchet MS" panose="020B0603020202020204" pitchFamily="34" charset="0"/>
              <a:cs typeface="Sakkal Majalla" panose="02000000000000000000" pitchFamily="2" charset="-78"/>
            </a:endParaRPr>
          </a:p>
          <a:p>
            <a:pPr algn="ctr" eaLnBrk="1" hangingPunct="1">
              <a:lnSpc>
                <a:spcPct val="100000"/>
              </a:lnSpc>
              <a:spcBef>
                <a:spcPct val="0"/>
              </a:spcBef>
              <a:buFontTx/>
              <a:buNone/>
            </a:pPr>
            <a:r>
              <a:rPr lang="fr-FR" altLang="fr-FR" sz="1200" dirty="0" smtClean="0">
                <a:solidFill>
                  <a:srgbClr val="002060"/>
                </a:solidFill>
                <a:latin typeface="Trebuchet MS" panose="020B0603020202020204" pitchFamily="34" charset="0"/>
                <a:cs typeface="Sakkal Majalla" panose="02000000000000000000" pitchFamily="2" charset="-78"/>
              </a:rPr>
              <a:t>Promotion </a:t>
            </a:r>
            <a:r>
              <a:rPr lang="fr-FR" altLang="fr-FR" sz="1200" dirty="0" err="1" smtClean="0">
                <a:solidFill>
                  <a:srgbClr val="002060"/>
                </a:solidFill>
                <a:latin typeface="Trebuchet MS" panose="020B0603020202020204" pitchFamily="34" charset="0"/>
                <a:cs typeface="Sakkal Majalla" panose="02000000000000000000" pitchFamily="2" charset="-78"/>
              </a:rPr>
              <a:t>Dév</a:t>
            </a:r>
            <a:r>
              <a:rPr lang="fr-FR" altLang="fr-FR" sz="1200" dirty="0" smtClean="0">
                <a:solidFill>
                  <a:srgbClr val="002060"/>
                </a:solidFill>
                <a:latin typeface="Trebuchet MS" panose="020B0603020202020204" pitchFamily="34" charset="0"/>
                <a:cs typeface="Sakkal Majalla" panose="02000000000000000000" pitchFamily="2" charset="-78"/>
              </a:rPr>
              <a:t> intégré et durable</a:t>
            </a:r>
            <a:endParaRPr lang="fr-FR" altLang="fr-FR" sz="1200" dirty="0">
              <a:solidFill>
                <a:srgbClr val="002060"/>
              </a:solidFill>
              <a:latin typeface="Trebuchet MS" panose="020B0603020202020204" pitchFamily="34" charset="0"/>
              <a:cs typeface="Sakkal Majalla" panose="02000000000000000000" pitchFamily="2" charset="-78"/>
            </a:endParaRPr>
          </a:p>
        </p:txBody>
      </p:sp>
      <p:sp>
        <p:nvSpPr>
          <p:cNvPr id="72" name="Légende encadrée 1 71"/>
          <p:cNvSpPr/>
          <p:nvPr/>
        </p:nvSpPr>
        <p:spPr bwMode="auto">
          <a:xfrm>
            <a:off x="3054344" y="6071524"/>
            <a:ext cx="1368152" cy="360040"/>
          </a:xfrm>
          <a:prstGeom prst="borderCallout1">
            <a:avLst>
              <a:gd name="adj1" fmla="val -111763"/>
              <a:gd name="adj2" fmla="val -8333"/>
              <a:gd name="adj3" fmla="val -7431"/>
              <a:gd name="adj4" fmla="val 47995"/>
            </a:avLst>
          </a:prstGeom>
          <a:solidFill>
            <a:schemeClr val="accent1">
              <a:lumMod val="75000"/>
            </a:schemeClr>
          </a:solidFill>
          <a:ln>
            <a:solidFill>
              <a:srgbClr val="002060"/>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r>
              <a:rPr lang="fr-FR" altLang="fr-FR" sz="1200" b="1" dirty="0" smtClean="0">
                <a:solidFill>
                  <a:schemeClr val="bg1"/>
                </a:solidFill>
                <a:latin typeface="Trebuchet MS" panose="020B0603020202020204" pitchFamily="34" charset="0"/>
                <a:cs typeface="Sakkal Majalla" panose="02000000000000000000" pitchFamily="2" charset="-78"/>
              </a:rPr>
              <a:t>Attributions exécutives</a:t>
            </a:r>
            <a:endParaRPr lang="fr-FR" sz="1600" dirty="0">
              <a:solidFill>
                <a:schemeClr val="bg1"/>
              </a:solidFill>
              <a:effectLst>
                <a:outerShdw blurRad="38100" dist="38100" dir="2700000" algn="tl">
                  <a:srgbClr val="000000">
                    <a:alpha val="43137"/>
                  </a:srgbClr>
                </a:outerShdw>
              </a:effectLst>
              <a:latin typeface="Segoe" pitchFamily="34" charset="0"/>
            </a:endParaRPr>
          </a:p>
        </p:txBody>
      </p:sp>
      <p:sp>
        <p:nvSpPr>
          <p:cNvPr id="73" name="Légende encadrée 1 72"/>
          <p:cNvSpPr/>
          <p:nvPr/>
        </p:nvSpPr>
        <p:spPr bwMode="auto">
          <a:xfrm>
            <a:off x="1358810" y="6082410"/>
            <a:ext cx="1647800" cy="360040"/>
          </a:xfrm>
          <a:prstGeom prst="borderCallout1">
            <a:avLst>
              <a:gd name="adj1" fmla="val -115291"/>
              <a:gd name="adj2" fmla="val 96063"/>
              <a:gd name="adj3" fmla="val -7431"/>
              <a:gd name="adj4" fmla="val 47995"/>
            </a:avLst>
          </a:prstGeom>
          <a:solidFill>
            <a:schemeClr val="accent1">
              <a:lumMod val="75000"/>
            </a:schemeClr>
          </a:solidFill>
          <a:ln>
            <a:solidFill>
              <a:srgbClr val="002060"/>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r>
              <a:rPr lang="fr-FR" altLang="fr-FR" sz="1200" b="1" dirty="0" smtClean="0">
                <a:solidFill>
                  <a:schemeClr val="bg1"/>
                </a:solidFill>
                <a:latin typeface="Trebuchet MS" panose="020B0603020202020204" pitchFamily="34" charset="0"/>
                <a:cs typeface="Sakkal Majalla" panose="02000000000000000000" pitchFamily="2" charset="-78"/>
              </a:rPr>
              <a:t>Attributions propres</a:t>
            </a:r>
            <a:endParaRPr lang="fr-FR" sz="1200" b="1" dirty="0">
              <a:solidFill>
                <a:schemeClr val="bg1"/>
              </a:solidFill>
              <a:latin typeface="Trebuchet MS" panose="020B0603020202020204" pitchFamily="34" charset="0"/>
              <a:cs typeface="Sakkal Majalla" panose="02000000000000000000" pitchFamily="2" charset="-78"/>
            </a:endParaRPr>
          </a:p>
        </p:txBody>
      </p:sp>
      <p:sp>
        <p:nvSpPr>
          <p:cNvPr id="74" name="Rectangle 73">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200" b="1" dirty="0" smtClean="0">
                <a:latin typeface="Trebuchet MS" panose="020B0603020202020204" pitchFamily="34" charset="0"/>
                <a:cs typeface="Times New Roman" panose="02020603050405020304" pitchFamily="18" charset="0"/>
              </a:rPr>
              <a:t>Définition des compétences des CT</a:t>
            </a:r>
            <a:endParaRPr lang="fr-FR" altLang="fr-FR" sz="3200" b="1" dirty="0">
              <a:latin typeface="Trebuchet MS" panose="020B0603020202020204" pitchFamily="34" charset="0"/>
              <a:cs typeface="Times New Roman" panose="02020603050405020304" pitchFamily="18" charset="0"/>
            </a:endParaRPr>
          </a:p>
        </p:txBody>
      </p:sp>
      <p:pic>
        <p:nvPicPr>
          <p:cNvPr id="75" name="Picture 6" descr="bar70[1]"/>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9685113" y="2766390"/>
            <a:ext cx="2128412" cy="1169551"/>
          </a:xfrm>
          <a:prstGeom prst="rect">
            <a:avLst/>
          </a:prstGeom>
        </p:spPr>
        <p:txBody>
          <a:bodyPr wrap="square">
            <a:spAutoFit/>
          </a:bodyPr>
          <a:lstStyle/>
          <a:p>
            <a:pPr marL="285750" indent="-285750">
              <a:buClr>
                <a:srgbClr val="C00000"/>
              </a:buClr>
              <a:buFont typeface="Wingdings" panose="05000000000000000000" pitchFamily="2" charset="2"/>
              <a:buChar char=""/>
            </a:pPr>
            <a:r>
              <a:rPr lang="fr-FR" altLang="fr-FR" sz="1400" b="1" dirty="0">
                <a:solidFill>
                  <a:srgbClr val="0070C0"/>
                </a:solidFill>
                <a:latin typeface="Candara" panose="020E0502030303020204" pitchFamily="34" charset="0"/>
              </a:rPr>
              <a:t>Les CT assurent ces missions à travers leur </a:t>
            </a:r>
            <a:r>
              <a:rPr lang="fr-FR" altLang="fr-FR" sz="1400" b="1" u="sng" dirty="0">
                <a:solidFill>
                  <a:srgbClr val="0070C0"/>
                </a:solidFill>
                <a:latin typeface="Candara" panose="020E0502030303020204" pitchFamily="34" charset="0"/>
              </a:rPr>
              <a:t>organisation</a:t>
            </a:r>
            <a:r>
              <a:rPr lang="fr-FR" altLang="fr-FR" sz="1400" b="1" dirty="0">
                <a:solidFill>
                  <a:srgbClr val="0070C0"/>
                </a:solidFill>
                <a:latin typeface="Candara" panose="020E0502030303020204" pitchFamily="34" charset="0"/>
              </a:rPr>
              <a:t>, leur </a:t>
            </a:r>
            <a:r>
              <a:rPr lang="fr-FR" altLang="fr-FR" sz="1400" b="1" u="sng" dirty="0">
                <a:solidFill>
                  <a:srgbClr val="0070C0"/>
                </a:solidFill>
                <a:latin typeface="Candara" panose="020E0502030303020204" pitchFamily="34" charset="0"/>
              </a:rPr>
              <a:t>coordination</a:t>
            </a:r>
            <a:r>
              <a:rPr lang="fr-FR" altLang="fr-FR" sz="1400" b="1" dirty="0">
                <a:solidFill>
                  <a:srgbClr val="0070C0"/>
                </a:solidFill>
                <a:latin typeface="Candara" panose="020E0502030303020204" pitchFamily="34" charset="0"/>
              </a:rPr>
              <a:t> et leur </a:t>
            </a:r>
            <a:r>
              <a:rPr lang="fr-FR" altLang="fr-FR" sz="1400" b="1" u="sng" dirty="0" smtClean="0">
                <a:solidFill>
                  <a:srgbClr val="0070C0"/>
                </a:solidFill>
                <a:latin typeface="Candara" panose="020E0502030303020204" pitchFamily="34" charset="0"/>
              </a:rPr>
              <a:t>suivi</a:t>
            </a:r>
            <a:endParaRPr lang="fr-FR" altLang="fr-FR" sz="1400" b="1" dirty="0" smtClean="0">
              <a:solidFill>
                <a:srgbClr val="0070C0"/>
              </a:solidFill>
              <a:latin typeface="Candara" panose="020E0502030303020204" pitchFamily="34" charset="0"/>
            </a:endParaRPr>
          </a:p>
        </p:txBody>
      </p:sp>
      <p:sp>
        <p:nvSpPr>
          <p:cNvPr id="7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2"/>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3"/>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3"/>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3"/>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3"/>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1</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18688791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31">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200" b="1" dirty="0" smtClean="0">
                <a:latin typeface="Trebuchet MS" panose="020B0603020202020204" pitchFamily="34" charset="0"/>
                <a:cs typeface="Times New Roman" panose="02020603050405020304" pitchFamily="18" charset="0"/>
              </a:rPr>
              <a:t>Domaines d’interventions des CT</a:t>
            </a:r>
            <a:endParaRPr lang="fr-FR" altLang="fr-FR" sz="3200" b="1" dirty="0">
              <a:latin typeface="Trebuchet MS" panose="020B0603020202020204" pitchFamily="34" charset="0"/>
              <a:cs typeface="Times New Roman" panose="02020603050405020304" pitchFamily="18" charset="0"/>
            </a:endParaRPr>
          </a:p>
        </p:txBody>
      </p:sp>
      <p:sp>
        <p:nvSpPr>
          <p:cNvPr id="2" name="Rectangle 1"/>
          <p:cNvSpPr/>
          <p:nvPr/>
        </p:nvSpPr>
        <p:spPr>
          <a:xfrm>
            <a:off x="1473680" y="1487991"/>
            <a:ext cx="9524999" cy="369332"/>
          </a:xfrm>
          <a:prstGeom prst="rect">
            <a:avLst/>
          </a:prstGeom>
        </p:spPr>
        <p:txBody>
          <a:bodyPr wrap="square">
            <a:spAutoFit/>
          </a:bodyPr>
          <a:lstStyle/>
          <a:p>
            <a:pPr marL="449263" indent="-363538" algn="just">
              <a:spcAft>
                <a:spcPts val="1200"/>
              </a:spcAft>
              <a:buClr>
                <a:srgbClr val="0033CC"/>
              </a:buClr>
              <a:buFont typeface="Wingdings" panose="05000000000000000000" pitchFamily="2" charset="2"/>
              <a:buChar char="v"/>
            </a:pPr>
            <a:r>
              <a:rPr lang="fr-FR" altLang="fr-FR" b="1" i="1" dirty="0">
                <a:latin typeface="Candara" panose="020E0502030303020204" pitchFamily="34" charset="0"/>
                <a:cs typeface="Sakkal Majalla" panose="02000000000000000000" pitchFamily="2" charset="-78"/>
              </a:rPr>
              <a:t>Les CT </a:t>
            </a:r>
            <a:r>
              <a:rPr lang="fr-FR" altLang="fr-FR" b="1" i="1" dirty="0" smtClean="0">
                <a:latin typeface="Candara" panose="020E0502030303020204" pitchFamily="34" charset="0"/>
                <a:cs typeface="Sakkal Majalla" panose="02000000000000000000" pitchFamily="2" charset="-78"/>
              </a:rPr>
              <a:t>ont la latitude d’intervenir </a:t>
            </a:r>
            <a:r>
              <a:rPr lang="fr-FR" altLang="fr-FR" b="1" i="1" dirty="0">
                <a:latin typeface="Candara" panose="020E0502030303020204" pitchFamily="34" charset="0"/>
                <a:cs typeface="Sakkal Majalla" panose="02000000000000000000" pitchFamily="2" charset="-78"/>
              </a:rPr>
              <a:t>dans les domaines suivants: </a:t>
            </a:r>
          </a:p>
        </p:txBody>
      </p:sp>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2</a:t>
            </a:fld>
            <a:endParaRPr lang="fr-FR" altLang="fr-FR" sz="1600" dirty="0">
              <a:solidFill>
                <a:srgbClr val="103A1A"/>
              </a:solidFill>
              <a:latin typeface="Arial" panose="020B0604020202020204" pitchFamily="34" charset="0"/>
            </a:endParaRPr>
          </a:p>
        </p:txBody>
      </p:sp>
      <p:sp>
        <p:nvSpPr>
          <p:cNvPr id="20" name="Rectangle à coins arrondis 19"/>
          <p:cNvSpPr/>
          <p:nvPr/>
        </p:nvSpPr>
        <p:spPr>
          <a:xfrm>
            <a:off x="1276298" y="2195308"/>
            <a:ext cx="1800000" cy="180000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fr-FR" b="1" i="1" dirty="0">
                <a:latin typeface="Candara" panose="020E0502030303020204" pitchFamily="34" charset="0"/>
                <a:cs typeface="Sakkal Majalla" panose="02000000000000000000" pitchFamily="2" charset="-78"/>
              </a:rPr>
              <a:t>Le transport</a:t>
            </a:r>
            <a:endParaRPr lang="fr-FR" dirty="0"/>
          </a:p>
        </p:txBody>
      </p:sp>
      <p:sp>
        <p:nvSpPr>
          <p:cNvPr id="22" name="Rectangle à coins arrondis 21"/>
          <p:cNvSpPr/>
          <p:nvPr/>
        </p:nvSpPr>
        <p:spPr>
          <a:xfrm>
            <a:off x="3235727" y="2195308"/>
            <a:ext cx="1800000" cy="1800000"/>
          </a:xfrm>
          <a:prstGeom prst="roundRect">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fr-FR" sz="1600" b="1" i="1" dirty="0">
                <a:latin typeface="Candara" panose="020E0502030303020204" pitchFamily="34" charset="0"/>
                <a:cs typeface="Sakkal Majalla" panose="02000000000000000000" pitchFamily="2" charset="-78"/>
              </a:rPr>
              <a:t>Le développement rural</a:t>
            </a:r>
            <a:endParaRPr lang="fr-FR" sz="1600" dirty="0"/>
          </a:p>
        </p:txBody>
      </p:sp>
      <p:sp>
        <p:nvSpPr>
          <p:cNvPr id="23" name="Rectangle à coins arrondis 22"/>
          <p:cNvSpPr/>
          <p:nvPr/>
        </p:nvSpPr>
        <p:spPr>
          <a:xfrm>
            <a:off x="5184270" y="2206190"/>
            <a:ext cx="1800000" cy="180000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fr-FR" sz="1600" b="1" i="1" dirty="0">
                <a:solidFill>
                  <a:srgbClr val="002060"/>
                </a:solidFill>
                <a:latin typeface="Candara" panose="020E0502030303020204" pitchFamily="34" charset="0"/>
                <a:cs typeface="Sakkal Majalla" panose="02000000000000000000" pitchFamily="2" charset="-78"/>
              </a:rPr>
              <a:t>Le développement économique</a:t>
            </a:r>
            <a:endParaRPr lang="fr-FR" sz="1600" dirty="0">
              <a:solidFill>
                <a:srgbClr val="002060"/>
              </a:solidFill>
            </a:endParaRPr>
          </a:p>
        </p:txBody>
      </p:sp>
      <p:sp>
        <p:nvSpPr>
          <p:cNvPr id="24" name="Rectangle à coins arrondis 23"/>
          <p:cNvSpPr/>
          <p:nvPr/>
        </p:nvSpPr>
        <p:spPr>
          <a:xfrm>
            <a:off x="7143699" y="2206190"/>
            <a:ext cx="1800000" cy="1800000"/>
          </a:xfrm>
          <a:prstGeom prst="roundRect">
            <a:avLst/>
          </a:pr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fr-FR" sz="1600" b="1" i="1" dirty="0">
                <a:latin typeface="Candara" panose="020E0502030303020204" pitchFamily="34" charset="0"/>
                <a:cs typeface="Sakkal Majalla" panose="02000000000000000000" pitchFamily="2" charset="-78"/>
              </a:rPr>
              <a:t>Développement Social</a:t>
            </a:r>
            <a:endParaRPr lang="fr-FR" sz="1600" dirty="0"/>
          </a:p>
        </p:txBody>
      </p:sp>
      <p:sp>
        <p:nvSpPr>
          <p:cNvPr id="25" name="Rectangle à coins arrondis 24"/>
          <p:cNvSpPr/>
          <p:nvPr/>
        </p:nvSpPr>
        <p:spPr>
          <a:xfrm>
            <a:off x="1287180" y="4132968"/>
            <a:ext cx="1800000" cy="1800000"/>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fr-FR" b="1" i="1" dirty="0">
                <a:latin typeface="Candara" panose="020E0502030303020204" pitchFamily="34" charset="0"/>
                <a:cs typeface="Sakkal Majalla" panose="02000000000000000000" pitchFamily="2" charset="-78"/>
              </a:rPr>
              <a:t>La culture</a:t>
            </a:r>
            <a:endParaRPr lang="fr-FR" dirty="0"/>
          </a:p>
        </p:txBody>
      </p:sp>
      <p:sp>
        <p:nvSpPr>
          <p:cNvPr id="26" name="Rectangle à coins arrondis 25"/>
          <p:cNvSpPr/>
          <p:nvPr/>
        </p:nvSpPr>
        <p:spPr>
          <a:xfrm>
            <a:off x="3246609" y="4132968"/>
            <a:ext cx="1800000" cy="1800000"/>
          </a:xfrm>
          <a:prstGeom prst="roundRect">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fr-FR" sz="1600" b="1" i="1" dirty="0">
                <a:latin typeface="Candara" panose="020E0502030303020204" pitchFamily="34" charset="0"/>
                <a:cs typeface="Sakkal Majalla" panose="02000000000000000000" pitchFamily="2" charset="-78"/>
              </a:rPr>
              <a:t>L'environnement et le développement durable</a:t>
            </a:r>
            <a:endParaRPr lang="fr-FR" sz="1600" dirty="0"/>
          </a:p>
        </p:txBody>
      </p:sp>
      <p:sp>
        <p:nvSpPr>
          <p:cNvPr id="27" name="Rectangle à coins arrondis 26"/>
          <p:cNvSpPr/>
          <p:nvPr/>
        </p:nvSpPr>
        <p:spPr>
          <a:xfrm>
            <a:off x="5195152" y="4143850"/>
            <a:ext cx="1800000" cy="180000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fr-FR" altLang="fr-FR" sz="1600" b="1" i="1" dirty="0">
                <a:solidFill>
                  <a:srgbClr val="002060"/>
                </a:solidFill>
                <a:latin typeface="Candara" panose="020E0502030303020204" pitchFamily="34" charset="0"/>
                <a:cs typeface="Sakkal Majalla" panose="02000000000000000000" pitchFamily="2" charset="-78"/>
              </a:rPr>
              <a:t>La coopération internationale</a:t>
            </a:r>
          </a:p>
          <a:p>
            <a:pPr algn="ctr"/>
            <a:endParaRPr lang="fr-FR" dirty="0"/>
          </a:p>
        </p:txBody>
      </p:sp>
      <p:sp>
        <p:nvSpPr>
          <p:cNvPr id="28" name="Rectangle à coins arrondis 27"/>
          <p:cNvSpPr/>
          <p:nvPr/>
        </p:nvSpPr>
        <p:spPr>
          <a:xfrm>
            <a:off x="7154581" y="4143850"/>
            <a:ext cx="1800000" cy="1800000"/>
          </a:xfrm>
          <a:prstGeom prst="roundRect">
            <a:avLst/>
          </a:pr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fr-FR" sz="1600" b="1" i="1" dirty="0" smtClean="0">
                <a:latin typeface="Candara" panose="020E0502030303020204" pitchFamily="34" charset="0"/>
                <a:cs typeface="Sakkal Majalla" panose="02000000000000000000" pitchFamily="2" charset="-78"/>
              </a:rPr>
              <a:t>L’urbanisme </a:t>
            </a:r>
            <a:r>
              <a:rPr lang="fr-FR" altLang="fr-FR" sz="1600" b="1" i="1" dirty="0">
                <a:latin typeface="Candara" panose="020E0502030303020204" pitchFamily="34" charset="0"/>
                <a:cs typeface="Sakkal Majalla" panose="02000000000000000000" pitchFamily="2" charset="-78"/>
              </a:rPr>
              <a:t>et aménagement du territoire</a:t>
            </a:r>
            <a:endParaRPr lang="fr-FR" sz="1600" dirty="0"/>
          </a:p>
        </p:txBody>
      </p:sp>
      <p:sp>
        <p:nvSpPr>
          <p:cNvPr id="29" name="Rectangle à coins arrondis 28"/>
          <p:cNvSpPr/>
          <p:nvPr/>
        </p:nvSpPr>
        <p:spPr>
          <a:xfrm>
            <a:off x="9103120" y="2206193"/>
            <a:ext cx="1800000" cy="1800000"/>
          </a:xfrm>
          <a:prstGeom prst="roundRect">
            <a:avLst/>
          </a:prstGeom>
          <a:solidFill>
            <a:schemeClr val="accent4"/>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fr-FR" sz="1600" b="1" i="1" dirty="0">
                <a:solidFill>
                  <a:srgbClr val="002060"/>
                </a:solidFill>
                <a:latin typeface="Candara" panose="020E0502030303020204" pitchFamily="34" charset="0"/>
                <a:cs typeface="Sakkal Majalla" panose="02000000000000000000" pitchFamily="2" charset="-78"/>
              </a:rPr>
              <a:t>La formation professionnelle, la formation continue et l'emploi</a:t>
            </a:r>
            <a:endParaRPr lang="fr-FR" sz="1600" dirty="0">
              <a:solidFill>
                <a:srgbClr val="002060"/>
              </a:solidFill>
            </a:endParaRPr>
          </a:p>
        </p:txBody>
      </p:sp>
      <p:sp>
        <p:nvSpPr>
          <p:cNvPr id="30" name="Rectangle à coins arrondis 29"/>
          <p:cNvSpPr/>
          <p:nvPr/>
        </p:nvSpPr>
        <p:spPr>
          <a:xfrm>
            <a:off x="9114002" y="4143853"/>
            <a:ext cx="1800000" cy="1800000"/>
          </a:xfrm>
          <a:prstGeom prst="roundRect">
            <a:avLst/>
          </a:prstGeom>
          <a:solidFill>
            <a:schemeClr val="accent4"/>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fr-FR" altLang="fr-FR" sz="1600" b="1" i="1" dirty="0">
                <a:solidFill>
                  <a:srgbClr val="002060"/>
                </a:solidFill>
                <a:latin typeface="Candara" panose="020E0502030303020204" pitchFamily="34" charset="0"/>
                <a:cs typeface="Sakkal Majalla" panose="02000000000000000000" pitchFamily="2" charset="-78"/>
              </a:rPr>
              <a:t>Création et gestion services et équipements publics</a:t>
            </a:r>
          </a:p>
          <a:p>
            <a:pPr algn="ctr"/>
            <a:endParaRPr lang="fr-FR" dirty="0"/>
          </a:p>
        </p:txBody>
      </p:sp>
    </p:spTree>
    <p:extLst>
      <p:ext uri="{BB962C8B-B14F-4D97-AF65-F5344CB8AC3E}">
        <p14:creationId xmlns:p14="http://schemas.microsoft.com/office/powerpoint/2010/main" val="16004241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ccolade fermante 17"/>
          <p:cNvSpPr/>
          <p:nvPr/>
        </p:nvSpPr>
        <p:spPr>
          <a:xfrm rot="10800000">
            <a:off x="2954913" y="1793677"/>
            <a:ext cx="266700" cy="4529486"/>
          </a:xfrm>
          <a:prstGeom prst="rightBrace">
            <a:avLst>
              <a:gd name="adj1" fmla="val 0"/>
              <a:gd name="adj2" fmla="val 49731"/>
            </a:avLst>
          </a:prstGeom>
          <a:ln w="28575">
            <a:solidFill>
              <a:schemeClr val="tx2">
                <a:lumMod val="50000"/>
              </a:schemeClr>
            </a:solidFill>
          </a:ln>
        </p:spPr>
        <p:style>
          <a:lnRef idx="1">
            <a:schemeClr val="accent2"/>
          </a:lnRef>
          <a:fillRef idx="0">
            <a:schemeClr val="accent2"/>
          </a:fillRef>
          <a:effectRef idx="0">
            <a:schemeClr val="accent2"/>
          </a:effectRef>
          <a:fontRef idx="minor">
            <a:schemeClr val="tx1"/>
          </a:fontRef>
        </p:style>
        <p:txBody>
          <a:bodyPr anchor="ctr"/>
          <a:lstStyle/>
          <a:p>
            <a:pPr algn="ctr" eaLnBrk="1" hangingPunct="1">
              <a:defRPr/>
            </a:pPr>
            <a:endParaRPr lang="fr-FR">
              <a:ln>
                <a:solidFill>
                  <a:schemeClr val="bg2">
                    <a:lumMod val="50000"/>
                  </a:schemeClr>
                </a:solidFill>
              </a:ln>
            </a:endParaRPr>
          </a:p>
        </p:txBody>
      </p:sp>
      <p:sp>
        <p:nvSpPr>
          <p:cNvPr id="21" name="Rectangle 20">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000" b="1" dirty="0" smtClean="0">
                <a:latin typeface="Trebuchet MS" panose="020B0603020202020204" pitchFamily="34" charset="0"/>
                <a:cs typeface="Times New Roman" panose="02020603050405020304" pitchFamily="18" charset="0"/>
              </a:rPr>
              <a:t>Conditions et outils d’exercice des compétences</a:t>
            </a:r>
            <a:endParaRPr lang="fr-FR" altLang="fr-FR" sz="3000" b="1" dirty="0">
              <a:latin typeface="Trebuchet MS" panose="020B0603020202020204" pitchFamily="34" charset="0"/>
              <a:cs typeface="Times New Roman" panose="02020603050405020304" pitchFamily="18" charset="0"/>
            </a:endParaRPr>
          </a:p>
        </p:txBody>
      </p:sp>
      <p:pic>
        <p:nvPicPr>
          <p:cNvPr id="22"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Tableau 8"/>
          <p:cNvGraphicFramePr>
            <a:graphicFrameLocks noGrp="1"/>
          </p:cNvGraphicFramePr>
          <p:nvPr>
            <p:extLst>
              <p:ext uri="{D42A27DB-BD31-4B8C-83A1-F6EECF244321}">
                <p14:modId xmlns:p14="http://schemas.microsoft.com/office/powerpoint/2010/main" val="542931997"/>
              </p:ext>
            </p:extLst>
          </p:nvPr>
        </p:nvGraphicFramePr>
        <p:xfrm>
          <a:off x="3152605" y="1836808"/>
          <a:ext cx="8544098" cy="4487792"/>
        </p:xfrm>
        <a:graphic>
          <a:graphicData uri="http://schemas.openxmlformats.org/drawingml/2006/table">
            <a:tbl>
              <a:tblPr firstRow="1" bandRow="1">
                <a:tableStyleId>{5C22544A-7EE6-4342-B048-85BDC9FD1C3A}</a:tableStyleId>
              </a:tblPr>
              <a:tblGrid>
                <a:gridCol w="8544098">
                  <a:extLst>
                    <a:ext uri="{9D8B030D-6E8A-4147-A177-3AD203B41FA5}">
                      <a16:colId xmlns:a16="http://schemas.microsoft.com/office/drawing/2014/main" val="4092269188"/>
                    </a:ext>
                  </a:extLst>
                </a:gridCol>
              </a:tblGrid>
              <a:tr h="123613">
                <a:tc>
                  <a:txBody>
                    <a:bodyPr/>
                    <a:lstStyle/>
                    <a:p>
                      <a:pPr marL="285750" indent="-285750" algn="l" rtl="0">
                        <a:spcBef>
                          <a:spcPts val="600"/>
                        </a:spcBef>
                        <a:spcAft>
                          <a:spcPts val="600"/>
                        </a:spcAft>
                        <a:buFont typeface="Wingdings" panose="05000000000000000000" pitchFamily="2" charset="2"/>
                        <a:buChar char="v"/>
                      </a:pPr>
                      <a:r>
                        <a:rPr lang="fr-FR" sz="1600" b="1" kern="1200" dirty="0" smtClean="0">
                          <a:solidFill>
                            <a:schemeClr val="tx1"/>
                          </a:solidFill>
                          <a:effectLst/>
                          <a:latin typeface="Trebuchet MS" panose="020B0603020202020204" pitchFamily="34" charset="0"/>
                          <a:ea typeface="+mn-ea"/>
                          <a:cs typeface="+mn-cs"/>
                        </a:rPr>
                        <a:t>Les CT</a:t>
                      </a:r>
                      <a:r>
                        <a:rPr lang="fr-FR" sz="1600" b="1" kern="1200" baseline="0" dirty="0" smtClean="0">
                          <a:solidFill>
                            <a:schemeClr val="tx1"/>
                          </a:solidFill>
                          <a:effectLst/>
                          <a:latin typeface="Trebuchet MS" panose="020B0603020202020204" pitchFamily="34" charset="0"/>
                          <a:ea typeface="+mn-ea"/>
                          <a:cs typeface="+mn-cs"/>
                        </a:rPr>
                        <a:t> </a:t>
                      </a:r>
                      <a:r>
                        <a:rPr lang="fr-FR" sz="1600" b="1" kern="1200" dirty="0" smtClean="0">
                          <a:solidFill>
                            <a:schemeClr val="tx1"/>
                          </a:solidFill>
                          <a:effectLst/>
                          <a:latin typeface="Trebuchet MS" panose="020B0603020202020204" pitchFamily="34" charset="0"/>
                          <a:ea typeface="+mn-ea"/>
                          <a:cs typeface="+mn-cs"/>
                        </a:rPr>
                        <a:t>sont tenus de se conformer aux règles de la gouvernance</a:t>
                      </a:r>
                      <a:r>
                        <a:rPr lang="ar-MA" sz="1600" b="1" kern="1200" dirty="0" smtClean="0">
                          <a:solidFill>
                            <a:schemeClr val="tx1"/>
                          </a:solidFill>
                          <a:effectLst/>
                          <a:latin typeface="Trebuchet MS" panose="020B0603020202020204" pitchFamily="34" charset="0"/>
                          <a:ea typeface="+mn-ea"/>
                          <a:cs typeface="Times New Roman" panose="02020603050405020304" pitchFamily="18" charset="0"/>
                        </a:rPr>
                        <a:t>:</a:t>
                      </a:r>
                      <a:r>
                        <a:rPr lang="ar-SA" sz="1600" b="1" kern="1200" dirty="0" smtClean="0">
                          <a:solidFill>
                            <a:schemeClr val="tx1"/>
                          </a:solidFill>
                          <a:effectLst/>
                          <a:latin typeface="Trebuchet MS" panose="020B0603020202020204" pitchFamily="34" charset="0"/>
                          <a:ea typeface="+mn-ea"/>
                          <a:cs typeface="Times New Roman" panose="02020603050405020304" pitchFamily="18" charset="0"/>
                        </a:rPr>
                        <a:t> </a:t>
                      </a:r>
                      <a:endParaRPr lang="ar-MA" sz="1600" b="1" kern="1200" dirty="0" smtClean="0">
                        <a:solidFill>
                          <a:schemeClr val="tx1"/>
                        </a:solidFill>
                        <a:effectLst/>
                        <a:latin typeface="Trebuchet MS" panose="020B0603020202020204" pitchFamily="34" charset="0"/>
                        <a:ea typeface="+mn-ea"/>
                        <a:cs typeface="Times New Roman" panose="02020603050405020304" pitchFamily="18" charset="0"/>
                      </a:endParaRPr>
                    </a:p>
                    <a:p>
                      <a:pPr marL="809625" lvl="0" indent="-274638" algn="just" defTabSz="914400" rtl="0" eaLnBrk="1" latinLnBrk="0" hangingPunct="1">
                        <a:spcBef>
                          <a:spcPts val="600"/>
                        </a:spcBef>
                        <a:spcAft>
                          <a:spcPts val="600"/>
                        </a:spcAft>
                        <a:buClr>
                          <a:srgbClr val="0000CC"/>
                        </a:buClr>
                        <a:buFont typeface="Wingdings" panose="05000000000000000000" pitchFamily="2" charset="2"/>
                        <a:buChar char="Ø"/>
                      </a:pPr>
                      <a:r>
                        <a:rPr lang="fr-FR" sz="1400" b="0" kern="1200" dirty="0" smtClean="0">
                          <a:solidFill>
                            <a:schemeClr val="tx2">
                              <a:lumMod val="75000"/>
                            </a:schemeClr>
                          </a:solidFill>
                          <a:latin typeface="Trebuchet MS" panose="020B0603020202020204" pitchFamily="34" charset="0"/>
                          <a:ea typeface="+mn-ea"/>
                          <a:cs typeface="Sakkal Majalla" panose="02000000000000000000" pitchFamily="2" charset="-78"/>
                        </a:rPr>
                        <a:t>l'égalité entre les citoyens dans l'accès aux services publics locaux;</a:t>
                      </a:r>
                    </a:p>
                    <a:p>
                      <a:pPr marL="809625" lvl="0" indent="-274638" algn="just" defTabSz="914400" rtl="0" eaLnBrk="1" latinLnBrk="0" hangingPunct="1">
                        <a:spcBef>
                          <a:spcPts val="600"/>
                        </a:spcBef>
                        <a:spcAft>
                          <a:spcPts val="600"/>
                        </a:spcAft>
                        <a:buClr>
                          <a:srgbClr val="0000CC"/>
                        </a:buClr>
                        <a:buFont typeface="Wingdings" panose="05000000000000000000" pitchFamily="2" charset="2"/>
                        <a:buChar char="Ø"/>
                      </a:pPr>
                      <a:r>
                        <a:rPr lang="fr-FR" sz="1400" b="0" kern="1200" dirty="0" smtClean="0">
                          <a:solidFill>
                            <a:schemeClr val="tx2">
                              <a:lumMod val="75000"/>
                            </a:schemeClr>
                          </a:solidFill>
                          <a:latin typeface="Trebuchet MS" panose="020B0603020202020204" pitchFamily="34" charset="0"/>
                          <a:ea typeface="+mn-ea"/>
                          <a:cs typeface="Sakkal Majalla" panose="02000000000000000000" pitchFamily="2" charset="-78"/>
                        </a:rPr>
                        <a:t>la continuité de la prestation des services et la garantie de leur qualité ;</a:t>
                      </a:r>
                    </a:p>
                    <a:p>
                      <a:pPr marL="809625" lvl="0" indent="-274638" algn="just" defTabSz="914400" rtl="0" eaLnBrk="1" latinLnBrk="0" hangingPunct="1">
                        <a:spcBef>
                          <a:spcPts val="600"/>
                        </a:spcBef>
                        <a:spcAft>
                          <a:spcPts val="600"/>
                        </a:spcAft>
                        <a:buClr>
                          <a:srgbClr val="0000CC"/>
                        </a:buClr>
                        <a:buFont typeface="Wingdings" panose="05000000000000000000" pitchFamily="2" charset="2"/>
                        <a:buChar char="Ø"/>
                      </a:pPr>
                      <a:r>
                        <a:rPr lang="fr-FR" sz="1400" b="0" kern="1200" dirty="0" smtClean="0">
                          <a:solidFill>
                            <a:schemeClr val="tx2">
                              <a:lumMod val="75000"/>
                            </a:schemeClr>
                          </a:solidFill>
                          <a:latin typeface="Trebuchet MS" panose="020B0603020202020204" pitchFamily="34" charset="0"/>
                          <a:ea typeface="+mn-ea"/>
                          <a:cs typeface="Sakkal Majalla" panose="02000000000000000000" pitchFamily="2" charset="-78"/>
                        </a:rPr>
                        <a:t>la consécration des valeurs de la démocratie, de la transparence, de la reddition des comptes et de la responsabilité ;</a:t>
                      </a:r>
                    </a:p>
                    <a:p>
                      <a:pPr marL="809625" lvl="0" indent="-274638" algn="just" defTabSz="914400" rtl="0" eaLnBrk="1" latinLnBrk="0" hangingPunct="1">
                        <a:spcBef>
                          <a:spcPts val="600"/>
                        </a:spcBef>
                        <a:spcAft>
                          <a:spcPts val="600"/>
                        </a:spcAft>
                        <a:buClr>
                          <a:srgbClr val="0000CC"/>
                        </a:buClr>
                        <a:buFont typeface="Wingdings" panose="05000000000000000000" pitchFamily="2" charset="2"/>
                        <a:buChar char="Ø"/>
                      </a:pPr>
                      <a:r>
                        <a:rPr lang="fr-FR" sz="1400" b="0" kern="1200" dirty="0" smtClean="0">
                          <a:solidFill>
                            <a:schemeClr val="tx2">
                              <a:lumMod val="75000"/>
                            </a:schemeClr>
                          </a:solidFill>
                          <a:latin typeface="Trebuchet MS" panose="020B0603020202020204" pitchFamily="34" charset="0"/>
                          <a:ea typeface="+mn-ea"/>
                          <a:cs typeface="Sakkal Majalla" panose="02000000000000000000" pitchFamily="2" charset="-78"/>
                        </a:rPr>
                        <a:t>l'ancrage de la primauté de la loi ;</a:t>
                      </a:r>
                    </a:p>
                    <a:p>
                      <a:pPr marL="809625" lvl="0" indent="-274638" algn="just" defTabSz="914400" rtl="0" eaLnBrk="1" latinLnBrk="0" hangingPunct="1">
                        <a:spcBef>
                          <a:spcPts val="600"/>
                        </a:spcBef>
                        <a:spcAft>
                          <a:spcPts val="600"/>
                        </a:spcAft>
                        <a:buClr>
                          <a:srgbClr val="0000CC"/>
                        </a:buClr>
                        <a:buFont typeface="Wingdings" panose="05000000000000000000" pitchFamily="2" charset="2"/>
                        <a:buChar char="Ø"/>
                      </a:pPr>
                      <a:r>
                        <a:rPr lang="fr-FR" sz="1400" b="0" kern="1200" dirty="0" smtClean="0">
                          <a:solidFill>
                            <a:schemeClr val="tx2">
                              <a:lumMod val="75000"/>
                            </a:schemeClr>
                          </a:solidFill>
                          <a:latin typeface="Trebuchet MS" panose="020B0603020202020204" pitchFamily="34" charset="0"/>
                          <a:ea typeface="+mn-ea"/>
                          <a:cs typeface="Sakkal Majalla" panose="02000000000000000000" pitchFamily="2" charset="-78"/>
                        </a:rPr>
                        <a:t>la participation, l'efficacité et l'intégrité.</a:t>
                      </a:r>
                      <a:endParaRPr lang="fr-FR" sz="1400" b="0" kern="1200" dirty="0">
                        <a:solidFill>
                          <a:schemeClr val="tx2">
                            <a:lumMod val="75000"/>
                          </a:schemeClr>
                        </a:solidFill>
                        <a:latin typeface="Trebuchet MS" panose="020B0603020202020204" pitchFamily="34" charset="0"/>
                        <a:ea typeface="+mn-ea"/>
                        <a:cs typeface="Sakkal Majalla" panose="02000000000000000000" pitchFamily="2" charset="-78"/>
                      </a:endParaRPr>
                    </a:p>
                  </a:txBody>
                  <a:tcPr anchor="ctr">
                    <a:solidFill>
                      <a:schemeClr val="accent5">
                        <a:lumMod val="20000"/>
                        <a:lumOff val="80000"/>
                      </a:schemeClr>
                    </a:solidFill>
                  </a:tcPr>
                </a:tc>
                <a:extLst>
                  <a:ext uri="{0D108BD9-81ED-4DB2-BD59-A6C34878D82A}">
                    <a16:rowId xmlns:a16="http://schemas.microsoft.com/office/drawing/2014/main" val="1680990652"/>
                  </a:ext>
                </a:extLst>
              </a:tr>
              <a:tr h="1348352">
                <a:tc>
                  <a:txBody>
                    <a:bodyPr/>
                    <a:lstStyle/>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fr-FR" sz="1600" b="1" kern="1200" dirty="0" smtClean="0">
                          <a:solidFill>
                            <a:schemeClr val="tx1"/>
                          </a:solidFill>
                          <a:effectLst/>
                          <a:latin typeface="Trebuchet MS" panose="020B0603020202020204" pitchFamily="34" charset="0"/>
                          <a:ea typeface="+mn-ea"/>
                          <a:cs typeface="+mn-cs"/>
                        </a:rPr>
                        <a:t>Les CT sont appelées  à adopter des méthodes efficaces pour la gestion: </a:t>
                      </a:r>
                      <a:endParaRPr lang="ar-MA" sz="1600" b="1" kern="1200" dirty="0" smtClean="0">
                        <a:solidFill>
                          <a:schemeClr val="tx1"/>
                        </a:solidFill>
                        <a:effectLst/>
                        <a:latin typeface="Trebuchet MS" panose="020B0603020202020204" pitchFamily="34" charset="0"/>
                        <a:ea typeface="+mn-ea"/>
                        <a:cs typeface="+mn-cs"/>
                      </a:endParaRPr>
                    </a:p>
                    <a:p>
                      <a:pPr marL="809625" marR="0" lvl="0" indent="-274638" algn="just" defTabSz="914400" rtl="0" eaLnBrk="1" fontAlgn="auto" latinLnBrk="0" hangingPunct="1">
                        <a:lnSpc>
                          <a:spcPct val="100000"/>
                        </a:lnSpc>
                        <a:spcBef>
                          <a:spcPts val="600"/>
                        </a:spcBef>
                        <a:spcAft>
                          <a:spcPts val="600"/>
                        </a:spcAft>
                        <a:buClr>
                          <a:srgbClr val="0000CC"/>
                        </a:buClr>
                        <a:buSzTx/>
                        <a:buFont typeface="Wingdings" panose="05000000000000000000" pitchFamily="2" charset="2"/>
                        <a:buChar char="Ø"/>
                        <a:tabLst/>
                        <a:defRPr/>
                      </a:pPr>
                      <a:r>
                        <a:rPr lang="fr-FR" sz="1400" b="0" kern="1200" dirty="0" smtClean="0">
                          <a:solidFill>
                            <a:schemeClr val="tx2">
                              <a:lumMod val="75000"/>
                            </a:schemeClr>
                          </a:solidFill>
                          <a:latin typeface="Trebuchet MS" panose="020B0603020202020204" pitchFamily="34" charset="0"/>
                          <a:ea typeface="+mn-ea"/>
                          <a:cs typeface="Sakkal Majalla" panose="02000000000000000000" pitchFamily="2" charset="-78"/>
                        </a:rPr>
                        <a:t>Adopter des méthodes managerielles nouvelles;</a:t>
                      </a:r>
                      <a:endParaRPr lang="ar-MA" sz="1400" b="0" kern="1200" dirty="0" smtClean="0">
                        <a:solidFill>
                          <a:schemeClr val="tx2">
                            <a:lumMod val="75000"/>
                          </a:schemeClr>
                        </a:solidFill>
                        <a:latin typeface="Trebuchet MS" panose="020B0603020202020204" pitchFamily="34" charset="0"/>
                        <a:ea typeface="+mn-ea"/>
                        <a:cs typeface="Sakkal Majalla" panose="02000000000000000000" pitchFamily="2" charset="-78"/>
                      </a:endParaRPr>
                    </a:p>
                    <a:p>
                      <a:pPr marL="809625" marR="0" lvl="0" indent="-274638" algn="just" defTabSz="914400" rtl="0" eaLnBrk="1" fontAlgn="auto" latinLnBrk="0" hangingPunct="1">
                        <a:lnSpc>
                          <a:spcPct val="100000"/>
                        </a:lnSpc>
                        <a:spcBef>
                          <a:spcPts val="600"/>
                        </a:spcBef>
                        <a:spcAft>
                          <a:spcPts val="600"/>
                        </a:spcAft>
                        <a:buClr>
                          <a:srgbClr val="0000CC"/>
                        </a:buClr>
                        <a:buSzTx/>
                        <a:buFont typeface="Wingdings" panose="05000000000000000000" pitchFamily="2" charset="2"/>
                        <a:buChar char="Ø"/>
                        <a:tabLst/>
                        <a:defRPr/>
                      </a:pPr>
                      <a:r>
                        <a:rPr lang="fr-FR" sz="1400" b="0" kern="1200" dirty="0" smtClean="0">
                          <a:solidFill>
                            <a:schemeClr val="tx2">
                              <a:lumMod val="75000"/>
                            </a:schemeClr>
                          </a:solidFill>
                          <a:latin typeface="Trebuchet MS" panose="020B0603020202020204" pitchFamily="34" charset="0"/>
                          <a:ea typeface="+mn-ea"/>
                          <a:cs typeface="Sakkal Majalla" panose="02000000000000000000" pitchFamily="2" charset="-78"/>
                        </a:rPr>
                        <a:t>Adopter l'évaluation de leurs actions, mettre en place le contrôle interne, recourir à l'audit et présenter le bilan de sa gestion.</a:t>
                      </a:r>
                    </a:p>
                  </a:txBody>
                  <a:tcPr anchor="ctr">
                    <a:solidFill>
                      <a:schemeClr val="accent2">
                        <a:lumMod val="20000"/>
                        <a:lumOff val="80000"/>
                      </a:schemeClr>
                    </a:solidFill>
                  </a:tcPr>
                </a:tc>
                <a:extLst>
                  <a:ext uri="{0D108BD9-81ED-4DB2-BD59-A6C34878D82A}">
                    <a16:rowId xmlns:a16="http://schemas.microsoft.com/office/drawing/2014/main" val="820024214"/>
                  </a:ext>
                </a:extLst>
              </a:tr>
              <a:tr h="242147">
                <a:tc>
                  <a:txBody>
                    <a:bodyPr/>
                    <a:lstStyle/>
                    <a:p>
                      <a:pPr marL="285750" marR="0" lvl="0" indent="-285750" algn="just" defTabSz="91440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fr-FR" sz="1600" b="1" kern="1200" dirty="0" smtClean="0">
                          <a:solidFill>
                            <a:schemeClr val="tx1"/>
                          </a:solidFill>
                          <a:effectLst/>
                          <a:latin typeface="Trebuchet MS" panose="020B0603020202020204" pitchFamily="34" charset="0"/>
                          <a:ea typeface="+mn-ea"/>
                          <a:cs typeface="+mn-cs"/>
                        </a:rPr>
                        <a:t>L'Etat, de son coté, est tenu de mettre en place </a:t>
                      </a:r>
                      <a:r>
                        <a:rPr lang="fr-FR" sz="1400" kern="1200" dirty="0" smtClean="0">
                          <a:solidFill>
                            <a:schemeClr val="dk1"/>
                          </a:solidFill>
                          <a:effectLst/>
                          <a:latin typeface="Trebuchet MS" panose="020B0603020202020204" pitchFamily="34" charset="0"/>
                          <a:ea typeface="+mn-ea"/>
                          <a:cs typeface="+mn-cs"/>
                        </a:rPr>
                        <a:t>des</a:t>
                      </a:r>
                      <a:r>
                        <a:rPr lang="fr-FR" sz="1400" b="1" kern="1200" dirty="0" smtClean="0">
                          <a:solidFill>
                            <a:schemeClr val="tx1"/>
                          </a:solidFill>
                          <a:effectLst/>
                          <a:latin typeface="Trebuchet MS" panose="020B0603020202020204" pitchFamily="34" charset="0"/>
                          <a:ea typeface="+mn-ea"/>
                          <a:cs typeface="+mn-cs"/>
                        </a:rPr>
                        <a:t>  </a:t>
                      </a:r>
                      <a:r>
                        <a:rPr lang="fr-FR" sz="1400" kern="1200" dirty="0" smtClean="0">
                          <a:solidFill>
                            <a:schemeClr val="dk1"/>
                          </a:solidFill>
                          <a:effectLst/>
                          <a:latin typeface="Trebuchet MS" panose="020B0603020202020204" pitchFamily="34" charset="0"/>
                          <a:ea typeface="+mn-ea"/>
                          <a:cs typeface="+mn-cs"/>
                        </a:rPr>
                        <a:t>mécanismes et outils nécessaires pour accompagner et soutenir les CT en vue d'atteindre une bonne gouvernance dans la gestion de leurs affaires et dans l'exercice leurs compétences/</a:t>
                      </a:r>
                      <a:r>
                        <a:rPr lang="fr-FR" sz="1400" b="1" kern="1200" dirty="0" smtClean="0">
                          <a:solidFill>
                            <a:schemeClr val="tx1"/>
                          </a:solidFill>
                          <a:effectLst/>
                          <a:latin typeface="Trebuchet MS" panose="020B0603020202020204" pitchFamily="34" charset="0"/>
                          <a:ea typeface="+mn-ea"/>
                          <a:cs typeface="+mn-cs"/>
                        </a:rPr>
                        <a:t> </a:t>
                      </a:r>
                      <a:endParaRPr lang="ar-MA" sz="1400" b="1" kern="1200" dirty="0" smtClean="0">
                        <a:solidFill>
                          <a:schemeClr val="tx1"/>
                        </a:solidFill>
                        <a:effectLst/>
                        <a:latin typeface="Trebuchet MS" panose="020B0603020202020204" pitchFamily="34" charset="0"/>
                        <a:ea typeface="+mn-ea"/>
                        <a:cs typeface="+mn-cs"/>
                      </a:endParaRPr>
                    </a:p>
                  </a:txBody>
                  <a:tcPr anchor="ctr">
                    <a:solidFill>
                      <a:srgbClr val="E6E6E6"/>
                    </a:solidFill>
                  </a:tcPr>
                </a:tc>
                <a:extLst>
                  <a:ext uri="{0D108BD9-81ED-4DB2-BD59-A6C34878D82A}">
                    <a16:rowId xmlns:a16="http://schemas.microsoft.com/office/drawing/2014/main" val="465961690"/>
                  </a:ext>
                </a:extLst>
              </a:tr>
            </a:tbl>
          </a:graphicData>
        </a:graphic>
      </p:graphicFrame>
      <p:sp>
        <p:nvSpPr>
          <p:cNvPr id="11" name="Rectangle à coins arrondis 10"/>
          <p:cNvSpPr/>
          <p:nvPr/>
        </p:nvSpPr>
        <p:spPr>
          <a:xfrm>
            <a:off x="578131" y="3060622"/>
            <a:ext cx="2307773" cy="19703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fr-FR" sz="1600" b="1" dirty="0">
                <a:latin typeface="Trebuchet MS" panose="020B0603020202020204" pitchFamily="34" charset="0"/>
                <a:cs typeface="Times New Roman" panose="02020603050405020304" pitchFamily="18" charset="0"/>
              </a:rPr>
              <a:t>Conditions </a:t>
            </a:r>
            <a:r>
              <a:rPr lang="fr-FR" sz="1600" b="1" dirty="0" smtClean="0">
                <a:latin typeface="Trebuchet MS" panose="020B0603020202020204" pitchFamily="34" charset="0"/>
                <a:cs typeface="Times New Roman" panose="02020603050405020304" pitchFamily="18" charset="0"/>
              </a:rPr>
              <a:t>d’exercice </a:t>
            </a:r>
            <a:r>
              <a:rPr lang="fr-FR" sz="1600" b="1" dirty="0">
                <a:latin typeface="Trebuchet MS" panose="020B0603020202020204" pitchFamily="34" charset="0"/>
                <a:cs typeface="Times New Roman" panose="02020603050405020304" pitchFamily="18" charset="0"/>
              </a:rPr>
              <a:t>des compétences</a:t>
            </a:r>
            <a:endParaRPr lang="fr-FR" altLang="fr-FR" sz="2400" b="1" dirty="0">
              <a:latin typeface="Trebuchet MS" panose="020B0603020202020204" pitchFamily="34" charset="0"/>
              <a:cs typeface="Times New Roman" panose="02020603050405020304" pitchFamily="18" charset="0"/>
            </a:endParaRPr>
          </a:p>
          <a:p>
            <a:pPr algn="ctr">
              <a:defRPr/>
            </a:pPr>
            <a:r>
              <a:rPr lang="fr-FR" sz="1600" b="1" dirty="0" smtClean="0">
                <a:latin typeface="Times New Roman" panose="02020603050405020304" pitchFamily="18" charset="0"/>
                <a:cs typeface="Times New Roman" panose="02020603050405020304" pitchFamily="18" charset="0"/>
              </a:rPr>
              <a:t>(</a:t>
            </a:r>
            <a:r>
              <a:rPr lang="fr-FR" sz="1600" b="1" dirty="0">
                <a:latin typeface="Trebuchet MS" panose="020B0603020202020204" pitchFamily="34" charset="0"/>
                <a:cs typeface="Times New Roman" panose="02020603050405020304" pitchFamily="18" charset="0"/>
              </a:rPr>
              <a:t>règles de la </a:t>
            </a:r>
            <a:r>
              <a:rPr lang="fr-FR" sz="1600" b="1" dirty="0" smtClean="0">
                <a:latin typeface="Trebuchet MS" panose="020B0603020202020204" pitchFamily="34" charset="0"/>
                <a:cs typeface="Times New Roman" panose="02020603050405020304" pitchFamily="18" charset="0"/>
              </a:rPr>
              <a:t>gouvernance)</a:t>
            </a:r>
            <a:endParaRPr lang="fr-FR" sz="1600" b="1" dirty="0">
              <a:latin typeface="Trebuchet MS" panose="020B0603020202020204" pitchFamily="34" charset="0"/>
              <a:cs typeface="Times New Roman" panose="02020603050405020304" pitchFamily="18" charset="0"/>
            </a:endParaRPr>
          </a:p>
        </p:txBody>
      </p:sp>
      <p:sp>
        <p:nvSpPr>
          <p:cNvPr id="8"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3</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25750028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ccolade fermante 13"/>
          <p:cNvSpPr/>
          <p:nvPr/>
        </p:nvSpPr>
        <p:spPr>
          <a:xfrm rot="10800000">
            <a:off x="2646301" y="2797482"/>
            <a:ext cx="212732" cy="3665357"/>
          </a:xfrm>
          <a:prstGeom prst="rightBrace">
            <a:avLst>
              <a:gd name="adj1" fmla="val 0"/>
              <a:gd name="adj2" fmla="val 49731"/>
            </a:avLst>
          </a:prstGeom>
          <a:ln w="28575">
            <a:solidFill>
              <a:schemeClr val="tx2">
                <a:lumMod val="50000"/>
              </a:schemeClr>
            </a:solidFill>
          </a:ln>
        </p:spPr>
        <p:style>
          <a:lnRef idx="1">
            <a:schemeClr val="accent2"/>
          </a:lnRef>
          <a:fillRef idx="0">
            <a:schemeClr val="accent2"/>
          </a:fillRef>
          <a:effectRef idx="0">
            <a:schemeClr val="accent2"/>
          </a:effectRef>
          <a:fontRef idx="minor">
            <a:schemeClr val="tx1"/>
          </a:fontRef>
        </p:style>
        <p:txBody>
          <a:bodyPr anchor="ctr"/>
          <a:lstStyle/>
          <a:p>
            <a:pPr algn="ctr" eaLnBrk="1" hangingPunct="1">
              <a:defRPr/>
            </a:pPr>
            <a:endParaRPr lang="fr-FR">
              <a:ln>
                <a:solidFill>
                  <a:schemeClr val="bg2">
                    <a:lumMod val="50000"/>
                  </a:schemeClr>
                </a:solidFill>
              </a:ln>
            </a:endParaRPr>
          </a:p>
        </p:txBody>
      </p:sp>
      <p:pic>
        <p:nvPicPr>
          <p:cNvPr id="22"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Tableau 1"/>
          <p:cNvGraphicFramePr>
            <a:graphicFrameLocks noGrp="1"/>
          </p:cNvGraphicFramePr>
          <p:nvPr>
            <p:extLst>
              <p:ext uri="{D42A27DB-BD31-4B8C-83A1-F6EECF244321}">
                <p14:modId xmlns:p14="http://schemas.microsoft.com/office/powerpoint/2010/main" val="1495573153"/>
              </p:ext>
            </p:extLst>
          </p:nvPr>
        </p:nvGraphicFramePr>
        <p:xfrm>
          <a:off x="2859033" y="2805876"/>
          <a:ext cx="8458200" cy="3656964"/>
        </p:xfrm>
        <a:graphic>
          <a:graphicData uri="http://schemas.openxmlformats.org/drawingml/2006/table">
            <a:tbl>
              <a:tblPr firstRow="1" bandRow="1">
                <a:tableStyleId>{5C22544A-7EE6-4342-B048-85BDC9FD1C3A}</a:tableStyleId>
              </a:tblPr>
              <a:tblGrid>
                <a:gridCol w="8458200">
                  <a:extLst>
                    <a:ext uri="{9D8B030D-6E8A-4147-A177-3AD203B41FA5}">
                      <a16:colId xmlns:a16="http://schemas.microsoft.com/office/drawing/2014/main" val="2395950498"/>
                    </a:ext>
                  </a:extLst>
                </a:gridCol>
              </a:tblGrid>
              <a:tr h="731361">
                <a:tc>
                  <a:txBody>
                    <a:bodyPr/>
                    <a:lstStyle/>
                    <a:p>
                      <a:pPr marL="285750" marR="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fr-FR" sz="1400" b="1" kern="1200" dirty="0" smtClean="0">
                          <a:solidFill>
                            <a:schemeClr val="tx1"/>
                          </a:solidFill>
                          <a:effectLst/>
                          <a:latin typeface="Trebuchet MS" panose="020B0603020202020204" pitchFamily="34" charset="0"/>
                          <a:ea typeface="+mn-ea"/>
                          <a:cs typeface="Times New Roman" panose="02020603050405020304" pitchFamily="18" charset="0"/>
                        </a:rPr>
                        <a:t>Diversification des compétences (élargir la marge de manœuvre): </a:t>
                      </a:r>
                      <a:r>
                        <a:rPr lang="fr-FR" sz="1400" b="0" kern="1200" dirty="0" smtClean="0">
                          <a:solidFill>
                            <a:srgbClr val="002060"/>
                          </a:solidFill>
                          <a:effectLst/>
                          <a:latin typeface="Trebuchet MS" panose="020B0603020202020204" pitchFamily="34" charset="0"/>
                          <a:ea typeface="+mn-ea"/>
                          <a:cs typeface="Times New Roman" panose="02020603050405020304" pitchFamily="18" charset="0"/>
                        </a:rPr>
                        <a:t>afin de permettre</a:t>
                      </a:r>
                      <a:r>
                        <a:rPr lang="fr-FR" sz="1400" b="0" kern="1200" baseline="0" dirty="0" smtClean="0">
                          <a:solidFill>
                            <a:srgbClr val="002060"/>
                          </a:solidFill>
                          <a:effectLst/>
                          <a:latin typeface="Trebuchet MS" panose="020B0603020202020204" pitchFamily="34" charset="0"/>
                          <a:ea typeface="+mn-ea"/>
                          <a:cs typeface="Times New Roman" panose="02020603050405020304" pitchFamily="18" charset="0"/>
                        </a:rPr>
                        <a:t> aux CT de contribuer, au coté de l’Etat et les autres acteurs, dans réalisation du développement intégré et durable.</a:t>
                      </a:r>
                      <a:endParaRPr lang="fr-FR" sz="1600" b="0" kern="1200" dirty="0">
                        <a:solidFill>
                          <a:srgbClr val="002060"/>
                        </a:solidFill>
                        <a:effectLst/>
                        <a:latin typeface="Times New Roman" panose="02020603050405020304" pitchFamily="18" charset="0"/>
                        <a:ea typeface="+mn-ea"/>
                        <a:cs typeface="Times New Roman" panose="02020603050405020304" pitchFamily="18" charset="0"/>
                      </a:endParaRPr>
                    </a:p>
                  </a:txBody>
                  <a:tcPr anchor="ctr">
                    <a:solidFill>
                      <a:srgbClr val="E6E6E6"/>
                    </a:solidFill>
                  </a:tcPr>
                </a:tc>
                <a:extLst>
                  <a:ext uri="{0D108BD9-81ED-4DB2-BD59-A6C34878D82A}">
                    <a16:rowId xmlns:a16="http://schemas.microsoft.com/office/drawing/2014/main" val="1627066431"/>
                  </a:ext>
                </a:extLst>
              </a:tr>
              <a:tr h="731361">
                <a:tc>
                  <a:txBody>
                    <a:bodyPr/>
                    <a:lstStyle/>
                    <a:p>
                      <a:pPr marL="285750" marR="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fr-FR" sz="1400" b="1" kern="1200" dirty="0" smtClean="0">
                          <a:solidFill>
                            <a:schemeClr val="tx1"/>
                          </a:solidFill>
                          <a:effectLst/>
                          <a:latin typeface="Trebuchet MS" panose="020B0603020202020204" pitchFamily="34" charset="0"/>
                          <a:ea typeface="+mn-ea"/>
                          <a:cs typeface="Times New Roman" panose="02020603050405020304" pitchFamily="18" charset="0"/>
                        </a:rPr>
                        <a:t>Les mécanismes de coopération et de partenariat: </a:t>
                      </a:r>
                      <a:r>
                        <a:rPr lang="fr-FR" sz="1400" b="0" kern="1200" baseline="0" dirty="0" smtClean="0">
                          <a:solidFill>
                            <a:srgbClr val="002060"/>
                          </a:solidFill>
                          <a:effectLst/>
                          <a:latin typeface="Trebuchet MS" panose="020B0603020202020204" pitchFamily="34" charset="0"/>
                          <a:ea typeface="+mn-ea"/>
                          <a:cs typeface="Times New Roman" panose="02020603050405020304" pitchFamily="18" charset="0"/>
                        </a:rPr>
                        <a:t>création des ECI – GC – GPP – GR – GCT – SD – PPP – coopération infranationale et internationale </a:t>
                      </a:r>
                      <a:endParaRPr lang="fr-FR" sz="1400" b="0" kern="1200" baseline="0" dirty="0">
                        <a:solidFill>
                          <a:srgbClr val="002060"/>
                        </a:solidFill>
                        <a:effectLst/>
                        <a:latin typeface="Trebuchet MS" panose="020B0603020202020204" pitchFamily="34" charset="0"/>
                        <a:ea typeface="+mn-ea"/>
                        <a:cs typeface="Times New Roman" panose="02020603050405020304" pitchFamily="18" charset="0"/>
                      </a:endParaRPr>
                    </a:p>
                  </a:txBody>
                  <a:tcPr anchor="ctr"/>
                </a:tc>
                <a:extLst>
                  <a:ext uri="{0D108BD9-81ED-4DB2-BD59-A6C34878D82A}">
                    <a16:rowId xmlns:a16="http://schemas.microsoft.com/office/drawing/2014/main" val="2127670518"/>
                  </a:ext>
                </a:extLst>
              </a:tr>
              <a:tr h="731361">
                <a:tc>
                  <a:txBody>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fr-FR" sz="1600" b="1" kern="1200" dirty="0" smtClean="0">
                          <a:solidFill>
                            <a:schemeClr val="tx1"/>
                          </a:solidFill>
                          <a:effectLst/>
                          <a:latin typeface="Trebuchet MS" panose="020B0603020202020204" pitchFamily="34" charset="0"/>
                          <a:ea typeface="+mn-ea"/>
                          <a:cs typeface="Times New Roman" panose="02020603050405020304" pitchFamily="18" charset="0"/>
                        </a:rPr>
                        <a:t>Les mécanismes de programmation du développement et d’aménagement du territoire: </a:t>
                      </a:r>
                      <a:r>
                        <a:rPr lang="fr-FR" sz="1400" b="0" kern="1200" baseline="0" dirty="0" smtClean="0">
                          <a:solidFill>
                            <a:srgbClr val="002060"/>
                          </a:solidFill>
                          <a:effectLst/>
                          <a:latin typeface="Trebuchet MS" panose="020B0603020202020204" pitchFamily="34" charset="0"/>
                          <a:ea typeface="+mn-ea"/>
                          <a:cs typeface="Times New Roman" panose="02020603050405020304" pitchFamily="18" charset="0"/>
                        </a:rPr>
                        <a:t>SRAT – PDR – PDPP – PAC …</a:t>
                      </a:r>
                      <a:r>
                        <a:rPr lang="fr-FR" altLang="fr-FR" sz="1400" b="0" kern="1200" baseline="0" dirty="0" smtClean="0">
                          <a:solidFill>
                            <a:srgbClr val="002060"/>
                          </a:solidFill>
                          <a:effectLst/>
                          <a:latin typeface="Trebuchet MS" panose="020B0603020202020204" pitchFamily="34" charset="0"/>
                          <a:ea typeface="+mn-ea"/>
                          <a:cs typeface="Times New Roman" panose="02020603050405020304" pitchFamily="18" charset="0"/>
                        </a:rPr>
                        <a:t> </a:t>
                      </a:r>
                      <a:endParaRPr lang="fr-FR" sz="1400" b="0" kern="1200" baseline="0" dirty="0">
                        <a:solidFill>
                          <a:srgbClr val="002060"/>
                        </a:solidFill>
                        <a:effectLst/>
                        <a:latin typeface="Trebuchet MS" panose="020B0603020202020204" pitchFamily="34" charset="0"/>
                        <a:ea typeface="+mn-ea"/>
                        <a:cs typeface="Times New Roman" panose="02020603050405020304" pitchFamily="18" charset="0"/>
                      </a:endParaRPr>
                    </a:p>
                  </a:txBody>
                  <a:tcPr anchor="ctr"/>
                </a:tc>
                <a:extLst>
                  <a:ext uri="{0D108BD9-81ED-4DB2-BD59-A6C34878D82A}">
                    <a16:rowId xmlns:a16="http://schemas.microsoft.com/office/drawing/2014/main" val="420127532"/>
                  </a:ext>
                </a:extLst>
              </a:tr>
              <a:tr h="731361">
                <a:tc>
                  <a:txBody>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fr-FR" sz="1400" b="1" kern="1200" dirty="0" smtClean="0">
                          <a:solidFill>
                            <a:schemeClr val="tx1"/>
                          </a:solidFill>
                          <a:effectLst/>
                          <a:latin typeface="Trebuchet MS" panose="020B0603020202020204" pitchFamily="34" charset="0"/>
                          <a:ea typeface="+mn-ea"/>
                          <a:cs typeface="Times New Roman" panose="02020603050405020304" pitchFamily="18" charset="0"/>
                        </a:rPr>
                        <a:t>Ressources financières: (pour les régions) </a:t>
                      </a:r>
                      <a:r>
                        <a:rPr lang="fr-FR" sz="1400" b="0" kern="1200" baseline="0" dirty="0" smtClean="0">
                          <a:solidFill>
                            <a:srgbClr val="002060"/>
                          </a:solidFill>
                          <a:effectLst/>
                          <a:latin typeface="Trebuchet MS" panose="020B0603020202020204" pitchFamily="34" charset="0"/>
                          <a:ea typeface="+mn-ea"/>
                          <a:cs typeface="Times New Roman" panose="02020603050405020304" pitchFamily="18" charset="0"/>
                        </a:rPr>
                        <a:t>ressources financières propres, ressources financières qui lui sont affectées par l'Etat et produit des emprunts …</a:t>
                      </a:r>
                      <a:endParaRPr lang="fr-FR" sz="1400" b="0" kern="1200" baseline="0" dirty="0">
                        <a:solidFill>
                          <a:srgbClr val="002060"/>
                        </a:solidFill>
                        <a:effectLst/>
                        <a:latin typeface="Trebuchet MS" panose="020B0603020202020204" pitchFamily="34" charset="0"/>
                        <a:ea typeface="+mn-ea"/>
                        <a:cs typeface="Times New Roman" panose="02020603050405020304" pitchFamily="18" charset="0"/>
                      </a:endParaRPr>
                    </a:p>
                  </a:txBody>
                  <a:tcPr anchor="ctr"/>
                </a:tc>
                <a:extLst>
                  <a:ext uri="{0D108BD9-81ED-4DB2-BD59-A6C34878D82A}">
                    <a16:rowId xmlns:a16="http://schemas.microsoft.com/office/drawing/2014/main" val="2481342255"/>
                  </a:ext>
                </a:extLst>
              </a:tr>
              <a:tr h="731361">
                <a:tc>
                  <a:txBody>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fr-FR" sz="1600" b="1" kern="1200" dirty="0" smtClean="0">
                          <a:solidFill>
                            <a:schemeClr val="tx1"/>
                          </a:solidFill>
                          <a:effectLst/>
                          <a:latin typeface="Trebuchet MS" panose="020B0603020202020204" pitchFamily="34" charset="0"/>
                          <a:ea typeface="+mn-ea"/>
                          <a:cs typeface="Times New Roman" panose="02020603050405020304" pitchFamily="18" charset="0"/>
                        </a:rPr>
                        <a:t>Les mécanismes de la démocratie participative:  </a:t>
                      </a:r>
                      <a:endParaRPr lang="fr-FR" sz="1600" b="1" kern="1200" dirty="0">
                        <a:solidFill>
                          <a:schemeClr val="tx1"/>
                        </a:solidFill>
                        <a:effectLst/>
                        <a:latin typeface="Trebuchet MS" panose="020B0603020202020204" pitchFamily="34" charset="0"/>
                        <a:ea typeface="+mn-ea"/>
                        <a:cs typeface="Times New Roman" panose="02020603050405020304" pitchFamily="18" charset="0"/>
                      </a:endParaRPr>
                    </a:p>
                  </a:txBody>
                  <a:tcPr anchor="ctr"/>
                </a:tc>
                <a:extLst>
                  <a:ext uri="{0D108BD9-81ED-4DB2-BD59-A6C34878D82A}">
                    <a16:rowId xmlns:a16="http://schemas.microsoft.com/office/drawing/2014/main" val="4042006179"/>
                  </a:ext>
                </a:extLst>
              </a:tr>
            </a:tbl>
          </a:graphicData>
        </a:graphic>
      </p:graphicFrame>
      <p:sp>
        <p:nvSpPr>
          <p:cNvPr id="11" name="Rectangle à coins arrondis 10"/>
          <p:cNvSpPr/>
          <p:nvPr/>
        </p:nvSpPr>
        <p:spPr>
          <a:xfrm>
            <a:off x="605604" y="4071554"/>
            <a:ext cx="1934329" cy="1117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r-FR" b="1" dirty="0" smtClean="0">
                <a:solidFill>
                  <a:schemeClr val="bg1"/>
                </a:solidFill>
                <a:latin typeface="Trebuchet MS" panose="020B0603020202020204" pitchFamily="34" charset="0"/>
                <a:cs typeface="Times New Roman" panose="02020603050405020304" pitchFamily="18" charset="0"/>
              </a:rPr>
              <a:t>Mécanismes         et moyens d’intervention </a:t>
            </a:r>
            <a:endParaRPr lang="fr-FR" dirty="0">
              <a:solidFill>
                <a:schemeClr val="bg1"/>
              </a:solidFill>
            </a:endParaRPr>
          </a:p>
        </p:txBody>
      </p:sp>
      <p:pic>
        <p:nvPicPr>
          <p:cNvPr id="13" name="Image 16"/>
          <p:cNvPicPr>
            <a:picLocks noChangeAspect="1"/>
          </p:cNvPicPr>
          <p:nvPr/>
        </p:nvPicPr>
        <p:blipFill>
          <a:blip r:embed="rId3">
            <a:clrChange>
              <a:clrFrom>
                <a:srgbClr val="F5F5F5"/>
              </a:clrFrom>
              <a:clrTo>
                <a:srgbClr val="F5F5F5">
                  <a:alpha val="0"/>
                </a:srgbClr>
              </a:clrTo>
            </a:clrChange>
            <a:extLst>
              <a:ext uri="{28A0092B-C50C-407E-A947-70E740481C1C}">
                <a14:useLocalDpi xmlns:a14="http://schemas.microsoft.com/office/drawing/2010/main" val="0"/>
              </a:ext>
            </a:extLst>
          </a:blip>
          <a:srcRect/>
          <a:stretch>
            <a:fillRect/>
          </a:stretch>
        </p:blipFill>
        <p:spPr bwMode="auto">
          <a:xfrm>
            <a:off x="11317233" y="3574649"/>
            <a:ext cx="664030" cy="801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000" b="1" dirty="0" smtClean="0">
                <a:latin typeface="Trebuchet MS" panose="020B0603020202020204" pitchFamily="34" charset="0"/>
                <a:cs typeface="Times New Roman" panose="02020603050405020304" pitchFamily="18" charset="0"/>
              </a:rPr>
              <a:t>Conditions et outils d’exercice des compétences</a:t>
            </a:r>
            <a:endParaRPr lang="fr-FR" altLang="fr-FR" sz="3000" b="1" dirty="0">
              <a:latin typeface="Trebuchet MS" panose="020B0603020202020204" pitchFamily="34" charset="0"/>
              <a:cs typeface="Times New Roman" panose="02020603050405020304" pitchFamily="18" charset="0"/>
            </a:endParaRPr>
          </a:p>
        </p:txBody>
      </p:sp>
      <p:sp>
        <p:nvSpPr>
          <p:cNvPr id="10" name="Accolade fermante 9"/>
          <p:cNvSpPr/>
          <p:nvPr/>
        </p:nvSpPr>
        <p:spPr>
          <a:xfrm rot="10800000">
            <a:off x="2624071" y="1516013"/>
            <a:ext cx="234962" cy="1086662"/>
          </a:xfrm>
          <a:prstGeom prst="rightBrace">
            <a:avLst>
              <a:gd name="adj1" fmla="val 0"/>
              <a:gd name="adj2" fmla="val 49731"/>
            </a:avLst>
          </a:prstGeom>
          <a:ln w="28575">
            <a:solidFill>
              <a:schemeClr val="tx2">
                <a:lumMod val="50000"/>
              </a:schemeClr>
            </a:solidFill>
          </a:ln>
        </p:spPr>
        <p:style>
          <a:lnRef idx="1">
            <a:schemeClr val="accent2"/>
          </a:lnRef>
          <a:fillRef idx="0">
            <a:schemeClr val="accent2"/>
          </a:fillRef>
          <a:effectRef idx="0">
            <a:schemeClr val="accent2"/>
          </a:effectRef>
          <a:fontRef idx="minor">
            <a:schemeClr val="tx1"/>
          </a:fontRef>
        </p:style>
        <p:txBody>
          <a:bodyPr anchor="ctr"/>
          <a:lstStyle/>
          <a:p>
            <a:pPr algn="ctr" eaLnBrk="1" hangingPunct="1">
              <a:defRPr/>
            </a:pPr>
            <a:endParaRPr lang="fr-FR">
              <a:ln>
                <a:solidFill>
                  <a:schemeClr val="bg2">
                    <a:lumMod val="50000"/>
                  </a:schemeClr>
                </a:solidFill>
              </a:ln>
            </a:endParaRPr>
          </a:p>
        </p:txBody>
      </p:sp>
      <p:graphicFrame>
        <p:nvGraphicFramePr>
          <p:cNvPr id="12" name="Tableau 11"/>
          <p:cNvGraphicFramePr>
            <a:graphicFrameLocks noGrp="1"/>
          </p:cNvGraphicFramePr>
          <p:nvPr>
            <p:extLst>
              <p:ext uri="{D42A27DB-BD31-4B8C-83A1-F6EECF244321}">
                <p14:modId xmlns:p14="http://schemas.microsoft.com/office/powerpoint/2010/main" val="3093806606"/>
              </p:ext>
            </p:extLst>
          </p:nvPr>
        </p:nvGraphicFramePr>
        <p:xfrm>
          <a:off x="2838700" y="1510669"/>
          <a:ext cx="8544098" cy="1005840"/>
        </p:xfrm>
        <a:graphic>
          <a:graphicData uri="http://schemas.openxmlformats.org/drawingml/2006/table">
            <a:tbl>
              <a:tblPr firstRow="1" bandRow="1">
                <a:tableStyleId>{5C22544A-7EE6-4342-B048-85BDC9FD1C3A}</a:tableStyleId>
              </a:tblPr>
              <a:tblGrid>
                <a:gridCol w="8544098">
                  <a:extLst>
                    <a:ext uri="{9D8B030D-6E8A-4147-A177-3AD203B41FA5}">
                      <a16:colId xmlns:a16="http://schemas.microsoft.com/office/drawing/2014/main" val="1304177715"/>
                    </a:ext>
                  </a:extLst>
                </a:gridCol>
              </a:tblGrid>
              <a:tr h="123613">
                <a:tc>
                  <a:txBody>
                    <a:bodyPr/>
                    <a:lstStyle/>
                    <a:p>
                      <a:pPr marL="285750" indent="-285750" algn="l" defTabSz="914400" rtl="0" eaLnBrk="1" latinLnBrk="0" hangingPunct="1">
                        <a:buFont typeface="Wingdings" panose="05000000000000000000" pitchFamily="2" charset="2"/>
                        <a:buChar char="v"/>
                      </a:pPr>
                      <a:r>
                        <a:rPr lang="fr-FR" altLang="fr-FR" sz="1600" b="1" kern="1200" dirty="0" smtClean="0">
                          <a:solidFill>
                            <a:schemeClr val="tx1"/>
                          </a:solidFill>
                          <a:effectLst/>
                          <a:latin typeface="Trebuchet MS" panose="020B0603020202020204" pitchFamily="34" charset="0"/>
                          <a:ea typeface="+mn-ea"/>
                          <a:cs typeface="+mn-cs"/>
                        </a:rPr>
                        <a:t>Pouvoir du Conseil de </a:t>
                      </a:r>
                      <a:r>
                        <a:rPr lang="fr-FR" sz="1600" b="1" kern="1200" dirty="0" smtClean="0">
                          <a:solidFill>
                            <a:schemeClr val="tx1"/>
                          </a:solidFill>
                          <a:effectLst/>
                          <a:latin typeface="Trebuchet MS" panose="020B0603020202020204" pitchFamily="34" charset="0"/>
                          <a:ea typeface="+mn-ea"/>
                          <a:cs typeface="+mn-cs"/>
                        </a:rPr>
                        <a:t>délibérer de manière démocratique  </a:t>
                      </a:r>
                      <a:endParaRPr lang="fr-FR" sz="1800" b="1"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solidFill>
                      <a:schemeClr val="accent5">
                        <a:lumMod val="20000"/>
                        <a:lumOff val="80000"/>
                      </a:schemeClr>
                    </a:solidFill>
                  </a:tcPr>
                </a:tc>
                <a:extLst>
                  <a:ext uri="{0D108BD9-81ED-4DB2-BD59-A6C34878D82A}">
                    <a16:rowId xmlns:a16="http://schemas.microsoft.com/office/drawing/2014/main" val="3892711500"/>
                  </a:ext>
                </a:extLst>
              </a:tr>
              <a:tr h="242147">
                <a:tc>
                  <a:txBody>
                    <a:bodyPr/>
                    <a:lstStyle/>
                    <a:p>
                      <a:pPr marL="285750" indent="-285750" algn="l" defTabSz="914400" rtl="0" eaLnBrk="1" latinLnBrk="0" hangingPunct="1">
                        <a:buFont typeface="Wingdings" panose="05000000000000000000" pitchFamily="2" charset="2"/>
                        <a:buChar char="v"/>
                      </a:pPr>
                      <a:r>
                        <a:rPr lang="fr-FR" altLang="fr-FR" sz="1600" b="1" kern="1200" dirty="0" smtClean="0">
                          <a:solidFill>
                            <a:schemeClr val="tx1"/>
                          </a:solidFill>
                          <a:effectLst/>
                          <a:latin typeface="Trebuchet MS" panose="020B0603020202020204" pitchFamily="34" charset="0"/>
                          <a:ea typeface="+mn-ea"/>
                          <a:cs typeface="+mn-cs"/>
                        </a:rPr>
                        <a:t>Pouvoir du Président </a:t>
                      </a:r>
                      <a:r>
                        <a:rPr lang="fr-FR" sz="1600" b="1" kern="1200" dirty="0" smtClean="0">
                          <a:solidFill>
                            <a:schemeClr val="tx1"/>
                          </a:solidFill>
                          <a:effectLst/>
                          <a:latin typeface="Trebuchet MS" panose="020B0603020202020204" pitchFamily="34" charset="0"/>
                          <a:ea typeface="+mn-ea"/>
                          <a:cs typeface="+mn-cs"/>
                        </a:rPr>
                        <a:t>d'exécuter les délibérations et les décisions prises </a:t>
                      </a:r>
                      <a:endParaRPr lang="fr-FR" sz="1600" b="1" kern="1200" dirty="0">
                        <a:solidFill>
                          <a:schemeClr val="tx1"/>
                        </a:solidFill>
                        <a:effectLst/>
                        <a:latin typeface="Trebuchet MS" panose="020B0603020202020204" pitchFamily="34" charset="0"/>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3620261813"/>
                  </a:ext>
                </a:extLst>
              </a:tr>
              <a:tr h="123613">
                <a:tc>
                  <a:txBody>
                    <a:bodyPr/>
                    <a:lstStyle/>
                    <a:p>
                      <a:pPr marL="285750" indent="-285750" algn="l" defTabSz="914400" rtl="0" eaLnBrk="1" latinLnBrk="0" hangingPunct="1">
                        <a:buFont typeface="Wingdings" panose="05000000000000000000" pitchFamily="2" charset="2"/>
                        <a:buChar char="v"/>
                      </a:pPr>
                      <a:r>
                        <a:rPr lang="fr-FR" sz="1600" b="1" kern="1200" dirty="0" smtClean="0">
                          <a:solidFill>
                            <a:schemeClr val="tx1"/>
                          </a:solidFill>
                          <a:effectLst/>
                          <a:latin typeface="Trebuchet MS" panose="020B0603020202020204" pitchFamily="34" charset="0"/>
                          <a:ea typeface="+mn-ea"/>
                          <a:cs typeface="+mn-cs"/>
                        </a:rPr>
                        <a:t>Pouvoir réglementaire </a:t>
                      </a:r>
                      <a:endParaRPr lang="fr-FR" sz="1600" b="1" kern="1200" dirty="0">
                        <a:solidFill>
                          <a:schemeClr val="tx1"/>
                        </a:solidFill>
                        <a:effectLst/>
                        <a:latin typeface="Trebuchet MS" panose="020B0603020202020204" pitchFamily="34" charset="0"/>
                        <a:ea typeface="+mn-ea"/>
                        <a:cs typeface="+mn-cs"/>
                      </a:endParaRPr>
                    </a:p>
                  </a:txBody>
                  <a:tcPr anchor="ctr">
                    <a:solidFill>
                      <a:schemeClr val="accent1">
                        <a:lumMod val="20000"/>
                        <a:lumOff val="80000"/>
                      </a:schemeClr>
                    </a:solidFill>
                  </a:tcPr>
                </a:tc>
                <a:extLst>
                  <a:ext uri="{0D108BD9-81ED-4DB2-BD59-A6C34878D82A}">
                    <a16:rowId xmlns:a16="http://schemas.microsoft.com/office/drawing/2014/main" val="1664231044"/>
                  </a:ext>
                </a:extLst>
              </a:tr>
            </a:tbl>
          </a:graphicData>
        </a:graphic>
      </p:graphicFrame>
      <p:sp>
        <p:nvSpPr>
          <p:cNvPr id="16" name="Rectangle à coins arrondis 15"/>
          <p:cNvSpPr/>
          <p:nvPr/>
        </p:nvSpPr>
        <p:spPr>
          <a:xfrm>
            <a:off x="605604" y="1485463"/>
            <a:ext cx="1934329" cy="1117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latin typeface="Trebuchet MS" panose="020B0603020202020204" pitchFamily="34" charset="0"/>
                <a:cs typeface="Times New Roman" panose="02020603050405020304" pitchFamily="18" charset="0"/>
              </a:rPr>
              <a:t>Les pouvoirs des CT</a:t>
            </a:r>
            <a:endParaRPr lang="ar-MA" b="1" dirty="0">
              <a:latin typeface="Trebuchet MS" panose="020B0603020202020204" pitchFamily="34" charset="0"/>
              <a:cs typeface="Times New Roman" panose="02020603050405020304" pitchFamily="18" charset="0"/>
            </a:endParaRPr>
          </a:p>
        </p:txBody>
      </p:sp>
      <p:sp>
        <p:nvSpPr>
          <p:cNvPr id="15"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4"/>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5"/>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5"/>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5"/>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5"/>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5"/>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5"/>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5"/>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5"/>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4</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10426181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4"/>
          <p:cNvSpPr>
            <a:spLocks noChangeArrowheads="1"/>
          </p:cNvSpPr>
          <p:nvPr/>
        </p:nvSpPr>
        <p:spPr bwMode="auto">
          <a:xfrm>
            <a:off x="1838099" y="3468938"/>
            <a:ext cx="6389687"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ct val="20000"/>
              </a:spcBef>
              <a:buBlip>
                <a:blip r:embed="rId3"/>
              </a:buBlip>
              <a:defRPr sz="3200">
                <a:solidFill>
                  <a:schemeClr val="tx1"/>
                </a:solidFill>
                <a:latin typeface="Calibri" panose="020F0502020204030204" pitchFamily="34" charset="0"/>
              </a:defRPr>
            </a:lvl1pPr>
            <a:lvl2pPr marL="742950" indent="-285750">
              <a:lnSpc>
                <a:spcPct val="90000"/>
              </a:lnSpc>
              <a:spcBef>
                <a:spcPct val="20000"/>
              </a:spcBef>
              <a:buBlip>
                <a:blip r:embed="rId4"/>
              </a:buBlip>
              <a:defRPr sz="2800">
                <a:solidFill>
                  <a:schemeClr val="tx1"/>
                </a:solidFill>
                <a:latin typeface="Calibri" panose="020F0502020204030204" pitchFamily="34" charset="0"/>
              </a:defRPr>
            </a:lvl2pPr>
            <a:lvl3pPr marL="1143000" indent="-228600">
              <a:lnSpc>
                <a:spcPct val="90000"/>
              </a:lnSpc>
              <a:spcBef>
                <a:spcPct val="20000"/>
              </a:spcBef>
              <a:buBlip>
                <a:blip r:embed="rId4"/>
              </a:buBlip>
              <a:defRPr sz="2400">
                <a:solidFill>
                  <a:schemeClr val="tx1"/>
                </a:solidFill>
                <a:latin typeface="Calibri" panose="020F0502020204030204" pitchFamily="34" charset="0"/>
              </a:defRPr>
            </a:lvl3pPr>
            <a:lvl4pPr marL="1600200" indent="-228600">
              <a:lnSpc>
                <a:spcPct val="90000"/>
              </a:lnSpc>
              <a:spcBef>
                <a:spcPct val="20000"/>
              </a:spcBef>
              <a:buBlip>
                <a:blip r:embed="rId4"/>
              </a:buBlip>
              <a:defRPr sz="2400">
                <a:solidFill>
                  <a:schemeClr val="tx1"/>
                </a:solidFill>
                <a:latin typeface="Calibri" panose="020F0502020204030204" pitchFamily="34" charset="0"/>
              </a:defRPr>
            </a:lvl4pPr>
            <a:lvl5pPr marL="2057400" indent="-22860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just" rtl="1" eaLnBrk="1" hangingPunct="1">
              <a:lnSpc>
                <a:spcPct val="110000"/>
              </a:lnSpc>
              <a:spcBef>
                <a:spcPts val="300"/>
              </a:spcBef>
              <a:spcAft>
                <a:spcPts val="300"/>
              </a:spcAft>
              <a:buFontTx/>
              <a:buNone/>
            </a:pPr>
            <a:r>
              <a:rPr lang="ar-MA" altLang="fr-FR" sz="1800">
                <a:solidFill>
                  <a:schemeClr val="bg1"/>
                </a:solidFill>
                <a:latin typeface="Sakkal Majalla" panose="02000000000000000000" pitchFamily="2" charset="-78"/>
                <a:cs typeface="Sakkal Majalla" panose="02000000000000000000" pitchFamily="2" charset="-78"/>
              </a:rPr>
              <a:t>هدفها تمكين المواطنات والمواطنين وجمعيات المجتمع المدني </a:t>
            </a:r>
            <a:r>
              <a:rPr lang="ar-MA" altLang="fr-FR" sz="1800" b="1">
                <a:solidFill>
                  <a:schemeClr val="bg1"/>
                </a:solidFill>
                <a:latin typeface="Sakkal Majalla" panose="02000000000000000000" pitchFamily="2" charset="-78"/>
                <a:cs typeface="Sakkal Majalla" panose="02000000000000000000" pitchFamily="2" charset="-78"/>
              </a:rPr>
              <a:t>من المشاركة في صناعة القرار </a:t>
            </a:r>
            <a:r>
              <a:rPr lang="ar-MA" altLang="fr-FR" sz="1800">
                <a:solidFill>
                  <a:schemeClr val="bg1"/>
                </a:solidFill>
                <a:latin typeface="Sakkal Majalla" panose="02000000000000000000" pitchFamily="2" charset="-78"/>
                <a:cs typeface="Sakkal Majalla" panose="02000000000000000000" pitchFamily="2" charset="-78"/>
              </a:rPr>
              <a:t>على الصعيد المحلي، لاسيما فيما يتعلق</a:t>
            </a:r>
            <a:r>
              <a:rPr lang="ar-MA" altLang="fr-FR" sz="1800" u="sng">
                <a:solidFill>
                  <a:schemeClr val="bg1"/>
                </a:solidFill>
                <a:latin typeface="Sakkal Majalla" panose="02000000000000000000" pitchFamily="2" charset="-78"/>
                <a:cs typeface="Sakkal Majalla" panose="02000000000000000000" pitchFamily="2" charset="-78"/>
              </a:rPr>
              <a:t> </a:t>
            </a:r>
            <a:r>
              <a:rPr lang="ar-MA" altLang="fr-FR" sz="1800" b="1" u="sng">
                <a:solidFill>
                  <a:schemeClr val="bg1"/>
                </a:solidFill>
                <a:latin typeface="Sakkal Majalla" panose="02000000000000000000" pitchFamily="2" charset="-78"/>
                <a:cs typeface="Sakkal Majalla" panose="02000000000000000000" pitchFamily="2" charset="-78"/>
              </a:rPr>
              <a:t>بهندسة التنمية وصياغة وتتبع وتقييم السياسات العمومية المحلية </a:t>
            </a:r>
            <a:endParaRPr lang="fr-FR" altLang="fr-FR" sz="1800" b="1" u="sng">
              <a:solidFill>
                <a:schemeClr val="bg1"/>
              </a:solidFill>
              <a:latin typeface="Sakkal Majalla" panose="02000000000000000000" pitchFamily="2" charset="-78"/>
              <a:cs typeface="Sakkal Majalla" panose="02000000000000000000" pitchFamily="2" charset="-78"/>
            </a:endParaRPr>
          </a:p>
        </p:txBody>
      </p:sp>
      <p:sp>
        <p:nvSpPr>
          <p:cNvPr id="8" name="Rectangle 5"/>
          <p:cNvSpPr>
            <a:spLocks noChangeArrowheads="1"/>
          </p:cNvSpPr>
          <p:nvPr/>
        </p:nvSpPr>
        <p:spPr bwMode="auto">
          <a:xfrm>
            <a:off x="2484408" y="3721346"/>
            <a:ext cx="7953554" cy="584775"/>
          </a:xfrm>
          <a:prstGeom prst="rect">
            <a:avLst/>
          </a:prstGeom>
          <a:solidFill>
            <a:srgbClr val="0587AF"/>
          </a:solidFill>
          <a:ln/>
        </p:spPr>
        <p:style>
          <a:lnRef idx="1">
            <a:schemeClr val="accent2"/>
          </a:lnRef>
          <a:fillRef idx="2">
            <a:schemeClr val="accent2"/>
          </a:fillRef>
          <a:effectRef idx="1">
            <a:schemeClr val="accent2"/>
          </a:effectRef>
          <a:fontRef idx="minor">
            <a:schemeClr val="dk1"/>
          </a:fontRef>
        </p:style>
        <p:txBody>
          <a:bodyPr wrap="square">
            <a:spAutoFit/>
          </a:bodyPr>
          <a:lstStyle/>
          <a:p>
            <a:pPr algn="ctr">
              <a:defRPr/>
            </a:pPr>
            <a:r>
              <a:rPr lang="fr-FR" altLang="fr-FR" sz="1600" b="1" dirty="0" smtClean="0">
                <a:solidFill>
                  <a:schemeClr val="bg1"/>
                </a:solidFill>
                <a:latin typeface="Trebuchet MS" panose="020B0603020202020204" pitchFamily="34" charset="0"/>
                <a:cs typeface="Sakkal Majalla" pitchFamily="2" charset="-78"/>
              </a:rPr>
              <a:t>Constitutionnalisation et institutionnalisation (art 139 C) : des </a:t>
            </a:r>
            <a:r>
              <a:rPr lang="fr-FR" sz="1600" b="1" dirty="0">
                <a:solidFill>
                  <a:schemeClr val="bg1"/>
                </a:solidFill>
                <a:latin typeface="Trebuchet MS" panose="020B0603020202020204" pitchFamily="34" charset="0"/>
                <a:cs typeface="Sakkal Majalla" pitchFamily="2" charset="-78"/>
              </a:rPr>
              <a:t>mécanismes participatifs de dialogue et de concertation </a:t>
            </a:r>
            <a:r>
              <a:rPr lang="fr-FR" sz="1600" b="1" dirty="0" smtClean="0">
                <a:solidFill>
                  <a:schemeClr val="bg1"/>
                </a:solidFill>
                <a:latin typeface="Trebuchet MS" panose="020B0603020202020204" pitchFamily="34" charset="0"/>
                <a:cs typeface="Sakkal Majalla" pitchFamily="2" charset="-78"/>
              </a:rPr>
              <a:t>à mettre en place par les CT </a:t>
            </a:r>
            <a:r>
              <a:rPr lang="fr-FR" altLang="fr-FR" sz="1600" b="1" dirty="0" smtClean="0">
                <a:solidFill>
                  <a:schemeClr val="bg1"/>
                </a:solidFill>
                <a:latin typeface="Trebuchet MS" panose="020B0603020202020204" pitchFamily="34" charset="0"/>
                <a:cs typeface="Sakkal Majalla" pitchFamily="2" charset="-78"/>
              </a:rPr>
              <a:t>   </a:t>
            </a:r>
            <a:endParaRPr lang="fr-FR" altLang="fr-FR" sz="1600" b="1" dirty="0">
              <a:solidFill>
                <a:schemeClr val="bg1"/>
              </a:solidFill>
              <a:latin typeface="Trebuchet MS" panose="020B0603020202020204" pitchFamily="34" charset="0"/>
              <a:cs typeface="Sakkal Majalla" pitchFamily="2" charset="-78"/>
            </a:endParaRPr>
          </a:p>
        </p:txBody>
      </p:sp>
      <p:sp>
        <p:nvSpPr>
          <p:cNvPr id="10" name="Rectangle 5">
            <a:extLst/>
          </p:cNvPr>
          <p:cNvSpPr>
            <a:spLocks noChangeArrowheads="1"/>
          </p:cNvSpPr>
          <p:nvPr/>
        </p:nvSpPr>
        <p:spPr bwMode="auto">
          <a:xfrm>
            <a:off x="756104" y="1970054"/>
            <a:ext cx="1797050" cy="830997"/>
          </a:xfrm>
          <a:prstGeom prst="rect">
            <a:avLst/>
          </a:prstGeom>
          <a:ln/>
        </p:spPr>
        <p:style>
          <a:lnRef idx="1">
            <a:schemeClr val="accent2"/>
          </a:lnRef>
          <a:fillRef idx="3">
            <a:schemeClr val="accent2"/>
          </a:fillRef>
          <a:effectRef idx="2">
            <a:schemeClr val="accent2"/>
          </a:effectRef>
          <a:fontRef idx="minor">
            <a:schemeClr val="lt1"/>
          </a:fontRef>
        </p:style>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1" algn="ctr">
              <a:spcBef>
                <a:spcPts val="450"/>
              </a:spcBef>
              <a:buClr>
                <a:srgbClr val="C00000"/>
              </a:buClr>
              <a:buSzPct val="120000"/>
              <a:defRPr/>
            </a:pPr>
            <a:r>
              <a:rPr lang="fr-FR" sz="1600" b="1" dirty="0">
                <a:solidFill>
                  <a:schemeClr val="bg1"/>
                </a:solidFill>
                <a:latin typeface="Trebuchet MS" panose="020B0603020202020204" pitchFamily="34" charset="0"/>
                <a:cs typeface="Times New Roman" panose="02020603050405020304" pitchFamily="18" charset="0"/>
              </a:rPr>
              <a:t>M</a:t>
            </a:r>
            <a:r>
              <a:rPr lang="fr-FR" sz="1600" b="1" dirty="0" smtClean="0">
                <a:solidFill>
                  <a:schemeClr val="bg1"/>
                </a:solidFill>
                <a:latin typeface="Trebuchet MS" panose="020B0603020202020204" pitchFamily="34" charset="0"/>
                <a:cs typeface="Times New Roman" panose="02020603050405020304" pitchFamily="18" charset="0"/>
              </a:rPr>
              <a:t>écanismes </a:t>
            </a:r>
            <a:r>
              <a:rPr lang="fr-FR" sz="1600" b="1" dirty="0">
                <a:solidFill>
                  <a:schemeClr val="bg1"/>
                </a:solidFill>
                <a:latin typeface="Trebuchet MS" panose="020B0603020202020204" pitchFamily="34" charset="0"/>
                <a:cs typeface="Times New Roman" panose="02020603050405020304" pitchFamily="18" charset="0"/>
              </a:rPr>
              <a:t>de la démocratie </a:t>
            </a:r>
            <a:r>
              <a:rPr lang="fr-FR" sz="1600" b="1" dirty="0" smtClean="0">
                <a:solidFill>
                  <a:schemeClr val="bg1"/>
                </a:solidFill>
                <a:latin typeface="Trebuchet MS" panose="020B0603020202020204" pitchFamily="34" charset="0"/>
                <a:cs typeface="Times New Roman" panose="02020603050405020304" pitchFamily="18" charset="0"/>
              </a:rPr>
              <a:t>participative?</a:t>
            </a:r>
            <a:endParaRPr lang="fr-FR" altLang="fr-FR" sz="1600" dirty="0">
              <a:solidFill>
                <a:schemeClr val="bg1"/>
              </a:solidFill>
            </a:endParaRPr>
          </a:p>
        </p:txBody>
      </p:sp>
      <p:pic>
        <p:nvPicPr>
          <p:cNvPr id="11" name="Image 1"/>
          <p:cNvPicPr>
            <a:picLocks noChangeAspect="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499197" y="1783675"/>
            <a:ext cx="1107500" cy="1264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à coins arrondis 11">
            <a:extLst/>
          </p:cNvPr>
          <p:cNvSpPr/>
          <p:nvPr/>
        </p:nvSpPr>
        <p:spPr>
          <a:xfrm>
            <a:off x="1177951" y="4648899"/>
            <a:ext cx="2582862" cy="647700"/>
          </a:xfrm>
          <a:prstGeom prst="roundRect">
            <a:avLst>
              <a:gd name="adj" fmla="val 12804"/>
            </a:avLst>
          </a:prstGeom>
        </p:spPr>
        <p:style>
          <a:lnRef idx="1">
            <a:schemeClr val="accent2"/>
          </a:lnRef>
          <a:fillRef idx="2">
            <a:schemeClr val="accent2"/>
          </a:fillRef>
          <a:effectRef idx="1">
            <a:schemeClr val="accent2"/>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fr-FR" sz="1400" b="1" dirty="0" smtClean="0">
                <a:solidFill>
                  <a:srgbClr val="002060"/>
                </a:solidFill>
                <a:latin typeface="Trebuchet MS" panose="020B0603020202020204" pitchFamily="34" charset="0"/>
                <a:cs typeface="Sakkal Majalla" pitchFamily="2" charset="-78"/>
              </a:rPr>
              <a:t>Mécanismes </a:t>
            </a:r>
            <a:r>
              <a:rPr lang="fr-FR" sz="1400" b="1" dirty="0">
                <a:solidFill>
                  <a:srgbClr val="002060"/>
                </a:solidFill>
                <a:latin typeface="Trebuchet MS" panose="020B0603020202020204" pitchFamily="34" charset="0"/>
                <a:cs typeface="Sakkal Majalla" pitchFamily="2" charset="-78"/>
              </a:rPr>
              <a:t>participatifs de dialogue et de concertation </a:t>
            </a:r>
            <a:endParaRPr lang="fr-FR" altLang="fr-FR" sz="1400" b="1" dirty="0">
              <a:solidFill>
                <a:srgbClr val="002060"/>
              </a:solidFill>
              <a:latin typeface="Trebuchet MS" panose="020B0603020202020204" pitchFamily="34" charset="0"/>
              <a:cs typeface="Sakkal Majalla" pitchFamily="2" charset="-78"/>
            </a:endParaRPr>
          </a:p>
        </p:txBody>
      </p:sp>
      <p:sp>
        <p:nvSpPr>
          <p:cNvPr id="13" name="Rectangle à coins arrondis 12">
            <a:extLst/>
          </p:cNvPr>
          <p:cNvSpPr/>
          <p:nvPr/>
        </p:nvSpPr>
        <p:spPr>
          <a:xfrm>
            <a:off x="8911513" y="4553047"/>
            <a:ext cx="2584450" cy="647700"/>
          </a:xfrm>
          <a:prstGeom prst="roundRect">
            <a:avLst>
              <a:gd name="adj" fmla="val 12804"/>
            </a:avLst>
          </a:prstGeom>
        </p:spPr>
        <p:style>
          <a:lnRef idx="1">
            <a:schemeClr val="accent2"/>
          </a:lnRef>
          <a:fillRef idx="2">
            <a:schemeClr val="accent2"/>
          </a:fillRef>
          <a:effectRef idx="1">
            <a:schemeClr val="accent2"/>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fr-FR" altLang="fr-FR" sz="1600" b="1" dirty="0">
                <a:solidFill>
                  <a:srgbClr val="002060"/>
                </a:solidFill>
                <a:latin typeface="Trebuchet MS" panose="020B0603020202020204" pitchFamily="34" charset="0"/>
                <a:cs typeface="Sakkal Majalla" pitchFamily="2" charset="-78"/>
              </a:rPr>
              <a:t>Exercice du droit de pétition</a:t>
            </a:r>
          </a:p>
        </p:txBody>
      </p:sp>
      <p:sp>
        <p:nvSpPr>
          <p:cNvPr id="14" name="Ellipse 13">
            <a:extLst/>
          </p:cNvPr>
          <p:cNvSpPr/>
          <p:nvPr/>
        </p:nvSpPr>
        <p:spPr>
          <a:xfrm>
            <a:off x="9980882" y="4140898"/>
            <a:ext cx="466725" cy="468313"/>
          </a:xfrm>
          <a:prstGeom prst="ellipse">
            <a:avLst/>
          </a:prstGeom>
        </p:spPr>
        <p:style>
          <a:lnRef idx="1">
            <a:schemeClr val="accent4"/>
          </a:lnRef>
          <a:fillRef idx="3">
            <a:schemeClr val="accent4"/>
          </a:fillRef>
          <a:effectRef idx="2">
            <a:schemeClr val="accent4"/>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fr-FR" sz="2400" dirty="0" smtClean="0">
                <a:latin typeface="Calisto MT" panose="02040603050505030304" pitchFamily="18" charset="0"/>
                <a:sym typeface="Wingdings 2" panose="05020102010507070707" pitchFamily="18" charset="2"/>
              </a:rPr>
              <a:t></a:t>
            </a:r>
            <a:endParaRPr lang="fr-FR" sz="2400" dirty="0">
              <a:latin typeface="Calisto MT" panose="02040603050505030304" pitchFamily="18" charset="0"/>
            </a:endParaRPr>
          </a:p>
        </p:txBody>
      </p:sp>
      <p:sp>
        <p:nvSpPr>
          <p:cNvPr id="15" name="Ellipse 14">
            <a:extLst/>
          </p:cNvPr>
          <p:cNvSpPr/>
          <p:nvPr/>
        </p:nvSpPr>
        <p:spPr>
          <a:xfrm>
            <a:off x="2235226" y="4209955"/>
            <a:ext cx="468312" cy="468313"/>
          </a:xfrm>
          <a:prstGeom prst="ellipse">
            <a:avLst/>
          </a:prstGeom>
        </p:spPr>
        <p:style>
          <a:lnRef idx="1">
            <a:schemeClr val="accent4"/>
          </a:lnRef>
          <a:fillRef idx="3">
            <a:schemeClr val="accent4"/>
          </a:fillRef>
          <a:effectRef idx="2">
            <a:schemeClr val="accent4"/>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fr-FR" sz="2400" dirty="0" smtClean="0">
                <a:latin typeface="Calisto MT" panose="02040603050505030304" pitchFamily="18" charset="0"/>
                <a:sym typeface="Wingdings 2"/>
              </a:rPr>
              <a:t></a:t>
            </a:r>
            <a:endParaRPr lang="fr-FR" sz="2400" dirty="0">
              <a:latin typeface="Calisto MT" panose="02040603050505030304" pitchFamily="18" charset="0"/>
            </a:endParaRPr>
          </a:p>
        </p:txBody>
      </p:sp>
      <p:sp>
        <p:nvSpPr>
          <p:cNvPr id="16" name="Rectangle 2"/>
          <p:cNvSpPr>
            <a:spLocks noChangeArrowheads="1"/>
          </p:cNvSpPr>
          <p:nvPr/>
        </p:nvSpPr>
        <p:spPr bwMode="auto">
          <a:xfrm>
            <a:off x="4668838" y="1579847"/>
            <a:ext cx="5968541" cy="1871282"/>
          </a:xfrm>
          <a:prstGeom prst="rect">
            <a:avLst/>
          </a:prstGeom>
          <a:solidFill>
            <a:schemeClr val="accent1">
              <a:lumMod val="75000"/>
            </a:schemeClr>
          </a:solidFill>
          <a:ln/>
        </p:spPr>
        <p:style>
          <a:lnRef idx="1">
            <a:schemeClr val="accent1"/>
          </a:lnRef>
          <a:fillRef idx="2">
            <a:schemeClr val="accent1"/>
          </a:fillRef>
          <a:effectRef idx="1">
            <a:schemeClr val="accent1"/>
          </a:effectRef>
          <a:fontRef idx="minor">
            <a:schemeClr val="dk1"/>
          </a:fontRef>
        </p:style>
        <p:txBody>
          <a:bodyPr wrap="square">
            <a:spAutoFit/>
          </a:bodyPr>
          <a:lstStyle/>
          <a:p>
            <a:pPr marL="273050" indent="-273050" algn="just">
              <a:lnSpc>
                <a:spcPct val="110000"/>
              </a:lnSpc>
              <a:spcBef>
                <a:spcPts val="300"/>
              </a:spcBef>
              <a:spcAft>
                <a:spcPts val="300"/>
              </a:spcAft>
              <a:buFont typeface="Wingdings" pitchFamily="2" charset="2"/>
              <a:buChar char="v"/>
              <a:defRPr/>
            </a:pPr>
            <a:r>
              <a:rPr lang="fr-FR" altLang="fr-FR" sz="1600" dirty="0" smtClean="0">
                <a:solidFill>
                  <a:schemeClr val="bg1"/>
                </a:solidFill>
                <a:latin typeface="Trebuchet MS" panose="020B0603020202020204" pitchFamily="34" charset="0"/>
                <a:cs typeface="Sakkal Majalla" pitchFamily="2" charset="-78"/>
              </a:rPr>
              <a:t>L’un des piliers sur lesquels est fondé </a:t>
            </a:r>
            <a:r>
              <a:rPr lang="fr-FR" sz="1600" dirty="0" smtClean="0">
                <a:solidFill>
                  <a:schemeClr val="bg1"/>
                </a:solidFill>
                <a:latin typeface="Trebuchet MS" panose="020B0603020202020204" pitchFamily="34" charset="0"/>
                <a:cs typeface="Sakkal Majalla" pitchFamily="2" charset="-78"/>
              </a:rPr>
              <a:t>le </a:t>
            </a:r>
            <a:r>
              <a:rPr lang="fr-FR" sz="1600" dirty="0">
                <a:solidFill>
                  <a:schemeClr val="bg1"/>
                </a:solidFill>
                <a:latin typeface="Trebuchet MS" panose="020B0603020202020204" pitchFamily="34" charset="0"/>
                <a:cs typeface="Sakkal Majalla" pitchFamily="2" charset="-78"/>
              </a:rPr>
              <a:t>régime constitutionnel du </a:t>
            </a:r>
            <a:r>
              <a:rPr lang="fr-FR" sz="1600" dirty="0" smtClean="0">
                <a:solidFill>
                  <a:schemeClr val="bg1"/>
                </a:solidFill>
                <a:latin typeface="Trebuchet MS" panose="020B0603020202020204" pitchFamily="34" charset="0"/>
                <a:cs typeface="Sakkal Majalla" pitchFamily="2" charset="-78"/>
              </a:rPr>
              <a:t>Royaume;</a:t>
            </a:r>
          </a:p>
          <a:p>
            <a:pPr marL="273050" indent="-273050" algn="just">
              <a:lnSpc>
                <a:spcPct val="110000"/>
              </a:lnSpc>
              <a:spcBef>
                <a:spcPts val="300"/>
              </a:spcBef>
              <a:spcAft>
                <a:spcPts val="300"/>
              </a:spcAft>
              <a:buFont typeface="Wingdings" pitchFamily="2" charset="2"/>
              <a:buChar char="v"/>
              <a:defRPr/>
            </a:pPr>
            <a:r>
              <a:rPr lang="fr-FR" sz="1600" i="1" dirty="0" smtClean="0">
                <a:solidFill>
                  <a:schemeClr val="bg1"/>
                </a:solidFill>
                <a:latin typeface="Trebuchet MS" panose="020B0603020202020204" pitchFamily="34" charset="0"/>
              </a:rPr>
              <a:t>Un constituant fondamental pour </a:t>
            </a:r>
            <a:r>
              <a:rPr lang="fr-FR" sz="1600" b="1" i="1" u="sng" dirty="0" smtClean="0">
                <a:solidFill>
                  <a:schemeClr val="bg1"/>
                </a:solidFill>
                <a:latin typeface="Trebuchet MS" panose="020B0603020202020204" pitchFamily="34" charset="0"/>
              </a:rPr>
              <a:t>la mise en œuvre participative</a:t>
            </a:r>
            <a:r>
              <a:rPr lang="fr-FR" sz="1600" i="1" dirty="0" smtClean="0">
                <a:solidFill>
                  <a:schemeClr val="bg1"/>
                </a:solidFill>
                <a:latin typeface="Trebuchet MS" panose="020B0603020202020204" pitchFamily="34" charset="0"/>
              </a:rPr>
              <a:t> du chantier de la régionalisation avancée;</a:t>
            </a:r>
          </a:p>
          <a:p>
            <a:pPr marL="273050" indent="-273050" algn="just">
              <a:lnSpc>
                <a:spcPct val="110000"/>
              </a:lnSpc>
              <a:spcBef>
                <a:spcPts val="300"/>
              </a:spcBef>
              <a:spcAft>
                <a:spcPts val="300"/>
              </a:spcAft>
              <a:buFont typeface="Wingdings" pitchFamily="2" charset="2"/>
              <a:buChar char="v"/>
              <a:defRPr/>
            </a:pPr>
            <a:r>
              <a:rPr lang="fr-FR" sz="1600" i="1" dirty="0" smtClean="0">
                <a:solidFill>
                  <a:schemeClr val="bg1"/>
                </a:solidFill>
                <a:latin typeface="Trebuchet MS" panose="020B0603020202020204" pitchFamily="34" charset="0"/>
              </a:rPr>
              <a:t>Un complément essentiel de la démocratie représentative dans la définition des besoins réels des citoyens.</a:t>
            </a:r>
            <a:endParaRPr lang="ar-MA" altLang="fr-FR" dirty="0">
              <a:solidFill>
                <a:schemeClr val="bg1"/>
              </a:solidFill>
              <a:latin typeface="Sakkal Majalla" pitchFamily="2" charset="-78"/>
              <a:cs typeface="Sakkal Majalla" pitchFamily="2" charset="-78"/>
            </a:endParaRPr>
          </a:p>
        </p:txBody>
      </p:sp>
      <p:sp>
        <p:nvSpPr>
          <p:cNvPr id="17" name="Rectangle 1"/>
          <p:cNvSpPr>
            <a:spLocks noChangeArrowheads="1"/>
          </p:cNvSpPr>
          <p:nvPr/>
        </p:nvSpPr>
        <p:spPr bwMode="auto">
          <a:xfrm>
            <a:off x="611610" y="5481151"/>
            <a:ext cx="32472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68288" indent="-268288">
              <a:lnSpc>
                <a:spcPct val="90000"/>
              </a:lnSpc>
              <a:spcBef>
                <a:spcPct val="20000"/>
              </a:spcBef>
              <a:buBlip>
                <a:blip r:embed="rId3"/>
              </a:buBlip>
              <a:defRPr sz="3200">
                <a:solidFill>
                  <a:schemeClr val="tx1"/>
                </a:solidFill>
                <a:latin typeface="Calibri" panose="020F0502020204030204" pitchFamily="34" charset="0"/>
              </a:defRPr>
            </a:lvl1pPr>
            <a:lvl2pPr marL="742950" indent="-285750">
              <a:lnSpc>
                <a:spcPct val="90000"/>
              </a:lnSpc>
              <a:spcBef>
                <a:spcPct val="20000"/>
              </a:spcBef>
              <a:buBlip>
                <a:blip r:embed="rId4"/>
              </a:buBlip>
              <a:defRPr sz="2800">
                <a:solidFill>
                  <a:schemeClr val="tx1"/>
                </a:solidFill>
                <a:latin typeface="Calibri" panose="020F0502020204030204" pitchFamily="34" charset="0"/>
              </a:defRPr>
            </a:lvl2pPr>
            <a:lvl3pPr marL="1143000" indent="-228600">
              <a:lnSpc>
                <a:spcPct val="90000"/>
              </a:lnSpc>
              <a:spcBef>
                <a:spcPct val="20000"/>
              </a:spcBef>
              <a:buBlip>
                <a:blip r:embed="rId4"/>
              </a:buBlip>
              <a:defRPr sz="2400">
                <a:solidFill>
                  <a:schemeClr val="tx1"/>
                </a:solidFill>
                <a:latin typeface="Calibri" panose="020F0502020204030204" pitchFamily="34" charset="0"/>
              </a:defRPr>
            </a:lvl3pPr>
            <a:lvl4pPr marL="1600200" indent="-228600">
              <a:lnSpc>
                <a:spcPct val="90000"/>
              </a:lnSpc>
              <a:spcBef>
                <a:spcPct val="20000"/>
              </a:spcBef>
              <a:buBlip>
                <a:blip r:embed="rId4"/>
              </a:buBlip>
              <a:defRPr sz="2400">
                <a:solidFill>
                  <a:schemeClr val="tx1"/>
                </a:solidFill>
                <a:latin typeface="Calibri" panose="020F0502020204030204" pitchFamily="34" charset="0"/>
              </a:defRPr>
            </a:lvl4pPr>
            <a:lvl5pPr marL="2057400" indent="-22860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marL="0" indent="0" algn="just">
              <a:lnSpc>
                <a:spcPct val="100000"/>
              </a:lnSpc>
              <a:spcBef>
                <a:spcPct val="0"/>
              </a:spcBef>
              <a:buNone/>
            </a:pPr>
            <a:r>
              <a:rPr lang="fr-FR" sz="1200" dirty="0" smtClean="0">
                <a:latin typeface="Trebuchet MS" panose="020B0603020202020204" pitchFamily="34" charset="0"/>
              </a:rPr>
              <a:t>Pour </a:t>
            </a:r>
            <a:r>
              <a:rPr lang="fr-FR" sz="1200" dirty="0">
                <a:latin typeface="Trebuchet MS" panose="020B0603020202020204" pitchFamily="34" charset="0"/>
              </a:rPr>
              <a:t>favoriser l'implication des citoyennes </a:t>
            </a:r>
            <a:r>
              <a:rPr lang="fr-FR" sz="1200" dirty="0" smtClean="0">
                <a:latin typeface="Trebuchet MS" panose="020B0603020202020204" pitchFamily="34" charset="0"/>
              </a:rPr>
              <a:t>et associations </a:t>
            </a:r>
            <a:r>
              <a:rPr lang="fr-FR" sz="1200" dirty="0">
                <a:latin typeface="Trebuchet MS" panose="020B0603020202020204" pitchFamily="34" charset="0"/>
              </a:rPr>
              <a:t>dans l'élaboration et le suivi des programmes de développement.</a:t>
            </a:r>
            <a:endParaRPr lang="ar-MA" altLang="fr-FR" sz="1200" dirty="0">
              <a:latin typeface="Trebuchet MS" panose="020B0603020202020204" pitchFamily="34" charset="0"/>
            </a:endParaRPr>
          </a:p>
        </p:txBody>
      </p:sp>
      <p:sp>
        <p:nvSpPr>
          <p:cNvPr id="18" name="Rectangle 2"/>
          <p:cNvSpPr>
            <a:spLocks noChangeArrowheads="1"/>
          </p:cNvSpPr>
          <p:nvPr/>
        </p:nvSpPr>
        <p:spPr bwMode="auto">
          <a:xfrm>
            <a:off x="8434988" y="5313650"/>
            <a:ext cx="3397155"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20000"/>
              </a:spcBef>
              <a:buBlip>
                <a:blip r:embed="rId3"/>
              </a:buBlip>
              <a:defRPr sz="3200">
                <a:solidFill>
                  <a:schemeClr val="tx1"/>
                </a:solidFill>
                <a:latin typeface="Calibri" panose="020F0502020204030204" pitchFamily="34" charset="0"/>
              </a:defRPr>
            </a:lvl1pPr>
            <a:lvl2pPr marL="742950" indent="-285750">
              <a:lnSpc>
                <a:spcPct val="90000"/>
              </a:lnSpc>
              <a:spcBef>
                <a:spcPct val="20000"/>
              </a:spcBef>
              <a:buBlip>
                <a:blip r:embed="rId4"/>
              </a:buBlip>
              <a:defRPr sz="2800">
                <a:solidFill>
                  <a:schemeClr val="tx1"/>
                </a:solidFill>
                <a:latin typeface="Calibri" panose="020F0502020204030204" pitchFamily="34" charset="0"/>
              </a:defRPr>
            </a:lvl2pPr>
            <a:lvl3pPr marL="1143000" indent="-228600">
              <a:lnSpc>
                <a:spcPct val="90000"/>
              </a:lnSpc>
              <a:spcBef>
                <a:spcPct val="20000"/>
              </a:spcBef>
              <a:buBlip>
                <a:blip r:embed="rId4"/>
              </a:buBlip>
              <a:defRPr sz="2400">
                <a:solidFill>
                  <a:schemeClr val="tx1"/>
                </a:solidFill>
                <a:latin typeface="Calibri" panose="020F0502020204030204" pitchFamily="34" charset="0"/>
              </a:defRPr>
            </a:lvl3pPr>
            <a:lvl4pPr marL="1600200" indent="-228600">
              <a:lnSpc>
                <a:spcPct val="90000"/>
              </a:lnSpc>
              <a:spcBef>
                <a:spcPct val="20000"/>
              </a:spcBef>
              <a:buBlip>
                <a:blip r:embed="rId4"/>
              </a:buBlip>
              <a:defRPr sz="2400">
                <a:solidFill>
                  <a:schemeClr val="tx1"/>
                </a:solidFill>
                <a:latin typeface="Calibri" panose="020F0502020204030204" pitchFamily="34" charset="0"/>
              </a:defRPr>
            </a:lvl4pPr>
            <a:lvl5pPr marL="2057400" indent="-22860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just">
              <a:lnSpc>
                <a:spcPct val="100000"/>
              </a:lnSpc>
              <a:spcBef>
                <a:spcPct val="0"/>
              </a:spcBef>
              <a:buNone/>
            </a:pPr>
            <a:r>
              <a:rPr lang="fr-FR" altLang="fr-FR" sz="1200" dirty="0">
                <a:latin typeface="Trebuchet MS" panose="020B0603020202020204" pitchFamily="34" charset="0"/>
              </a:rPr>
              <a:t>La </a:t>
            </a:r>
            <a:r>
              <a:rPr lang="fr-FR" altLang="fr-FR" sz="1200" dirty="0" smtClean="0">
                <a:latin typeface="Trebuchet MS" panose="020B0603020202020204" pitchFamily="34" charset="0"/>
              </a:rPr>
              <a:t>constitution et </a:t>
            </a:r>
            <a:r>
              <a:rPr lang="fr-FR" altLang="fr-FR" sz="1200" dirty="0">
                <a:latin typeface="Trebuchet MS" panose="020B0603020202020204" pitchFamily="34" charset="0"/>
              </a:rPr>
              <a:t>les LOCT</a:t>
            </a:r>
            <a:r>
              <a:rPr lang="fr-FR" altLang="fr-FR" sz="1200" dirty="0" smtClean="0">
                <a:latin typeface="Trebuchet MS" panose="020B0603020202020204" pitchFamily="34" charset="0"/>
              </a:rPr>
              <a:t> ont consacré le </a:t>
            </a:r>
            <a:r>
              <a:rPr lang="fr-FR" altLang="fr-FR" sz="1200" dirty="0">
                <a:latin typeface="Trebuchet MS" panose="020B0603020202020204" pitchFamily="34" charset="0"/>
              </a:rPr>
              <a:t>droit des citoyens et </a:t>
            </a:r>
            <a:r>
              <a:rPr lang="fr-FR" altLang="fr-FR" sz="1200" dirty="0" smtClean="0">
                <a:latin typeface="Trebuchet MS" panose="020B0603020202020204" pitchFamily="34" charset="0"/>
              </a:rPr>
              <a:t>associations à </a:t>
            </a:r>
            <a:r>
              <a:rPr lang="fr-FR" sz="1200" dirty="0">
                <a:latin typeface="Trebuchet MS" panose="020B0603020202020204" pitchFamily="34" charset="0"/>
              </a:rPr>
              <a:t>demander l'inscription à l'ordre du jour </a:t>
            </a:r>
            <a:r>
              <a:rPr lang="fr-FR" sz="1200" dirty="0" smtClean="0">
                <a:latin typeface="Trebuchet MS" panose="020B0603020202020204" pitchFamily="34" charset="0"/>
              </a:rPr>
              <a:t>des conseils des CT d'une </a:t>
            </a:r>
            <a:r>
              <a:rPr lang="fr-FR" sz="1200" dirty="0">
                <a:latin typeface="Trebuchet MS" panose="020B0603020202020204" pitchFamily="34" charset="0"/>
              </a:rPr>
              <a:t>question relevant de </a:t>
            </a:r>
            <a:r>
              <a:rPr lang="fr-FR" sz="1200" dirty="0" smtClean="0">
                <a:latin typeface="Trebuchet MS" panose="020B0603020202020204" pitchFamily="34" charset="0"/>
              </a:rPr>
              <a:t>leurs attributions.</a:t>
            </a:r>
            <a:endParaRPr lang="fr-FR" altLang="fr-FR" sz="1200" dirty="0">
              <a:latin typeface="Trebuchet MS" panose="020B0603020202020204" pitchFamily="34" charset="0"/>
            </a:endParaRPr>
          </a:p>
        </p:txBody>
      </p:sp>
      <p:sp>
        <p:nvSpPr>
          <p:cNvPr id="19" name="Plus 18"/>
          <p:cNvSpPr/>
          <p:nvPr/>
        </p:nvSpPr>
        <p:spPr bwMode="auto">
          <a:xfrm>
            <a:off x="3993148" y="4745630"/>
            <a:ext cx="452685" cy="414859"/>
          </a:xfrm>
          <a:prstGeom prst="mathPlus">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eaLnBrk="1" hangingPunct="1">
              <a:defRPr/>
            </a:pPr>
            <a:endParaRPr lang="fr-FR" sz="2300" dirty="0">
              <a:solidFill>
                <a:srgbClr val="FFFFFF"/>
              </a:solidFill>
              <a:effectLst>
                <a:outerShdw blurRad="38100" dist="38100" dir="2700000" algn="tl">
                  <a:srgbClr val="000000">
                    <a:alpha val="43137"/>
                  </a:srgbClr>
                </a:outerShdw>
              </a:effectLst>
              <a:latin typeface="Segoe" pitchFamily="34" charset="0"/>
            </a:endParaRPr>
          </a:p>
        </p:txBody>
      </p:sp>
      <p:sp>
        <p:nvSpPr>
          <p:cNvPr id="20" name="Égal 19"/>
          <p:cNvSpPr/>
          <p:nvPr/>
        </p:nvSpPr>
        <p:spPr bwMode="auto">
          <a:xfrm>
            <a:off x="2750040" y="2234154"/>
            <a:ext cx="556543" cy="457200"/>
          </a:xfrm>
          <a:prstGeom prst="mathEqual">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lIns="91436" tIns="45718" rIns="91436" bIns="45718" anchor="ctr"/>
          <a:lstStyle/>
          <a:p>
            <a:pPr algn="ctr" defTabSz="914099" eaLnBrk="1" hangingPunct="1">
              <a:defRPr/>
            </a:pPr>
            <a:endParaRPr lang="fr-FR" sz="2300" dirty="0">
              <a:solidFill>
                <a:srgbClr val="FFFFFF"/>
              </a:solidFill>
              <a:effectLst>
                <a:outerShdw blurRad="38100" dist="38100" dir="2700000" algn="tl">
                  <a:srgbClr val="000000">
                    <a:alpha val="43137"/>
                  </a:srgbClr>
                </a:outerShdw>
              </a:effectLst>
              <a:latin typeface="Segoe" pitchFamily="34" charset="0"/>
            </a:endParaRPr>
          </a:p>
        </p:txBody>
      </p:sp>
      <p:cxnSp>
        <p:nvCxnSpPr>
          <p:cNvPr id="23" name="Connecteur droit 22"/>
          <p:cNvCxnSpPr/>
          <p:nvPr/>
        </p:nvCxnSpPr>
        <p:spPr>
          <a:xfrm>
            <a:off x="4253887" y="5313650"/>
            <a:ext cx="0" cy="1348439"/>
          </a:xfrm>
          <a:prstGeom prst="line">
            <a:avLst/>
          </a:prstGeom>
          <a:ln w="38100" cmpd="sng">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000" b="1" dirty="0" smtClean="0">
                <a:latin typeface="Trebuchet MS" panose="020B0603020202020204" pitchFamily="34" charset="0"/>
                <a:cs typeface="Times New Roman" panose="02020603050405020304" pitchFamily="18" charset="0"/>
              </a:rPr>
              <a:t>Conditions et outils d’exercice des compétences</a:t>
            </a:r>
            <a:endParaRPr lang="fr-FR" altLang="fr-FR" sz="3000" b="1" dirty="0">
              <a:latin typeface="Trebuchet MS" panose="020B0603020202020204" pitchFamily="34" charset="0"/>
              <a:cs typeface="Times New Roman" panose="02020603050405020304" pitchFamily="18" charset="0"/>
            </a:endParaRPr>
          </a:p>
        </p:txBody>
      </p:sp>
      <p:sp>
        <p:nvSpPr>
          <p:cNvPr id="2" name="Flèche courbée vers la droite 1"/>
          <p:cNvSpPr/>
          <p:nvPr/>
        </p:nvSpPr>
        <p:spPr>
          <a:xfrm>
            <a:off x="3387044" y="1626078"/>
            <a:ext cx="638812" cy="1982107"/>
          </a:xfrm>
          <a:prstGeom prst="curved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fr-FR">
              <a:solidFill>
                <a:schemeClr val="tx1"/>
              </a:solidFill>
            </a:endParaRPr>
          </a:p>
        </p:txBody>
      </p:sp>
      <p:sp>
        <p:nvSpPr>
          <p:cNvPr id="25" name="Rectangle à coins arrondis 24">
            <a:extLst/>
          </p:cNvPr>
          <p:cNvSpPr/>
          <p:nvPr/>
        </p:nvSpPr>
        <p:spPr>
          <a:xfrm>
            <a:off x="5007861" y="4667657"/>
            <a:ext cx="2582862" cy="647700"/>
          </a:xfrm>
          <a:prstGeom prst="roundRect">
            <a:avLst>
              <a:gd name="adj" fmla="val 12804"/>
            </a:avLst>
          </a:prstGeom>
        </p:spPr>
        <p:style>
          <a:lnRef idx="1">
            <a:schemeClr val="accent2"/>
          </a:lnRef>
          <a:fillRef idx="2">
            <a:schemeClr val="accent2"/>
          </a:fillRef>
          <a:effectRef idx="1">
            <a:schemeClr val="accent2"/>
          </a:effectRef>
          <a:fontRef idx="minor">
            <a:schemeClr val="dk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fr-FR" altLang="fr-FR" sz="1600" b="1" dirty="0" smtClean="0">
                <a:solidFill>
                  <a:srgbClr val="002060"/>
                </a:solidFill>
                <a:latin typeface="Trebuchet MS" panose="020B0603020202020204" pitchFamily="34" charset="0"/>
                <a:cs typeface="Sakkal Majalla" pitchFamily="2" charset="-78"/>
              </a:rPr>
              <a:t>Création des instances </a:t>
            </a:r>
            <a:r>
              <a:rPr lang="fr-FR" sz="1600" b="1" dirty="0">
                <a:solidFill>
                  <a:srgbClr val="002060"/>
                </a:solidFill>
                <a:latin typeface="Trebuchet MS" panose="020B0603020202020204" pitchFamily="34" charset="0"/>
                <a:cs typeface="Sakkal Majalla" pitchFamily="2" charset="-78"/>
              </a:rPr>
              <a:t>consultatives</a:t>
            </a:r>
            <a:r>
              <a:rPr lang="fr-FR" dirty="0"/>
              <a:t> </a:t>
            </a:r>
            <a:r>
              <a:rPr lang="fr-FR" altLang="fr-FR" sz="1600" b="1" dirty="0" smtClean="0">
                <a:solidFill>
                  <a:srgbClr val="002060"/>
                </a:solidFill>
                <a:latin typeface="Trebuchet MS" panose="020B0603020202020204" pitchFamily="34" charset="0"/>
                <a:cs typeface="Sakkal Majalla" pitchFamily="2" charset="-78"/>
              </a:rPr>
              <a:t> </a:t>
            </a:r>
            <a:r>
              <a:rPr lang="fr-FR" altLang="fr-FR" sz="2000" b="1" dirty="0" smtClean="0">
                <a:solidFill>
                  <a:srgbClr val="002060"/>
                </a:solidFill>
                <a:latin typeface="Sakkal Majalla" pitchFamily="2" charset="-78"/>
                <a:cs typeface="Sakkal Majalla" pitchFamily="2" charset="-78"/>
              </a:rPr>
              <a:t> </a:t>
            </a:r>
            <a:endParaRPr lang="fr-FR" altLang="fr-FR" sz="2000" b="1" dirty="0">
              <a:solidFill>
                <a:srgbClr val="002060"/>
              </a:solidFill>
              <a:latin typeface="Sakkal Majalla" pitchFamily="2" charset="-78"/>
              <a:cs typeface="Sakkal Majalla" pitchFamily="2" charset="-78"/>
            </a:endParaRPr>
          </a:p>
        </p:txBody>
      </p:sp>
      <p:sp>
        <p:nvSpPr>
          <p:cNvPr id="26" name="Ellipse 25">
            <a:extLst/>
          </p:cNvPr>
          <p:cNvSpPr/>
          <p:nvPr/>
        </p:nvSpPr>
        <p:spPr>
          <a:xfrm>
            <a:off x="6065136" y="4228713"/>
            <a:ext cx="468312" cy="468313"/>
          </a:xfrm>
          <a:prstGeom prst="ellipse">
            <a:avLst/>
          </a:prstGeom>
        </p:spPr>
        <p:style>
          <a:lnRef idx="1">
            <a:schemeClr val="accent4"/>
          </a:lnRef>
          <a:fillRef idx="3">
            <a:schemeClr val="accent4"/>
          </a:fillRef>
          <a:effectRef idx="2">
            <a:schemeClr val="accent4"/>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fr-FR" sz="2400" dirty="0" smtClean="0">
                <a:latin typeface="Calisto MT" panose="02040603050505030304" pitchFamily="18" charset="0"/>
                <a:sym typeface="Wingdings 2" panose="05020102010507070707" pitchFamily="18" charset="2"/>
              </a:rPr>
              <a:t></a:t>
            </a:r>
            <a:endParaRPr lang="fr-FR" sz="2400" dirty="0">
              <a:latin typeface="Calisto MT" panose="02040603050505030304" pitchFamily="18" charset="0"/>
            </a:endParaRPr>
          </a:p>
        </p:txBody>
      </p:sp>
      <p:sp>
        <p:nvSpPr>
          <p:cNvPr id="27" name="Rectangle 1"/>
          <p:cNvSpPr>
            <a:spLocks noChangeArrowheads="1"/>
          </p:cNvSpPr>
          <p:nvPr/>
        </p:nvSpPr>
        <p:spPr bwMode="auto">
          <a:xfrm>
            <a:off x="4468681" y="5461760"/>
            <a:ext cx="391160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68288" indent="-268288">
              <a:lnSpc>
                <a:spcPct val="90000"/>
              </a:lnSpc>
              <a:spcBef>
                <a:spcPct val="20000"/>
              </a:spcBef>
              <a:buBlip>
                <a:blip r:embed="rId3"/>
              </a:buBlip>
              <a:defRPr sz="3200">
                <a:solidFill>
                  <a:schemeClr val="tx1"/>
                </a:solidFill>
                <a:latin typeface="Calibri" panose="020F0502020204030204" pitchFamily="34" charset="0"/>
              </a:defRPr>
            </a:lvl1pPr>
            <a:lvl2pPr marL="742950" indent="-285750">
              <a:lnSpc>
                <a:spcPct val="90000"/>
              </a:lnSpc>
              <a:spcBef>
                <a:spcPct val="20000"/>
              </a:spcBef>
              <a:buBlip>
                <a:blip r:embed="rId4"/>
              </a:buBlip>
              <a:defRPr sz="2800">
                <a:solidFill>
                  <a:schemeClr val="tx1"/>
                </a:solidFill>
                <a:latin typeface="Calibri" panose="020F0502020204030204" pitchFamily="34" charset="0"/>
              </a:defRPr>
            </a:lvl2pPr>
            <a:lvl3pPr marL="1143000" indent="-228600">
              <a:lnSpc>
                <a:spcPct val="90000"/>
              </a:lnSpc>
              <a:spcBef>
                <a:spcPct val="20000"/>
              </a:spcBef>
              <a:buBlip>
                <a:blip r:embed="rId4"/>
              </a:buBlip>
              <a:defRPr sz="2400">
                <a:solidFill>
                  <a:schemeClr val="tx1"/>
                </a:solidFill>
                <a:latin typeface="Calibri" panose="020F0502020204030204" pitchFamily="34" charset="0"/>
              </a:defRPr>
            </a:lvl3pPr>
            <a:lvl4pPr marL="1600200" indent="-228600">
              <a:lnSpc>
                <a:spcPct val="90000"/>
              </a:lnSpc>
              <a:spcBef>
                <a:spcPct val="20000"/>
              </a:spcBef>
              <a:buBlip>
                <a:blip r:embed="rId4"/>
              </a:buBlip>
              <a:defRPr sz="2400">
                <a:solidFill>
                  <a:schemeClr val="tx1"/>
                </a:solidFill>
                <a:latin typeface="Calibri" panose="020F0502020204030204" pitchFamily="34" charset="0"/>
              </a:defRPr>
            </a:lvl4pPr>
            <a:lvl5pPr marL="2057400" indent="-22860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nSpc>
                <a:spcPct val="100000"/>
              </a:lnSpc>
              <a:spcBef>
                <a:spcPct val="0"/>
              </a:spcBef>
              <a:buFont typeface="Calibri" panose="020F0502020204030204" pitchFamily="34" charset="0"/>
              <a:buAutoNum type="arabicParenR"/>
            </a:pPr>
            <a:r>
              <a:rPr lang="fr-FR" sz="1200" dirty="0">
                <a:latin typeface="Trebuchet MS" panose="020B0603020202020204" pitchFamily="34" charset="0"/>
              </a:rPr>
              <a:t>une instance </a:t>
            </a:r>
            <a:r>
              <a:rPr lang="fr-FR" sz="1200" dirty="0" smtClean="0">
                <a:latin typeface="Trebuchet MS" panose="020B0603020202020204" pitchFamily="34" charset="0"/>
              </a:rPr>
              <a:t>consultative d'équité</a:t>
            </a:r>
            <a:r>
              <a:rPr lang="fr-FR" sz="1200" dirty="0">
                <a:latin typeface="Trebuchet MS" panose="020B0603020202020204" pitchFamily="34" charset="0"/>
              </a:rPr>
              <a:t>, </a:t>
            </a:r>
            <a:r>
              <a:rPr lang="fr-FR" sz="1200" dirty="0" smtClean="0">
                <a:latin typeface="Trebuchet MS" panose="020B0603020202020204" pitchFamily="34" charset="0"/>
              </a:rPr>
              <a:t>égalité </a:t>
            </a:r>
            <a:r>
              <a:rPr lang="fr-FR" sz="1200" dirty="0">
                <a:latin typeface="Trebuchet MS" panose="020B0603020202020204" pitchFamily="34" charset="0"/>
              </a:rPr>
              <a:t>des chances et de l'approche </a:t>
            </a:r>
            <a:r>
              <a:rPr lang="fr-FR" sz="1200" dirty="0" smtClean="0">
                <a:latin typeface="Trebuchet MS" panose="020B0603020202020204" pitchFamily="34" charset="0"/>
              </a:rPr>
              <a:t>genre;</a:t>
            </a:r>
          </a:p>
          <a:p>
            <a:pPr>
              <a:lnSpc>
                <a:spcPct val="100000"/>
              </a:lnSpc>
              <a:spcBef>
                <a:spcPct val="0"/>
              </a:spcBef>
              <a:buFont typeface="Calibri" panose="020F0502020204030204" pitchFamily="34" charset="0"/>
              <a:buAutoNum type="arabicParenR"/>
            </a:pPr>
            <a:r>
              <a:rPr lang="fr-FR" sz="1200" dirty="0">
                <a:latin typeface="Trebuchet MS" panose="020B0603020202020204" pitchFamily="34" charset="0"/>
              </a:rPr>
              <a:t>une instance consultative chargée de l'étude des questions </a:t>
            </a:r>
            <a:r>
              <a:rPr lang="fr-FR" sz="1200" dirty="0" smtClean="0">
                <a:latin typeface="Trebuchet MS" panose="020B0603020202020204" pitchFamily="34" charset="0"/>
              </a:rPr>
              <a:t>concernant les jeunes;</a:t>
            </a:r>
          </a:p>
          <a:p>
            <a:pPr>
              <a:lnSpc>
                <a:spcPct val="100000"/>
              </a:lnSpc>
              <a:spcBef>
                <a:spcPct val="0"/>
              </a:spcBef>
              <a:buFont typeface="Calibri" panose="020F0502020204030204" pitchFamily="34" charset="0"/>
              <a:buAutoNum type="arabicParenR"/>
            </a:pPr>
            <a:r>
              <a:rPr lang="fr-FR" sz="1200" dirty="0">
                <a:latin typeface="Trebuchet MS" panose="020B0603020202020204" pitchFamily="34" charset="0"/>
              </a:rPr>
              <a:t>une instance consultative </a:t>
            </a:r>
            <a:r>
              <a:rPr lang="fr-FR" sz="1200" dirty="0" smtClean="0">
                <a:latin typeface="Trebuchet MS" panose="020B0603020202020204" pitchFamily="34" charset="0"/>
              </a:rPr>
              <a:t>chargée des affaires </a:t>
            </a:r>
            <a:r>
              <a:rPr lang="fr-FR" sz="1200" dirty="0">
                <a:latin typeface="Trebuchet MS" panose="020B0603020202020204" pitchFamily="34" charset="0"/>
              </a:rPr>
              <a:t>régionales à caractère économique</a:t>
            </a:r>
            <a:r>
              <a:rPr lang="fr-FR" sz="1200" dirty="0" smtClean="0">
                <a:latin typeface="Trebuchet MS" panose="020B0603020202020204" pitchFamily="34" charset="0"/>
              </a:rPr>
              <a:t>.</a:t>
            </a:r>
            <a:endParaRPr lang="ar-MA" altLang="fr-FR" sz="1200" dirty="0">
              <a:latin typeface="Trebuchet MS" panose="020B0603020202020204" pitchFamily="34" charset="0"/>
            </a:endParaRPr>
          </a:p>
        </p:txBody>
      </p:sp>
      <p:sp>
        <p:nvSpPr>
          <p:cNvPr id="28" name="Plus 27"/>
          <p:cNvSpPr/>
          <p:nvPr/>
        </p:nvSpPr>
        <p:spPr bwMode="auto">
          <a:xfrm>
            <a:off x="8011537" y="4708254"/>
            <a:ext cx="452685" cy="414859"/>
          </a:xfrm>
          <a:prstGeom prst="mathPlus">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eaLnBrk="1" hangingPunct="1">
              <a:defRPr/>
            </a:pPr>
            <a:endParaRPr lang="fr-FR" sz="2300" dirty="0">
              <a:solidFill>
                <a:srgbClr val="FFFFFF"/>
              </a:solidFill>
              <a:effectLst>
                <a:outerShdw blurRad="38100" dist="38100" dir="2700000" algn="tl">
                  <a:srgbClr val="000000">
                    <a:alpha val="43137"/>
                  </a:srgbClr>
                </a:outerShdw>
              </a:effectLst>
              <a:latin typeface="Segoe" pitchFamily="34" charset="0"/>
            </a:endParaRPr>
          </a:p>
        </p:txBody>
      </p:sp>
      <p:cxnSp>
        <p:nvCxnSpPr>
          <p:cNvPr id="29" name="Connecteur droit 28"/>
          <p:cNvCxnSpPr/>
          <p:nvPr/>
        </p:nvCxnSpPr>
        <p:spPr>
          <a:xfrm>
            <a:off x="8243482" y="5296599"/>
            <a:ext cx="0" cy="1348439"/>
          </a:xfrm>
          <a:prstGeom prst="line">
            <a:avLst/>
          </a:prstGeom>
          <a:ln w="38100" cmpd="sng">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31"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5</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19828305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Espace réservé du numéro de diapositive 4"/>
          <p:cNvSpPr>
            <a:spLocks noGrp="1"/>
          </p:cNvSpPr>
          <p:nvPr>
            <p:ph type="sldNum" sz="quarter" idx="12"/>
          </p:nvPr>
        </p:nvSpPr>
        <p:spPr bwMode="auto">
          <a:noFill/>
          <a:ln>
            <a:miter lim="800000"/>
            <a:headEnd/>
            <a:tailEnd/>
          </a:ln>
        </p:spPr>
        <p:txBody>
          <a:bodyPr wrap="square" lIns="91440" tIns="45720" rIns="91440" bIns="45720" numCol="1" anchorCtr="0" compatLnSpc="1">
            <a:prstTxWarp prst="textNoShape">
              <a:avLst/>
            </a:prstTxWarp>
          </a:bodyPr>
          <a:lstStyle/>
          <a:p>
            <a:endParaRPr lang="en-US" altLang="fr-FR" sz="1200" dirty="0">
              <a:solidFill>
                <a:schemeClr val="bg1"/>
              </a:solidFill>
              <a:cs typeface="Arial" pitchFamily="34" charset="0"/>
            </a:endParaRPr>
          </a:p>
        </p:txBody>
      </p:sp>
      <p:sp>
        <p:nvSpPr>
          <p:cNvPr id="6" name="Rectangle 5"/>
          <p:cNvSpPr/>
          <p:nvPr/>
        </p:nvSpPr>
        <p:spPr>
          <a:xfrm>
            <a:off x="2666976" y="2393278"/>
            <a:ext cx="6786610" cy="2000264"/>
          </a:xfrm>
          <a:prstGeom prst="rect">
            <a:avLst/>
          </a:prstGeom>
          <a:solidFill>
            <a:schemeClr val="accent2">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r-FR" sz="3200" b="1" dirty="0">
                <a:solidFill>
                  <a:srgbClr val="002060"/>
                </a:solidFill>
                <a:latin typeface="Trebuchet MS" panose="020B0603020202020204" pitchFamily="34" charset="0"/>
                <a:cs typeface="Times New Roman" panose="02020603050405020304" pitchFamily="18" charset="0"/>
              </a:rPr>
              <a:t>Les </a:t>
            </a:r>
            <a:r>
              <a:rPr lang="fr-FR" sz="3200" b="1" dirty="0" smtClean="0">
                <a:solidFill>
                  <a:srgbClr val="002060"/>
                </a:solidFill>
                <a:latin typeface="Trebuchet MS" panose="020B0603020202020204" pitchFamily="34" charset="0"/>
                <a:cs typeface="Times New Roman" panose="02020603050405020304" pitchFamily="18" charset="0"/>
              </a:rPr>
              <a:t>outils </a:t>
            </a:r>
            <a:r>
              <a:rPr lang="fr-FR" sz="3200" b="1" dirty="0">
                <a:solidFill>
                  <a:srgbClr val="002060"/>
                </a:solidFill>
                <a:latin typeface="Trebuchet MS" panose="020B0603020202020204" pitchFamily="34" charset="0"/>
                <a:cs typeface="Times New Roman" panose="02020603050405020304" pitchFamily="18" charset="0"/>
              </a:rPr>
              <a:t>de programmation du développement et d’aménagement du territoire</a:t>
            </a:r>
            <a:endParaRPr lang="fr-FR" sz="3200" b="1" i="1" dirty="0">
              <a:solidFill>
                <a:srgbClr val="002060"/>
              </a:solidFill>
              <a:latin typeface="Candara" pitchFamily="34" charset="0"/>
              <a:cs typeface="Times New Roman" pitchFamily="18" charset="0"/>
            </a:endParaRPr>
          </a:p>
        </p:txBody>
      </p:sp>
      <p:pic>
        <p:nvPicPr>
          <p:cNvPr id="9"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000" b="1" dirty="0" smtClean="0">
                <a:latin typeface="Trebuchet MS" panose="020B0603020202020204" pitchFamily="34" charset="0"/>
                <a:cs typeface="Times New Roman" panose="02020603050405020304" pitchFamily="18" charset="0"/>
              </a:rPr>
              <a:t>Conditions et outils d’exercice des compétences</a:t>
            </a:r>
            <a:endParaRPr lang="fr-FR" altLang="fr-FR" sz="3000" b="1" dirty="0">
              <a:latin typeface="Trebuchet MS" panose="020B0603020202020204" pitchFamily="34" charset="0"/>
              <a:cs typeface="Times New Roman" panose="02020603050405020304" pitchFamily="18" charset="0"/>
            </a:endParaRPr>
          </a:p>
        </p:txBody>
      </p:sp>
      <p:sp>
        <p:nvSpPr>
          <p:cNvPr id="7"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6</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41097048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Espace réservé du texte 2"/>
          <p:cNvSpPr>
            <a:spLocks noGrp="1"/>
          </p:cNvSpPr>
          <p:nvPr>
            <p:ph type="body" sz="half" idx="1"/>
          </p:nvPr>
        </p:nvSpPr>
        <p:spPr>
          <a:xfrm>
            <a:off x="646533" y="1501521"/>
            <a:ext cx="11041810" cy="4942412"/>
          </a:xfrm>
          <a:ln w="57150"/>
        </p:spPr>
        <p:txBody>
          <a:bodyPr>
            <a:noAutofit/>
          </a:bodyPr>
          <a:lstStyle/>
          <a:p>
            <a:pPr>
              <a:spcBef>
                <a:spcPts val="0"/>
              </a:spcBef>
              <a:buFont typeface="Wingdings" pitchFamily="2" charset="2"/>
              <a:buChar char="§"/>
              <a:defRPr/>
            </a:pPr>
            <a:r>
              <a:rPr lang="fr-FR" sz="1600" b="1" i="1" dirty="0">
                <a:solidFill>
                  <a:srgbClr val="002060"/>
                </a:solidFill>
                <a:latin typeface="Trebuchet MS" panose="020B0603020202020204" pitchFamily="34" charset="0"/>
              </a:rPr>
              <a:t>Mise en place du SRAT</a:t>
            </a:r>
          </a:p>
          <a:p>
            <a:pPr>
              <a:spcBef>
                <a:spcPts val="0"/>
              </a:spcBef>
              <a:buNone/>
              <a:defRPr/>
            </a:pPr>
            <a:endParaRPr lang="fr-FR" sz="900" i="1" dirty="0">
              <a:solidFill>
                <a:srgbClr val="002060"/>
              </a:solidFill>
              <a:latin typeface="Trebuchet MS" panose="020B0603020202020204" pitchFamily="34" charset="0"/>
            </a:endParaRPr>
          </a:p>
          <a:p>
            <a:pPr marL="442913" indent="-263525" algn="just">
              <a:spcBef>
                <a:spcPts val="0"/>
              </a:spcBef>
              <a:defRPr/>
            </a:pPr>
            <a:r>
              <a:rPr lang="fr-FR" altLang="fr-FR" sz="1400" i="1" dirty="0">
                <a:latin typeface="Trebuchet MS" panose="020B0603020202020204" pitchFamily="34" charset="0"/>
              </a:rPr>
              <a:t>Le schéma régional d'aménagement du territoire (SRAT) est un document de référence pour l'aménagement de l'espace de l'ensemble du territoire de la région pour </a:t>
            </a:r>
            <a:r>
              <a:rPr lang="fr-FR" altLang="fr-FR" sz="1400" b="1" i="1" dirty="0">
                <a:solidFill>
                  <a:srgbClr val="FF0000"/>
                </a:solidFill>
                <a:latin typeface="Trebuchet MS" panose="020B0603020202020204" pitchFamily="34" charset="0"/>
              </a:rPr>
              <a:t>une durée de 25 ans </a:t>
            </a:r>
            <a:r>
              <a:rPr lang="fr-FR" altLang="fr-FR" sz="1400" dirty="0">
                <a:latin typeface="Trebuchet MS" panose="020B0603020202020204" pitchFamily="34" charset="0"/>
              </a:rPr>
              <a:t>;</a:t>
            </a:r>
          </a:p>
          <a:p>
            <a:pPr marL="179388" indent="0" algn="just">
              <a:spcBef>
                <a:spcPts val="0"/>
              </a:spcBef>
              <a:buNone/>
              <a:defRPr/>
            </a:pPr>
            <a:endParaRPr lang="fr-FR" altLang="fr-FR" sz="1000" i="1" dirty="0">
              <a:latin typeface="Trebuchet MS" panose="020B0603020202020204" pitchFamily="34" charset="0"/>
            </a:endParaRPr>
          </a:p>
          <a:p>
            <a:pPr marL="442913" indent="-263525" algn="just">
              <a:spcBef>
                <a:spcPts val="0"/>
              </a:spcBef>
              <a:defRPr/>
            </a:pPr>
            <a:r>
              <a:rPr lang="fr-FR" altLang="fr-FR" sz="1400" i="1" dirty="0">
                <a:latin typeface="Trebuchet MS" panose="020B0603020202020204" pitchFamily="34" charset="0"/>
              </a:rPr>
              <a:t>Le conseil de la région met en place, sous la supervision de son président, et avec l’assistance du Wali, le SRAT conformément aux lois et règlements en vigueur et dans le cadre des orientations de la politique publique d'aménagement du territoire adoptée au niveau national.</a:t>
            </a:r>
          </a:p>
          <a:p>
            <a:pPr marL="623888" algn="just">
              <a:spcBef>
                <a:spcPts val="0"/>
              </a:spcBef>
              <a:buNone/>
              <a:defRPr/>
            </a:pPr>
            <a:endParaRPr lang="fr-FR" altLang="fr-FR" sz="1600" i="1" dirty="0">
              <a:latin typeface="Trebuchet MS" panose="020B0603020202020204" pitchFamily="34" charset="0"/>
            </a:endParaRPr>
          </a:p>
          <a:p>
            <a:pPr>
              <a:spcBef>
                <a:spcPts val="0"/>
              </a:spcBef>
              <a:buFont typeface="Wingdings" pitchFamily="2" charset="2"/>
              <a:buChar char="§"/>
              <a:defRPr/>
            </a:pPr>
            <a:r>
              <a:rPr lang="fr-FR" altLang="fr-FR" sz="1600" b="1" i="1" dirty="0">
                <a:solidFill>
                  <a:srgbClr val="002060"/>
                </a:solidFill>
                <a:latin typeface="Trebuchet MS" panose="020B0603020202020204" pitchFamily="34" charset="0"/>
              </a:rPr>
              <a:t>Objectifs du SRAT</a:t>
            </a:r>
          </a:p>
          <a:p>
            <a:pPr marL="274320" indent="-274320" algn="just">
              <a:spcBef>
                <a:spcPts val="0"/>
              </a:spcBef>
              <a:buNone/>
              <a:defRPr/>
            </a:pPr>
            <a:endParaRPr lang="fr-FR" altLang="fr-FR" sz="900" i="1" dirty="0">
              <a:solidFill>
                <a:srgbClr val="002060"/>
              </a:solidFill>
              <a:latin typeface="Trebuchet MS" panose="020B0603020202020204" pitchFamily="34" charset="0"/>
            </a:endParaRPr>
          </a:p>
          <a:p>
            <a:pPr marL="442913" indent="-263525" algn="just">
              <a:spcBef>
                <a:spcPts val="0"/>
              </a:spcBef>
              <a:buClr>
                <a:srgbClr val="C00000"/>
              </a:buClr>
              <a:defRPr/>
            </a:pPr>
            <a:r>
              <a:rPr lang="fr-FR" altLang="fr-FR" sz="1400" i="1" dirty="0">
                <a:latin typeface="Trebuchet MS" panose="020B0603020202020204" pitchFamily="34" charset="0"/>
              </a:rPr>
              <a:t>Parvenir à une entente entre l'Etat et la région sur les mesures d'aménagement de l'espace et de sa mise à niveau, selon une vision stratégique et prospective, de manière à permettre de définir les orientations et les choix du développement régional.</a:t>
            </a:r>
          </a:p>
          <a:p>
            <a:pPr marL="179388" indent="0" algn="just">
              <a:spcBef>
                <a:spcPts val="0"/>
              </a:spcBef>
              <a:buClr>
                <a:srgbClr val="C00000"/>
              </a:buClr>
              <a:buNone/>
              <a:defRPr/>
            </a:pPr>
            <a:endParaRPr lang="fr-FR" altLang="fr-FR" sz="1400" i="1" dirty="0">
              <a:latin typeface="Trebuchet MS" panose="020B0603020202020204" pitchFamily="34" charset="0"/>
            </a:endParaRPr>
          </a:p>
          <a:p>
            <a:pPr marL="274320" indent="-274320" algn="just">
              <a:spcBef>
                <a:spcPts val="0"/>
              </a:spcBef>
              <a:buFont typeface="Wingdings" pitchFamily="2" charset="2"/>
              <a:buChar char="§"/>
              <a:defRPr/>
            </a:pPr>
            <a:r>
              <a:rPr lang="fr-FR" altLang="fr-FR" sz="1600" b="1" i="1" dirty="0">
                <a:solidFill>
                  <a:srgbClr val="002060"/>
                </a:solidFill>
                <a:latin typeface="Trebuchet MS" panose="020B0603020202020204" pitchFamily="34" charset="0"/>
              </a:rPr>
              <a:t>Consistance du SRAT </a:t>
            </a:r>
          </a:p>
          <a:p>
            <a:pPr marL="274320" indent="-274320" algn="just">
              <a:spcBef>
                <a:spcPts val="0"/>
              </a:spcBef>
              <a:buNone/>
              <a:defRPr/>
            </a:pPr>
            <a:endParaRPr lang="fr-FR" altLang="fr-FR" sz="800" i="1" dirty="0">
              <a:solidFill>
                <a:srgbClr val="002060"/>
              </a:solidFill>
              <a:latin typeface="Trebuchet MS" panose="020B0603020202020204" pitchFamily="34" charset="0"/>
            </a:endParaRP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Il met en place un cadre général du développement régional durable et cohérent dans les espaces urbains et ruraux ;</a:t>
            </a: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Il fixe les choix relatifs aux équipements et aux grands services publics structurants au niveau de la région ;</a:t>
            </a: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Il fixe les domaines des projets régionaux et la programmation des mesures de leur valorisation ainsi que leurs projets structurant.</a:t>
            </a:r>
          </a:p>
          <a:p>
            <a:pPr marL="274320" indent="-274320" algn="just">
              <a:spcBef>
                <a:spcPts val="0"/>
              </a:spcBef>
              <a:buNone/>
              <a:defRPr/>
            </a:pPr>
            <a:endParaRPr lang="fr-FR" sz="1600" i="1" dirty="0">
              <a:latin typeface="Trebuchet MS" panose="020B0603020202020204" pitchFamily="34" charset="0"/>
            </a:endParaRPr>
          </a:p>
          <a:p>
            <a:pPr marL="274320" indent="-274320" algn="just">
              <a:spcBef>
                <a:spcPts val="0"/>
              </a:spcBef>
              <a:buFont typeface="Wingdings" pitchFamily="2" charset="2"/>
              <a:buChar char="§"/>
              <a:defRPr/>
            </a:pPr>
            <a:r>
              <a:rPr lang="fr-FR" altLang="fr-FR" sz="1600" b="1" i="1" dirty="0">
                <a:solidFill>
                  <a:srgbClr val="002060"/>
                </a:solidFill>
                <a:latin typeface="Trebuchet MS" panose="020B0603020202020204" pitchFamily="34" charset="0"/>
              </a:rPr>
              <a:t>Force juridique du SRAT</a:t>
            </a:r>
          </a:p>
          <a:p>
            <a:pPr marL="274320" indent="-274320" algn="just">
              <a:spcBef>
                <a:spcPts val="0"/>
              </a:spcBef>
              <a:buNone/>
              <a:defRPr/>
            </a:pPr>
            <a:endParaRPr lang="fr-FR" altLang="fr-FR" sz="800" b="1" i="1" dirty="0">
              <a:solidFill>
                <a:srgbClr val="002060"/>
              </a:solidFill>
              <a:latin typeface="Trebuchet MS" panose="020B0603020202020204" pitchFamily="34" charset="0"/>
            </a:endParaRP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L'administration, les CT et les établissements et entreprises publics, sont tenus de prendre en considération les dispositions du SRAT dans le cadre de leurs programmes sectoriels ou ceux ayant fait l'objet de contrats</a:t>
            </a:r>
            <a:r>
              <a:rPr lang="fr-FR" altLang="fr-FR" sz="1400" i="1" dirty="0" smtClean="0">
                <a:latin typeface="Trebuchet MS" panose="020B0603020202020204" pitchFamily="34" charset="0"/>
              </a:rPr>
              <a:t>.</a:t>
            </a:r>
            <a:endParaRPr lang="fr-FR" altLang="fr-FR" sz="1600" i="1" dirty="0">
              <a:latin typeface="Trebuchet MS" panose="020B0603020202020204" pitchFamily="34" charset="0"/>
            </a:endParaRPr>
          </a:p>
        </p:txBody>
      </p:sp>
      <p:sp>
        <p:nvSpPr>
          <p:cNvPr id="24579" name="Espace réservé du numéro de diapositive 4"/>
          <p:cNvSpPr>
            <a:spLocks noGrp="1"/>
          </p:cNvSpPr>
          <p:nvPr>
            <p:ph type="sldNum" sz="quarter" idx="12"/>
          </p:nvPr>
        </p:nvSpPr>
        <p:spPr bwMode="auto">
          <a:noFill/>
          <a:ln>
            <a:miter lim="800000"/>
            <a:headEnd/>
            <a:tailEnd/>
          </a:ln>
        </p:spPr>
        <p:txBody>
          <a:bodyPr wrap="square" lIns="91440" tIns="45720" rIns="91440" bIns="45720" numCol="1" anchorCtr="0" compatLnSpc="1">
            <a:prstTxWarp prst="textNoShape">
              <a:avLst/>
            </a:prstTxWarp>
          </a:bodyPr>
          <a:lstStyle/>
          <a:p>
            <a:fld id="{01B2339F-7CE8-40AF-89C4-58EECD3CC512}" type="slidenum">
              <a:rPr lang="en-US" altLang="fr-FR" sz="1200">
                <a:solidFill>
                  <a:schemeClr val="bg1"/>
                </a:solidFill>
                <a:cs typeface="Arial" pitchFamily="34" charset="0"/>
              </a:rPr>
              <a:pPr/>
              <a:t>17</a:t>
            </a:fld>
            <a:endParaRPr lang="en-US" altLang="fr-FR" sz="1200">
              <a:solidFill>
                <a:schemeClr val="bg1"/>
              </a:solidFill>
              <a:cs typeface="Arial" pitchFamily="34" charset="0"/>
            </a:endParaRPr>
          </a:p>
        </p:txBody>
      </p:sp>
      <p:sp>
        <p:nvSpPr>
          <p:cNvPr id="6" name="Rectangle 5">
            <a:extLst>
              <a:ext uri="{FF2B5EF4-FFF2-40B4-BE49-F238E27FC236}">
                <a16:creationId xmlns:a16="http://schemas.microsoft.com/office/drawing/2014/main" id="{B05F8616-5FA3-4243-B673-746764214419}"/>
              </a:ext>
            </a:extLst>
          </p:cNvPr>
          <p:cNvSpPr/>
          <p:nvPr/>
        </p:nvSpPr>
        <p:spPr>
          <a:xfrm>
            <a:off x="1153886" y="0"/>
            <a:ext cx="9971314"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defRPr/>
            </a:pPr>
            <a:r>
              <a:rPr lang="fr-FR" altLang="fr-FR" sz="3200" b="1" i="1" dirty="0">
                <a:latin typeface="Candara" pitchFamily="34" charset="0"/>
                <a:cs typeface="Times New Roman" pitchFamily="18" charset="0"/>
              </a:rPr>
              <a:t>Le Schéma Régional d’Aménagement du Territoire</a:t>
            </a:r>
            <a:endParaRPr lang="fr-FR" sz="3200" b="1" i="1" dirty="0">
              <a:latin typeface="Candara" pitchFamily="34" charset="0"/>
              <a:cs typeface="Times New Roman" pitchFamily="18" charset="0"/>
            </a:endParaRPr>
          </a:p>
        </p:txBody>
      </p:sp>
      <p:pic>
        <p:nvPicPr>
          <p:cNvPr id="8"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7</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26740201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Espace réservé du texte 2"/>
          <p:cNvSpPr>
            <a:spLocks noGrp="1"/>
          </p:cNvSpPr>
          <p:nvPr>
            <p:ph type="body" sz="half" idx="1"/>
          </p:nvPr>
        </p:nvSpPr>
        <p:spPr>
          <a:xfrm>
            <a:off x="788868" y="1484267"/>
            <a:ext cx="10757139" cy="5227084"/>
          </a:xfrm>
          <a:ln w="57150"/>
        </p:spPr>
        <p:txBody>
          <a:bodyPr>
            <a:noAutofit/>
          </a:bodyPr>
          <a:lstStyle/>
          <a:p>
            <a:pPr>
              <a:spcBef>
                <a:spcPts val="0"/>
              </a:spcBef>
              <a:buFont typeface="Wingdings" pitchFamily="2" charset="2"/>
              <a:buChar char="§"/>
              <a:defRPr/>
            </a:pPr>
            <a:r>
              <a:rPr lang="fr-FR" sz="1600" b="1" i="1" dirty="0">
                <a:solidFill>
                  <a:srgbClr val="002060"/>
                </a:solidFill>
                <a:latin typeface="Trebuchet MS" panose="020B0603020202020204" pitchFamily="34" charset="0"/>
              </a:rPr>
              <a:t>Mise en place du PDR</a:t>
            </a:r>
          </a:p>
          <a:p>
            <a:pPr>
              <a:spcBef>
                <a:spcPts val="0"/>
              </a:spcBef>
              <a:buNone/>
              <a:defRPr/>
            </a:pPr>
            <a:endParaRPr lang="fr-FR" sz="800" i="1" dirty="0">
              <a:solidFill>
                <a:srgbClr val="002060"/>
              </a:solidFill>
              <a:latin typeface="Trebuchet MS" panose="020B0603020202020204" pitchFamily="34" charset="0"/>
            </a:endParaRP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Le conseil de la région met en place au cours de la première année du mandat du conseil, sous la supervision de son président, un PDR et œuvre à son suivi, son actualisation et son évaluation ;</a:t>
            </a: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Dans la perspective d'un développement durable, sur la base d'une démarche participative et en coordination avec le wali de la région, le PDR fixe pour six années, les actions de développement dont la programmation ou la réalisation sont prévues sur le territoire de la région, en prenant en considération leur nature, leur emplacement et leur coût ;</a:t>
            </a: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Le PDR doit suivre les orientations stratégiques de la politique de l'Etat, et veiller à leur déclinaison au niveau régional et prendre en considération l'intégration des orientations du SRAT les engagements convenus entre la région et les acteurs au niveau de la Région ;</a:t>
            </a:r>
          </a:p>
          <a:p>
            <a:pPr marL="274320" indent="-274320" algn="just">
              <a:lnSpc>
                <a:spcPct val="100000"/>
              </a:lnSpc>
              <a:spcBef>
                <a:spcPts val="600"/>
              </a:spcBef>
              <a:buFont typeface="Wingdings" pitchFamily="2" charset="2"/>
              <a:buChar char="§"/>
              <a:defRPr/>
            </a:pPr>
            <a:r>
              <a:rPr lang="fr-FR" altLang="fr-FR" sz="1600" b="1" i="1" dirty="0">
                <a:solidFill>
                  <a:srgbClr val="002060"/>
                </a:solidFill>
                <a:latin typeface="Trebuchet MS" panose="020B0603020202020204" pitchFamily="34" charset="0"/>
              </a:rPr>
              <a:t>Consistance du PDR :</a:t>
            </a:r>
          </a:p>
          <a:p>
            <a:pPr marL="536575" indent="-357188" algn="just">
              <a:spcBef>
                <a:spcPts val="600"/>
              </a:spcBef>
              <a:spcAft>
                <a:spcPts val="600"/>
              </a:spcAft>
              <a:buClr>
                <a:srgbClr val="C00000"/>
              </a:buClr>
              <a:buFont typeface="Wingdings" pitchFamily="2" charset="2"/>
              <a:buChar char="è"/>
            </a:pPr>
            <a:r>
              <a:rPr lang="fr-FR" altLang="fr-FR" sz="1400" i="1" dirty="0" smtClean="0">
                <a:latin typeface="Trebuchet MS" panose="020B0603020202020204" pitchFamily="34" charset="0"/>
              </a:rPr>
              <a:t>Le </a:t>
            </a:r>
            <a:r>
              <a:rPr lang="fr-FR" altLang="fr-FR" sz="1400" i="1" dirty="0">
                <a:latin typeface="Trebuchet MS" panose="020B0603020202020204" pitchFamily="34" charset="0"/>
              </a:rPr>
              <a:t>PDR doit comporter : </a:t>
            </a:r>
          </a:p>
          <a:p>
            <a:pPr marL="801688" indent="-263525" algn="just">
              <a:spcBef>
                <a:spcPts val="0"/>
              </a:spcBef>
              <a:spcAft>
                <a:spcPts val="600"/>
              </a:spcAft>
              <a:buClr>
                <a:srgbClr val="C00000"/>
              </a:buClr>
              <a:defRPr/>
            </a:pPr>
            <a:r>
              <a:rPr lang="fr-FR" altLang="fr-FR" sz="1400" i="1" dirty="0">
                <a:latin typeface="Trebuchet MS" panose="020B0603020202020204" pitchFamily="34" charset="0"/>
              </a:rPr>
              <a:t>un diagnostic mettant en évidence les besoins et les potentialités de la région ;</a:t>
            </a:r>
          </a:p>
          <a:p>
            <a:pPr marL="801688" indent="-263525" algn="just">
              <a:spcBef>
                <a:spcPts val="0"/>
              </a:spcBef>
              <a:spcAft>
                <a:spcPts val="600"/>
              </a:spcAft>
              <a:buClr>
                <a:srgbClr val="C00000"/>
              </a:buClr>
              <a:defRPr/>
            </a:pPr>
            <a:r>
              <a:rPr lang="fr-FR" altLang="fr-FR" sz="1400" i="1" dirty="0">
                <a:latin typeface="Trebuchet MS" panose="020B0603020202020204" pitchFamily="34" charset="0"/>
              </a:rPr>
              <a:t>une identification de ses priorités ;</a:t>
            </a:r>
          </a:p>
          <a:p>
            <a:pPr marL="801688" indent="-263525" algn="just">
              <a:spcBef>
                <a:spcPts val="0"/>
              </a:spcBef>
              <a:spcAft>
                <a:spcPts val="600"/>
              </a:spcAft>
              <a:buClr>
                <a:srgbClr val="C00000"/>
              </a:buClr>
              <a:defRPr/>
            </a:pPr>
            <a:r>
              <a:rPr lang="fr-FR" altLang="fr-FR" sz="1400" i="1" dirty="0">
                <a:latin typeface="Trebuchet MS" panose="020B0603020202020204" pitchFamily="34" charset="0"/>
              </a:rPr>
              <a:t>une évaluation de ses ressources et dépenses prévisionnelles afférentes aux trois premières années ;</a:t>
            </a:r>
          </a:p>
          <a:p>
            <a:pPr marL="801688" indent="-263525" algn="just">
              <a:spcBef>
                <a:spcPts val="0"/>
              </a:spcBef>
              <a:spcAft>
                <a:spcPts val="600"/>
              </a:spcAft>
              <a:buClr>
                <a:srgbClr val="C00000"/>
              </a:buClr>
              <a:defRPr/>
            </a:pPr>
            <a:r>
              <a:rPr lang="fr-FR" altLang="fr-FR" sz="1400" i="1" dirty="0">
                <a:latin typeface="Trebuchet MS" panose="020B0603020202020204" pitchFamily="34" charset="0"/>
              </a:rPr>
              <a:t>et doit prendre en considération l'approche genre. </a:t>
            </a:r>
          </a:p>
          <a:p>
            <a:pPr marL="274320" indent="-274320" algn="just">
              <a:spcBef>
                <a:spcPts val="0"/>
              </a:spcBef>
              <a:buNone/>
              <a:defRPr/>
            </a:pPr>
            <a:endParaRPr lang="fr-FR" sz="900" i="1" dirty="0">
              <a:latin typeface="Trebuchet MS" panose="020B0603020202020204" pitchFamily="34" charset="0"/>
            </a:endParaRPr>
          </a:p>
          <a:p>
            <a:pPr marL="274320" indent="-274320" algn="just">
              <a:spcBef>
                <a:spcPts val="0"/>
              </a:spcBef>
              <a:buFont typeface="Wingdings" pitchFamily="2" charset="2"/>
              <a:buChar char="§"/>
              <a:defRPr/>
            </a:pPr>
            <a:r>
              <a:rPr lang="fr-FR" altLang="fr-FR" sz="1600" b="1" i="1" dirty="0">
                <a:solidFill>
                  <a:srgbClr val="002060"/>
                </a:solidFill>
                <a:latin typeface="Trebuchet MS" panose="020B0603020202020204" pitchFamily="34" charset="0"/>
              </a:rPr>
              <a:t>Prééminence du PDR et sa mise en œuvre </a:t>
            </a:r>
          </a:p>
          <a:p>
            <a:pPr marL="274320" indent="-274320" algn="just">
              <a:spcBef>
                <a:spcPts val="0"/>
              </a:spcBef>
              <a:buNone/>
              <a:defRPr/>
            </a:pPr>
            <a:endParaRPr lang="fr-FR" altLang="fr-FR" sz="800" b="1" i="1" dirty="0">
              <a:solidFill>
                <a:srgbClr val="002060"/>
              </a:solidFill>
              <a:latin typeface="Trebuchet MS" panose="020B0603020202020204" pitchFamily="34" charset="0"/>
            </a:endParaRP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Les autres CT doivent tenir en compte les orientation du PDR ;</a:t>
            </a: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Le PDR, qui peut être actualisé à partir de la 3ème année de son entrée en vigueur, est mis en œuvre dans un cadre contractuel entre l'Etat, la région et les autres intervenants.</a:t>
            </a:r>
          </a:p>
          <a:p>
            <a:pPr marL="442913" indent="-263525" algn="just">
              <a:spcBef>
                <a:spcPts val="0"/>
              </a:spcBef>
              <a:defRPr/>
            </a:pPr>
            <a:endParaRPr lang="fr-FR" altLang="fr-FR" sz="1600" i="1" dirty="0">
              <a:latin typeface="Trebuchet MS" panose="020B0603020202020204" pitchFamily="34" charset="0"/>
            </a:endParaRPr>
          </a:p>
          <a:p>
            <a:pPr marL="623888" algn="just">
              <a:spcBef>
                <a:spcPts val="0"/>
              </a:spcBef>
              <a:buNone/>
              <a:defRPr/>
            </a:pPr>
            <a:endParaRPr lang="fr-FR" altLang="fr-FR" sz="1600" i="1" dirty="0">
              <a:latin typeface="Trebuchet MS" panose="020B0603020202020204" pitchFamily="34" charset="0"/>
            </a:endParaRPr>
          </a:p>
        </p:txBody>
      </p:sp>
      <p:sp>
        <p:nvSpPr>
          <p:cNvPr id="24579" name="Espace réservé du numéro de diapositive 4"/>
          <p:cNvSpPr>
            <a:spLocks noGrp="1"/>
          </p:cNvSpPr>
          <p:nvPr>
            <p:ph type="sldNum" sz="quarter" idx="12"/>
          </p:nvPr>
        </p:nvSpPr>
        <p:spPr bwMode="auto">
          <a:noFill/>
          <a:ln>
            <a:miter lim="800000"/>
            <a:headEnd/>
            <a:tailEnd/>
          </a:ln>
        </p:spPr>
        <p:txBody>
          <a:bodyPr wrap="square" lIns="91440" tIns="45720" rIns="91440" bIns="45720" numCol="1" anchorCtr="0" compatLnSpc="1">
            <a:prstTxWarp prst="textNoShape">
              <a:avLst/>
            </a:prstTxWarp>
          </a:bodyPr>
          <a:lstStyle/>
          <a:p>
            <a:fld id="{01B2339F-7CE8-40AF-89C4-58EECD3CC512}" type="slidenum">
              <a:rPr lang="en-US" altLang="fr-FR" sz="1200">
                <a:solidFill>
                  <a:schemeClr val="bg1"/>
                </a:solidFill>
                <a:cs typeface="Arial" pitchFamily="34" charset="0"/>
              </a:rPr>
              <a:pPr/>
              <a:t>18</a:t>
            </a:fld>
            <a:endParaRPr lang="en-US" altLang="fr-FR" sz="1200">
              <a:solidFill>
                <a:schemeClr val="bg1"/>
              </a:solidFill>
              <a:cs typeface="Arial" pitchFamily="34" charset="0"/>
            </a:endParaRPr>
          </a:p>
        </p:txBody>
      </p:sp>
      <p:sp>
        <p:nvSpPr>
          <p:cNvPr id="10" name="Rectangle 9">
            <a:extLst>
              <a:ext uri="{FF2B5EF4-FFF2-40B4-BE49-F238E27FC236}">
                <a16:creationId xmlns:a16="http://schemas.microsoft.com/office/drawing/2014/main" id="{B05F8616-5FA3-4243-B673-746764214419}"/>
              </a:ext>
            </a:extLst>
          </p:cNvPr>
          <p:cNvSpPr/>
          <p:nvPr/>
        </p:nvSpPr>
        <p:spPr>
          <a:xfrm>
            <a:off x="1153886" y="0"/>
            <a:ext cx="9971314"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defRPr/>
            </a:pPr>
            <a:r>
              <a:rPr lang="fr-FR" altLang="fr-FR" sz="3200" b="1" i="1" dirty="0">
                <a:latin typeface="Candara" pitchFamily="34" charset="0"/>
                <a:cs typeface="Times New Roman" pitchFamily="18" charset="0"/>
              </a:rPr>
              <a:t>Le </a:t>
            </a:r>
            <a:r>
              <a:rPr lang="fr-FR" altLang="fr-FR" sz="3200" b="1" i="1" dirty="0" smtClean="0">
                <a:latin typeface="Candara" pitchFamily="34" charset="0"/>
                <a:cs typeface="Times New Roman" pitchFamily="18" charset="0"/>
              </a:rPr>
              <a:t>Plan de Développement Régional (PDR) </a:t>
            </a:r>
            <a:endParaRPr lang="fr-FR" sz="3200" b="1" i="1" dirty="0">
              <a:latin typeface="Candara" pitchFamily="34" charset="0"/>
              <a:cs typeface="Times New Roman" pitchFamily="18" charset="0"/>
            </a:endParaRPr>
          </a:p>
        </p:txBody>
      </p:sp>
      <p:pic>
        <p:nvPicPr>
          <p:cNvPr id="11"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8</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31560384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Espace réservé du texte 2"/>
          <p:cNvSpPr>
            <a:spLocks noGrp="1"/>
          </p:cNvSpPr>
          <p:nvPr>
            <p:ph type="body" sz="half" idx="1"/>
          </p:nvPr>
        </p:nvSpPr>
        <p:spPr>
          <a:xfrm>
            <a:off x="638355" y="1428712"/>
            <a:ext cx="11015932" cy="5222254"/>
          </a:xfrm>
          <a:ln w="57150"/>
        </p:spPr>
        <p:txBody>
          <a:bodyPr>
            <a:noAutofit/>
          </a:bodyPr>
          <a:lstStyle/>
          <a:p>
            <a:pPr>
              <a:spcBef>
                <a:spcPts val="0"/>
              </a:spcBef>
              <a:buFont typeface="Wingdings" pitchFamily="2" charset="2"/>
              <a:buChar char="§"/>
              <a:defRPr/>
            </a:pPr>
            <a:r>
              <a:rPr lang="fr-FR" sz="1600" b="1" i="1" dirty="0">
                <a:solidFill>
                  <a:srgbClr val="002060"/>
                </a:solidFill>
                <a:latin typeface="Trebuchet MS" panose="020B0603020202020204" pitchFamily="34" charset="0"/>
              </a:rPr>
              <a:t>Création de </a:t>
            </a:r>
            <a:r>
              <a:rPr lang="fr-FR" sz="1600" b="1" i="1" dirty="0" smtClean="0">
                <a:solidFill>
                  <a:srgbClr val="002060"/>
                </a:solidFill>
                <a:latin typeface="Trebuchet MS" panose="020B0603020202020204" pitchFamily="34" charset="0"/>
              </a:rPr>
              <a:t>l’AREP:</a:t>
            </a:r>
            <a:endParaRPr lang="fr-FR" sz="1600" b="1" i="1" dirty="0">
              <a:solidFill>
                <a:srgbClr val="002060"/>
              </a:solidFill>
              <a:latin typeface="Trebuchet MS" panose="020B0603020202020204" pitchFamily="34" charset="0"/>
            </a:endParaRPr>
          </a:p>
          <a:p>
            <a:pPr>
              <a:spcBef>
                <a:spcPts val="0"/>
              </a:spcBef>
              <a:buNone/>
              <a:defRPr/>
            </a:pPr>
            <a:endParaRPr lang="fr-FR" sz="800" i="1" dirty="0">
              <a:solidFill>
                <a:srgbClr val="002060"/>
              </a:solidFill>
              <a:latin typeface="Trebuchet MS" panose="020B0603020202020204" pitchFamily="34" charset="0"/>
            </a:endParaRP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L’AREP est une personne morale de droit public, dotée de l'autonomie administrative et financière, soumise à la tutelle du </a:t>
            </a:r>
            <a:r>
              <a:rPr lang="fr-FR" altLang="fr-FR" sz="1400" i="1" dirty="0" smtClean="0">
                <a:latin typeface="Trebuchet MS" panose="020B0603020202020204" pitchFamily="34" charset="0"/>
              </a:rPr>
              <a:t>conseil de la région et au contrôle financier de l'Etat applicable aux entreprises publiques;</a:t>
            </a:r>
          </a:p>
          <a:p>
            <a:pPr marL="0" indent="0">
              <a:spcBef>
                <a:spcPts val="0"/>
              </a:spcBef>
              <a:spcAft>
                <a:spcPts val="600"/>
              </a:spcAft>
              <a:buClr>
                <a:srgbClr val="C00000"/>
              </a:buClr>
              <a:buNone/>
              <a:defRPr/>
            </a:pPr>
            <a:endParaRPr lang="fr-FR" sz="1000" b="1" i="1" dirty="0" smtClean="0">
              <a:solidFill>
                <a:srgbClr val="002060"/>
              </a:solidFill>
              <a:latin typeface="Trebuchet MS" panose="020B0603020202020204" pitchFamily="34" charset="0"/>
            </a:endParaRPr>
          </a:p>
          <a:p>
            <a:pPr>
              <a:spcBef>
                <a:spcPts val="0"/>
              </a:spcBef>
              <a:spcAft>
                <a:spcPts val="600"/>
              </a:spcAft>
              <a:buClr>
                <a:srgbClr val="C00000"/>
              </a:buClr>
              <a:buFont typeface="Wingdings" pitchFamily="2" charset="2"/>
              <a:buChar char="§"/>
              <a:defRPr/>
            </a:pPr>
            <a:r>
              <a:rPr lang="fr-FR" sz="1600" b="1" i="1" dirty="0" smtClean="0">
                <a:solidFill>
                  <a:srgbClr val="002060"/>
                </a:solidFill>
                <a:latin typeface="Trebuchet MS" panose="020B0603020202020204" pitchFamily="34" charset="0"/>
              </a:rPr>
              <a:t>Missions </a:t>
            </a:r>
            <a:r>
              <a:rPr lang="fr-FR" sz="1600" b="1" i="1" dirty="0">
                <a:solidFill>
                  <a:srgbClr val="002060"/>
                </a:solidFill>
                <a:latin typeface="Trebuchet MS" panose="020B0603020202020204" pitchFamily="34" charset="0"/>
              </a:rPr>
              <a:t>de </a:t>
            </a:r>
            <a:r>
              <a:rPr lang="fr-FR" sz="1600" b="1" i="1" dirty="0" smtClean="0">
                <a:solidFill>
                  <a:srgbClr val="002060"/>
                </a:solidFill>
                <a:latin typeface="Trebuchet MS" panose="020B0603020202020204" pitchFamily="34" charset="0"/>
              </a:rPr>
              <a:t>l’AREP:</a:t>
            </a:r>
            <a:endParaRPr lang="fr-FR" sz="1600" b="1" i="1" dirty="0">
              <a:solidFill>
                <a:srgbClr val="002060"/>
              </a:solidFill>
              <a:latin typeface="Trebuchet MS" panose="020B0603020202020204" pitchFamily="34" charset="0"/>
            </a:endParaRPr>
          </a:p>
          <a:p>
            <a:pPr marL="442913" indent="-263525" algn="just">
              <a:spcBef>
                <a:spcPts val="0"/>
              </a:spcBef>
              <a:spcAft>
                <a:spcPts val="600"/>
              </a:spcAft>
              <a:buClr>
                <a:srgbClr val="C00000"/>
              </a:buClr>
              <a:defRPr/>
            </a:pPr>
            <a:r>
              <a:rPr lang="fr-FR" altLang="fr-FR" sz="1400" i="1" dirty="0" smtClean="0">
                <a:latin typeface="Trebuchet MS" panose="020B0603020202020204" pitchFamily="34" charset="0"/>
              </a:rPr>
              <a:t>Apporter </a:t>
            </a:r>
            <a:r>
              <a:rPr lang="fr-FR" altLang="fr-FR" sz="1400" i="1" dirty="0">
                <a:latin typeface="Trebuchet MS" panose="020B0603020202020204" pitchFamily="34" charset="0"/>
              </a:rPr>
              <a:t>au conseil de la région, à la demande de son président, toute forme d'assistance juridique et d'ingénierie, technico-financière lors de l'étude et d'élaboration des projets et programmes de développement</a:t>
            </a:r>
          </a:p>
          <a:p>
            <a:pPr marL="442913" indent="-263525" algn="just">
              <a:spcBef>
                <a:spcPts val="0"/>
              </a:spcBef>
              <a:spcAft>
                <a:spcPts val="600"/>
              </a:spcAft>
              <a:buClr>
                <a:srgbClr val="C00000"/>
              </a:buClr>
              <a:defRPr/>
            </a:pPr>
            <a:r>
              <a:rPr lang="fr-FR" altLang="fr-FR" sz="1400" i="1" dirty="0" smtClean="0">
                <a:latin typeface="Trebuchet MS" panose="020B0603020202020204" pitchFamily="34" charset="0"/>
              </a:rPr>
              <a:t>Exécuter </a:t>
            </a:r>
            <a:r>
              <a:rPr lang="fr-FR" altLang="fr-FR" sz="1400" i="1" dirty="0">
                <a:latin typeface="Trebuchet MS" panose="020B0603020202020204" pitchFamily="34" charset="0"/>
              </a:rPr>
              <a:t>les projets et programmes de développement adoptés par le conseil de la région;</a:t>
            </a:r>
          </a:p>
          <a:p>
            <a:pPr marL="442913" indent="-263525" algn="just">
              <a:spcBef>
                <a:spcPts val="0"/>
              </a:spcBef>
              <a:spcAft>
                <a:spcPts val="600"/>
              </a:spcAft>
              <a:buClr>
                <a:srgbClr val="C00000"/>
              </a:buClr>
              <a:defRPr/>
            </a:pPr>
            <a:r>
              <a:rPr lang="fr-FR" altLang="fr-FR" sz="1400" i="1" dirty="0">
                <a:latin typeface="Trebuchet MS" panose="020B0603020202020204" pitchFamily="34" charset="0"/>
              </a:rPr>
              <a:t>Le conseil de la région peut confier à l'agence, l'exploitation ou la gestion de certains projets pour le compte de la région, selon des conditions et modalités qu'il fixe par délibération</a:t>
            </a:r>
          </a:p>
          <a:p>
            <a:pPr marL="0" indent="0">
              <a:spcBef>
                <a:spcPts val="0"/>
              </a:spcBef>
              <a:spcAft>
                <a:spcPts val="600"/>
              </a:spcAft>
              <a:buClr>
                <a:srgbClr val="C00000"/>
              </a:buClr>
              <a:buNone/>
              <a:defRPr/>
            </a:pPr>
            <a:endParaRPr lang="fr-FR" sz="1000" b="1" i="1" dirty="0" smtClean="0">
              <a:solidFill>
                <a:srgbClr val="002060"/>
              </a:solidFill>
              <a:latin typeface="Trebuchet MS" panose="020B0603020202020204" pitchFamily="34" charset="0"/>
            </a:endParaRPr>
          </a:p>
          <a:p>
            <a:pPr>
              <a:spcBef>
                <a:spcPts val="0"/>
              </a:spcBef>
              <a:spcAft>
                <a:spcPts val="600"/>
              </a:spcAft>
              <a:buClr>
                <a:srgbClr val="C00000"/>
              </a:buClr>
              <a:buFont typeface="Wingdings" pitchFamily="2" charset="2"/>
              <a:buChar char="§"/>
              <a:defRPr/>
            </a:pPr>
            <a:r>
              <a:rPr lang="fr-FR" sz="1600" b="1" i="1" dirty="0" smtClean="0">
                <a:solidFill>
                  <a:srgbClr val="002060"/>
                </a:solidFill>
                <a:latin typeface="Trebuchet MS" panose="020B0603020202020204" pitchFamily="34" charset="0"/>
              </a:rPr>
              <a:t>Organes </a:t>
            </a:r>
            <a:r>
              <a:rPr lang="fr-FR" sz="1600" b="1" i="1" dirty="0">
                <a:solidFill>
                  <a:srgbClr val="002060"/>
                </a:solidFill>
                <a:latin typeface="Trebuchet MS" panose="020B0603020202020204" pitchFamily="34" charset="0"/>
              </a:rPr>
              <a:t>de </a:t>
            </a:r>
            <a:r>
              <a:rPr lang="fr-FR" sz="1600" b="1" i="1" dirty="0">
                <a:solidFill>
                  <a:srgbClr val="002060"/>
                </a:solidFill>
                <a:latin typeface="Trebuchet MS" panose="020B0603020202020204" pitchFamily="34" charset="0"/>
              </a:rPr>
              <a:t>l’AREP</a:t>
            </a:r>
            <a:r>
              <a:rPr lang="fr-FR" sz="1600" b="1" i="1" dirty="0" smtClean="0">
                <a:solidFill>
                  <a:srgbClr val="002060"/>
                </a:solidFill>
                <a:latin typeface="Trebuchet MS" panose="020B0603020202020204" pitchFamily="34" charset="0"/>
              </a:rPr>
              <a:t>: </a:t>
            </a:r>
            <a:r>
              <a:rPr lang="fr-FR" altLang="fr-FR" sz="1400" i="1" dirty="0" smtClean="0">
                <a:latin typeface="Trebuchet MS" panose="020B0603020202020204" pitchFamily="34" charset="0"/>
              </a:rPr>
              <a:t>L’AREP </a:t>
            </a:r>
            <a:r>
              <a:rPr lang="fr-FR" altLang="fr-FR" sz="1400" i="1" dirty="0">
                <a:latin typeface="Trebuchet MS" panose="020B0603020202020204" pitchFamily="34" charset="0"/>
              </a:rPr>
              <a:t>est administrée par un comité de supervision et de contrôle et gérée par un </a:t>
            </a:r>
            <a:r>
              <a:rPr lang="fr-FR" altLang="fr-FR" sz="1400" i="1" dirty="0" smtClean="0">
                <a:latin typeface="Trebuchet MS" panose="020B0603020202020204" pitchFamily="34" charset="0"/>
              </a:rPr>
              <a:t>directeur:</a:t>
            </a:r>
            <a:endParaRPr lang="fr-FR" sz="1400" b="1" i="1" dirty="0">
              <a:solidFill>
                <a:srgbClr val="002060"/>
              </a:solidFill>
              <a:latin typeface="Trebuchet MS" panose="020B0603020202020204" pitchFamily="34" charset="0"/>
            </a:endParaRPr>
          </a:p>
          <a:p>
            <a:pPr marL="720725" indent="-360363" algn="just">
              <a:spcBef>
                <a:spcPts val="600"/>
              </a:spcBef>
              <a:spcAft>
                <a:spcPts val="600"/>
              </a:spcAft>
              <a:buClr>
                <a:srgbClr val="C00000"/>
              </a:buClr>
              <a:buAutoNum type="alphaLcParenR"/>
              <a:defRPr/>
            </a:pPr>
            <a:r>
              <a:rPr lang="fr-FR" altLang="fr-FR" sz="1400" i="1" dirty="0" smtClean="0">
                <a:latin typeface="Trebuchet MS" panose="020B0603020202020204" pitchFamily="34" charset="0"/>
              </a:rPr>
              <a:t>Le </a:t>
            </a:r>
            <a:r>
              <a:rPr lang="fr-FR" altLang="fr-FR" sz="1400" i="1" dirty="0">
                <a:latin typeface="Trebuchet MS" panose="020B0603020202020204" pitchFamily="34" charset="0"/>
              </a:rPr>
              <a:t>comité de supervision et de contrôle est composé, outre le président du conseil de la région qui le préside, des membres suivant: </a:t>
            </a:r>
          </a:p>
          <a:p>
            <a:pPr marL="1081088" indent="-276225">
              <a:lnSpc>
                <a:spcPct val="100000"/>
              </a:lnSpc>
              <a:spcBef>
                <a:spcPts val="0"/>
              </a:spcBef>
            </a:pPr>
            <a:r>
              <a:rPr lang="fr-FR" altLang="fr-FR" sz="1400" i="1" dirty="0">
                <a:latin typeface="Trebuchet MS" panose="020B0603020202020204" pitchFamily="34" charset="0"/>
              </a:rPr>
              <a:t>deux membres du bureau du conseil de la région désignés par le président ;</a:t>
            </a:r>
          </a:p>
          <a:p>
            <a:pPr marL="1081088" indent="-276225">
              <a:lnSpc>
                <a:spcPct val="100000"/>
              </a:lnSpc>
              <a:spcBef>
                <a:spcPts val="0"/>
              </a:spcBef>
            </a:pPr>
            <a:r>
              <a:rPr lang="fr-FR" altLang="fr-FR" sz="1400" i="1" dirty="0">
                <a:latin typeface="Trebuchet MS" panose="020B0603020202020204" pitchFamily="34" charset="0"/>
              </a:rPr>
              <a:t>un membre des groupes de l'opposition désigné par le conseil ;</a:t>
            </a:r>
          </a:p>
          <a:p>
            <a:pPr marL="1081088" indent="-276225" algn="just">
              <a:lnSpc>
                <a:spcPct val="100000"/>
              </a:lnSpc>
              <a:spcBef>
                <a:spcPts val="0"/>
              </a:spcBef>
            </a:pPr>
            <a:r>
              <a:rPr lang="fr-FR" altLang="fr-FR" sz="1400" i="1" dirty="0">
                <a:latin typeface="Trebuchet MS" panose="020B0603020202020204" pitchFamily="34" charset="0"/>
              </a:rPr>
              <a:t>le président de la commission du budget, des affaires financières et de la programmation de la région;</a:t>
            </a:r>
          </a:p>
          <a:p>
            <a:pPr marL="1081088" indent="-276225" algn="just">
              <a:lnSpc>
                <a:spcPct val="100000"/>
              </a:lnSpc>
              <a:spcBef>
                <a:spcPts val="0"/>
              </a:spcBef>
            </a:pPr>
            <a:r>
              <a:rPr lang="fr-FR" altLang="fr-FR" sz="1400" i="1" dirty="0">
                <a:latin typeface="Trebuchet MS" panose="020B0603020202020204" pitchFamily="34" charset="0"/>
              </a:rPr>
              <a:t>le président de la commission du développement économique, social, culturel et environnemental de la région ;</a:t>
            </a:r>
          </a:p>
          <a:p>
            <a:pPr marL="1081088" indent="-276225">
              <a:lnSpc>
                <a:spcPct val="100000"/>
              </a:lnSpc>
              <a:spcBef>
                <a:spcPts val="0"/>
              </a:spcBef>
            </a:pPr>
            <a:r>
              <a:rPr lang="fr-FR" altLang="fr-FR" sz="1400" i="1" dirty="0">
                <a:latin typeface="Trebuchet MS" panose="020B0603020202020204" pitchFamily="34" charset="0"/>
              </a:rPr>
              <a:t>le président de la commission de l'aménagement du territoire de la région.</a:t>
            </a:r>
          </a:p>
          <a:p>
            <a:pPr marL="720725" indent="-276225" algn="just" defTabSz="720725">
              <a:spcBef>
                <a:spcPts val="600"/>
              </a:spcBef>
              <a:spcAft>
                <a:spcPts val="600"/>
              </a:spcAft>
              <a:buClr>
                <a:srgbClr val="C00000"/>
              </a:buClr>
              <a:buNone/>
              <a:defRPr/>
            </a:pPr>
            <a:r>
              <a:rPr lang="fr-FR" altLang="fr-FR" sz="1400" i="1" dirty="0">
                <a:solidFill>
                  <a:srgbClr val="C00000"/>
                </a:solidFill>
                <a:latin typeface="Trebuchet MS" panose="020B0603020202020204" pitchFamily="34" charset="0"/>
              </a:rPr>
              <a:t>b) </a:t>
            </a:r>
            <a:r>
              <a:rPr lang="fr-FR" altLang="fr-FR" sz="1400" i="1" dirty="0">
                <a:latin typeface="Trebuchet MS" panose="020B0603020202020204" pitchFamily="34" charset="0"/>
              </a:rPr>
              <a:t>Le directeur de l'agence est nommé sur la base des principes du mérite et de la compétence, par arrêté du président du conseil, après appel à candidature. Cet arrêté est soumis au visa du Ministre de l'intérieur</a:t>
            </a:r>
          </a:p>
          <a:p>
            <a:pPr marL="442913" indent="-263525" algn="just">
              <a:spcBef>
                <a:spcPts val="0"/>
              </a:spcBef>
              <a:defRPr/>
            </a:pPr>
            <a:endParaRPr lang="fr-FR" altLang="fr-FR" sz="1600" i="1" dirty="0">
              <a:latin typeface="Trebuchet MS" panose="020B0603020202020204" pitchFamily="34" charset="0"/>
            </a:endParaRPr>
          </a:p>
          <a:p>
            <a:pPr marL="623888" algn="just">
              <a:spcBef>
                <a:spcPts val="0"/>
              </a:spcBef>
              <a:buNone/>
              <a:defRPr/>
            </a:pPr>
            <a:endParaRPr lang="fr-FR" altLang="fr-FR" sz="1600" i="1" dirty="0">
              <a:latin typeface="Trebuchet MS" panose="020B0603020202020204" pitchFamily="34" charset="0"/>
            </a:endParaRPr>
          </a:p>
        </p:txBody>
      </p:sp>
      <p:sp>
        <p:nvSpPr>
          <p:cNvPr id="24579" name="Espace réservé du numéro de diapositive 4"/>
          <p:cNvSpPr>
            <a:spLocks noGrp="1"/>
          </p:cNvSpPr>
          <p:nvPr>
            <p:ph type="sldNum" sz="quarter" idx="12"/>
          </p:nvPr>
        </p:nvSpPr>
        <p:spPr bwMode="auto">
          <a:noFill/>
          <a:ln>
            <a:miter lim="800000"/>
            <a:headEnd/>
            <a:tailEnd/>
          </a:ln>
        </p:spPr>
        <p:txBody>
          <a:bodyPr wrap="square" lIns="91440" tIns="45720" rIns="91440" bIns="45720" numCol="1" anchorCtr="0" compatLnSpc="1">
            <a:prstTxWarp prst="textNoShape">
              <a:avLst/>
            </a:prstTxWarp>
          </a:bodyPr>
          <a:lstStyle/>
          <a:p>
            <a:fld id="{01B2339F-7CE8-40AF-89C4-58EECD3CC512}" type="slidenum">
              <a:rPr lang="en-US" altLang="fr-FR" sz="1200">
                <a:solidFill>
                  <a:schemeClr val="bg1"/>
                </a:solidFill>
                <a:cs typeface="Arial" pitchFamily="34" charset="0"/>
              </a:rPr>
              <a:pPr/>
              <a:t>19</a:t>
            </a:fld>
            <a:endParaRPr lang="en-US" altLang="fr-FR" sz="1200">
              <a:solidFill>
                <a:schemeClr val="bg1"/>
              </a:solidFill>
              <a:cs typeface="Arial" pitchFamily="34" charset="0"/>
            </a:endParaRPr>
          </a:p>
        </p:txBody>
      </p:sp>
      <p:sp>
        <p:nvSpPr>
          <p:cNvPr id="8" name="Rectangle 7">
            <a:extLst>
              <a:ext uri="{FF2B5EF4-FFF2-40B4-BE49-F238E27FC236}">
                <a16:creationId xmlns:a16="http://schemas.microsoft.com/office/drawing/2014/main" id="{B05F8616-5FA3-4243-B673-746764214419}"/>
              </a:ext>
            </a:extLst>
          </p:cNvPr>
          <p:cNvSpPr/>
          <p:nvPr/>
        </p:nvSpPr>
        <p:spPr>
          <a:xfrm>
            <a:off x="1153886" y="0"/>
            <a:ext cx="9971314"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defRPr/>
            </a:pPr>
            <a:r>
              <a:rPr lang="fr-FR" sz="3200" b="1" i="1" dirty="0">
                <a:latin typeface="Candara" pitchFamily="34" charset="0"/>
              </a:rPr>
              <a:t>L'Agence Régionale d‘Exécution des Projets (AREP)</a:t>
            </a:r>
            <a:endParaRPr lang="fr-FR" sz="3200" b="1" i="1" dirty="0">
              <a:latin typeface="Candara" pitchFamily="34" charset="0"/>
              <a:cs typeface="Times New Roman" pitchFamily="18" charset="0"/>
            </a:endParaRPr>
          </a:p>
        </p:txBody>
      </p:sp>
      <p:pic>
        <p:nvPicPr>
          <p:cNvPr id="9"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19</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1996216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C016C09B-4FD1-E041-862E-B20F0189DA08}"/>
              </a:ext>
            </a:extLst>
          </p:cNvPr>
          <p:cNvPicPr>
            <a:picLocks noChangeAspect="1"/>
          </p:cNvPicPr>
          <p:nvPr/>
        </p:nvPicPr>
        <p:blipFill rotWithShape="1">
          <a:blip r:embed="rId2"/>
          <a:srcRect/>
          <a:stretch/>
        </p:blipFill>
        <p:spPr>
          <a:xfrm>
            <a:off x="-108792" y="-65256"/>
            <a:ext cx="12369800" cy="6930388"/>
          </a:xfrm>
          <a:prstGeom prst="rect">
            <a:avLst/>
          </a:prstGeom>
          <a:ln>
            <a:solidFill>
              <a:srgbClr val="0070C0"/>
            </a:solidFill>
          </a:ln>
        </p:spPr>
      </p:pic>
      <p:sp>
        <p:nvSpPr>
          <p:cNvPr id="20" name="Rectangle à coins arrondis 19"/>
          <p:cNvSpPr/>
          <p:nvPr/>
        </p:nvSpPr>
        <p:spPr>
          <a:xfrm>
            <a:off x="2432050" y="1628776"/>
            <a:ext cx="6448898" cy="720725"/>
          </a:xfrm>
          <a:prstGeom prst="roundRect">
            <a:avLst>
              <a:gd name="adj" fmla="val 45527"/>
            </a:avLst>
          </a:prstGeom>
          <a:solidFill>
            <a:schemeClr val="accent2">
              <a:lumMod val="40000"/>
              <a:lumOff val="60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chemeClr val="accent2">
                  <a:lumMod val="50000"/>
                </a:schemeClr>
              </a:buClr>
              <a:defRPr/>
            </a:pPr>
            <a:r>
              <a:rPr lang="fr-FR" b="1" dirty="0" smtClean="0">
                <a:solidFill>
                  <a:srgbClr val="002060"/>
                </a:solidFill>
                <a:latin typeface="Trebuchet MS" panose="020B0603020202020204" pitchFamily="34" charset="0"/>
                <a:cs typeface="Times New Roman" panose="02020603050405020304" pitchFamily="18" charset="0"/>
              </a:rPr>
              <a:t>     </a:t>
            </a:r>
            <a:r>
              <a:rPr lang="fr-FR" b="1" dirty="0">
                <a:solidFill>
                  <a:srgbClr val="002060"/>
                </a:solidFill>
                <a:latin typeface="Trebuchet MS" panose="020B0603020202020204" pitchFamily="34" charset="0"/>
                <a:cs typeface="Times New Roman" panose="02020603050405020304" pitchFamily="18" charset="0"/>
              </a:rPr>
              <a:t>Bref aperçu </a:t>
            </a:r>
            <a:r>
              <a:rPr lang="fr-FR" b="1" dirty="0" smtClean="0">
                <a:solidFill>
                  <a:srgbClr val="002060"/>
                </a:solidFill>
                <a:latin typeface="Trebuchet MS" panose="020B0603020202020204" pitchFamily="34" charset="0"/>
                <a:cs typeface="Times New Roman" panose="02020603050405020304" pitchFamily="18" charset="0"/>
              </a:rPr>
              <a:t>sur le Processus de la Décentralisation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21" name="Rectangle à coins arrondis 20"/>
          <p:cNvSpPr/>
          <p:nvPr/>
        </p:nvSpPr>
        <p:spPr>
          <a:xfrm>
            <a:off x="2844801" y="2471739"/>
            <a:ext cx="6447226" cy="720725"/>
          </a:xfrm>
          <a:prstGeom prst="roundRect">
            <a:avLst>
              <a:gd name="adj" fmla="val 45527"/>
            </a:avLst>
          </a:prstGeom>
        </p:spPr>
        <p:style>
          <a:lnRef idx="1">
            <a:schemeClr val="accent5"/>
          </a:lnRef>
          <a:fillRef idx="2">
            <a:schemeClr val="accent5"/>
          </a:fillRef>
          <a:effectRef idx="1">
            <a:schemeClr val="accent5"/>
          </a:effectRef>
          <a:fontRef idx="minor">
            <a:schemeClr val="dk1"/>
          </a:fontRef>
        </p:style>
        <p:txBody>
          <a:bodyPr anchor="ctr"/>
          <a:lstStyle/>
          <a:p>
            <a:pPr algn="l">
              <a:buClr>
                <a:schemeClr val="accent2">
                  <a:lumMod val="50000"/>
                </a:schemeClr>
              </a:buClr>
              <a:defRPr/>
            </a:pPr>
            <a:r>
              <a:rPr lang="fr-FR" b="1" dirty="0" smtClean="0">
                <a:solidFill>
                  <a:srgbClr val="002060"/>
                </a:solidFill>
                <a:latin typeface="Trebuchet MS" panose="020B0603020202020204" pitchFamily="34" charset="0"/>
                <a:cs typeface="Times New Roman" panose="02020603050405020304" pitchFamily="18" charset="0"/>
              </a:rPr>
              <a:t>   L’encadrement</a:t>
            </a:r>
            <a:r>
              <a:rPr lang="fr-FR" sz="2400" b="1" dirty="0" smtClean="0">
                <a:solidFill>
                  <a:srgbClr val="002060"/>
                </a:solidFill>
                <a:latin typeface="Times New Roman" panose="02020603050405020304" pitchFamily="18" charset="0"/>
                <a:cs typeface="Times New Roman" panose="02020603050405020304" pitchFamily="18" charset="0"/>
              </a:rPr>
              <a:t> </a:t>
            </a:r>
            <a:r>
              <a:rPr lang="fr-FR" b="1" dirty="0">
                <a:solidFill>
                  <a:srgbClr val="002060"/>
                </a:solidFill>
                <a:latin typeface="Trebuchet MS" panose="020B0603020202020204" pitchFamily="34" charset="0"/>
                <a:cs typeface="Times New Roman" panose="02020603050405020304" pitchFamily="18" charset="0"/>
              </a:rPr>
              <a:t>constitutionnel de la Régionalisation </a:t>
            </a:r>
            <a:r>
              <a:rPr lang="fr-FR" b="1" dirty="0" smtClean="0">
                <a:solidFill>
                  <a:srgbClr val="002060"/>
                </a:solidFill>
                <a:latin typeface="Trebuchet MS" panose="020B0603020202020204" pitchFamily="34" charset="0"/>
                <a:cs typeface="Times New Roman" panose="02020603050405020304" pitchFamily="18" charset="0"/>
              </a:rPr>
              <a:t>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22" name="Rectangle à coins arrondis 21"/>
          <p:cNvSpPr/>
          <p:nvPr/>
        </p:nvSpPr>
        <p:spPr>
          <a:xfrm>
            <a:off x="3108326" y="3357564"/>
            <a:ext cx="6447226" cy="719137"/>
          </a:xfrm>
          <a:prstGeom prst="roundRect">
            <a:avLst>
              <a:gd name="adj" fmla="val 45527"/>
            </a:avLst>
          </a:prstGeom>
        </p:spPr>
        <p:style>
          <a:lnRef idx="1">
            <a:schemeClr val="accent1"/>
          </a:lnRef>
          <a:fillRef idx="2">
            <a:schemeClr val="accent1"/>
          </a:fillRef>
          <a:effectRef idx="1">
            <a:schemeClr val="accent1"/>
          </a:effectRef>
          <a:fontRef idx="minor">
            <a:schemeClr val="dk1"/>
          </a:fontRef>
        </p:style>
        <p:txBody>
          <a:bodyPr anchor="ctr"/>
          <a:lstStyle/>
          <a:p>
            <a:pPr algn="l">
              <a:defRPr/>
            </a:pPr>
            <a:r>
              <a:rPr lang="fr-FR" b="1" dirty="0" smtClean="0">
                <a:solidFill>
                  <a:srgbClr val="002060"/>
                </a:solidFill>
                <a:latin typeface="Trebuchet MS" panose="020B0603020202020204" pitchFamily="34" charset="0"/>
                <a:cs typeface="Times New Roman" panose="02020603050405020304" pitchFamily="18" charset="0"/>
              </a:rPr>
              <a:t>    Les </a:t>
            </a:r>
            <a:r>
              <a:rPr lang="fr-FR" b="1" dirty="0">
                <a:solidFill>
                  <a:srgbClr val="002060"/>
                </a:solidFill>
                <a:latin typeface="Trebuchet MS" panose="020B0603020202020204" pitchFamily="34" charset="0"/>
                <a:cs typeface="Times New Roman" panose="02020603050405020304" pitchFamily="18" charset="0"/>
              </a:rPr>
              <a:t>compétences </a:t>
            </a:r>
            <a:r>
              <a:rPr lang="fr-FR" b="1" dirty="0" smtClean="0">
                <a:solidFill>
                  <a:srgbClr val="002060"/>
                </a:solidFill>
                <a:latin typeface="Trebuchet MS" panose="020B0603020202020204" pitchFamily="34" charset="0"/>
                <a:cs typeface="Times New Roman" panose="02020603050405020304" pitchFamily="18" charset="0"/>
              </a:rPr>
              <a:t>dévolues aux CT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23" name="Rectangle à coins arrondis 22"/>
          <p:cNvSpPr/>
          <p:nvPr/>
        </p:nvSpPr>
        <p:spPr>
          <a:xfrm>
            <a:off x="3430587" y="4221164"/>
            <a:ext cx="6447225" cy="720725"/>
          </a:xfrm>
          <a:prstGeom prst="roundRect">
            <a:avLst>
              <a:gd name="adj" fmla="val 45527"/>
            </a:avLst>
          </a:prstGeom>
        </p:spPr>
        <p:style>
          <a:lnRef idx="1">
            <a:schemeClr val="accent6"/>
          </a:lnRef>
          <a:fillRef idx="2">
            <a:schemeClr val="accent6"/>
          </a:fillRef>
          <a:effectRef idx="1">
            <a:schemeClr val="accent6"/>
          </a:effectRef>
          <a:fontRef idx="minor">
            <a:schemeClr val="dk1"/>
          </a:fontRef>
        </p:style>
        <p:txBody>
          <a:bodyPr anchor="ctr"/>
          <a:lstStyle/>
          <a:p>
            <a:pPr>
              <a:defRPr/>
            </a:pPr>
            <a:r>
              <a:rPr lang="fr-FR" sz="3600" b="1" dirty="0" smtClean="0">
                <a:solidFill>
                  <a:schemeClr val="bg1"/>
                </a:solidFill>
                <a:latin typeface="Arabic Typesetting" pitchFamily="66" charset="-78"/>
                <a:cs typeface="Arabic Typesetting" pitchFamily="66" charset="-78"/>
              </a:rPr>
              <a:t> </a:t>
            </a:r>
            <a:r>
              <a:rPr lang="ar-MA" sz="3600" b="1" dirty="0" smtClean="0">
                <a:solidFill>
                  <a:schemeClr val="bg1"/>
                </a:solidFill>
                <a:latin typeface="Arabic Typesetting" pitchFamily="66" charset="-78"/>
                <a:cs typeface="Arabic Typesetting" pitchFamily="66" charset="-78"/>
              </a:rPr>
              <a:t>   </a:t>
            </a:r>
            <a:r>
              <a:rPr lang="fr-FR" b="1" dirty="0" smtClean="0">
                <a:solidFill>
                  <a:srgbClr val="002060"/>
                </a:solidFill>
                <a:latin typeface="Trebuchet MS" panose="020B0603020202020204" pitchFamily="34" charset="0"/>
                <a:cs typeface="Times New Roman" panose="02020603050405020304" pitchFamily="18" charset="0"/>
              </a:rPr>
              <a:t>L</a:t>
            </a:r>
            <a:r>
              <a:rPr lang="fr-FR" altLang="fr-FR" b="1" dirty="0" smtClean="0">
                <a:solidFill>
                  <a:srgbClr val="002060"/>
                </a:solidFill>
                <a:latin typeface="Trebuchet MS" panose="020B0603020202020204" pitchFamily="34" charset="0"/>
                <a:cs typeface="Times New Roman" panose="02020603050405020304" pitchFamily="18" charset="0"/>
              </a:rPr>
              <a:t>a </a:t>
            </a:r>
            <a:r>
              <a:rPr lang="fr-FR" altLang="fr-FR" b="1" dirty="0">
                <a:solidFill>
                  <a:srgbClr val="002060"/>
                </a:solidFill>
                <a:latin typeface="Trebuchet MS" panose="020B0603020202020204" pitchFamily="34" charset="0"/>
                <a:cs typeface="Times New Roman" panose="02020603050405020304" pitchFamily="18" charset="0"/>
              </a:rPr>
              <a:t>mise en œuvre de la </a:t>
            </a:r>
            <a:r>
              <a:rPr lang="fr-FR" b="1" dirty="0">
                <a:solidFill>
                  <a:srgbClr val="002060"/>
                </a:solidFill>
                <a:latin typeface="Trebuchet MS" panose="020B0603020202020204" pitchFamily="34" charset="0"/>
                <a:cs typeface="Times New Roman" panose="02020603050405020304" pitchFamily="18" charset="0"/>
              </a:rPr>
              <a:t>Régionalisation</a:t>
            </a:r>
            <a:r>
              <a:rPr lang="fr-FR" altLang="fr-FR" b="1" dirty="0" smtClean="0">
                <a:solidFill>
                  <a:srgbClr val="002060"/>
                </a:solidFill>
                <a:latin typeface="Trebuchet MS" panose="020B0603020202020204" pitchFamily="34" charset="0"/>
                <a:cs typeface="Times New Roman" panose="02020603050405020304" pitchFamily="18" charset="0"/>
              </a:rPr>
              <a:t> avancée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24" name="Ellipse 23"/>
          <p:cNvSpPr/>
          <p:nvPr/>
        </p:nvSpPr>
        <p:spPr>
          <a:xfrm>
            <a:off x="2254726" y="1683138"/>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2"/>
          </a:lnRef>
          <a:fillRef idx="3">
            <a:schemeClr val="accent2"/>
          </a:fillRef>
          <a:effectRef idx="3">
            <a:schemeClr val="accent2"/>
          </a:effectRef>
          <a:fontRef idx="minor">
            <a:schemeClr val="lt1"/>
          </a:fontRef>
        </p:style>
        <p:txBody>
          <a:bodyPr anchor="ctr"/>
          <a:lstStyle/>
          <a:p>
            <a:pPr algn="ctr">
              <a:defRPr/>
            </a:pPr>
            <a:r>
              <a:rPr lang="fr-FR" sz="3200" dirty="0">
                <a:solidFill>
                  <a:schemeClr val="bg1"/>
                </a:solidFill>
                <a:sym typeface="Wingdings"/>
              </a:rPr>
              <a:t></a:t>
            </a:r>
            <a:endParaRPr lang="fr-FR" sz="2800" dirty="0">
              <a:solidFill>
                <a:schemeClr val="bg1"/>
              </a:solidFill>
            </a:endParaRPr>
          </a:p>
        </p:txBody>
      </p:sp>
      <p:sp>
        <p:nvSpPr>
          <p:cNvPr id="25" name="Ellipse 24"/>
          <p:cNvSpPr/>
          <p:nvPr/>
        </p:nvSpPr>
        <p:spPr>
          <a:xfrm>
            <a:off x="2560726" y="2526101"/>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3"/>
          </a:lnRef>
          <a:fillRef idx="3">
            <a:schemeClr val="accent3"/>
          </a:fillRef>
          <a:effectRef idx="3">
            <a:schemeClr val="accent3"/>
          </a:effectRef>
          <a:fontRef idx="minor">
            <a:schemeClr val="lt1"/>
          </a:fontRef>
        </p:style>
        <p:txBody>
          <a:bodyPr anchor="ctr"/>
          <a:lstStyle/>
          <a:p>
            <a:pPr algn="ctr">
              <a:defRPr/>
            </a:pPr>
            <a:r>
              <a:rPr lang="fr-FR" sz="3200" dirty="0">
                <a:solidFill>
                  <a:schemeClr val="bg1"/>
                </a:solidFill>
                <a:sym typeface="Wingdings"/>
              </a:rPr>
              <a:t></a:t>
            </a:r>
            <a:endParaRPr lang="fr-FR" dirty="0">
              <a:solidFill>
                <a:schemeClr val="bg1"/>
              </a:solidFill>
            </a:endParaRPr>
          </a:p>
        </p:txBody>
      </p:sp>
      <p:sp>
        <p:nvSpPr>
          <p:cNvPr id="26" name="Ellipse 25"/>
          <p:cNvSpPr/>
          <p:nvPr/>
        </p:nvSpPr>
        <p:spPr>
          <a:xfrm>
            <a:off x="2876848" y="3411132"/>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fr-FR" sz="3200" dirty="0">
                <a:solidFill>
                  <a:schemeClr val="bg1"/>
                </a:solidFill>
                <a:sym typeface="Wingdings 2"/>
              </a:rPr>
              <a:t></a:t>
            </a:r>
            <a:endParaRPr lang="fr-FR" dirty="0">
              <a:solidFill>
                <a:schemeClr val="bg1"/>
              </a:solidFill>
            </a:endParaRPr>
          </a:p>
        </p:txBody>
      </p:sp>
      <p:sp>
        <p:nvSpPr>
          <p:cNvPr id="27" name="Ellipse 26"/>
          <p:cNvSpPr/>
          <p:nvPr/>
        </p:nvSpPr>
        <p:spPr>
          <a:xfrm>
            <a:off x="3182848" y="4274496"/>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a:solidFill>
                  <a:schemeClr val="bg1"/>
                </a:solidFill>
                <a:sym typeface="Wingdings 2"/>
              </a:rPr>
              <a:t></a:t>
            </a:r>
            <a:endParaRPr lang="fr-FR" sz="3200" dirty="0">
              <a:solidFill>
                <a:schemeClr val="bg1"/>
              </a:solidFill>
            </a:endParaRPr>
          </a:p>
        </p:txBody>
      </p:sp>
      <p:sp>
        <p:nvSpPr>
          <p:cNvPr id="2" name="Rectangle 1"/>
          <p:cNvSpPr/>
          <p:nvPr/>
        </p:nvSpPr>
        <p:spPr>
          <a:xfrm>
            <a:off x="3531302" y="575714"/>
            <a:ext cx="4746812" cy="584775"/>
          </a:xfrm>
          <a:prstGeom prst="rect">
            <a:avLst/>
          </a:prstGeom>
        </p:spPr>
        <p:txBody>
          <a:bodyPr wrap="none">
            <a:spAutoFit/>
          </a:bodyPr>
          <a:lstStyle/>
          <a:p>
            <a:pPr algn="ctr"/>
            <a:r>
              <a:rPr lang="fr-FR" sz="3200" b="1" i="1" dirty="0">
                <a:latin typeface="Trebuchet MS" panose="020B0603020202020204" pitchFamily="34" charset="0"/>
              </a:rPr>
              <a:t>Plan de la présentation</a:t>
            </a:r>
            <a:endParaRPr lang="fr-FR" sz="3200" b="1" dirty="0">
              <a:solidFill>
                <a:schemeClr val="bg1"/>
              </a:solidFill>
              <a:latin typeface="Trebuchet MS" panose="020B0603020202020204" pitchFamily="34" charset="0"/>
              <a:cs typeface="Andalus" pitchFamily="18" charset="-78"/>
            </a:endParaRPr>
          </a:p>
        </p:txBody>
      </p:sp>
      <p:sp>
        <p:nvSpPr>
          <p:cNvPr id="13" name="Rectangle à coins arrondis 12"/>
          <p:cNvSpPr/>
          <p:nvPr/>
        </p:nvSpPr>
        <p:spPr>
          <a:xfrm>
            <a:off x="3866016" y="5124681"/>
            <a:ext cx="6447225" cy="732656"/>
          </a:xfrm>
          <a:prstGeom prst="roundRect">
            <a:avLst>
              <a:gd name="adj" fmla="val 45527"/>
            </a:avLst>
          </a:prstGeom>
          <a:solidFill>
            <a:schemeClr val="accent4">
              <a:lumMod val="40000"/>
              <a:lumOff val="60000"/>
            </a:schemeClr>
          </a:solidFill>
        </p:spPr>
        <p:style>
          <a:lnRef idx="1">
            <a:schemeClr val="accent6"/>
          </a:lnRef>
          <a:fillRef idx="2">
            <a:schemeClr val="accent6"/>
          </a:fillRef>
          <a:effectRef idx="1">
            <a:schemeClr val="accent6"/>
          </a:effectRef>
          <a:fontRef idx="minor">
            <a:schemeClr val="dk1"/>
          </a:fontRef>
        </p:style>
        <p:txBody>
          <a:bodyPr anchor="ctr"/>
          <a:lstStyle/>
          <a:p>
            <a:pPr algn="l">
              <a:lnSpc>
                <a:spcPct val="80000"/>
              </a:lnSpc>
              <a:defRPr/>
            </a:pPr>
            <a:r>
              <a:rPr lang="fr-FR" sz="3600" b="1" dirty="0" smtClean="0">
                <a:solidFill>
                  <a:schemeClr val="bg1"/>
                </a:solidFill>
                <a:latin typeface="Arabic Typesetting" pitchFamily="66" charset="-78"/>
                <a:cs typeface="Arabic Typesetting" pitchFamily="66" charset="-78"/>
              </a:rPr>
              <a:t>   </a:t>
            </a:r>
            <a:r>
              <a:rPr lang="fr-FR" b="1" dirty="0" smtClean="0">
                <a:solidFill>
                  <a:srgbClr val="002060"/>
                </a:solidFill>
                <a:latin typeface="Trebuchet MS" panose="020B0603020202020204" pitchFamily="34" charset="0"/>
                <a:cs typeface="Times New Roman" panose="02020603050405020304" pitchFamily="18" charset="0"/>
              </a:rPr>
              <a:t>Le </a:t>
            </a:r>
            <a:r>
              <a:rPr lang="fr-FR" b="1" dirty="0">
                <a:solidFill>
                  <a:srgbClr val="002060"/>
                </a:solidFill>
                <a:latin typeface="Trebuchet MS" panose="020B0603020202020204" pitchFamily="34" charset="0"/>
                <a:cs typeface="Times New Roman" panose="02020603050405020304" pitchFamily="18" charset="0"/>
              </a:rPr>
              <a:t>droit </a:t>
            </a:r>
            <a:r>
              <a:rPr lang="fr-FR" b="1" dirty="0" smtClean="0">
                <a:solidFill>
                  <a:srgbClr val="002060"/>
                </a:solidFill>
                <a:latin typeface="Trebuchet MS" panose="020B0603020202020204" pitchFamily="34" charset="0"/>
                <a:cs typeface="Times New Roman" panose="02020603050405020304" pitchFamily="18" charset="0"/>
              </a:rPr>
              <a:t>de regard de l’Etat sur les CT : de la tutelle</a:t>
            </a:r>
          </a:p>
          <a:p>
            <a:pPr algn="l">
              <a:lnSpc>
                <a:spcPct val="80000"/>
              </a:lnSpc>
              <a:defRPr/>
            </a:pPr>
            <a:r>
              <a:rPr lang="fr-FR" b="1" dirty="0">
                <a:solidFill>
                  <a:srgbClr val="002060"/>
                </a:solidFill>
                <a:latin typeface="Trebuchet MS" panose="020B0603020202020204" pitchFamily="34" charset="0"/>
                <a:cs typeface="Times New Roman" panose="02020603050405020304" pitchFamily="18" charset="0"/>
              </a:rPr>
              <a:t> </a:t>
            </a:r>
            <a:r>
              <a:rPr lang="fr-FR" b="1" dirty="0" smtClean="0">
                <a:solidFill>
                  <a:srgbClr val="002060"/>
                </a:solidFill>
                <a:latin typeface="Trebuchet MS" panose="020B0603020202020204" pitchFamily="34" charset="0"/>
                <a:cs typeface="Times New Roman" panose="02020603050405020304" pitchFamily="18" charset="0"/>
              </a:rPr>
              <a:t>    au Contrôle administratif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14" name="Ellipse 13"/>
          <p:cNvSpPr/>
          <p:nvPr/>
        </p:nvSpPr>
        <p:spPr>
          <a:xfrm>
            <a:off x="3618277" y="5178012"/>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smtClean="0">
                <a:solidFill>
                  <a:schemeClr val="bg1"/>
                </a:solidFill>
                <a:sym typeface="Wingdings 2" panose="05020102010507070707" pitchFamily="18" charset="2"/>
              </a:rPr>
              <a:t></a:t>
            </a:r>
            <a:endParaRPr lang="fr-FR" sz="3200" dirty="0">
              <a:solidFill>
                <a:schemeClr val="bg1"/>
              </a:solidFill>
            </a:endParaRPr>
          </a:p>
        </p:txBody>
      </p:sp>
      <p:sp>
        <p:nvSpPr>
          <p:cNvPr id="15" name="Espace réservé du numéro de diapositive 3"/>
          <p:cNvSpPr txBox="1">
            <a:spLocks/>
          </p:cNvSpPr>
          <p:nvPr/>
        </p:nvSpPr>
        <p:spPr bwMode="auto">
          <a:xfrm>
            <a:off x="11479699" y="6321370"/>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20268216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à coins arrondis 19"/>
          <p:cNvSpPr/>
          <p:nvPr/>
        </p:nvSpPr>
        <p:spPr>
          <a:xfrm>
            <a:off x="2432050" y="1628776"/>
            <a:ext cx="6448898" cy="720725"/>
          </a:xfrm>
          <a:prstGeom prst="roundRect">
            <a:avLst>
              <a:gd name="adj" fmla="val 45527"/>
            </a:avLst>
          </a:prstGeom>
          <a:solidFill>
            <a:schemeClr val="bg1">
              <a:lumMod val="9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chemeClr val="accent2">
                  <a:lumMod val="50000"/>
                </a:schemeClr>
              </a:buClr>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a:t>
            </a:r>
            <a:r>
              <a:rPr lang="fr-FR" b="1" dirty="0">
                <a:solidFill>
                  <a:schemeClr val="bg1">
                    <a:lumMod val="75000"/>
                  </a:schemeClr>
                </a:solidFill>
                <a:latin typeface="Trebuchet MS" panose="020B0603020202020204" pitchFamily="34" charset="0"/>
                <a:cs typeface="Times New Roman" panose="02020603050405020304" pitchFamily="18" charset="0"/>
              </a:rPr>
              <a:t>Bref aperçu </a:t>
            </a:r>
            <a:r>
              <a:rPr lang="fr-FR" b="1" dirty="0" smtClean="0">
                <a:solidFill>
                  <a:schemeClr val="bg1">
                    <a:lumMod val="75000"/>
                  </a:schemeClr>
                </a:solidFill>
                <a:latin typeface="Trebuchet MS" panose="020B0603020202020204" pitchFamily="34" charset="0"/>
                <a:cs typeface="Times New Roman" panose="02020603050405020304" pitchFamily="18" charset="0"/>
              </a:rPr>
              <a:t>sur le Processus de la Décentralisation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1" name="Rectangle à coins arrondis 20"/>
          <p:cNvSpPr/>
          <p:nvPr/>
        </p:nvSpPr>
        <p:spPr>
          <a:xfrm>
            <a:off x="2844801" y="2471739"/>
            <a:ext cx="6447226" cy="720725"/>
          </a:xfrm>
          <a:prstGeom prst="roundRect">
            <a:avLst>
              <a:gd name="adj" fmla="val 45527"/>
            </a:avLst>
          </a:prstGeom>
          <a:solidFill>
            <a:schemeClr val="bg1">
              <a:lumMod val="95000"/>
            </a:schemeClr>
          </a:solidFill>
        </p:spPr>
        <p:style>
          <a:lnRef idx="1">
            <a:schemeClr val="accent5"/>
          </a:lnRef>
          <a:fillRef idx="2">
            <a:schemeClr val="accent5"/>
          </a:fillRef>
          <a:effectRef idx="1">
            <a:schemeClr val="accent5"/>
          </a:effectRef>
          <a:fontRef idx="minor">
            <a:schemeClr val="dk1"/>
          </a:fontRef>
        </p:style>
        <p:txBody>
          <a:bodyPr anchor="ctr"/>
          <a:lstStyle/>
          <a:p>
            <a:pPr algn="l">
              <a:buClr>
                <a:schemeClr val="accent2">
                  <a:lumMod val="50000"/>
                </a:schemeClr>
              </a:buClr>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L’encadrement</a:t>
            </a:r>
            <a:r>
              <a:rPr lang="fr-FR" sz="2400" b="1" dirty="0" smtClean="0">
                <a:solidFill>
                  <a:schemeClr val="bg1">
                    <a:lumMod val="75000"/>
                  </a:schemeClr>
                </a:solidFill>
                <a:latin typeface="Times New Roman" panose="02020603050405020304" pitchFamily="18" charset="0"/>
                <a:cs typeface="Times New Roman" panose="02020603050405020304" pitchFamily="18" charset="0"/>
              </a:rPr>
              <a:t> </a:t>
            </a:r>
            <a:r>
              <a:rPr lang="fr-FR" b="1" dirty="0">
                <a:solidFill>
                  <a:schemeClr val="bg1">
                    <a:lumMod val="75000"/>
                  </a:schemeClr>
                </a:solidFill>
                <a:latin typeface="Trebuchet MS" panose="020B0603020202020204" pitchFamily="34" charset="0"/>
                <a:cs typeface="Times New Roman" panose="02020603050405020304" pitchFamily="18" charset="0"/>
              </a:rPr>
              <a:t>constitutionnel de la Régionalisation </a:t>
            </a:r>
            <a:r>
              <a:rPr lang="fr-FR" b="1" dirty="0" smtClean="0">
                <a:solidFill>
                  <a:schemeClr val="bg1">
                    <a:lumMod val="75000"/>
                  </a:schemeClr>
                </a:solidFill>
                <a:latin typeface="Trebuchet MS" panose="020B0603020202020204" pitchFamily="34" charset="0"/>
                <a:cs typeface="Times New Roman" panose="02020603050405020304" pitchFamily="18" charset="0"/>
              </a:rPr>
              <a:t>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2" name="Rectangle à coins arrondis 21"/>
          <p:cNvSpPr/>
          <p:nvPr/>
        </p:nvSpPr>
        <p:spPr>
          <a:xfrm>
            <a:off x="3108326" y="3357564"/>
            <a:ext cx="6447226" cy="719137"/>
          </a:xfrm>
          <a:prstGeom prst="roundRect">
            <a:avLst>
              <a:gd name="adj" fmla="val 45527"/>
            </a:avLst>
          </a:prstGeom>
          <a:solidFill>
            <a:schemeClr val="bg1">
              <a:lumMod val="95000"/>
            </a:schemeClr>
          </a:solidFill>
        </p:spPr>
        <p:style>
          <a:lnRef idx="1">
            <a:schemeClr val="accent1"/>
          </a:lnRef>
          <a:fillRef idx="2">
            <a:schemeClr val="accent1"/>
          </a:fillRef>
          <a:effectRef idx="1">
            <a:schemeClr val="accent1"/>
          </a:effectRef>
          <a:fontRef idx="minor">
            <a:schemeClr val="dk1"/>
          </a:fontRef>
        </p:style>
        <p:txBody>
          <a:bodyPr anchor="ctr"/>
          <a:lstStyle/>
          <a:p>
            <a:pPr algn="l">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Les </a:t>
            </a:r>
            <a:r>
              <a:rPr lang="fr-FR" b="1" dirty="0">
                <a:solidFill>
                  <a:schemeClr val="bg1">
                    <a:lumMod val="75000"/>
                  </a:schemeClr>
                </a:solidFill>
                <a:latin typeface="Trebuchet MS" panose="020B0603020202020204" pitchFamily="34" charset="0"/>
                <a:cs typeface="Times New Roman" panose="02020603050405020304" pitchFamily="18" charset="0"/>
              </a:rPr>
              <a:t>compétences </a:t>
            </a:r>
            <a:r>
              <a:rPr lang="fr-FR" b="1" dirty="0" smtClean="0">
                <a:solidFill>
                  <a:schemeClr val="bg1">
                    <a:lumMod val="75000"/>
                  </a:schemeClr>
                </a:solidFill>
                <a:latin typeface="Trebuchet MS" panose="020B0603020202020204" pitchFamily="34" charset="0"/>
                <a:cs typeface="Times New Roman" panose="02020603050405020304" pitchFamily="18" charset="0"/>
              </a:rPr>
              <a:t>dévolues aux CT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3" name="Rectangle à coins arrondis 22"/>
          <p:cNvSpPr/>
          <p:nvPr/>
        </p:nvSpPr>
        <p:spPr>
          <a:xfrm>
            <a:off x="3430587" y="4221164"/>
            <a:ext cx="6447225" cy="720725"/>
          </a:xfrm>
          <a:prstGeom prst="roundRect">
            <a:avLst>
              <a:gd name="adj" fmla="val 45527"/>
            </a:avLst>
          </a:prstGeom>
        </p:spPr>
        <p:style>
          <a:lnRef idx="1">
            <a:schemeClr val="accent6"/>
          </a:lnRef>
          <a:fillRef idx="2">
            <a:schemeClr val="accent6"/>
          </a:fillRef>
          <a:effectRef idx="1">
            <a:schemeClr val="accent6"/>
          </a:effectRef>
          <a:fontRef idx="minor">
            <a:schemeClr val="dk1"/>
          </a:fontRef>
        </p:style>
        <p:txBody>
          <a:bodyPr anchor="ctr"/>
          <a:lstStyle/>
          <a:p>
            <a:pPr algn="l">
              <a:defRPr/>
            </a:pPr>
            <a:r>
              <a:rPr lang="fr-FR" sz="3600" b="1" dirty="0" smtClean="0">
                <a:solidFill>
                  <a:schemeClr val="bg1"/>
                </a:solidFill>
                <a:latin typeface="Arabic Typesetting" pitchFamily="66" charset="-78"/>
                <a:cs typeface="Arabic Typesetting" pitchFamily="66" charset="-78"/>
              </a:rPr>
              <a:t> </a:t>
            </a:r>
            <a:r>
              <a:rPr lang="ar-MA" sz="3600" b="1" dirty="0" smtClean="0">
                <a:solidFill>
                  <a:schemeClr val="bg1"/>
                </a:solidFill>
                <a:latin typeface="Arabic Typesetting" pitchFamily="66" charset="-78"/>
                <a:cs typeface="Arabic Typesetting" pitchFamily="66" charset="-78"/>
              </a:rPr>
              <a:t>   </a:t>
            </a:r>
            <a:r>
              <a:rPr lang="fr-FR" b="1" dirty="0" smtClean="0">
                <a:solidFill>
                  <a:srgbClr val="002060"/>
                </a:solidFill>
                <a:latin typeface="Trebuchet MS" panose="020B0603020202020204" pitchFamily="34" charset="0"/>
                <a:cs typeface="Times New Roman" panose="02020603050405020304" pitchFamily="18" charset="0"/>
              </a:rPr>
              <a:t>L</a:t>
            </a:r>
            <a:r>
              <a:rPr lang="fr-FR" altLang="fr-FR" b="1" dirty="0" smtClean="0">
                <a:solidFill>
                  <a:srgbClr val="002060"/>
                </a:solidFill>
                <a:latin typeface="Trebuchet MS" panose="020B0603020202020204" pitchFamily="34" charset="0"/>
                <a:cs typeface="Times New Roman" panose="02020603050405020304" pitchFamily="18" charset="0"/>
              </a:rPr>
              <a:t>a </a:t>
            </a:r>
            <a:r>
              <a:rPr lang="fr-FR" altLang="fr-FR" b="1" dirty="0">
                <a:solidFill>
                  <a:srgbClr val="002060"/>
                </a:solidFill>
                <a:latin typeface="Trebuchet MS" panose="020B0603020202020204" pitchFamily="34" charset="0"/>
                <a:cs typeface="Times New Roman" panose="02020603050405020304" pitchFamily="18" charset="0"/>
              </a:rPr>
              <a:t>mise en œuvre de la </a:t>
            </a:r>
            <a:r>
              <a:rPr lang="fr-FR" altLang="fr-FR" b="1" dirty="0" smtClean="0">
                <a:solidFill>
                  <a:srgbClr val="002060"/>
                </a:solidFill>
                <a:latin typeface="Trebuchet MS" panose="020B0603020202020204" pitchFamily="34" charset="0"/>
                <a:cs typeface="Times New Roman" panose="02020603050405020304" pitchFamily="18" charset="0"/>
              </a:rPr>
              <a:t>Régionalisation Avancée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24" name="Ellipse 23"/>
          <p:cNvSpPr/>
          <p:nvPr/>
        </p:nvSpPr>
        <p:spPr>
          <a:xfrm>
            <a:off x="2254726" y="1683138"/>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2"/>
          </a:lnRef>
          <a:fillRef idx="3">
            <a:schemeClr val="accent2"/>
          </a:fillRef>
          <a:effectRef idx="3">
            <a:schemeClr val="accent2"/>
          </a:effectRef>
          <a:fontRef idx="minor">
            <a:schemeClr val="lt1"/>
          </a:fontRef>
        </p:style>
        <p:txBody>
          <a:bodyPr anchor="ctr"/>
          <a:lstStyle/>
          <a:p>
            <a:pPr algn="ctr">
              <a:defRPr/>
            </a:pPr>
            <a:r>
              <a:rPr lang="fr-FR" sz="3200" dirty="0">
                <a:solidFill>
                  <a:schemeClr val="bg1">
                    <a:lumMod val="75000"/>
                  </a:schemeClr>
                </a:solidFill>
                <a:sym typeface="Wingdings"/>
              </a:rPr>
              <a:t></a:t>
            </a:r>
            <a:endParaRPr lang="fr-FR" sz="2800" dirty="0">
              <a:solidFill>
                <a:schemeClr val="bg1">
                  <a:lumMod val="75000"/>
                </a:schemeClr>
              </a:solidFill>
            </a:endParaRPr>
          </a:p>
        </p:txBody>
      </p:sp>
      <p:sp>
        <p:nvSpPr>
          <p:cNvPr id="25" name="Ellipse 24"/>
          <p:cNvSpPr/>
          <p:nvPr/>
        </p:nvSpPr>
        <p:spPr>
          <a:xfrm>
            <a:off x="2560726" y="2526101"/>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3"/>
          </a:lnRef>
          <a:fillRef idx="3">
            <a:schemeClr val="accent3"/>
          </a:fillRef>
          <a:effectRef idx="3">
            <a:schemeClr val="accent3"/>
          </a:effectRef>
          <a:fontRef idx="minor">
            <a:schemeClr val="lt1"/>
          </a:fontRef>
        </p:style>
        <p:txBody>
          <a:bodyPr anchor="ctr"/>
          <a:lstStyle/>
          <a:p>
            <a:pPr algn="ctr">
              <a:defRPr/>
            </a:pPr>
            <a:r>
              <a:rPr lang="fr-FR" sz="3200" dirty="0">
                <a:solidFill>
                  <a:schemeClr val="bg1">
                    <a:lumMod val="75000"/>
                  </a:schemeClr>
                </a:solidFill>
                <a:sym typeface="Wingdings"/>
              </a:rPr>
              <a:t></a:t>
            </a:r>
            <a:endParaRPr lang="fr-FR" dirty="0">
              <a:solidFill>
                <a:schemeClr val="bg1">
                  <a:lumMod val="75000"/>
                </a:schemeClr>
              </a:solidFill>
            </a:endParaRPr>
          </a:p>
        </p:txBody>
      </p:sp>
      <p:sp>
        <p:nvSpPr>
          <p:cNvPr id="26" name="Ellipse 25"/>
          <p:cNvSpPr/>
          <p:nvPr/>
        </p:nvSpPr>
        <p:spPr>
          <a:xfrm>
            <a:off x="2876848" y="3411132"/>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fr-FR" sz="3200" dirty="0">
                <a:solidFill>
                  <a:schemeClr val="bg1">
                    <a:lumMod val="75000"/>
                  </a:schemeClr>
                </a:solidFill>
                <a:sym typeface="Wingdings 2"/>
              </a:rPr>
              <a:t></a:t>
            </a:r>
            <a:endParaRPr lang="fr-FR" dirty="0">
              <a:solidFill>
                <a:schemeClr val="bg1">
                  <a:lumMod val="75000"/>
                </a:schemeClr>
              </a:solidFill>
            </a:endParaRPr>
          </a:p>
        </p:txBody>
      </p:sp>
      <p:sp>
        <p:nvSpPr>
          <p:cNvPr id="27" name="Ellipse 26"/>
          <p:cNvSpPr/>
          <p:nvPr/>
        </p:nvSpPr>
        <p:spPr>
          <a:xfrm>
            <a:off x="3182848" y="4274496"/>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a:solidFill>
                  <a:schemeClr val="bg1"/>
                </a:solidFill>
                <a:sym typeface="Wingdings 2"/>
              </a:rPr>
              <a:t></a:t>
            </a:r>
            <a:endParaRPr lang="fr-FR" sz="3200" dirty="0">
              <a:solidFill>
                <a:schemeClr val="bg1"/>
              </a:solidFill>
            </a:endParaRPr>
          </a:p>
        </p:txBody>
      </p:sp>
      <p:sp>
        <p:nvSpPr>
          <p:cNvPr id="2" name="Rectangle 1"/>
          <p:cNvSpPr/>
          <p:nvPr/>
        </p:nvSpPr>
        <p:spPr>
          <a:xfrm>
            <a:off x="3531302" y="412428"/>
            <a:ext cx="4746812" cy="584775"/>
          </a:xfrm>
          <a:prstGeom prst="rect">
            <a:avLst/>
          </a:prstGeom>
        </p:spPr>
        <p:txBody>
          <a:bodyPr wrap="none">
            <a:spAutoFit/>
          </a:bodyPr>
          <a:lstStyle/>
          <a:p>
            <a:pPr algn="ctr"/>
            <a:r>
              <a:rPr lang="fr-FR" sz="3200" b="1" i="1" dirty="0">
                <a:latin typeface="Trebuchet MS" panose="020B0603020202020204" pitchFamily="34" charset="0"/>
              </a:rPr>
              <a:t>Plan de la présentation</a:t>
            </a:r>
            <a:endParaRPr lang="fr-FR" sz="3200" b="1" dirty="0">
              <a:solidFill>
                <a:schemeClr val="bg1"/>
              </a:solidFill>
              <a:latin typeface="Trebuchet MS" panose="020B0603020202020204" pitchFamily="34" charset="0"/>
              <a:cs typeface="Andalus" pitchFamily="18" charset="-78"/>
            </a:endParaRPr>
          </a:p>
        </p:txBody>
      </p:sp>
      <p:sp>
        <p:nvSpPr>
          <p:cNvPr id="13" name="Rectangle à coins arrondis 12"/>
          <p:cNvSpPr/>
          <p:nvPr/>
        </p:nvSpPr>
        <p:spPr>
          <a:xfrm>
            <a:off x="3866016" y="5124680"/>
            <a:ext cx="6447225" cy="720725"/>
          </a:xfrm>
          <a:prstGeom prst="roundRect">
            <a:avLst>
              <a:gd name="adj" fmla="val 45527"/>
            </a:avLst>
          </a:prstGeom>
          <a:solidFill>
            <a:schemeClr val="bg1">
              <a:lumMod val="95000"/>
            </a:schemeClr>
          </a:solidFill>
        </p:spPr>
        <p:style>
          <a:lnRef idx="1">
            <a:schemeClr val="accent6"/>
          </a:lnRef>
          <a:fillRef idx="2">
            <a:schemeClr val="accent6"/>
          </a:fillRef>
          <a:effectRef idx="1">
            <a:schemeClr val="accent6"/>
          </a:effectRef>
          <a:fontRef idx="minor">
            <a:schemeClr val="dk1"/>
          </a:fontRef>
        </p:style>
        <p:txBody>
          <a:bodyPr anchor="ctr"/>
          <a:lstStyle/>
          <a:p>
            <a:pPr>
              <a:lnSpc>
                <a:spcPct val="80000"/>
              </a:lnSpc>
              <a:defRPr/>
            </a:pPr>
            <a:r>
              <a:rPr lang="fr-FR" sz="3600" b="1" dirty="0" smtClean="0">
                <a:solidFill>
                  <a:schemeClr val="bg1">
                    <a:lumMod val="85000"/>
                  </a:schemeClr>
                </a:solidFill>
                <a:latin typeface="Arabic Typesetting" pitchFamily="66" charset="-78"/>
                <a:cs typeface="Arabic Typesetting" pitchFamily="66" charset="-78"/>
              </a:rPr>
              <a:t>  </a:t>
            </a:r>
            <a:r>
              <a:rPr lang="ar-MA" sz="3600" b="1" dirty="0" smtClean="0">
                <a:solidFill>
                  <a:schemeClr val="bg1">
                    <a:lumMod val="85000"/>
                  </a:schemeClr>
                </a:solidFill>
                <a:latin typeface="Arabic Typesetting" pitchFamily="66" charset="-78"/>
                <a:cs typeface="Arabic Typesetting" pitchFamily="66" charset="-78"/>
              </a:rPr>
              <a:t>  </a:t>
            </a:r>
            <a:r>
              <a:rPr lang="fr-FR" b="1" dirty="0">
                <a:solidFill>
                  <a:schemeClr val="bg1">
                    <a:lumMod val="75000"/>
                  </a:schemeClr>
                </a:solidFill>
                <a:latin typeface="Trebuchet MS" panose="020B0603020202020204" pitchFamily="34" charset="0"/>
                <a:cs typeface="Times New Roman" panose="02020603050405020304" pitchFamily="18" charset="0"/>
              </a:rPr>
              <a:t>Le droit de regard de l’Etat sur les CT : de la tutelle</a:t>
            </a:r>
          </a:p>
          <a:p>
            <a:pPr>
              <a:lnSpc>
                <a:spcPct val="80000"/>
              </a:lnSpc>
              <a:defRPr/>
            </a:pPr>
            <a:r>
              <a:rPr lang="fr-FR" b="1" dirty="0">
                <a:solidFill>
                  <a:schemeClr val="bg1">
                    <a:lumMod val="75000"/>
                  </a:schemeClr>
                </a:solidFill>
                <a:latin typeface="Trebuchet MS" panose="020B0603020202020204" pitchFamily="34" charset="0"/>
                <a:cs typeface="Times New Roman" panose="02020603050405020304" pitchFamily="18" charset="0"/>
              </a:rPr>
              <a:t>     au Contrôle administratif </a:t>
            </a:r>
          </a:p>
        </p:txBody>
      </p:sp>
      <p:sp>
        <p:nvSpPr>
          <p:cNvPr id="14" name="Ellipse 13"/>
          <p:cNvSpPr/>
          <p:nvPr/>
        </p:nvSpPr>
        <p:spPr>
          <a:xfrm>
            <a:off x="3618277" y="5178012"/>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smtClean="0">
                <a:solidFill>
                  <a:schemeClr val="bg1">
                    <a:lumMod val="85000"/>
                  </a:schemeClr>
                </a:solidFill>
                <a:sym typeface="Wingdings 2" panose="05020102010507070707" pitchFamily="18" charset="2"/>
              </a:rPr>
              <a:t></a:t>
            </a:r>
            <a:endParaRPr lang="fr-FR" sz="3200" dirty="0">
              <a:solidFill>
                <a:schemeClr val="bg1">
                  <a:lumMod val="85000"/>
                </a:schemeClr>
              </a:solidFill>
            </a:endParaRPr>
          </a:p>
        </p:txBody>
      </p:sp>
      <p:sp>
        <p:nvSpPr>
          <p:cNvPr id="15"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2"/>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3"/>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3"/>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3"/>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3"/>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0</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19521818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Espace réservé du numéro de diapositive 4"/>
          <p:cNvSpPr>
            <a:spLocks noGrp="1"/>
          </p:cNvSpPr>
          <p:nvPr>
            <p:ph type="sldNum" sz="quarter" idx="12"/>
          </p:nvPr>
        </p:nvSpPr>
        <p:spPr bwMode="auto">
          <a:noFill/>
          <a:ln>
            <a:miter lim="800000"/>
            <a:headEnd/>
            <a:tailEnd/>
          </a:ln>
        </p:spPr>
        <p:txBody>
          <a:bodyPr wrap="square" lIns="91440" tIns="45720" rIns="91440" bIns="45720" numCol="1" anchorCtr="0" compatLnSpc="1">
            <a:prstTxWarp prst="textNoShape">
              <a:avLst/>
            </a:prstTxWarp>
          </a:bodyPr>
          <a:lstStyle/>
          <a:p>
            <a:fld id="{01B2339F-7CE8-40AF-89C4-58EECD3CC512}" type="slidenum">
              <a:rPr lang="en-US" altLang="fr-FR" sz="1200">
                <a:solidFill>
                  <a:schemeClr val="bg1"/>
                </a:solidFill>
                <a:cs typeface="Arial" pitchFamily="34" charset="0"/>
              </a:rPr>
              <a:pPr/>
              <a:t>21</a:t>
            </a:fld>
            <a:endParaRPr lang="en-US" altLang="fr-FR" sz="1200">
              <a:solidFill>
                <a:schemeClr val="bg1"/>
              </a:solidFill>
              <a:cs typeface="Arial" pitchFamily="34" charset="0"/>
            </a:endParaRPr>
          </a:p>
        </p:txBody>
      </p:sp>
      <p:sp>
        <p:nvSpPr>
          <p:cNvPr id="8" name="Rectangle 7">
            <a:extLst>
              <a:ext uri="{FF2B5EF4-FFF2-40B4-BE49-F238E27FC236}">
                <a16:creationId xmlns:a16="http://schemas.microsoft.com/office/drawing/2014/main" id="{B05F8616-5FA3-4243-B673-746764214419}"/>
              </a:ext>
            </a:extLst>
          </p:cNvPr>
          <p:cNvSpPr/>
          <p:nvPr/>
        </p:nvSpPr>
        <p:spPr>
          <a:xfrm>
            <a:off x="1153886" y="0"/>
            <a:ext cx="9971314"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defRPr/>
            </a:pPr>
            <a:r>
              <a:rPr lang="fr-FR" sz="3200" b="1" i="1" dirty="0" smtClean="0">
                <a:latin typeface="Candara" pitchFamily="34" charset="0"/>
              </a:rPr>
              <a:t>Accompagnement de la mise en œuvre de la RA</a:t>
            </a:r>
            <a:endParaRPr lang="fr-FR" sz="3200" b="1" i="1" dirty="0">
              <a:latin typeface="Candara" pitchFamily="34" charset="0"/>
              <a:cs typeface="Times New Roman" pitchFamily="18" charset="0"/>
            </a:endParaRPr>
          </a:p>
        </p:txBody>
      </p:sp>
      <p:pic>
        <p:nvPicPr>
          <p:cNvPr id="9"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664029" y="1454738"/>
            <a:ext cx="10940143" cy="5201424"/>
          </a:xfrm>
          <a:prstGeom prst="rect">
            <a:avLst/>
          </a:prstGeom>
        </p:spPr>
        <p:txBody>
          <a:bodyPr wrap="square">
            <a:spAutoFit/>
          </a:bodyPr>
          <a:lstStyle/>
          <a:p>
            <a:pPr marL="285750" indent="-285750" algn="just">
              <a:spcBef>
                <a:spcPts val="600"/>
              </a:spcBef>
              <a:spcAft>
                <a:spcPts val="600"/>
              </a:spcAft>
              <a:buFont typeface="Wingdings" panose="05000000000000000000" pitchFamily="2" charset="2"/>
              <a:buChar char="§"/>
            </a:pPr>
            <a:r>
              <a:rPr lang="fr-FR" sz="1600" dirty="0">
                <a:latin typeface="Trebuchet MS" panose="020B0603020202020204" pitchFamily="34" charset="0"/>
                <a:cs typeface="Calibri" panose="020F0502020204030204" pitchFamily="34" charset="0"/>
              </a:rPr>
              <a:t>Depuis le lancement de la mise en œuvre effective de la régionalisation avancée,  plusieurs textes d’application des lois organiques relatives aux collectivités territoriales ont été mises en place.</a:t>
            </a:r>
          </a:p>
          <a:p>
            <a:pPr marL="285750" indent="-285750" algn="just">
              <a:spcBef>
                <a:spcPts val="600"/>
              </a:spcBef>
              <a:spcAft>
                <a:spcPts val="600"/>
              </a:spcAft>
              <a:buFont typeface="Wingdings" panose="05000000000000000000" pitchFamily="2" charset="2"/>
              <a:buChar char="§"/>
            </a:pPr>
            <a:r>
              <a:rPr lang="fr-FR" sz="1600" dirty="0" smtClean="0">
                <a:latin typeface="Trebuchet MS" panose="020B0603020202020204" pitchFamily="34" charset="0"/>
                <a:cs typeface="Calibri" panose="020F0502020204030204" pitchFamily="34" charset="0"/>
              </a:rPr>
              <a:t>Le </a:t>
            </a:r>
            <a:r>
              <a:rPr lang="fr-FR" sz="1600" dirty="0">
                <a:latin typeface="Trebuchet MS" panose="020B0603020202020204" pitchFamily="34" charset="0"/>
                <a:cs typeface="Calibri" panose="020F0502020204030204" pitchFamily="34" charset="0"/>
              </a:rPr>
              <a:t>ministère de l’Intérieur a accompagné les conseils des </a:t>
            </a:r>
            <a:r>
              <a:rPr lang="fr-FR" sz="1600" dirty="0" smtClean="0">
                <a:latin typeface="Trebuchet MS" panose="020B0603020202020204" pitchFamily="34" charset="0"/>
                <a:cs typeface="Calibri" panose="020F0502020204030204" pitchFamily="34" charset="0"/>
              </a:rPr>
              <a:t>CT </a:t>
            </a:r>
            <a:r>
              <a:rPr lang="fr-FR" sz="1600" dirty="0">
                <a:latin typeface="Trebuchet MS" panose="020B0603020202020204" pitchFamily="34" charset="0"/>
                <a:cs typeface="Calibri" panose="020F0502020204030204" pitchFamily="34" charset="0"/>
              </a:rPr>
              <a:t>lors de la mise en place de leurs structures (élues et administratives) en publiant des guides pour les élus et plus de 30 circulaires touchant les différents domaines de l’intervention des </a:t>
            </a:r>
            <a:r>
              <a:rPr lang="fr-FR" sz="1600" dirty="0" smtClean="0">
                <a:latin typeface="Trebuchet MS" panose="020B0603020202020204" pitchFamily="34" charset="0"/>
                <a:cs typeface="Calibri" panose="020F0502020204030204" pitchFamily="34" charset="0"/>
              </a:rPr>
              <a:t>CT et en </a:t>
            </a:r>
            <a:r>
              <a:rPr lang="fr-FR" sz="1600" dirty="0">
                <a:latin typeface="Trebuchet MS" panose="020B0603020202020204" pitchFamily="34" charset="0"/>
                <a:cs typeface="Calibri" panose="020F0502020204030204" pitchFamily="34" charset="0"/>
              </a:rPr>
              <a:t>organisant des sessions de formation à leur profit…</a:t>
            </a:r>
          </a:p>
          <a:p>
            <a:pPr marL="285750" indent="-285750" algn="just">
              <a:spcBef>
                <a:spcPts val="600"/>
              </a:spcBef>
              <a:spcAft>
                <a:spcPts val="600"/>
              </a:spcAft>
              <a:buFont typeface="Wingdings" panose="05000000000000000000" pitchFamily="2" charset="2"/>
              <a:buChar char="§"/>
            </a:pPr>
            <a:r>
              <a:rPr lang="fr-FR" sz="1600" dirty="0">
                <a:latin typeface="Trebuchet MS" panose="020B0603020202020204" pitchFamily="34" charset="0"/>
                <a:cs typeface="Calibri" panose="020F0502020204030204" pitchFamily="34" charset="0"/>
              </a:rPr>
              <a:t>Le ministère, en collaboration avec tous le secteurs concernés, poursuit la réunion des conditions de réussite du chantier de la régionalisation avancée, notamment à travers</a:t>
            </a:r>
            <a:r>
              <a:rPr lang="fr-FR" sz="1600" dirty="0" smtClean="0">
                <a:latin typeface="Trebuchet MS" panose="020B0603020202020204" pitchFamily="34" charset="0"/>
                <a:cs typeface="Calibri" panose="020F0502020204030204" pitchFamily="34" charset="0"/>
              </a:rPr>
              <a:t>:</a:t>
            </a:r>
          </a:p>
          <a:p>
            <a:pPr algn="just"/>
            <a:endParaRPr lang="fr-FR" sz="800" dirty="0">
              <a:latin typeface="Trebuchet MS" panose="020B0603020202020204" pitchFamily="34" charset="0"/>
              <a:cs typeface="Calibri" panose="020F0502020204030204" pitchFamily="34" charset="0"/>
            </a:endParaRPr>
          </a:p>
          <a:p>
            <a:pPr marL="800100" lvl="1" indent="-342900" algn="just">
              <a:spcBef>
                <a:spcPts val="200"/>
              </a:spcBef>
              <a:spcAft>
                <a:spcPts val="200"/>
              </a:spcAft>
              <a:buFont typeface="+mj-lt"/>
              <a:buAutoNum type="arabicPeriod"/>
            </a:pPr>
            <a:r>
              <a:rPr lang="fr-FR" sz="1400" dirty="0" smtClean="0">
                <a:latin typeface="Trebuchet MS" panose="020B0603020202020204" pitchFamily="34" charset="0"/>
                <a:cs typeface="Calibri" panose="020F0502020204030204" pitchFamily="34" charset="0"/>
              </a:rPr>
              <a:t>L’achèvement de l’arsenal juridique et règlementaire relative à la régionalisation avancée;</a:t>
            </a:r>
          </a:p>
          <a:p>
            <a:pPr marL="800100" lvl="1" indent="-342900" algn="just">
              <a:spcBef>
                <a:spcPts val="200"/>
              </a:spcBef>
              <a:spcAft>
                <a:spcPts val="200"/>
              </a:spcAft>
              <a:buFont typeface="+mj-lt"/>
              <a:buAutoNum type="arabicPeriod"/>
            </a:pPr>
            <a:r>
              <a:rPr lang="fr-FR" sz="1400" dirty="0" smtClean="0">
                <a:latin typeface="Trebuchet MS" panose="020B0603020202020204" pitchFamily="34" charset="0"/>
                <a:cs typeface="Calibri" panose="020F0502020204030204" pitchFamily="34" charset="0"/>
              </a:rPr>
              <a:t>La mise en œuvre de l’aménagement du territoire comme étape incontournable du processus de régionalisation avancée;</a:t>
            </a:r>
          </a:p>
          <a:p>
            <a:pPr marL="800100" lvl="1" indent="-342900" algn="just">
              <a:spcBef>
                <a:spcPts val="200"/>
              </a:spcBef>
              <a:spcAft>
                <a:spcPts val="200"/>
              </a:spcAft>
              <a:buFont typeface="+mj-lt"/>
              <a:buAutoNum type="arabicPeriod"/>
            </a:pPr>
            <a:r>
              <a:rPr lang="fr-FR" sz="1400" dirty="0" smtClean="0">
                <a:latin typeface="Trebuchet MS" panose="020B0603020202020204" pitchFamily="34" charset="0"/>
                <a:cs typeface="Calibri" panose="020F0502020204030204" pitchFamily="34" charset="0"/>
              </a:rPr>
              <a:t>Le renforcement des mécanismes de contractualisation entre l’Etat et les collectivités territoriales en vue de la mise en œuvre des programmes de développement;</a:t>
            </a:r>
          </a:p>
          <a:p>
            <a:pPr marL="800100" lvl="1" indent="-342900" algn="just">
              <a:spcBef>
                <a:spcPts val="200"/>
              </a:spcBef>
              <a:spcAft>
                <a:spcPts val="200"/>
              </a:spcAft>
              <a:buFont typeface="+mj-lt"/>
              <a:buAutoNum type="arabicPeriod"/>
            </a:pPr>
            <a:r>
              <a:rPr lang="fr-FR" sz="1400" dirty="0" smtClean="0">
                <a:latin typeface="Trebuchet MS" panose="020B0603020202020204" pitchFamily="34" charset="0"/>
                <a:cs typeface="Calibri" panose="020F0502020204030204" pitchFamily="34" charset="0"/>
              </a:rPr>
              <a:t>L’accompagnement des CT en vue d’atteindre une bonne gouvernance dans la gestion de leur affaires et dans l’exercice  des compétences qui leur sont dévolues;</a:t>
            </a:r>
          </a:p>
          <a:p>
            <a:pPr marL="800100" lvl="1" indent="-342900" algn="just">
              <a:spcBef>
                <a:spcPts val="200"/>
              </a:spcBef>
              <a:spcAft>
                <a:spcPts val="200"/>
              </a:spcAft>
              <a:buFont typeface="+mj-lt"/>
              <a:buAutoNum type="arabicPeriod"/>
            </a:pPr>
            <a:r>
              <a:rPr lang="fr-FR" sz="1400" dirty="0" smtClean="0">
                <a:latin typeface="Trebuchet MS" panose="020B0603020202020204" pitchFamily="34" charset="0"/>
                <a:cs typeface="Calibri" panose="020F0502020204030204" pitchFamily="34" charset="0"/>
              </a:rPr>
              <a:t>Le renforcement des capacités de gestion des élus et des cadres des collectivités territoriales;</a:t>
            </a:r>
          </a:p>
          <a:p>
            <a:pPr marL="800100" lvl="1" indent="-342900" algn="just">
              <a:spcBef>
                <a:spcPts val="200"/>
              </a:spcBef>
              <a:spcAft>
                <a:spcPts val="200"/>
              </a:spcAft>
              <a:buFont typeface="+mj-lt"/>
              <a:buAutoNum type="arabicPeriod"/>
            </a:pPr>
            <a:r>
              <a:rPr lang="fr-FR" sz="1400" dirty="0" smtClean="0">
                <a:latin typeface="Trebuchet MS" panose="020B0603020202020204" pitchFamily="34" charset="0"/>
                <a:cs typeface="Calibri" panose="020F0502020204030204" pitchFamily="34" charset="0"/>
              </a:rPr>
              <a:t>Mise en place de la direction des CT et ses structures;</a:t>
            </a:r>
          </a:p>
          <a:p>
            <a:pPr marL="800100" lvl="1" indent="-342900" algn="just">
              <a:spcBef>
                <a:spcPts val="200"/>
              </a:spcBef>
              <a:spcAft>
                <a:spcPts val="200"/>
              </a:spcAft>
              <a:buFont typeface="+mj-lt"/>
              <a:buAutoNum type="arabicPeriod"/>
            </a:pPr>
            <a:r>
              <a:rPr lang="fr-FR" sz="1400" dirty="0" smtClean="0">
                <a:latin typeface="Trebuchet MS" panose="020B0603020202020204" pitchFamily="34" charset="0"/>
                <a:cs typeface="Calibri" panose="020F0502020204030204" pitchFamily="34" charset="0"/>
              </a:rPr>
              <a:t>Transferts des crédits tels qu’il a été convenu avec les régions;</a:t>
            </a:r>
          </a:p>
          <a:p>
            <a:pPr marL="800100" lvl="1" indent="-342900" algn="just">
              <a:spcBef>
                <a:spcPts val="200"/>
              </a:spcBef>
              <a:spcAft>
                <a:spcPts val="200"/>
              </a:spcAft>
              <a:buFont typeface="+mj-lt"/>
              <a:buAutoNum type="arabicPeriod"/>
            </a:pPr>
            <a:r>
              <a:rPr lang="fr-FR" sz="1400" dirty="0" smtClean="0">
                <a:latin typeface="Trebuchet MS" panose="020B0603020202020204" pitchFamily="34" charset="0"/>
                <a:cs typeface="Calibri" panose="020F0502020204030204" pitchFamily="34" charset="0"/>
              </a:rPr>
              <a:t>Incitation à la coopération et le partenariat sur les plans national et international et la création de mécanismes d’exécution des projets des collectivités territoriales.</a:t>
            </a:r>
            <a:endParaRPr lang="fr-FR" sz="1400" dirty="0">
              <a:latin typeface="Trebuchet MS" panose="020B0603020202020204" pitchFamily="34" charset="0"/>
              <a:cs typeface="Calibri" panose="020F0502020204030204" pitchFamily="34" charset="0"/>
            </a:endParaRPr>
          </a:p>
        </p:txBody>
      </p:sp>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1</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35844064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Espace réservé du numéro de diapositive 4"/>
          <p:cNvSpPr>
            <a:spLocks noGrp="1"/>
          </p:cNvSpPr>
          <p:nvPr>
            <p:ph type="sldNum" sz="quarter" idx="12"/>
          </p:nvPr>
        </p:nvSpPr>
        <p:spPr bwMode="auto">
          <a:noFill/>
          <a:ln>
            <a:miter lim="800000"/>
            <a:headEnd/>
            <a:tailEnd/>
          </a:ln>
        </p:spPr>
        <p:txBody>
          <a:bodyPr wrap="square" lIns="91440" tIns="45720" rIns="91440" bIns="45720" numCol="1" anchorCtr="0" compatLnSpc="1">
            <a:prstTxWarp prst="textNoShape">
              <a:avLst/>
            </a:prstTxWarp>
          </a:bodyPr>
          <a:lstStyle/>
          <a:p>
            <a:fld id="{01B2339F-7CE8-40AF-89C4-58EECD3CC512}" type="slidenum">
              <a:rPr lang="en-US" altLang="fr-FR" sz="1200">
                <a:solidFill>
                  <a:schemeClr val="bg1"/>
                </a:solidFill>
                <a:cs typeface="Arial" pitchFamily="34" charset="0"/>
              </a:rPr>
              <a:pPr/>
              <a:t>22</a:t>
            </a:fld>
            <a:endParaRPr lang="en-US" altLang="fr-FR" sz="1200">
              <a:solidFill>
                <a:schemeClr val="bg1"/>
              </a:solidFill>
              <a:cs typeface="Arial" pitchFamily="34" charset="0"/>
            </a:endParaRPr>
          </a:p>
        </p:txBody>
      </p:sp>
      <p:sp>
        <p:nvSpPr>
          <p:cNvPr id="8" name="Rectangle 7">
            <a:extLst>
              <a:ext uri="{FF2B5EF4-FFF2-40B4-BE49-F238E27FC236}">
                <a16:creationId xmlns:a16="http://schemas.microsoft.com/office/drawing/2014/main" id="{B05F8616-5FA3-4243-B673-746764214419}"/>
              </a:ext>
            </a:extLst>
          </p:cNvPr>
          <p:cNvSpPr/>
          <p:nvPr/>
        </p:nvSpPr>
        <p:spPr>
          <a:xfrm>
            <a:off x="1153886" y="0"/>
            <a:ext cx="9971314"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defRPr/>
            </a:pPr>
            <a:r>
              <a:rPr lang="fr-FR" sz="3200" b="1" i="1" dirty="0" smtClean="0">
                <a:latin typeface="Candara" pitchFamily="34" charset="0"/>
              </a:rPr>
              <a:t>Accompagnement de la mise en œuvre de la RA</a:t>
            </a:r>
            <a:endParaRPr lang="fr-FR" sz="3200" b="1" i="1" dirty="0">
              <a:latin typeface="Candara" pitchFamily="34" charset="0"/>
              <a:cs typeface="Times New Roman" pitchFamily="18" charset="0"/>
            </a:endParaRPr>
          </a:p>
        </p:txBody>
      </p:sp>
      <p:pic>
        <p:nvPicPr>
          <p:cNvPr id="9"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669471" y="1503506"/>
            <a:ext cx="10940143" cy="4855175"/>
          </a:xfrm>
          <a:prstGeom prst="rect">
            <a:avLst/>
          </a:prstGeom>
        </p:spPr>
        <p:txBody>
          <a:bodyPr wrap="square">
            <a:spAutoFit/>
          </a:bodyPr>
          <a:lstStyle/>
          <a:p>
            <a:pPr marL="285750" indent="-285750" algn="just">
              <a:spcBef>
                <a:spcPts val="600"/>
              </a:spcBef>
              <a:spcAft>
                <a:spcPts val="600"/>
              </a:spcAft>
              <a:buFont typeface="Wingdings" panose="05000000000000000000" pitchFamily="2" charset="2"/>
              <a:buChar char="§"/>
            </a:pPr>
            <a:r>
              <a:rPr lang="fr-FR" b="1" dirty="0" smtClean="0">
                <a:solidFill>
                  <a:srgbClr val="0070C0"/>
                </a:solidFill>
                <a:latin typeface="Trebuchet MS" panose="020B0603020202020204" pitchFamily="34" charset="0"/>
                <a:cs typeface="Calibri" panose="020F0502020204030204" pitchFamily="34" charset="0"/>
              </a:rPr>
              <a:t>Mise en place d’un Agent Judiciaire des Collectivités Territoriales (AJCT):</a:t>
            </a:r>
          </a:p>
          <a:p>
            <a:pPr marL="719138" indent="-285750" algn="just">
              <a:spcBef>
                <a:spcPts val="600"/>
              </a:spcBef>
              <a:spcAft>
                <a:spcPts val="600"/>
              </a:spcAft>
              <a:buFont typeface="Wingdings" panose="05000000000000000000" pitchFamily="2" charset="2"/>
              <a:buChar char="ü"/>
            </a:pPr>
            <a:r>
              <a:rPr lang="fr-FR" sz="1600" b="1" dirty="0" smtClean="0">
                <a:latin typeface="Trebuchet MS" panose="020B0603020202020204" pitchFamily="34" charset="0"/>
                <a:cs typeface="Calibri" panose="020F0502020204030204" pitchFamily="34" charset="0"/>
              </a:rPr>
              <a:t>Le cadre juridique régissant L’AJCT :</a:t>
            </a:r>
            <a:r>
              <a:rPr lang="fr-FR" sz="1600" dirty="0" smtClean="0">
                <a:latin typeface="Trebuchet MS" panose="020B0603020202020204" pitchFamily="34" charset="0"/>
                <a:cs typeface="Calibri" panose="020F0502020204030204" pitchFamily="34" charset="0"/>
              </a:rPr>
              <a:t> LOCT – décret de 2020 fixant les attributions et l’organisation du Ministère de l’Intérieur (MI) – arrêté du MI portant désignation de l’AJACT;</a:t>
            </a:r>
          </a:p>
          <a:p>
            <a:pPr marL="719138" indent="-285750" algn="just">
              <a:spcBef>
                <a:spcPts val="600"/>
              </a:spcBef>
              <a:spcAft>
                <a:spcPts val="600"/>
              </a:spcAft>
              <a:buFont typeface="Wingdings" panose="05000000000000000000" pitchFamily="2" charset="2"/>
              <a:buChar char="ü"/>
            </a:pPr>
            <a:r>
              <a:rPr lang="fr-FR" sz="1600" b="1" dirty="0" smtClean="0">
                <a:latin typeface="Trebuchet MS" panose="020B0603020202020204" pitchFamily="34" charset="0"/>
                <a:cs typeface="Calibri" panose="020F0502020204030204" pitchFamily="34" charset="0"/>
              </a:rPr>
              <a:t>Attributions:</a:t>
            </a:r>
            <a:r>
              <a:rPr lang="fr-FR" sz="1600" dirty="0" smtClean="0">
                <a:latin typeface="Trebuchet MS" panose="020B0603020202020204" pitchFamily="34" charset="0"/>
                <a:cs typeface="Calibri" panose="020F0502020204030204" pitchFamily="34" charset="0"/>
              </a:rPr>
              <a:t> </a:t>
            </a:r>
          </a:p>
          <a:p>
            <a:pPr marL="1073150" indent="-285750" algn="just">
              <a:spcBef>
                <a:spcPts val="300"/>
              </a:spcBef>
              <a:spcAft>
                <a:spcPts val="300"/>
              </a:spcAft>
              <a:buFont typeface="Arial" panose="020B0604020202020204" pitchFamily="34" charset="0"/>
              <a:buChar char="•"/>
            </a:pPr>
            <a:r>
              <a:rPr lang="fr-FR" sz="1600" dirty="0" smtClean="0">
                <a:latin typeface="Trebuchet MS" panose="020B0603020202020204" pitchFamily="34" charset="0"/>
                <a:cs typeface="Calibri" panose="020F0502020204030204" pitchFamily="34" charset="0"/>
              </a:rPr>
              <a:t>Apporter l’assistance juridique et judiciaire aux CT dans la gestion des litiges contentieux auxquels celles-ci se trouvent confrontées;</a:t>
            </a:r>
          </a:p>
          <a:p>
            <a:pPr marL="1073150" indent="-285750" algn="just">
              <a:spcBef>
                <a:spcPts val="300"/>
              </a:spcBef>
              <a:spcAft>
                <a:spcPts val="300"/>
              </a:spcAft>
              <a:buFont typeface="Arial" panose="020B0604020202020204" pitchFamily="34" charset="0"/>
              <a:buChar char="•"/>
            </a:pPr>
            <a:r>
              <a:rPr lang="fr-FR" sz="1600" dirty="0">
                <a:latin typeface="Trebuchet MS" panose="020B0603020202020204" pitchFamily="34" charset="0"/>
                <a:cs typeface="Calibri" panose="020F0502020204030204" pitchFamily="34" charset="0"/>
              </a:rPr>
              <a:t>Il agit en qualité d’avocat des CT et de leurs instances : il  est habilité à plaidoyer devant la juridiction </a:t>
            </a:r>
            <a:r>
              <a:rPr lang="fr-FR" sz="1600" dirty="0" smtClean="0">
                <a:latin typeface="Trebuchet MS" panose="020B0603020202020204" pitchFamily="34" charset="0"/>
                <a:cs typeface="Calibri" panose="020F0502020204030204" pitchFamily="34" charset="0"/>
              </a:rPr>
              <a:t>saisie;</a:t>
            </a:r>
          </a:p>
          <a:p>
            <a:pPr marL="1073150" indent="-285750" algn="just">
              <a:spcBef>
                <a:spcPts val="300"/>
              </a:spcBef>
              <a:spcAft>
                <a:spcPts val="300"/>
              </a:spcAft>
              <a:buFont typeface="Arial" panose="020B0604020202020204" pitchFamily="34" charset="0"/>
              <a:buChar char="•"/>
            </a:pPr>
            <a:r>
              <a:rPr lang="fr-FR" sz="1600" dirty="0" smtClean="0">
                <a:latin typeface="Trebuchet MS" panose="020B0603020202020204" pitchFamily="34" charset="0"/>
                <a:cs typeface="Calibri" panose="020F0502020204030204" pitchFamily="34" charset="0"/>
              </a:rPr>
              <a:t>Il est appelé en cause d’office – sous </a:t>
            </a:r>
            <a:r>
              <a:rPr lang="fr-FR" sz="1600" dirty="0">
                <a:latin typeface="Trebuchet MS" panose="020B0603020202020204" pitchFamily="34" charset="0"/>
                <a:cs typeface="Calibri" panose="020F0502020204030204" pitchFamily="34" charset="0"/>
              </a:rPr>
              <a:t>peine d'irrecevabilité de la requête </a:t>
            </a:r>
            <a:r>
              <a:rPr lang="fr-FR" sz="1600" dirty="0" smtClean="0">
                <a:latin typeface="Trebuchet MS" panose="020B0603020202020204" pitchFamily="34" charset="0"/>
                <a:cs typeface="Calibri" panose="020F0502020204030204" pitchFamily="34" charset="0"/>
              </a:rPr>
              <a:t>– lorsqu’il s’agit d’une demande d’une dette ou d’une indemnisation;</a:t>
            </a:r>
          </a:p>
          <a:p>
            <a:pPr marL="1073150" indent="-285750" algn="just">
              <a:spcBef>
                <a:spcPts val="300"/>
              </a:spcBef>
              <a:spcAft>
                <a:spcPts val="300"/>
              </a:spcAft>
              <a:buFont typeface="Arial" panose="020B0604020202020204" pitchFamily="34" charset="0"/>
              <a:buChar char="•"/>
            </a:pPr>
            <a:r>
              <a:rPr lang="fr-FR" sz="1600" dirty="0" smtClean="0">
                <a:latin typeface="Trebuchet MS" panose="020B0603020202020204" pitchFamily="34" charset="0"/>
                <a:cs typeface="Calibri" panose="020F0502020204030204" pitchFamily="34" charset="0"/>
              </a:rPr>
              <a:t>Il </a:t>
            </a:r>
            <a:r>
              <a:rPr lang="fr-FR" sz="1600" dirty="0">
                <a:latin typeface="Trebuchet MS" panose="020B0603020202020204" pitchFamily="34" charset="0"/>
                <a:cs typeface="Calibri" panose="020F0502020204030204" pitchFamily="34" charset="0"/>
              </a:rPr>
              <a:t>peut être mandaté aussi par les CT et ses instances dans toutes les autres </a:t>
            </a:r>
            <a:r>
              <a:rPr lang="fr-FR" sz="1600" dirty="0" smtClean="0">
                <a:latin typeface="Trebuchet MS" panose="020B0603020202020204" pitchFamily="34" charset="0"/>
                <a:cs typeface="Calibri" panose="020F0502020204030204" pitchFamily="34" charset="0"/>
              </a:rPr>
              <a:t>actions;</a:t>
            </a:r>
          </a:p>
          <a:p>
            <a:pPr marL="1073150" indent="-285750" algn="just">
              <a:spcBef>
                <a:spcPts val="300"/>
              </a:spcBef>
              <a:spcAft>
                <a:spcPts val="300"/>
              </a:spcAft>
              <a:buFont typeface="Arial" panose="020B0604020202020204" pitchFamily="34" charset="0"/>
              <a:buChar char="•"/>
            </a:pPr>
            <a:r>
              <a:rPr lang="fr-FR" sz="1600" dirty="0" smtClean="0">
                <a:latin typeface="Trebuchet MS" panose="020B0603020202020204" pitchFamily="34" charset="0"/>
                <a:cs typeface="Calibri" panose="020F0502020204030204" pitchFamily="34" charset="0"/>
              </a:rPr>
              <a:t>Les prestations de l’AJCT peuvent faire l’objet de conventions avec les CT concernées;</a:t>
            </a:r>
          </a:p>
          <a:p>
            <a:pPr marL="719138" indent="-285750" algn="just">
              <a:spcBef>
                <a:spcPts val="600"/>
              </a:spcBef>
              <a:spcAft>
                <a:spcPts val="600"/>
              </a:spcAft>
              <a:buFont typeface="Wingdings" panose="05000000000000000000" pitchFamily="2" charset="2"/>
              <a:buChar char="ü"/>
            </a:pPr>
            <a:r>
              <a:rPr lang="fr-FR" sz="1600" b="1" dirty="0">
                <a:latin typeface="Trebuchet MS" panose="020B0603020202020204" pitchFamily="34" charset="0"/>
                <a:cs typeface="Calibri" panose="020F0502020204030204" pitchFamily="34" charset="0"/>
              </a:rPr>
              <a:t>Moyens </a:t>
            </a:r>
            <a:r>
              <a:rPr lang="fr-FR" sz="1600" b="1" dirty="0" smtClean="0">
                <a:latin typeface="Trebuchet MS" panose="020B0603020202020204" pitchFamily="34" charset="0"/>
                <a:cs typeface="Calibri" panose="020F0502020204030204" pitchFamily="34" charset="0"/>
              </a:rPr>
              <a:t>d’intervention:</a:t>
            </a:r>
            <a:endParaRPr lang="fr-FR" sz="1600" b="1" dirty="0">
              <a:latin typeface="Trebuchet MS" panose="020B0603020202020204" pitchFamily="34" charset="0"/>
              <a:cs typeface="Calibri" panose="020F0502020204030204" pitchFamily="34" charset="0"/>
            </a:endParaRPr>
          </a:p>
          <a:p>
            <a:pPr marL="1073150" indent="-285750" algn="just">
              <a:spcBef>
                <a:spcPts val="300"/>
              </a:spcBef>
              <a:spcAft>
                <a:spcPts val="300"/>
              </a:spcAft>
              <a:buFont typeface="Arial" panose="020B0604020202020204" pitchFamily="34" charset="0"/>
              <a:buChar char="•"/>
            </a:pPr>
            <a:r>
              <a:rPr lang="fr-FR" sz="1600" dirty="0">
                <a:latin typeface="Trebuchet MS" panose="020B0603020202020204" pitchFamily="34" charset="0"/>
                <a:cs typeface="Calibri" panose="020F0502020204030204" pitchFamily="34" charset="0"/>
              </a:rPr>
              <a:t>Contrats de droit commun </a:t>
            </a:r>
            <a:r>
              <a:rPr lang="fr-FR" sz="1600" dirty="0" smtClean="0">
                <a:latin typeface="Trebuchet MS" panose="020B0603020202020204" pitchFamily="34" charset="0"/>
                <a:cs typeface="Calibri" panose="020F0502020204030204" pitchFamily="34" charset="0"/>
              </a:rPr>
              <a:t>conclus avec </a:t>
            </a:r>
            <a:r>
              <a:rPr lang="fr-FR" sz="1600" dirty="0">
                <a:latin typeface="Trebuchet MS" panose="020B0603020202020204" pitchFamily="34" charset="0"/>
                <a:cs typeface="Calibri" panose="020F0502020204030204" pitchFamily="34" charset="0"/>
              </a:rPr>
              <a:t>des avocats;</a:t>
            </a:r>
          </a:p>
          <a:p>
            <a:pPr marL="1073150" indent="-285750" algn="just">
              <a:spcBef>
                <a:spcPts val="300"/>
              </a:spcBef>
              <a:spcAft>
                <a:spcPts val="300"/>
              </a:spcAft>
              <a:buFont typeface="Arial" panose="020B0604020202020204" pitchFamily="34" charset="0"/>
              <a:buChar char="•"/>
            </a:pPr>
            <a:r>
              <a:rPr lang="fr-FR" sz="1600" dirty="0">
                <a:latin typeface="Trebuchet MS" panose="020B0603020202020204" pitchFamily="34" charset="0"/>
                <a:cs typeface="Calibri" panose="020F0502020204030204" pitchFamily="34" charset="0"/>
              </a:rPr>
              <a:t>Une division de </a:t>
            </a:r>
            <a:r>
              <a:rPr lang="fr-FR" sz="1600" dirty="0" smtClean="0">
                <a:latin typeface="Trebuchet MS" panose="020B0603020202020204" pitchFamily="34" charset="0"/>
                <a:cs typeface="Calibri" panose="020F0502020204030204" pitchFamily="34" charset="0"/>
              </a:rPr>
              <a:t>contentieux. </a:t>
            </a:r>
            <a:endParaRPr lang="fr-FR" sz="1600" dirty="0">
              <a:latin typeface="Trebuchet MS" panose="020B0603020202020204" pitchFamily="34" charset="0"/>
              <a:cs typeface="Calibri" panose="020F0502020204030204" pitchFamily="34" charset="0"/>
            </a:endParaRPr>
          </a:p>
        </p:txBody>
      </p:sp>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2</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34929230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à coins arrondis 19"/>
          <p:cNvSpPr/>
          <p:nvPr/>
        </p:nvSpPr>
        <p:spPr>
          <a:xfrm>
            <a:off x="2432050" y="1628776"/>
            <a:ext cx="6448898" cy="720725"/>
          </a:xfrm>
          <a:prstGeom prst="roundRect">
            <a:avLst>
              <a:gd name="adj" fmla="val 45527"/>
            </a:avLst>
          </a:prstGeom>
          <a:solidFill>
            <a:schemeClr val="bg1">
              <a:lumMod val="9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chemeClr val="accent2">
                  <a:lumMod val="50000"/>
                </a:schemeClr>
              </a:buClr>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a:t>
            </a:r>
            <a:r>
              <a:rPr lang="fr-FR" b="1" dirty="0">
                <a:solidFill>
                  <a:schemeClr val="bg1">
                    <a:lumMod val="75000"/>
                  </a:schemeClr>
                </a:solidFill>
                <a:latin typeface="Trebuchet MS" panose="020B0603020202020204" pitchFamily="34" charset="0"/>
                <a:cs typeface="Times New Roman" panose="02020603050405020304" pitchFamily="18" charset="0"/>
              </a:rPr>
              <a:t>Bref aperçu </a:t>
            </a:r>
            <a:r>
              <a:rPr lang="fr-FR" b="1" dirty="0" smtClean="0">
                <a:solidFill>
                  <a:schemeClr val="bg1">
                    <a:lumMod val="75000"/>
                  </a:schemeClr>
                </a:solidFill>
                <a:latin typeface="Trebuchet MS" panose="020B0603020202020204" pitchFamily="34" charset="0"/>
                <a:cs typeface="Times New Roman" panose="02020603050405020304" pitchFamily="18" charset="0"/>
              </a:rPr>
              <a:t>sur le Processus de la Décentralisation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1" name="Rectangle à coins arrondis 20"/>
          <p:cNvSpPr/>
          <p:nvPr/>
        </p:nvSpPr>
        <p:spPr>
          <a:xfrm>
            <a:off x="2844801" y="2471739"/>
            <a:ext cx="6447226" cy="720725"/>
          </a:xfrm>
          <a:prstGeom prst="roundRect">
            <a:avLst>
              <a:gd name="adj" fmla="val 45527"/>
            </a:avLst>
          </a:prstGeom>
          <a:solidFill>
            <a:schemeClr val="bg1">
              <a:lumMod val="95000"/>
            </a:schemeClr>
          </a:solidFill>
        </p:spPr>
        <p:style>
          <a:lnRef idx="1">
            <a:schemeClr val="accent5"/>
          </a:lnRef>
          <a:fillRef idx="2">
            <a:schemeClr val="accent5"/>
          </a:fillRef>
          <a:effectRef idx="1">
            <a:schemeClr val="accent5"/>
          </a:effectRef>
          <a:fontRef idx="minor">
            <a:schemeClr val="dk1"/>
          </a:fontRef>
        </p:style>
        <p:txBody>
          <a:bodyPr anchor="ctr"/>
          <a:lstStyle/>
          <a:p>
            <a:pPr algn="l">
              <a:buClr>
                <a:schemeClr val="accent2">
                  <a:lumMod val="50000"/>
                </a:schemeClr>
              </a:buClr>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L’encadrement</a:t>
            </a:r>
            <a:r>
              <a:rPr lang="fr-FR" sz="2400" b="1" dirty="0" smtClean="0">
                <a:solidFill>
                  <a:schemeClr val="bg1">
                    <a:lumMod val="75000"/>
                  </a:schemeClr>
                </a:solidFill>
                <a:latin typeface="Times New Roman" panose="02020603050405020304" pitchFamily="18" charset="0"/>
                <a:cs typeface="Times New Roman" panose="02020603050405020304" pitchFamily="18" charset="0"/>
              </a:rPr>
              <a:t> </a:t>
            </a:r>
            <a:r>
              <a:rPr lang="fr-FR" b="1" dirty="0">
                <a:solidFill>
                  <a:schemeClr val="bg1">
                    <a:lumMod val="75000"/>
                  </a:schemeClr>
                </a:solidFill>
                <a:latin typeface="Trebuchet MS" panose="020B0603020202020204" pitchFamily="34" charset="0"/>
                <a:cs typeface="Times New Roman" panose="02020603050405020304" pitchFamily="18" charset="0"/>
              </a:rPr>
              <a:t>constitutionnel de la Régionalisation </a:t>
            </a:r>
            <a:r>
              <a:rPr lang="fr-FR" b="1" dirty="0" smtClean="0">
                <a:solidFill>
                  <a:schemeClr val="bg1">
                    <a:lumMod val="75000"/>
                  </a:schemeClr>
                </a:solidFill>
                <a:latin typeface="Trebuchet MS" panose="020B0603020202020204" pitchFamily="34" charset="0"/>
                <a:cs typeface="Times New Roman" panose="02020603050405020304" pitchFamily="18" charset="0"/>
              </a:rPr>
              <a:t>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2" name="Rectangle à coins arrondis 21"/>
          <p:cNvSpPr/>
          <p:nvPr/>
        </p:nvSpPr>
        <p:spPr>
          <a:xfrm>
            <a:off x="3108326" y="3357564"/>
            <a:ext cx="6447226" cy="719137"/>
          </a:xfrm>
          <a:prstGeom prst="roundRect">
            <a:avLst>
              <a:gd name="adj" fmla="val 45527"/>
            </a:avLst>
          </a:prstGeom>
          <a:solidFill>
            <a:schemeClr val="bg1">
              <a:lumMod val="95000"/>
            </a:schemeClr>
          </a:solidFill>
        </p:spPr>
        <p:style>
          <a:lnRef idx="1">
            <a:schemeClr val="accent1"/>
          </a:lnRef>
          <a:fillRef idx="2">
            <a:schemeClr val="accent1"/>
          </a:fillRef>
          <a:effectRef idx="1">
            <a:schemeClr val="accent1"/>
          </a:effectRef>
          <a:fontRef idx="minor">
            <a:schemeClr val="dk1"/>
          </a:fontRef>
        </p:style>
        <p:txBody>
          <a:bodyPr anchor="ctr"/>
          <a:lstStyle/>
          <a:p>
            <a:pPr algn="l">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Les </a:t>
            </a:r>
            <a:r>
              <a:rPr lang="fr-FR" b="1" dirty="0">
                <a:solidFill>
                  <a:schemeClr val="bg1">
                    <a:lumMod val="75000"/>
                  </a:schemeClr>
                </a:solidFill>
                <a:latin typeface="Trebuchet MS" panose="020B0603020202020204" pitchFamily="34" charset="0"/>
                <a:cs typeface="Times New Roman" panose="02020603050405020304" pitchFamily="18" charset="0"/>
              </a:rPr>
              <a:t>compétences </a:t>
            </a:r>
            <a:r>
              <a:rPr lang="fr-FR" b="1" dirty="0" smtClean="0">
                <a:solidFill>
                  <a:schemeClr val="bg1">
                    <a:lumMod val="75000"/>
                  </a:schemeClr>
                </a:solidFill>
                <a:latin typeface="Trebuchet MS" panose="020B0603020202020204" pitchFamily="34" charset="0"/>
                <a:cs typeface="Times New Roman" panose="02020603050405020304" pitchFamily="18" charset="0"/>
              </a:rPr>
              <a:t>dévolues aux CT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3" name="Rectangle à coins arrondis 22"/>
          <p:cNvSpPr/>
          <p:nvPr/>
        </p:nvSpPr>
        <p:spPr>
          <a:xfrm>
            <a:off x="3430587" y="4221164"/>
            <a:ext cx="6447225" cy="720725"/>
          </a:xfrm>
          <a:prstGeom prst="roundRect">
            <a:avLst>
              <a:gd name="adj" fmla="val 45527"/>
            </a:avLst>
          </a:prstGeom>
          <a:solidFill>
            <a:schemeClr val="bg1">
              <a:lumMod val="95000"/>
            </a:schemeClr>
          </a:solidFill>
        </p:spPr>
        <p:style>
          <a:lnRef idx="1">
            <a:schemeClr val="accent6"/>
          </a:lnRef>
          <a:fillRef idx="2">
            <a:schemeClr val="accent6"/>
          </a:fillRef>
          <a:effectRef idx="1">
            <a:schemeClr val="accent6"/>
          </a:effectRef>
          <a:fontRef idx="minor">
            <a:schemeClr val="dk1"/>
          </a:fontRef>
        </p:style>
        <p:txBody>
          <a:bodyPr anchor="ctr"/>
          <a:lstStyle/>
          <a:p>
            <a:pPr>
              <a:defRPr/>
            </a:pPr>
            <a:r>
              <a:rPr lang="fr-FR" sz="3600" b="1" dirty="0" smtClean="0">
                <a:solidFill>
                  <a:schemeClr val="bg1">
                    <a:lumMod val="85000"/>
                  </a:schemeClr>
                </a:solidFill>
                <a:latin typeface="Arabic Typesetting" pitchFamily="66" charset="-78"/>
                <a:cs typeface="Arabic Typesetting" pitchFamily="66" charset="-78"/>
              </a:rPr>
              <a:t> </a:t>
            </a:r>
            <a:r>
              <a:rPr lang="ar-MA" sz="3600" b="1" dirty="0" smtClean="0">
                <a:solidFill>
                  <a:schemeClr val="bg1">
                    <a:lumMod val="85000"/>
                  </a:schemeClr>
                </a:solidFill>
                <a:latin typeface="Arabic Typesetting" pitchFamily="66" charset="-78"/>
                <a:cs typeface="Arabic Typesetting" pitchFamily="66" charset="-78"/>
              </a:rPr>
              <a:t>   </a:t>
            </a:r>
            <a:r>
              <a:rPr lang="fr-FR" b="1" dirty="0" smtClean="0">
                <a:solidFill>
                  <a:schemeClr val="bg1">
                    <a:lumMod val="85000"/>
                  </a:schemeClr>
                </a:solidFill>
                <a:latin typeface="Trebuchet MS" panose="020B0603020202020204" pitchFamily="34" charset="0"/>
                <a:cs typeface="Times New Roman" panose="02020603050405020304" pitchFamily="18" charset="0"/>
              </a:rPr>
              <a:t>L</a:t>
            </a:r>
            <a:r>
              <a:rPr lang="fr-FR" altLang="fr-FR" b="1" dirty="0" smtClean="0">
                <a:solidFill>
                  <a:schemeClr val="bg1">
                    <a:lumMod val="85000"/>
                  </a:schemeClr>
                </a:solidFill>
                <a:latin typeface="Trebuchet MS" panose="020B0603020202020204" pitchFamily="34" charset="0"/>
                <a:cs typeface="Times New Roman" panose="02020603050405020304" pitchFamily="18" charset="0"/>
              </a:rPr>
              <a:t>a </a:t>
            </a:r>
            <a:r>
              <a:rPr lang="fr-FR" altLang="fr-FR" b="1" dirty="0">
                <a:solidFill>
                  <a:schemeClr val="bg1">
                    <a:lumMod val="85000"/>
                  </a:schemeClr>
                </a:solidFill>
                <a:latin typeface="Trebuchet MS" panose="020B0603020202020204" pitchFamily="34" charset="0"/>
                <a:cs typeface="Times New Roman" panose="02020603050405020304" pitchFamily="18" charset="0"/>
              </a:rPr>
              <a:t>mise en œuvre de la </a:t>
            </a:r>
            <a:r>
              <a:rPr lang="fr-FR" altLang="fr-FR" b="1" dirty="0">
                <a:solidFill>
                  <a:schemeClr val="bg1">
                    <a:lumMod val="75000"/>
                  </a:schemeClr>
                </a:solidFill>
                <a:latin typeface="Trebuchet MS" panose="020B0603020202020204" pitchFamily="34" charset="0"/>
                <a:cs typeface="Times New Roman" panose="02020603050405020304" pitchFamily="18" charset="0"/>
              </a:rPr>
              <a:t>Régionalisation Avancée </a:t>
            </a:r>
            <a:r>
              <a:rPr lang="fr-FR" altLang="fr-FR" b="1" dirty="0" smtClean="0">
                <a:solidFill>
                  <a:schemeClr val="bg1">
                    <a:lumMod val="85000"/>
                  </a:schemeClr>
                </a:solidFill>
                <a:latin typeface="Trebuchet MS" panose="020B0603020202020204" pitchFamily="34" charset="0"/>
                <a:cs typeface="Times New Roman" panose="02020603050405020304" pitchFamily="18" charset="0"/>
              </a:rPr>
              <a:t> </a:t>
            </a:r>
            <a:endParaRPr lang="fr-FR" b="1" dirty="0">
              <a:solidFill>
                <a:schemeClr val="bg1">
                  <a:lumMod val="85000"/>
                </a:schemeClr>
              </a:solidFill>
              <a:latin typeface="Trebuchet MS" panose="020B0603020202020204" pitchFamily="34" charset="0"/>
              <a:cs typeface="Times New Roman" panose="02020603050405020304" pitchFamily="18" charset="0"/>
            </a:endParaRPr>
          </a:p>
        </p:txBody>
      </p:sp>
      <p:sp>
        <p:nvSpPr>
          <p:cNvPr id="24" name="Ellipse 23"/>
          <p:cNvSpPr/>
          <p:nvPr/>
        </p:nvSpPr>
        <p:spPr>
          <a:xfrm>
            <a:off x="2254726" y="1683138"/>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2"/>
          </a:lnRef>
          <a:fillRef idx="3">
            <a:schemeClr val="accent2"/>
          </a:fillRef>
          <a:effectRef idx="3">
            <a:schemeClr val="accent2"/>
          </a:effectRef>
          <a:fontRef idx="minor">
            <a:schemeClr val="lt1"/>
          </a:fontRef>
        </p:style>
        <p:txBody>
          <a:bodyPr anchor="ctr"/>
          <a:lstStyle/>
          <a:p>
            <a:pPr algn="ctr">
              <a:defRPr/>
            </a:pPr>
            <a:r>
              <a:rPr lang="fr-FR" sz="3200" dirty="0">
                <a:solidFill>
                  <a:schemeClr val="bg1">
                    <a:lumMod val="75000"/>
                  </a:schemeClr>
                </a:solidFill>
                <a:sym typeface="Wingdings"/>
              </a:rPr>
              <a:t></a:t>
            </a:r>
            <a:endParaRPr lang="fr-FR" sz="2800" dirty="0">
              <a:solidFill>
                <a:schemeClr val="bg1">
                  <a:lumMod val="75000"/>
                </a:schemeClr>
              </a:solidFill>
            </a:endParaRPr>
          </a:p>
        </p:txBody>
      </p:sp>
      <p:sp>
        <p:nvSpPr>
          <p:cNvPr id="25" name="Ellipse 24"/>
          <p:cNvSpPr/>
          <p:nvPr/>
        </p:nvSpPr>
        <p:spPr>
          <a:xfrm>
            <a:off x="2560726" y="2526101"/>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3"/>
          </a:lnRef>
          <a:fillRef idx="3">
            <a:schemeClr val="accent3"/>
          </a:fillRef>
          <a:effectRef idx="3">
            <a:schemeClr val="accent3"/>
          </a:effectRef>
          <a:fontRef idx="minor">
            <a:schemeClr val="lt1"/>
          </a:fontRef>
        </p:style>
        <p:txBody>
          <a:bodyPr anchor="ctr"/>
          <a:lstStyle/>
          <a:p>
            <a:pPr algn="ctr">
              <a:defRPr/>
            </a:pPr>
            <a:r>
              <a:rPr lang="fr-FR" sz="3200" dirty="0">
                <a:solidFill>
                  <a:schemeClr val="bg1">
                    <a:lumMod val="75000"/>
                  </a:schemeClr>
                </a:solidFill>
                <a:sym typeface="Wingdings"/>
              </a:rPr>
              <a:t></a:t>
            </a:r>
            <a:endParaRPr lang="fr-FR" dirty="0">
              <a:solidFill>
                <a:schemeClr val="bg1">
                  <a:lumMod val="75000"/>
                </a:schemeClr>
              </a:solidFill>
            </a:endParaRPr>
          </a:p>
        </p:txBody>
      </p:sp>
      <p:sp>
        <p:nvSpPr>
          <p:cNvPr id="26" name="Ellipse 25"/>
          <p:cNvSpPr/>
          <p:nvPr/>
        </p:nvSpPr>
        <p:spPr>
          <a:xfrm>
            <a:off x="2876848" y="3411132"/>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fr-FR" sz="3200" dirty="0">
                <a:solidFill>
                  <a:schemeClr val="bg1">
                    <a:lumMod val="75000"/>
                  </a:schemeClr>
                </a:solidFill>
                <a:sym typeface="Wingdings 2"/>
              </a:rPr>
              <a:t></a:t>
            </a:r>
            <a:endParaRPr lang="fr-FR" dirty="0">
              <a:solidFill>
                <a:schemeClr val="bg1">
                  <a:lumMod val="75000"/>
                </a:schemeClr>
              </a:solidFill>
            </a:endParaRPr>
          </a:p>
        </p:txBody>
      </p:sp>
      <p:sp>
        <p:nvSpPr>
          <p:cNvPr id="27" name="Ellipse 26"/>
          <p:cNvSpPr/>
          <p:nvPr/>
        </p:nvSpPr>
        <p:spPr>
          <a:xfrm>
            <a:off x="3182848" y="4274496"/>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a:solidFill>
                  <a:schemeClr val="bg1">
                    <a:lumMod val="85000"/>
                  </a:schemeClr>
                </a:solidFill>
                <a:sym typeface="Wingdings 2"/>
              </a:rPr>
              <a:t></a:t>
            </a:r>
            <a:endParaRPr lang="fr-FR" sz="3200" dirty="0">
              <a:solidFill>
                <a:schemeClr val="bg1">
                  <a:lumMod val="85000"/>
                </a:schemeClr>
              </a:solidFill>
            </a:endParaRPr>
          </a:p>
        </p:txBody>
      </p:sp>
      <p:sp>
        <p:nvSpPr>
          <p:cNvPr id="2" name="Rectangle 1"/>
          <p:cNvSpPr/>
          <p:nvPr/>
        </p:nvSpPr>
        <p:spPr>
          <a:xfrm>
            <a:off x="3531302" y="412428"/>
            <a:ext cx="4746812" cy="584775"/>
          </a:xfrm>
          <a:prstGeom prst="rect">
            <a:avLst/>
          </a:prstGeom>
        </p:spPr>
        <p:txBody>
          <a:bodyPr wrap="none">
            <a:spAutoFit/>
          </a:bodyPr>
          <a:lstStyle/>
          <a:p>
            <a:pPr algn="ctr"/>
            <a:r>
              <a:rPr lang="fr-FR" sz="3200" b="1" i="1" dirty="0">
                <a:latin typeface="Trebuchet MS" panose="020B0603020202020204" pitchFamily="34" charset="0"/>
              </a:rPr>
              <a:t>Plan de la présentation</a:t>
            </a:r>
            <a:endParaRPr lang="fr-FR" sz="3200" b="1" dirty="0">
              <a:solidFill>
                <a:schemeClr val="bg1"/>
              </a:solidFill>
              <a:latin typeface="Trebuchet MS" panose="020B0603020202020204" pitchFamily="34" charset="0"/>
              <a:cs typeface="Andalus" pitchFamily="18" charset="-78"/>
            </a:endParaRPr>
          </a:p>
        </p:txBody>
      </p:sp>
      <p:sp>
        <p:nvSpPr>
          <p:cNvPr id="14"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2"/>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3"/>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3"/>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3"/>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3"/>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3</a:t>
            </a:fld>
            <a:endParaRPr lang="fr-FR" altLang="fr-FR" sz="1600" dirty="0">
              <a:solidFill>
                <a:srgbClr val="103A1A"/>
              </a:solidFill>
              <a:latin typeface="Arial" panose="020B0604020202020204" pitchFamily="34" charset="0"/>
            </a:endParaRPr>
          </a:p>
        </p:txBody>
      </p:sp>
      <p:sp>
        <p:nvSpPr>
          <p:cNvPr id="17" name="Rectangle à coins arrondis 16"/>
          <p:cNvSpPr/>
          <p:nvPr/>
        </p:nvSpPr>
        <p:spPr>
          <a:xfrm>
            <a:off x="3866016" y="5124681"/>
            <a:ext cx="6447225" cy="732656"/>
          </a:xfrm>
          <a:prstGeom prst="roundRect">
            <a:avLst>
              <a:gd name="adj" fmla="val 45527"/>
            </a:avLst>
          </a:prstGeom>
          <a:solidFill>
            <a:schemeClr val="accent4">
              <a:lumMod val="40000"/>
              <a:lumOff val="60000"/>
            </a:schemeClr>
          </a:solidFill>
        </p:spPr>
        <p:style>
          <a:lnRef idx="1">
            <a:schemeClr val="accent6"/>
          </a:lnRef>
          <a:fillRef idx="2">
            <a:schemeClr val="accent6"/>
          </a:fillRef>
          <a:effectRef idx="1">
            <a:schemeClr val="accent6"/>
          </a:effectRef>
          <a:fontRef idx="minor">
            <a:schemeClr val="dk1"/>
          </a:fontRef>
        </p:style>
        <p:txBody>
          <a:bodyPr anchor="ctr"/>
          <a:lstStyle/>
          <a:p>
            <a:pPr algn="l">
              <a:lnSpc>
                <a:spcPct val="80000"/>
              </a:lnSpc>
              <a:defRPr/>
            </a:pPr>
            <a:r>
              <a:rPr lang="fr-FR" sz="3600" b="1" dirty="0" smtClean="0">
                <a:solidFill>
                  <a:schemeClr val="bg1"/>
                </a:solidFill>
                <a:latin typeface="Arabic Typesetting" pitchFamily="66" charset="-78"/>
                <a:cs typeface="Arabic Typesetting" pitchFamily="66" charset="-78"/>
              </a:rPr>
              <a:t>   </a:t>
            </a:r>
            <a:r>
              <a:rPr lang="fr-FR" b="1" dirty="0" smtClean="0">
                <a:solidFill>
                  <a:srgbClr val="002060"/>
                </a:solidFill>
                <a:latin typeface="Trebuchet MS" panose="020B0603020202020204" pitchFamily="34" charset="0"/>
                <a:cs typeface="Times New Roman" panose="02020603050405020304" pitchFamily="18" charset="0"/>
              </a:rPr>
              <a:t>Le </a:t>
            </a:r>
            <a:r>
              <a:rPr lang="fr-FR" b="1" dirty="0">
                <a:solidFill>
                  <a:srgbClr val="002060"/>
                </a:solidFill>
                <a:latin typeface="Trebuchet MS" panose="020B0603020202020204" pitchFamily="34" charset="0"/>
                <a:cs typeface="Times New Roman" panose="02020603050405020304" pitchFamily="18" charset="0"/>
              </a:rPr>
              <a:t>droit </a:t>
            </a:r>
            <a:r>
              <a:rPr lang="fr-FR" b="1" dirty="0" smtClean="0">
                <a:solidFill>
                  <a:srgbClr val="002060"/>
                </a:solidFill>
                <a:latin typeface="Trebuchet MS" panose="020B0603020202020204" pitchFamily="34" charset="0"/>
                <a:cs typeface="Times New Roman" panose="02020603050405020304" pitchFamily="18" charset="0"/>
              </a:rPr>
              <a:t>de regard de l’Etat sur les CT : de la tutelle</a:t>
            </a:r>
          </a:p>
          <a:p>
            <a:pPr algn="l">
              <a:lnSpc>
                <a:spcPct val="80000"/>
              </a:lnSpc>
              <a:defRPr/>
            </a:pPr>
            <a:r>
              <a:rPr lang="fr-FR" b="1" dirty="0">
                <a:solidFill>
                  <a:srgbClr val="002060"/>
                </a:solidFill>
                <a:latin typeface="Trebuchet MS" panose="020B0603020202020204" pitchFamily="34" charset="0"/>
                <a:cs typeface="Times New Roman" panose="02020603050405020304" pitchFamily="18" charset="0"/>
              </a:rPr>
              <a:t> </a:t>
            </a:r>
            <a:r>
              <a:rPr lang="fr-FR" b="1" dirty="0" smtClean="0">
                <a:solidFill>
                  <a:srgbClr val="002060"/>
                </a:solidFill>
                <a:latin typeface="Trebuchet MS" panose="020B0603020202020204" pitchFamily="34" charset="0"/>
                <a:cs typeface="Times New Roman" panose="02020603050405020304" pitchFamily="18" charset="0"/>
              </a:rPr>
              <a:t>    au Contrôle administratif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18" name="Ellipse 17"/>
          <p:cNvSpPr/>
          <p:nvPr/>
        </p:nvSpPr>
        <p:spPr>
          <a:xfrm>
            <a:off x="3618277" y="5178012"/>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smtClean="0">
                <a:solidFill>
                  <a:schemeClr val="bg1"/>
                </a:solidFill>
                <a:sym typeface="Wingdings 2" panose="05020102010507070707" pitchFamily="18" charset="2"/>
              </a:rPr>
              <a:t></a:t>
            </a:r>
            <a:endParaRPr lang="fr-FR" sz="3200" dirty="0">
              <a:solidFill>
                <a:schemeClr val="bg1"/>
              </a:solidFill>
            </a:endParaRPr>
          </a:p>
        </p:txBody>
      </p:sp>
    </p:spTree>
    <p:extLst>
      <p:ext uri="{BB962C8B-B14F-4D97-AF65-F5344CB8AC3E}">
        <p14:creationId xmlns:p14="http://schemas.microsoft.com/office/powerpoint/2010/main" val="5451846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Rectangle 1"/>
          <p:cNvSpPr>
            <a:spLocks noChangeArrowheads="1"/>
          </p:cNvSpPr>
          <p:nvPr/>
        </p:nvSpPr>
        <p:spPr bwMode="auto">
          <a:xfrm>
            <a:off x="733245" y="1993192"/>
            <a:ext cx="11033184" cy="38241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60363" indent="-277813">
              <a:buFont typeface="Wingdings" pitchFamily="2" charset="2"/>
              <a:buChar char="§"/>
            </a:pPr>
            <a:r>
              <a:rPr lang="fr-FR" b="1" dirty="0" smtClean="0">
                <a:latin typeface="Trebuchet MS" panose="020B0603020202020204" pitchFamily="34" charset="0"/>
                <a:cs typeface="Times New Roman" panose="02020603050405020304" pitchFamily="18" charset="0"/>
              </a:rPr>
              <a:t>Le contrôle administratif: </a:t>
            </a:r>
            <a:r>
              <a:rPr lang="fr-FR" i="1" dirty="0" smtClean="0">
                <a:latin typeface="Trebuchet MS" panose="020B0603020202020204" pitchFamily="34" charset="0"/>
              </a:rPr>
              <a:t>Corollaire </a:t>
            </a:r>
            <a:r>
              <a:rPr lang="fr-FR" i="1" dirty="0">
                <a:latin typeface="Trebuchet MS" panose="020B0603020202020204" pitchFamily="34" charset="0"/>
              </a:rPr>
              <a:t>de la décentralisation et de l’Etat de Droit</a:t>
            </a:r>
          </a:p>
          <a:p>
            <a:pPr marL="360363" indent="-277813"/>
            <a:endParaRPr lang="fr-FR" sz="1100" i="1" dirty="0">
              <a:latin typeface="Trebuchet MS" panose="020B0603020202020204" pitchFamily="34" charset="0"/>
            </a:endParaRPr>
          </a:p>
          <a:p>
            <a:pPr marL="539750" algn="just"/>
            <a:r>
              <a:rPr lang="fr-FR" sz="1200" b="1" i="1" dirty="0">
                <a:solidFill>
                  <a:srgbClr val="002060"/>
                </a:solidFill>
                <a:latin typeface="Trebuchet MS" panose="020B0603020202020204" pitchFamily="34" charset="0"/>
              </a:rPr>
              <a:t>Art. 145 C : </a:t>
            </a:r>
            <a:r>
              <a:rPr lang="fr-FR" sz="1200" i="1" dirty="0">
                <a:latin typeface="Trebuchet MS" panose="020B0603020202020204" pitchFamily="34" charset="0"/>
              </a:rPr>
              <a:t>(…) Au nom du gouvernement, (les walis de régions et les gouverneurs de préfectures et de provinces) assurent l'application des lois, mettent en œuvre les règlements et les décisions gouvernementaux et exercent </a:t>
            </a:r>
            <a:r>
              <a:rPr lang="fr-FR" sz="1200" i="1" dirty="0">
                <a:solidFill>
                  <a:srgbClr val="0070C0"/>
                </a:solidFill>
                <a:latin typeface="Trebuchet MS" panose="020B0603020202020204" pitchFamily="34" charset="0"/>
              </a:rPr>
              <a:t>le contrôle administratif</a:t>
            </a:r>
            <a:r>
              <a:rPr lang="fr-FR" sz="1200" i="1" dirty="0">
                <a:latin typeface="Trebuchet MS" panose="020B0603020202020204" pitchFamily="34" charset="0"/>
              </a:rPr>
              <a:t>.</a:t>
            </a:r>
          </a:p>
          <a:p>
            <a:pPr algn="just"/>
            <a:endParaRPr lang="fr-FR" sz="1200" i="1" dirty="0">
              <a:latin typeface="Trebuchet MS" panose="020B0603020202020204" pitchFamily="34" charset="0"/>
            </a:endParaRPr>
          </a:p>
          <a:p>
            <a:pPr marL="360363" indent="-277813" algn="just">
              <a:buFont typeface="Wingdings" pitchFamily="2" charset="2"/>
              <a:buChar char="§"/>
            </a:pPr>
            <a:r>
              <a:rPr lang="fr-FR" i="1" dirty="0">
                <a:latin typeface="Trebuchet MS" panose="020B0603020202020204" pitchFamily="34" charset="0"/>
              </a:rPr>
              <a:t>Un contrôle circonscrit à la légalité des actes, pas de contrôle d’opportunité </a:t>
            </a:r>
          </a:p>
          <a:p>
            <a:pPr marL="360363" indent="-277813" algn="just"/>
            <a:endParaRPr lang="fr-FR" sz="1050" i="1" dirty="0">
              <a:latin typeface="Trebuchet MS" panose="020B0603020202020204" pitchFamily="34" charset="0"/>
            </a:endParaRPr>
          </a:p>
          <a:p>
            <a:pPr marL="360363" indent="-277813" algn="just">
              <a:buFont typeface="Wingdings" pitchFamily="2" charset="2"/>
              <a:buChar char="§"/>
            </a:pPr>
            <a:r>
              <a:rPr lang="fr-FR" i="1" dirty="0">
                <a:latin typeface="Trebuchet MS" panose="020B0603020202020204" pitchFamily="34" charset="0"/>
              </a:rPr>
              <a:t>Un contrôle échelonné dans sa mise en œuvre : </a:t>
            </a:r>
            <a:r>
              <a:rPr lang="fr-FR" b="1" i="1" dirty="0">
                <a:latin typeface="Trebuchet MS" panose="020B0603020202020204" pitchFamily="34" charset="0"/>
              </a:rPr>
              <a:t>2 phases</a:t>
            </a:r>
          </a:p>
          <a:p>
            <a:pPr marL="360363" indent="-277813" algn="just"/>
            <a:endParaRPr lang="fr-FR" sz="800" i="1" dirty="0">
              <a:latin typeface="Trebuchet MS" panose="020B0603020202020204" pitchFamily="34" charset="0"/>
            </a:endParaRPr>
          </a:p>
          <a:p>
            <a:pPr marL="625475" indent="-271463" algn="just">
              <a:buFont typeface="+mj-lt"/>
              <a:buAutoNum type="arabicPeriod"/>
            </a:pPr>
            <a:r>
              <a:rPr lang="fr-FR" sz="1400" b="1" i="1" dirty="0">
                <a:solidFill>
                  <a:srgbClr val="0070C0"/>
                </a:solidFill>
                <a:latin typeface="Trebuchet MS" panose="020B0603020202020204" pitchFamily="34" charset="0"/>
              </a:rPr>
              <a:t>Phase </a:t>
            </a:r>
            <a:r>
              <a:rPr lang="fr-FR" sz="1400" b="1" i="1" dirty="0" smtClean="0">
                <a:solidFill>
                  <a:srgbClr val="0070C0"/>
                </a:solidFill>
                <a:latin typeface="Trebuchet MS" panose="020B0603020202020204" pitchFamily="34" charset="0"/>
              </a:rPr>
              <a:t>administrative: </a:t>
            </a:r>
            <a:r>
              <a:rPr lang="fr-FR" sz="1400" i="1" dirty="0" smtClean="0">
                <a:latin typeface="Trebuchet MS" panose="020B0603020202020204" pitchFamily="34" charset="0"/>
              </a:rPr>
              <a:t>intervention selon le cas du gouverneur, du wali ou du Ministre </a:t>
            </a:r>
            <a:r>
              <a:rPr lang="fr-FR" sz="1400" i="1" dirty="0">
                <a:latin typeface="Trebuchet MS" panose="020B0603020202020204" pitchFamily="34" charset="0"/>
              </a:rPr>
              <a:t>de </a:t>
            </a:r>
            <a:r>
              <a:rPr lang="fr-FR" sz="1400" i="1" dirty="0" smtClean="0">
                <a:latin typeface="Trebuchet MS" panose="020B0603020202020204" pitchFamily="34" charset="0"/>
              </a:rPr>
              <a:t>l’Intérieur;</a:t>
            </a:r>
            <a:endParaRPr lang="fr-FR" sz="1400" i="1" dirty="0">
              <a:latin typeface="Trebuchet MS" panose="020B0603020202020204" pitchFamily="34" charset="0"/>
            </a:endParaRPr>
          </a:p>
          <a:p>
            <a:pPr marL="625475" indent="-271463" algn="just">
              <a:buFont typeface="+mj-lt"/>
              <a:buAutoNum type="arabicPeriod"/>
            </a:pPr>
            <a:r>
              <a:rPr lang="fr-FR" sz="1400" b="1" i="1" dirty="0">
                <a:solidFill>
                  <a:srgbClr val="0070C0"/>
                </a:solidFill>
                <a:latin typeface="Trebuchet MS" panose="020B0603020202020204" pitchFamily="34" charset="0"/>
              </a:rPr>
              <a:t>Phase juridictionnelle: </a:t>
            </a:r>
            <a:r>
              <a:rPr lang="fr-FR" sz="1400" b="1" i="1" dirty="0" smtClean="0">
                <a:latin typeface="Trebuchet MS" panose="020B0603020202020204" pitchFamily="34" charset="0"/>
              </a:rPr>
              <a:t>le</a:t>
            </a:r>
            <a:r>
              <a:rPr lang="fr-FR" sz="1400" b="1" i="1" dirty="0" smtClean="0">
                <a:solidFill>
                  <a:srgbClr val="0070C0"/>
                </a:solidFill>
                <a:latin typeface="Trebuchet MS" panose="020B0603020202020204" pitchFamily="34" charset="0"/>
              </a:rPr>
              <a:t> </a:t>
            </a:r>
            <a:r>
              <a:rPr lang="fr-FR" sz="1400" b="1" i="1" dirty="0" smtClean="0">
                <a:latin typeface="Trebuchet MS" panose="020B0603020202020204" pitchFamily="34" charset="0"/>
              </a:rPr>
              <a:t>j</a:t>
            </a:r>
            <a:r>
              <a:rPr lang="fr-FR" sz="1400" i="1" dirty="0" smtClean="0">
                <a:latin typeface="Trebuchet MS" panose="020B0603020202020204" pitchFamily="34" charset="0"/>
              </a:rPr>
              <a:t>uge </a:t>
            </a:r>
            <a:r>
              <a:rPr lang="fr-FR" sz="1400" i="1" dirty="0">
                <a:latin typeface="Trebuchet MS" panose="020B0603020202020204" pitchFamily="34" charset="0"/>
              </a:rPr>
              <a:t>administratif, </a:t>
            </a:r>
            <a:r>
              <a:rPr lang="fr-FR" sz="1400" i="1" dirty="0" smtClean="0">
                <a:latin typeface="Trebuchet MS" panose="020B0603020202020204" pitchFamily="34" charset="0"/>
              </a:rPr>
              <a:t>est le seul </a:t>
            </a:r>
            <a:r>
              <a:rPr lang="fr-FR" sz="1400" i="1" dirty="0">
                <a:latin typeface="Trebuchet MS" panose="020B0603020202020204" pitchFamily="34" charset="0"/>
              </a:rPr>
              <a:t>habilité à statuer sur la légalité des actes soumis à son contrôle et sur la révocation des élus et la dissolution du Conseil, …</a:t>
            </a:r>
            <a:r>
              <a:rPr lang="fr-FR" i="1" dirty="0">
                <a:latin typeface="Trebuchet MS" panose="020B0603020202020204" pitchFamily="34" charset="0"/>
              </a:rPr>
              <a:t> </a:t>
            </a:r>
          </a:p>
          <a:p>
            <a:pPr marL="803275" indent="-360363" algn="just"/>
            <a:endParaRPr lang="fr-FR" sz="1100" i="1" dirty="0">
              <a:latin typeface="Trebuchet MS" panose="020B0603020202020204" pitchFamily="34" charset="0"/>
            </a:endParaRPr>
          </a:p>
          <a:p>
            <a:pPr marL="360363" indent="-360363" algn="just">
              <a:buFont typeface="Wingdings" pitchFamily="2" charset="2"/>
              <a:buChar char="§"/>
            </a:pPr>
            <a:r>
              <a:rPr lang="fr-FR" i="1" dirty="0">
                <a:latin typeface="Trebuchet MS" panose="020B0603020202020204" pitchFamily="34" charset="0"/>
              </a:rPr>
              <a:t>Contrôle qui porte aussi bien sur les actes que sur les </a:t>
            </a:r>
            <a:r>
              <a:rPr lang="fr-FR" i="1" dirty="0" smtClean="0">
                <a:latin typeface="Trebuchet MS" panose="020B0603020202020204" pitchFamily="34" charset="0"/>
              </a:rPr>
              <a:t>élus;</a:t>
            </a:r>
          </a:p>
          <a:p>
            <a:pPr algn="just"/>
            <a:endParaRPr lang="fr-FR" sz="900" i="1" dirty="0" smtClean="0">
              <a:latin typeface="Trebuchet MS" panose="020B0603020202020204" pitchFamily="34" charset="0"/>
            </a:endParaRPr>
          </a:p>
          <a:p>
            <a:pPr marL="360363" indent="-360363" algn="just">
              <a:buFont typeface="Wingdings" pitchFamily="2" charset="2"/>
              <a:buChar char="§"/>
            </a:pPr>
            <a:r>
              <a:rPr lang="fr-FR" i="1" dirty="0" smtClean="0">
                <a:latin typeface="Trebuchet MS" panose="020B0603020202020204" pitchFamily="34" charset="0"/>
              </a:rPr>
              <a:t>Contrôle aussi bien </a:t>
            </a:r>
            <a:r>
              <a:rPr lang="fr-FR" b="1" i="1" u="sng" dirty="0" smtClean="0">
                <a:latin typeface="Trebuchet MS" panose="020B0603020202020204" pitchFamily="34" charset="0"/>
              </a:rPr>
              <a:t>a priori</a:t>
            </a:r>
            <a:r>
              <a:rPr lang="fr-FR" i="1" dirty="0" smtClean="0">
                <a:latin typeface="Trebuchet MS" panose="020B0603020202020204" pitchFamily="34" charset="0"/>
              </a:rPr>
              <a:t> </a:t>
            </a:r>
            <a:r>
              <a:rPr lang="fr-FR" sz="1600" i="1" dirty="0" smtClean="0">
                <a:solidFill>
                  <a:srgbClr val="0070C0"/>
                </a:solidFill>
                <a:latin typeface="Trebuchet MS" panose="020B0603020202020204" pitchFamily="34" charset="0"/>
              </a:rPr>
              <a:t>(opposition et visa)</a:t>
            </a:r>
            <a:r>
              <a:rPr lang="fr-FR" i="1" dirty="0" smtClean="0">
                <a:latin typeface="Trebuchet MS" panose="020B0603020202020204" pitchFamily="34" charset="0"/>
              </a:rPr>
              <a:t> qu’a </a:t>
            </a:r>
            <a:r>
              <a:rPr lang="fr-FR" b="1" i="1" u="sng" dirty="0" smtClean="0">
                <a:latin typeface="Trebuchet MS" panose="020B0603020202020204" pitchFamily="34" charset="0"/>
              </a:rPr>
              <a:t>posteriori</a:t>
            </a:r>
            <a:r>
              <a:rPr lang="fr-FR" i="1" dirty="0" smtClean="0">
                <a:latin typeface="Trebuchet MS" panose="020B0603020202020204" pitchFamily="34" charset="0"/>
              </a:rPr>
              <a:t> </a:t>
            </a:r>
            <a:r>
              <a:rPr lang="fr-FR" sz="1600" i="1" dirty="0">
                <a:solidFill>
                  <a:srgbClr val="0070C0"/>
                </a:solidFill>
                <a:latin typeface="Trebuchet MS" panose="020B0603020202020204" pitchFamily="34" charset="0"/>
              </a:rPr>
              <a:t>(s’exercice à tout </a:t>
            </a:r>
            <a:r>
              <a:rPr lang="fr-FR" sz="1600" i="1" dirty="0" smtClean="0">
                <a:solidFill>
                  <a:srgbClr val="0070C0"/>
                </a:solidFill>
                <a:latin typeface="Trebuchet MS" panose="020B0603020202020204" pitchFamily="34" charset="0"/>
              </a:rPr>
              <a:t>moment, </a:t>
            </a:r>
            <a:r>
              <a:rPr lang="fr-FR" sz="1600" i="1" dirty="0">
                <a:solidFill>
                  <a:srgbClr val="0070C0"/>
                </a:solidFill>
                <a:latin typeface="Trebuchet MS" panose="020B0603020202020204" pitchFamily="34" charset="0"/>
              </a:rPr>
              <a:t>après l’entrée en vigueur des actes</a:t>
            </a:r>
            <a:r>
              <a:rPr lang="fr-FR" sz="1600" i="1" dirty="0" smtClean="0">
                <a:solidFill>
                  <a:srgbClr val="0070C0"/>
                </a:solidFill>
                <a:latin typeface="Trebuchet MS" panose="020B0603020202020204" pitchFamily="34" charset="0"/>
              </a:rPr>
              <a:t>).</a:t>
            </a:r>
            <a:endParaRPr lang="fr-FR" sz="1600" i="1" dirty="0">
              <a:solidFill>
                <a:srgbClr val="0070C0"/>
              </a:solidFill>
              <a:latin typeface="Trebuchet MS" panose="020B0603020202020204" pitchFamily="34" charset="0"/>
            </a:endParaRPr>
          </a:p>
        </p:txBody>
      </p:sp>
      <p:sp>
        <p:nvSpPr>
          <p:cNvPr id="5" name="Rectangle 4">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000" b="1" dirty="0">
                <a:latin typeface="Trebuchet MS" panose="020B0603020202020204" pitchFamily="34" charset="0"/>
                <a:cs typeface="Times New Roman" panose="02020603050405020304" pitchFamily="18" charset="0"/>
              </a:rPr>
              <a:t>Origines du contrôle </a:t>
            </a:r>
            <a:r>
              <a:rPr lang="fr-FR" sz="3000" b="1" dirty="0" smtClean="0">
                <a:latin typeface="Trebuchet MS" panose="020B0603020202020204" pitchFamily="34" charset="0"/>
                <a:cs typeface="Times New Roman" panose="02020603050405020304" pitchFamily="18" charset="0"/>
              </a:rPr>
              <a:t>administratif</a:t>
            </a:r>
            <a:endParaRPr lang="fr-FR" altLang="fr-FR" sz="3000" b="1" dirty="0">
              <a:latin typeface="Trebuchet MS" panose="020B0603020202020204" pitchFamily="34" charset="0"/>
              <a:cs typeface="Times New Roman" panose="02020603050405020304" pitchFamily="18" charset="0"/>
            </a:endParaRPr>
          </a:p>
        </p:txBody>
      </p:sp>
      <p:pic>
        <p:nvPicPr>
          <p:cNvPr id="7"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4</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129587090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5F8616-5FA3-4243-B673-746764214419}"/>
              </a:ext>
            </a:extLst>
          </p:cNvPr>
          <p:cNvSpPr/>
          <p:nvPr/>
        </p:nvSpPr>
        <p:spPr>
          <a:xfrm>
            <a:off x="1073831" y="20700"/>
            <a:ext cx="9971314"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defRPr/>
            </a:pPr>
            <a:r>
              <a:rPr lang="fr-FR" altLang="fr-FR" sz="3200" b="1" i="1" dirty="0">
                <a:latin typeface="Trebuchet MS" panose="020B0603020202020204" pitchFamily="34" charset="0"/>
              </a:rPr>
              <a:t>Les formes du contrôle administratif </a:t>
            </a:r>
            <a:endParaRPr lang="fr-FR" sz="3200" b="1" i="1" dirty="0">
              <a:latin typeface="Trebuchet MS" panose="020B0603020202020204" pitchFamily="34" charset="0"/>
            </a:endParaRPr>
          </a:p>
        </p:txBody>
      </p:sp>
      <p:pic>
        <p:nvPicPr>
          <p:cNvPr id="7"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5</a:t>
            </a:fld>
            <a:endParaRPr lang="fr-FR" altLang="fr-FR" sz="1600" dirty="0">
              <a:solidFill>
                <a:srgbClr val="103A1A"/>
              </a:solidFill>
              <a:latin typeface="Arial" panose="020B0604020202020204" pitchFamily="34" charset="0"/>
            </a:endParaRPr>
          </a:p>
        </p:txBody>
      </p:sp>
      <p:grpSp>
        <p:nvGrpSpPr>
          <p:cNvPr id="10" name="Groupe 9"/>
          <p:cNvGrpSpPr/>
          <p:nvPr/>
        </p:nvGrpSpPr>
        <p:grpSpPr>
          <a:xfrm>
            <a:off x="1534886" y="1878420"/>
            <a:ext cx="9510262" cy="3923666"/>
            <a:chOff x="551296" y="980463"/>
            <a:chExt cx="3336976" cy="2560179"/>
          </a:xfrm>
        </p:grpSpPr>
        <p:sp>
          <p:nvSpPr>
            <p:cNvPr id="11" name="Rectangle 10">
              <a:extLst>
                <a:ext uri="{FF2B5EF4-FFF2-40B4-BE49-F238E27FC236}">
                  <a16:creationId xmlns:a16="http://schemas.microsoft.com/office/drawing/2014/main" id="{A35932CE-E3F8-4C55-B66D-852CFB925E9F}"/>
                </a:ext>
              </a:extLst>
            </p:cNvPr>
            <p:cNvSpPr/>
            <p:nvPr/>
          </p:nvSpPr>
          <p:spPr>
            <a:xfrm>
              <a:off x="2262475" y="1392323"/>
              <a:ext cx="1625796" cy="21483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ZoneTexte 16">
              <a:extLst>
                <a:ext uri="{FF2B5EF4-FFF2-40B4-BE49-F238E27FC236}">
                  <a16:creationId xmlns:a16="http://schemas.microsoft.com/office/drawing/2014/main" id="{B8A34E4B-61B8-4B58-8296-82916AE1EFDB}"/>
                </a:ext>
              </a:extLst>
            </p:cNvPr>
            <p:cNvSpPr txBox="1"/>
            <p:nvPr/>
          </p:nvSpPr>
          <p:spPr>
            <a:xfrm>
              <a:off x="2260918" y="989768"/>
              <a:ext cx="1627354" cy="266991"/>
            </a:xfrm>
            <a:prstGeom prst="rect">
              <a:avLst/>
            </a:prstGeom>
            <a:solidFill>
              <a:schemeClr val="accent6">
                <a:lumMod val="60000"/>
                <a:lumOff val="40000"/>
              </a:schemeClr>
            </a:solidFill>
          </p:spPr>
          <p:txBody>
            <a:bodyPr wrap="square" anchor="ctr" anchorCtr="0">
              <a:spAutoFit/>
            </a:bodyPr>
            <a:lstStyle>
              <a:defPPr>
                <a:defRPr lang="fr-FR"/>
              </a:defPPr>
              <a:lvl1pPr algn="ctr" rtl="1">
                <a:defRPr b="1" cap="small">
                  <a:solidFill>
                    <a:srgbClr val="4E8881"/>
                  </a:solidFill>
                </a:defRPr>
              </a:lvl1pPr>
            </a:lstStyle>
            <a:p>
              <a:pPr rtl="0"/>
              <a:r>
                <a:rPr lang="fr-FR" i="1" dirty="0" smtClean="0">
                  <a:solidFill>
                    <a:schemeClr val="tx1"/>
                  </a:solidFill>
                  <a:latin typeface="Trebuchet MS" panose="020B0603020202020204" pitchFamily="34" charset="0"/>
                </a:rPr>
                <a:t>le contrôle sur les élus</a:t>
              </a:r>
              <a:endParaRPr lang="ar-MA" i="1" dirty="0">
                <a:solidFill>
                  <a:schemeClr val="tx1"/>
                </a:solidFill>
                <a:latin typeface="Trebuchet MS" panose="020B0603020202020204" pitchFamily="34" charset="0"/>
              </a:endParaRPr>
            </a:p>
          </p:txBody>
        </p:sp>
        <p:sp>
          <p:nvSpPr>
            <p:cNvPr id="18" name="ZoneTexte 17">
              <a:extLst>
                <a:ext uri="{FF2B5EF4-FFF2-40B4-BE49-F238E27FC236}">
                  <a16:creationId xmlns:a16="http://schemas.microsoft.com/office/drawing/2014/main" id="{EE93A3F7-AA8E-4712-AA88-0EA099B36165}"/>
                </a:ext>
              </a:extLst>
            </p:cNvPr>
            <p:cNvSpPr txBox="1"/>
            <p:nvPr/>
          </p:nvSpPr>
          <p:spPr>
            <a:xfrm>
              <a:off x="556204" y="980463"/>
              <a:ext cx="1637519" cy="266991"/>
            </a:xfrm>
            <a:prstGeom prst="rect">
              <a:avLst/>
            </a:prstGeom>
            <a:solidFill>
              <a:schemeClr val="accent6">
                <a:lumMod val="60000"/>
                <a:lumOff val="40000"/>
              </a:schemeClr>
            </a:solidFill>
          </p:spPr>
          <p:txBody>
            <a:bodyPr wrap="square" anchor="ctr" anchorCtr="0">
              <a:spAutoFit/>
            </a:bodyPr>
            <a:lstStyle/>
            <a:p>
              <a:pPr algn="ctr"/>
              <a:r>
                <a:rPr lang="fr-FR" b="1" i="1" dirty="0" smtClean="0">
                  <a:latin typeface="Trebuchet MS" panose="020B0603020202020204" pitchFamily="34" charset="0"/>
                </a:rPr>
                <a:t>Le contrôle sur les actes</a:t>
              </a:r>
              <a:endParaRPr lang="ar-MA" b="1" cap="small" dirty="0">
                <a:solidFill>
                  <a:srgbClr val="4E8881"/>
                </a:solidFill>
              </a:endParaRPr>
            </a:p>
          </p:txBody>
        </p:sp>
        <p:sp>
          <p:nvSpPr>
            <p:cNvPr id="19" name="Rectangle 18">
              <a:extLst>
                <a:ext uri="{FF2B5EF4-FFF2-40B4-BE49-F238E27FC236}">
                  <a16:creationId xmlns:a16="http://schemas.microsoft.com/office/drawing/2014/main" id="{08F56E10-EC94-4DE4-A3E0-52FBD949FA83}"/>
                </a:ext>
              </a:extLst>
            </p:cNvPr>
            <p:cNvSpPr/>
            <p:nvPr/>
          </p:nvSpPr>
          <p:spPr>
            <a:xfrm>
              <a:off x="551296" y="1392323"/>
              <a:ext cx="1635950" cy="214831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 name="Rectangle 1"/>
          <p:cNvSpPr/>
          <p:nvPr/>
        </p:nvSpPr>
        <p:spPr>
          <a:xfrm>
            <a:off x="1774372" y="2863062"/>
            <a:ext cx="4016827" cy="2585323"/>
          </a:xfrm>
          <a:prstGeom prst="rect">
            <a:avLst/>
          </a:prstGeom>
        </p:spPr>
        <p:txBody>
          <a:bodyPr wrap="square">
            <a:spAutoFit/>
          </a:bodyPr>
          <a:lstStyle/>
          <a:p>
            <a:pPr marL="271463" indent="-271463" algn="just" defTabSz="990600">
              <a:spcBef>
                <a:spcPts val="600"/>
              </a:spcBef>
              <a:spcAft>
                <a:spcPts val="600"/>
              </a:spcAft>
              <a:buFont typeface="+mj-lt"/>
              <a:buAutoNum type="arabicParenR"/>
              <a:defRPr/>
            </a:pPr>
            <a:r>
              <a:rPr lang="fr-FR" sz="1600" b="1" i="1" dirty="0">
                <a:latin typeface="Trebuchet MS" panose="020B0603020202020204" pitchFamily="34" charset="0"/>
              </a:rPr>
              <a:t>contrôle a priori :</a:t>
            </a:r>
          </a:p>
          <a:p>
            <a:pPr marL="533400" indent="-261938" algn="just">
              <a:spcBef>
                <a:spcPts val="600"/>
              </a:spcBef>
              <a:spcAft>
                <a:spcPts val="600"/>
              </a:spcAft>
              <a:buFont typeface="+mj-lt"/>
              <a:buAutoNum type="alphaLcParenR"/>
              <a:defRPr/>
            </a:pPr>
            <a:r>
              <a:rPr lang="fr-FR" sz="1600" b="1" i="1" dirty="0">
                <a:latin typeface="Trebuchet MS" panose="020B0603020202020204" pitchFamily="34" charset="0"/>
                <a:cs typeface="Sakkal Majalla" panose="02000000000000000000" pitchFamily="2" charset="-78"/>
              </a:rPr>
              <a:t>Procédure d’opposition </a:t>
            </a:r>
          </a:p>
          <a:p>
            <a:pPr marL="533400" indent="-261938" algn="just">
              <a:spcBef>
                <a:spcPts val="600"/>
              </a:spcBef>
              <a:spcAft>
                <a:spcPts val="600"/>
              </a:spcAft>
              <a:buFont typeface="+mj-lt"/>
              <a:buAutoNum type="alphaLcParenR"/>
              <a:defRPr/>
            </a:pPr>
            <a:r>
              <a:rPr lang="fr-FR" sz="1600" b="1" i="1" dirty="0">
                <a:latin typeface="Trebuchet MS" panose="020B0603020202020204" pitchFamily="34" charset="0"/>
                <a:cs typeface="Sakkal Majalla" panose="02000000000000000000" pitchFamily="2" charset="-78"/>
              </a:rPr>
              <a:t>Actes soumis au </a:t>
            </a:r>
            <a:r>
              <a:rPr lang="fr-FR" sz="1600" b="1" i="1" dirty="0" smtClean="0">
                <a:latin typeface="Trebuchet MS" panose="020B0603020202020204" pitchFamily="34" charset="0"/>
                <a:cs typeface="Sakkal Majalla" panose="02000000000000000000" pitchFamily="2" charset="-78"/>
              </a:rPr>
              <a:t>visa</a:t>
            </a:r>
          </a:p>
          <a:p>
            <a:pPr marL="271462" algn="just">
              <a:spcBef>
                <a:spcPts val="600"/>
              </a:spcBef>
              <a:spcAft>
                <a:spcPts val="600"/>
              </a:spcAft>
              <a:defRPr/>
            </a:pPr>
            <a:endParaRPr lang="fr-FR" sz="1600" b="1" i="1" dirty="0">
              <a:latin typeface="Trebuchet MS" panose="020B0603020202020204" pitchFamily="34" charset="0"/>
              <a:cs typeface="Sakkal Majalla" panose="02000000000000000000" pitchFamily="2" charset="-78"/>
            </a:endParaRPr>
          </a:p>
          <a:p>
            <a:pPr marL="271463" indent="-271463" algn="just" defTabSz="990600">
              <a:spcBef>
                <a:spcPts val="600"/>
              </a:spcBef>
              <a:spcAft>
                <a:spcPts val="600"/>
              </a:spcAft>
              <a:buFont typeface="+mj-lt"/>
              <a:buAutoNum type="arabicParenR" startAt="2"/>
              <a:defRPr/>
            </a:pPr>
            <a:r>
              <a:rPr lang="fr-FR" sz="1600" b="1" i="1" dirty="0">
                <a:latin typeface="Trebuchet MS" panose="020B0603020202020204" pitchFamily="34" charset="0"/>
              </a:rPr>
              <a:t>contrôle a posteriori :</a:t>
            </a:r>
            <a:r>
              <a:rPr lang="ar-MA" sz="1600" b="1" i="1" dirty="0">
                <a:latin typeface="Trebuchet MS" panose="020B0603020202020204" pitchFamily="34" charset="0"/>
              </a:rPr>
              <a:t> </a:t>
            </a:r>
            <a:endParaRPr lang="fr-FR" sz="1600" b="1" i="1" dirty="0">
              <a:latin typeface="Trebuchet MS" panose="020B0603020202020204" pitchFamily="34" charset="0"/>
            </a:endParaRPr>
          </a:p>
          <a:p>
            <a:pPr marL="533400" indent="-273050" algn="just">
              <a:spcBef>
                <a:spcPts val="600"/>
              </a:spcBef>
              <a:spcAft>
                <a:spcPts val="600"/>
              </a:spcAft>
              <a:buFont typeface="Wingdings" pitchFamily="2" charset="2"/>
              <a:buChar char="à"/>
              <a:defRPr/>
            </a:pPr>
            <a:r>
              <a:rPr lang="fr-FR" sz="1600" i="1" dirty="0">
                <a:latin typeface="Trebuchet MS" panose="020B0603020202020204" pitchFamily="34" charset="0"/>
              </a:rPr>
              <a:t> s’exerce à tout moment après entrée en vigueur des actes</a:t>
            </a:r>
            <a:endParaRPr lang="fr-FR" sz="1600" dirty="0"/>
          </a:p>
        </p:txBody>
      </p:sp>
      <p:sp>
        <p:nvSpPr>
          <p:cNvPr id="3" name="Rectangle 2"/>
          <p:cNvSpPr/>
          <p:nvPr/>
        </p:nvSpPr>
        <p:spPr>
          <a:xfrm>
            <a:off x="6596744" y="2645230"/>
            <a:ext cx="4158342" cy="2908489"/>
          </a:xfrm>
          <a:prstGeom prst="rect">
            <a:avLst/>
          </a:prstGeom>
        </p:spPr>
        <p:txBody>
          <a:bodyPr wrap="square">
            <a:spAutoFit/>
          </a:bodyPr>
          <a:lstStyle/>
          <a:p>
            <a:pPr marL="271463" indent="-271463" algn="just">
              <a:spcBef>
                <a:spcPts val="600"/>
              </a:spcBef>
              <a:spcAft>
                <a:spcPts val="600"/>
              </a:spcAft>
              <a:buClr>
                <a:srgbClr val="0033CC"/>
              </a:buClr>
              <a:buFont typeface="Wingdings" panose="05000000000000000000" pitchFamily="2" charset="2"/>
              <a:buChar char="¤"/>
              <a:defRPr/>
            </a:pPr>
            <a:r>
              <a:rPr lang="fr-FR" sz="1400" i="1" dirty="0" smtClean="0">
                <a:latin typeface="Trebuchet MS" panose="020B0603020202020204" pitchFamily="34" charset="0"/>
                <a:cs typeface="Sakkal Majalla" panose="02000000000000000000" pitchFamily="2" charset="-78"/>
              </a:rPr>
              <a:t>Puise </a:t>
            </a:r>
            <a:r>
              <a:rPr lang="fr-FR" sz="1400" i="1" dirty="0">
                <a:latin typeface="Trebuchet MS" panose="020B0603020202020204" pitchFamily="34" charset="0"/>
                <a:cs typeface="Sakkal Majalla" panose="02000000000000000000" pitchFamily="2" charset="-78"/>
              </a:rPr>
              <a:t>son fondement dans le principe constitutionnel </a:t>
            </a:r>
            <a:r>
              <a:rPr lang="fr-FR" sz="1400" i="1" dirty="0" smtClean="0">
                <a:latin typeface="Trebuchet MS" panose="020B0603020202020204" pitchFamily="34" charset="0"/>
                <a:cs typeface="Sakkal Majalla" panose="02000000000000000000" pitchFamily="2" charset="-78"/>
              </a:rPr>
              <a:t>R/ </a:t>
            </a:r>
            <a:r>
              <a:rPr lang="fr-FR" sz="1400" i="1" dirty="0">
                <a:latin typeface="Trebuchet MS" panose="020B0603020202020204" pitchFamily="34" charset="0"/>
                <a:cs typeface="Sakkal Majalla" panose="02000000000000000000" pitchFamily="2" charset="-78"/>
              </a:rPr>
              <a:t>à la </a:t>
            </a:r>
            <a:r>
              <a:rPr lang="fr-FR" sz="1400" b="1" i="1" dirty="0">
                <a:latin typeface="Trebuchet MS" panose="020B0603020202020204" pitchFamily="34" charset="0"/>
                <a:cs typeface="Sakkal Majalla" panose="02000000000000000000" pitchFamily="2" charset="-78"/>
              </a:rPr>
              <a:t>corrélation entre responsabilité et reddition des compte</a:t>
            </a:r>
            <a:r>
              <a:rPr lang="fr-FR" sz="1400" i="1" dirty="0">
                <a:latin typeface="Trebuchet MS" panose="020B0603020202020204" pitchFamily="34" charset="0"/>
                <a:cs typeface="Sakkal Majalla" panose="02000000000000000000" pitchFamily="2" charset="-78"/>
              </a:rPr>
              <a:t>s ;</a:t>
            </a:r>
          </a:p>
          <a:p>
            <a:pPr marL="285750" indent="-285750" algn="just">
              <a:spcBef>
                <a:spcPts val="600"/>
              </a:spcBef>
              <a:spcAft>
                <a:spcPts val="600"/>
              </a:spcAft>
              <a:buClr>
                <a:srgbClr val="0033CC"/>
              </a:buClr>
              <a:buFont typeface="Wingdings" panose="05000000000000000000" pitchFamily="2" charset="2"/>
              <a:buChar char="¤"/>
              <a:defRPr/>
            </a:pPr>
            <a:r>
              <a:rPr lang="fr-FR" sz="1400" i="1" dirty="0" smtClean="0">
                <a:latin typeface="Trebuchet MS" panose="020B0603020202020204" pitchFamily="34" charset="0"/>
                <a:cs typeface="Sakkal Majalla" panose="02000000000000000000" pitchFamily="2" charset="-78"/>
              </a:rPr>
              <a:t>Le </a:t>
            </a:r>
            <a:r>
              <a:rPr lang="fr-FR" sz="1400" i="1" dirty="0">
                <a:latin typeface="Trebuchet MS" panose="020B0603020202020204" pitchFamily="34" charset="0"/>
                <a:cs typeface="Sakkal Majalla" panose="02000000000000000000" pitchFamily="2" charset="-78"/>
              </a:rPr>
              <a:t>contrôle sur les élus revêt un caractère disciplinaire </a:t>
            </a:r>
            <a:r>
              <a:rPr lang="fr-FR" sz="1400" i="1" dirty="0" smtClean="0">
                <a:latin typeface="Trebuchet MS" panose="020B0603020202020204" pitchFamily="34" charset="0"/>
                <a:cs typeface="Sakkal Majalla" panose="02000000000000000000" pitchFamily="2" charset="-78"/>
              </a:rPr>
              <a:t>qui </a:t>
            </a:r>
            <a:r>
              <a:rPr lang="fr-FR" sz="1400" i="1" dirty="0">
                <a:latin typeface="Trebuchet MS" panose="020B0603020202020204" pitchFamily="34" charset="0"/>
                <a:cs typeface="Sakkal Majalla" panose="02000000000000000000" pitchFamily="2" charset="-78"/>
              </a:rPr>
              <a:t>consiste à sanctionner les élus : </a:t>
            </a:r>
          </a:p>
          <a:p>
            <a:pPr marL="446088" indent="-271463" algn="just">
              <a:buClr>
                <a:srgbClr val="0033CC"/>
              </a:buClr>
              <a:buFont typeface="Wingdings" pitchFamily="2" charset="2"/>
              <a:buChar char="ü"/>
              <a:defRPr/>
            </a:pPr>
            <a:r>
              <a:rPr lang="fr-FR" sz="1400" b="1" i="1" dirty="0">
                <a:latin typeface="Trebuchet MS" panose="020B0603020202020204" pitchFamily="34" charset="0"/>
                <a:cs typeface="Sakkal Majalla" panose="02000000000000000000" pitchFamily="2" charset="-78"/>
              </a:rPr>
              <a:t>Soit de façon individuelle </a:t>
            </a:r>
            <a:r>
              <a:rPr lang="fr-FR" sz="1400" i="1" dirty="0">
                <a:latin typeface="Trebuchet MS" panose="020B0603020202020204" pitchFamily="34" charset="0"/>
                <a:cs typeface="Sakkal Majalla" panose="02000000000000000000" pitchFamily="2" charset="-78"/>
              </a:rPr>
              <a:t>à l’encontre de tout élu (démission - déchéance du mandat - révocation ; </a:t>
            </a:r>
          </a:p>
          <a:p>
            <a:pPr marL="446088" indent="-271463" algn="just">
              <a:buClr>
                <a:srgbClr val="0033CC"/>
              </a:buClr>
              <a:buFont typeface="Wingdings" pitchFamily="2" charset="2"/>
              <a:buChar char="ü"/>
              <a:defRPr/>
            </a:pPr>
            <a:r>
              <a:rPr lang="fr-FR" sz="1400" b="1" i="1" dirty="0">
                <a:latin typeface="Trebuchet MS" panose="020B0603020202020204" pitchFamily="34" charset="0"/>
                <a:cs typeface="Sakkal Majalla" panose="02000000000000000000" pitchFamily="2" charset="-78"/>
              </a:rPr>
              <a:t>Soit de façon collégiale </a:t>
            </a:r>
            <a:r>
              <a:rPr lang="fr-FR" sz="1400" i="1" dirty="0">
                <a:latin typeface="Trebuchet MS" panose="020B0603020202020204" pitchFamily="34" charset="0"/>
                <a:cs typeface="Sakkal Majalla" panose="02000000000000000000" pitchFamily="2" charset="-78"/>
              </a:rPr>
              <a:t>à l’encontre de l’ensemble des membre  (dissolution du  Conseil)</a:t>
            </a:r>
          </a:p>
        </p:txBody>
      </p:sp>
    </p:spTree>
    <p:extLst>
      <p:ext uri="{BB962C8B-B14F-4D97-AF65-F5344CB8AC3E}">
        <p14:creationId xmlns:p14="http://schemas.microsoft.com/office/powerpoint/2010/main" val="147915577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1"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2"/>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3"/>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3"/>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3"/>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3"/>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3"/>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6</a:t>
            </a:fld>
            <a:endParaRPr lang="fr-FR" altLang="fr-FR" sz="1600" dirty="0">
              <a:solidFill>
                <a:srgbClr val="103A1A"/>
              </a:solidFill>
              <a:latin typeface="Arial" panose="020B0604020202020204" pitchFamily="34" charset="0"/>
            </a:endParaRPr>
          </a:p>
        </p:txBody>
      </p:sp>
      <p:sp>
        <p:nvSpPr>
          <p:cNvPr id="2" name="Rectangle 1"/>
          <p:cNvSpPr/>
          <p:nvPr/>
        </p:nvSpPr>
        <p:spPr>
          <a:xfrm>
            <a:off x="4398118" y="3021765"/>
            <a:ext cx="3526682" cy="1323439"/>
          </a:xfrm>
          <a:prstGeom prst="rect">
            <a:avLst/>
          </a:prstGeom>
          <a:noFill/>
        </p:spPr>
        <p:txBody>
          <a:bodyPr wrap="square" lIns="91440" tIns="45720" rIns="91440" bIns="45720">
            <a:spAutoFit/>
            <a:scene3d>
              <a:camera prst="isometricOffAxis1Right"/>
              <a:lightRig rig="threePt" dir="t"/>
            </a:scene3d>
          </a:bodyPr>
          <a:lstStyle/>
          <a:p>
            <a:pPr algn="ctr"/>
            <a:r>
              <a:rPr lang="fr-FR" sz="8000" b="1" dirty="0" smtClean="0">
                <a:ln w="13462">
                  <a:solidFill>
                    <a:schemeClr val="bg1"/>
                  </a:solidFill>
                  <a:prstDash val="solid"/>
                </a:ln>
                <a:solidFill>
                  <a:schemeClr val="tx1">
                    <a:lumMod val="85000"/>
                    <a:lumOff val="15000"/>
                  </a:schemeClr>
                </a:solidFill>
                <a:effectLst>
                  <a:outerShdw dist="38100" dir="2700000" algn="bl" rotWithShape="0">
                    <a:schemeClr val="accent5"/>
                  </a:outerShdw>
                </a:effectLst>
              </a:rPr>
              <a:t>MERCI</a:t>
            </a:r>
            <a:endParaRPr lang="fr-FR" sz="8000" b="1" dirty="0">
              <a:ln w="13462">
                <a:solidFill>
                  <a:schemeClr val="bg1"/>
                </a:solidFill>
                <a:prstDash val="solid"/>
              </a:ln>
              <a:solidFill>
                <a:schemeClr val="tx1">
                  <a:lumMod val="85000"/>
                  <a:lumOff val="15000"/>
                </a:schemeClr>
              </a:solidFill>
              <a:effectLst>
                <a:outerShdw dist="38100" dir="2700000" algn="bl" rotWithShape="0">
                  <a:schemeClr val="accent5"/>
                </a:outerShdw>
              </a:effectLst>
            </a:endParaRPr>
          </a:p>
        </p:txBody>
      </p:sp>
    </p:spTree>
    <p:extLst>
      <p:ext uri="{BB962C8B-B14F-4D97-AF65-F5344CB8AC3E}">
        <p14:creationId xmlns:p14="http://schemas.microsoft.com/office/powerpoint/2010/main" val="13189588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31">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200" b="1" dirty="0" smtClean="0">
                <a:latin typeface="Trebuchet MS" panose="020B0603020202020204" pitchFamily="34" charset="0"/>
                <a:cs typeface="Times New Roman" panose="02020603050405020304" pitchFamily="18" charset="0"/>
              </a:rPr>
              <a:t>Domaines d’interventions des CT</a:t>
            </a:r>
            <a:endParaRPr lang="fr-FR" altLang="fr-FR" sz="3200" b="1" dirty="0">
              <a:latin typeface="Trebuchet MS" panose="020B0603020202020204" pitchFamily="34" charset="0"/>
              <a:cs typeface="Times New Roman" panose="02020603050405020304" pitchFamily="18" charset="0"/>
            </a:endParaRPr>
          </a:p>
        </p:txBody>
      </p:sp>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7</a:t>
            </a:fld>
            <a:endParaRPr lang="fr-FR" altLang="fr-FR" sz="1600" dirty="0">
              <a:solidFill>
                <a:srgbClr val="103A1A"/>
              </a:solidFill>
              <a:latin typeface="Arial" panose="020B0604020202020204" pitchFamily="34" charset="0"/>
            </a:endParaRPr>
          </a:p>
        </p:txBody>
      </p:sp>
      <p:graphicFrame>
        <p:nvGraphicFramePr>
          <p:cNvPr id="3" name="Tableau 2"/>
          <p:cNvGraphicFramePr>
            <a:graphicFrameLocks noGrp="1"/>
          </p:cNvGraphicFramePr>
          <p:nvPr/>
        </p:nvGraphicFramePr>
        <p:xfrm>
          <a:off x="715326" y="1491342"/>
          <a:ext cx="10688323" cy="4636342"/>
        </p:xfrm>
        <a:graphic>
          <a:graphicData uri="http://schemas.openxmlformats.org/drawingml/2006/table">
            <a:tbl>
              <a:tblPr firstRow="1" firstCol="1" bandRow="1">
                <a:tableStyleId>{5C22544A-7EE6-4342-B048-85BDC9FD1C3A}</a:tableStyleId>
              </a:tblPr>
              <a:tblGrid>
                <a:gridCol w="3802245">
                  <a:extLst>
                    <a:ext uri="{9D8B030D-6E8A-4147-A177-3AD203B41FA5}">
                      <a16:colId xmlns:a16="http://schemas.microsoft.com/office/drawing/2014/main" val="3841171408"/>
                    </a:ext>
                  </a:extLst>
                </a:gridCol>
                <a:gridCol w="3679372">
                  <a:extLst>
                    <a:ext uri="{9D8B030D-6E8A-4147-A177-3AD203B41FA5}">
                      <a16:colId xmlns:a16="http://schemas.microsoft.com/office/drawing/2014/main" val="2726066025"/>
                    </a:ext>
                  </a:extLst>
                </a:gridCol>
                <a:gridCol w="3206706">
                  <a:extLst>
                    <a:ext uri="{9D8B030D-6E8A-4147-A177-3AD203B41FA5}">
                      <a16:colId xmlns:a16="http://schemas.microsoft.com/office/drawing/2014/main" val="1889785333"/>
                    </a:ext>
                  </a:extLst>
                </a:gridCol>
              </a:tblGrid>
              <a:tr h="211592">
                <a:tc>
                  <a:txBody>
                    <a:bodyPr/>
                    <a:lstStyle/>
                    <a:p>
                      <a:pPr algn="ctr">
                        <a:lnSpc>
                          <a:spcPct val="107000"/>
                        </a:lnSpc>
                        <a:spcAft>
                          <a:spcPts val="0"/>
                        </a:spcAft>
                      </a:pPr>
                      <a:r>
                        <a:rPr lang="fr-FR" sz="1400" dirty="0">
                          <a:solidFill>
                            <a:schemeClr val="bg1"/>
                          </a:solidFill>
                          <a:effectLst/>
                          <a:latin typeface="Trebuchet MS" panose="020B0603020202020204" pitchFamily="34" charset="0"/>
                        </a:rPr>
                        <a:t>Région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7000"/>
                        </a:lnSpc>
                        <a:spcAft>
                          <a:spcPts val="0"/>
                        </a:spcAft>
                      </a:pPr>
                      <a:r>
                        <a:rPr lang="fr-FR" sz="1400" dirty="0" smtClean="0">
                          <a:solidFill>
                            <a:schemeClr val="bg1"/>
                          </a:solidFill>
                          <a:effectLst/>
                          <a:latin typeface="Trebuchet MS" panose="020B0603020202020204" pitchFamily="34" charset="0"/>
                        </a:rPr>
                        <a:t>Préfectures/Province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7000"/>
                        </a:lnSpc>
                        <a:spcAft>
                          <a:spcPts val="0"/>
                        </a:spcAft>
                      </a:pPr>
                      <a:r>
                        <a:rPr lang="fr-FR" sz="1400" dirty="0">
                          <a:solidFill>
                            <a:schemeClr val="bg1"/>
                          </a:solidFill>
                          <a:effectLst/>
                          <a:latin typeface="Trebuchet MS" panose="020B0603020202020204" pitchFamily="34" charset="0"/>
                        </a:rPr>
                        <a:t>Commune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994855639"/>
                  </a:ext>
                </a:extLst>
              </a:tr>
              <a:tr h="211592">
                <a:tc gridSpan="3">
                  <a:txBody>
                    <a:bodyPr/>
                    <a:lstStyle/>
                    <a:p>
                      <a:pPr algn="ctr">
                        <a:lnSpc>
                          <a:spcPct val="107000"/>
                        </a:lnSpc>
                        <a:spcAft>
                          <a:spcPts val="0"/>
                        </a:spcAft>
                      </a:pPr>
                      <a:r>
                        <a:rPr lang="fr-FR" sz="1400" dirty="0">
                          <a:solidFill>
                            <a:srgbClr val="002060"/>
                          </a:solidFill>
                          <a:effectLst/>
                          <a:latin typeface="Trebuchet MS" panose="020B0603020202020204" pitchFamily="34" charset="0"/>
                        </a:rPr>
                        <a:t>Programmation du développement</a:t>
                      </a:r>
                      <a:endParaRPr lang="fr-FR" sz="1600" dirty="0">
                        <a:solidFill>
                          <a:srgbClr val="002060"/>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510137688"/>
                  </a:ext>
                </a:extLst>
              </a:tr>
              <a:tr h="544921">
                <a:tc>
                  <a:txBody>
                    <a:bodyPr/>
                    <a:lstStyle/>
                    <a:p>
                      <a:pPr marL="271463" lvl="0" indent="-184150" algn="just" rtl="0">
                        <a:lnSpc>
                          <a:spcPct val="115000"/>
                        </a:lnSpc>
                        <a:spcAft>
                          <a:spcPts val="600"/>
                        </a:spcAft>
                        <a:buFont typeface="Symbol" panose="05050102010706020507" pitchFamily="18" charset="2"/>
                        <a:buChar char=""/>
                      </a:pPr>
                      <a:r>
                        <a:rPr lang="fr-FR" sz="1400" b="0" dirty="0">
                          <a:solidFill>
                            <a:schemeClr val="tx1"/>
                          </a:solidFill>
                          <a:effectLst/>
                          <a:latin typeface="Trebuchet MS" panose="020B0603020202020204" pitchFamily="34" charset="0"/>
                        </a:rPr>
                        <a:t>Mise en place du programme de développement régional (PDR)</a:t>
                      </a:r>
                      <a:endParaRPr lang="fr-FR" sz="1600" b="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lvl="0" indent="-342900" algn="just" rtl="0">
                        <a:lnSpc>
                          <a:spcPct val="115000"/>
                        </a:lnSpc>
                        <a:spcAft>
                          <a:spcPts val="600"/>
                        </a:spcAft>
                        <a:buFont typeface="Symbol" panose="05050102010706020507" pitchFamily="18" charset="2"/>
                        <a:buChar char=""/>
                      </a:pPr>
                      <a:r>
                        <a:rPr lang="fr-FR" sz="1400" dirty="0">
                          <a:solidFill>
                            <a:schemeClr val="tx1"/>
                          </a:solidFill>
                          <a:effectLst/>
                          <a:latin typeface="Trebuchet MS" panose="020B0603020202020204" pitchFamily="34" charset="0"/>
                        </a:rPr>
                        <a:t>Mise en place du programme de développement de la </a:t>
                      </a:r>
                      <a:r>
                        <a:rPr lang="fr-FR" sz="1400" dirty="0" err="1">
                          <a:solidFill>
                            <a:schemeClr val="tx1"/>
                          </a:solidFill>
                          <a:effectLst/>
                          <a:latin typeface="Trebuchet MS" panose="020B0603020202020204" pitchFamily="34" charset="0"/>
                        </a:rPr>
                        <a:t>Préf</a:t>
                      </a:r>
                      <a:r>
                        <a:rPr lang="fr-FR" sz="1400" dirty="0">
                          <a:solidFill>
                            <a:schemeClr val="tx1"/>
                          </a:solidFill>
                          <a:effectLst/>
                          <a:latin typeface="Trebuchet MS" panose="020B0603020202020204" pitchFamily="34" charset="0"/>
                        </a:rPr>
                        <a:t>/</a:t>
                      </a:r>
                      <a:r>
                        <a:rPr lang="fr-FR" sz="1400" dirty="0" err="1">
                          <a:solidFill>
                            <a:schemeClr val="tx1"/>
                          </a:solidFill>
                          <a:effectLst/>
                          <a:latin typeface="Trebuchet MS" panose="020B0603020202020204" pitchFamily="34" charset="0"/>
                        </a:rPr>
                        <a:t>Prov</a:t>
                      </a:r>
                      <a:r>
                        <a:rPr lang="fr-FR" sz="1400" dirty="0">
                          <a:solidFill>
                            <a:schemeClr val="tx1"/>
                          </a:solidFill>
                          <a:effectLst/>
                          <a:latin typeface="Trebuchet MS" panose="020B0603020202020204" pitchFamily="34" charset="0"/>
                        </a:rPr>
                        <a:t> (PDPP)</a:t>
                      </a:r>
                      <a:endParaRPr lang="fr-FR" sz="16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lvl="0" indent="-342900" algn="just" rtl="0">
                        <a:lnSpc>
                          <a:spcPct val="115000"/>
                        </a:lnSpc>
                        <a:spcAft>
                          <a:spcPts val="600"/>
                        </a:spcAft>
                        <a:buFont typeface="Symbol" panose="05050102010706020507" pitchFamily="18" charset="2"/>
                        <a:buChar char=""/>
                      </a:pPr>
                      <a:r>
                        <a:rPr lang="fr-FR" sz="1400">
                          <a:solidFill>
                            <a:schemeClr val="tx1"/>
                          </a:solidFill>
                          <a:effectLst/>
                          <a:latin typeface="Trebuchet MS" panose="020B0603020202020204" pitchFamily="34" charset="0"/>
                        </a:rPr>
                        <a:t>Mise en place du Plan d'action de la commune (PAC)</a:t>
                      </a:r>
                      <a:endParaRPr lang="fr-FR" sz="1600">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29998060"/>
                  </a:ext>
                </a:extLst>
              </a:tr>
              <a:tr h="211592">
                <a:tc gridSpan="3">
                  <a:txBody>
                    <a:bodyPr/>
                    <a:lstStyle/>
                    <a:p>
                      <a:pPr algn="ctr">
                        <a:lnSpc>
                          <a:spcPct val="107000"/>
                        </a:lnSpc>
                        <a:spcAft>
                          <a:spcPts val="0"/>
                        </a:spcAft>
                      </a:pPr>
                      <a:r>
                        <a:rPr lang="fr-FR" sz="1400" b="1" dirty="0">
                          <a:solidFill>
                            <a:srgbClr val="002060"/>
                          </a:solidFill>
                          <a:effectLst/>
                          <a:latin typeface="Trebuchet MS" panose="020B0603020202020204" pitchFamily="34" charset="0"/>
                        </a:rPr>
                        <a:t>Le développement économique</a:t>
                      </a:r>
                      <a:endParaRPr lang="fr-FR" sz="1600" b="1" dirty="0">
                        <a:solidFill>
                          <a:srgbClr val="002060"/>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682043330"/>
                  </a:ext>
                </a:extLst>
              </a:tr>
              <a:tr h="3406572">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e soutien aux entreprises ;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domiciliation et l'organisation des zones d'activités économiques dans la région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ménagement des routes et des circuits touristiques dans le monde rural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promotion des marchés de gros régionaux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création de zones d'activités artisanales et des métiers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ttraction des investissements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promotion de l'économie sociale et des produits régionaux.</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107000"/>
                        </a:lnSpc>
                        <a:spcAft>
                          <a:spcPts val="0"/>
                        </a:spcAft>
                      </a:pPr>
                      <a:r>
                        <a:rPr lang="fr-FR" sz="1400" dirty="0">
                          <a:solidFill>
                            <a:schemeClr val="tx1"/>
                          </a:solidFill>
                          <a:effectLst/>
                          <a:latin typeface="Trebuchet MS" panose="020B0603020202020204" pitchFamily="34" charset="0"/>
                        </a:rPr>
                        <a:t> </a:t>
                      </a:r>
                      <a:endParaRPr lang="fr-FR" sz="1600" dirty="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83820" algn="just">
                        <a:lnSpc>
                          <a:spcPct val="115000"/>
                        </a:lnSpc>
                        <a:spcAft>
                          <a:spcPts val="0"/>
                        </a:spcAft>
                      </a:pPr>
                      <a:r>
                        <a:rPr lang="fr-FR" sz="1400" dirty="0">
                          <a:solidFill>
                            <a:schemeClr val="tx1"/>
                          </a:solidFill>
                          <a:effectLst/>
                          <a:latin typeface="Trebuchet MS" panose="020B0603020202020204" pitchFamily="34" charset="0"/>
                        </a:rPr>
                        <a:t> </a:t>
                      </a:r>
                      <a:endParaRPr lang="fr-FR" sz="16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6976640"/>
                  </a:ext>
                </a:extLst>
              </a:tr>
            </a:tbl>
          </a:graphicData>
        </a:graphic>
      </p:graphicFrame>
    </p:spTree>
    <p:extLst>
      <p:ext uri="{BB962C8B-B14F-4D97-AF65-F5344CB8AC3E}">
        <p14:creationId xmlns:p14="http://schemas.microsoft.com/office/powerpoint/2010/main" val="310469079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31">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200" b="1" dirty="0" smtClean="0">
                <a:latin typeface="Trebuchet MS" panose="020B0603020202020204" pitchFamily="34" charset="0"/>
                <a:cs typeface="Times New Roman" panose="02020603050405020304" pitchFamily="18" charset="0"/>
              </a:rPr>
              <a:t>Domaines d’interventions des CT</a:t>
            </a:r>
            <a:endParaRPr lang="fr-FR" altLang="fr-FR" sz="3200" b="1" dirty="0">
              <a:latin typeface="Trebuchet MS" panose="020B0603020202020204" pitchFamily="34" charset="0"/>
              <a:cs typeface="Times New Roman" panose="02020603050405020304" pitchFamily="18" charset="0"/>
            </a:endParaRPr>
          </a:p>
        </p:txBody>
      </p:sp>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8</a:t>
            </a:fld>
            <a:endParaRPr lang="fr-FR" altLang="fr-FR" sz="1600" dirty="0">
              <a:solidFill>
                <a:srgbClr val="103A1A"/>
              </a:solidFill>
              <a:latin typeface="Arial" panose="020B0604020202020204" pitchFamily="34" charset="0"/>
            </a:endParaRPr>
          </a:p>
        </p:txBody>
      </p:sp>
      <p:graphicFrame>
        <p:nvGraphicFramePr>
          <p:cNvPr id="3" name="Tableau 2"/>
          <p:cNvGraphicFramePr>
            <a:graphicFrameLocks noGrp="1"/>
          </p:cNvGraphicFramePr>
          <p:nvPr/>
        </p:nvGraphicFramePr>
        <p:xfrm>
          <a:off x="737097" y="1714425"/>
          <a:ext cx="10688323" cy="4753668"/>
        </p:xfrm>
        <a:graphic>
          <a:graphicData uri="http://schemas.openxmlformats.org/drawingml/2006/table">
            <a:tbl>
              <a:tblPr firstRow="1" firstCol="1" bandRow="1">
                <a:tableStyleId>{5C22544A-7EE6-4342-B048-85BDC9FD1C3A}</a:tableStyleId>
              </a:tblPr>
              <a:tblGrid>
                <a:gridCol w="3802245">
                  <a:extLst>
                    <a:ext uri="{9D8B030D-6E8A-4147-A177-3AD203B41FA5}">
                      <a16:colId xmlns:a16="http://schemas.microsoft.com/office/drawing/2014/main" val="3841171408"/>
                    </a:ext>
                  </a:extLst>
                </a:gridCol>
                <a:gridCol w="3679372">
                  <a:extLst>
                    <a:ext uri="{9D8B030D-6E8A-4147-A177-3AD203B41FA5}">
                      <a16:colId xmlns:a16="http://schemas.microsoft.com/office/drawing/2014/main" val="2726066025"/>
                    </a:ext>
                  </a:extLst>
                </a:gridCol>
                <a:gridCol w="3206706">
                  <a:extLst>
                    <a:ext uri="{9D8B030D-6E8A-4147-A177-3AD203B41FA5}">
                      <a16:colId xmlns:a16="http://schemas.microsoft.com/office/drawing/2014/main" val="1889785333"/>
                    </a:ext>
                  </a:extLst>
                </a:gridCol>
              </a:tblGrid>
              <a:tr h="187480">
                <a:tc>
                  <a:txBody>
                    <a:bodyPr/>
                    <a:lstStyle/>
                    <a:p>
                      <a:pPr algn="ctr">
                        <a:lnSpc>
                          <a:spcPct val="107000"/>
                        </a:lnSpc>
                        <a:spcAft>
                          <a:spcPts val="0"/>
                        </a:spcAft>
                      </a:pPr>
                      <a:r>
                        <a:rPr lang="fr-FR" sz="1400" dirty="0">
                          <a:solidFill>
                            <a:schemeClr val="bg1"/>
                          </a:solidFill>
                          <a:effectLst/>
                          <a:latin typeface="Trebuchet MS" panose="020B0603020202020204" pitchFamily="34" charset="0"/>
                        </a:rPr>
                        <a:t>Région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7000"/>
                        </a:lnSpc>
                        <a:spcAft>
                          <a:spcPts val="0"/>
                        </a:spcAft>
                      </a:pPr>
                      <a:r>
                        <a:rPr lang="fr-FR" sz="1400" dirty="0" smtClean="0">
                          <a:solidFill>
                            <a:schemeClr val="bg1"/>
                          </a:solidFill>
                          <a:effectLst/>
                          <a:latin typeface="Trebuchet MS" panose="020B0603020202020204" pitchFamily="34" charset="0"/>
                        </a:rPr>
                        <a:t>Préfectures/Province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7000"/>
                        </a:lnSpc>
                        <a:spcAft>
                          <a:spcPts val="0"/>
                        </a:spcAft>
                      </a:pPr>
                      <a:r>
                        <a:rPr lang="fr-FR" sz="1400" dirty="0">
                          <a:solidFill>
                            <a:schemeClr val="bg1"/>
                          </a:solidFill>
                          <a:effectLst/>
                          <a:latin typeface="Trebuchet MS" panose="020B0603020202020204" pitchFamily="34" charset="0"/>
                        </a:rPr>
                        <a:t>Commune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994855639"/>
                  </a:ext>
                </a:extLst>
              </a:tr>
              <a:tr h="187480">
                <a:tc gridSpan="3">
                  <a:txBody>
                    <a:bodyPr/>
                    <a:lstStyle/>
                    <a:p>
                      <a:pPr marL="0" lvl="0" indent="0" algn="ctr" defTabSz="914400" rtl="0" eaLnBrk="1" latinLnBrk="0" hangingPunct="1">
                        <a:lnSpc>
                          <a:spcPct val="107000"/>
                        </a:lnSpc>
                        <a:spcAft>
                          <a:spcPts val="0"/>
                        </a:spcAft>
                        <a:buFont typeface="Symbol" panose="05050102010706020507" pitchFamily="18" charset="2"/>
                        <a:buNone/>
                      </a:pPr>
                      <a:r>
                        <a:rPr lang="fr-FR" sz="1400" b="1" kern="1200" dirty="0">
                          <a:solidFill>
                            <a:srgbClr val="002060"/>
                          </a:solidFill>
                          <a:effectLst/>
                          <a:latin typeface="Trebuchet MS" panose="020B0603020202020204" pitchFamily="34" charset="0"/>
                          <a:ea typeface="+mn-ea"/>
                          <a:cs typeface="+mn-cs"/>
                        </a:rPr>
                        <a:t>Développement Social</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623017468"/>
                  </a:ext>
                </a:extLst>
              </a:tr>
              <a:tr h="2285521">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tabLst>
                          <a:tab pos="173990" algn="l"/>
                        </a:tabLst>
                      </a:pPr>
                      <a:endParaRPr lang="fr-FR" sz="1400" b="0" kern="1200" dirty="0">
                        <a:solidFill>
                          <a:schemeClr val="tx1"/>
                        </a:solidFill>
                        <a:effectLst/>
                        <a:latin typeface="Trebuchet MS" panose="020B0603020202020204" pitchFamily="34" charset="0"/>
                        <a:ea typeface="+mn-ea"/>
                        <a:cs typeface="+mn-cs"/>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mise en place et l'exécution de programmes pour réduire la pauvreté et la précarité</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e diagnostic des besoins en matière de santé, de logement, d'enseignement, de prévention et d'hygiène</a:t>
                      </a:r>
                    </a:p>
                    <a:p>
                      <a:pPr marL="83820" algn="ctr">
                        <a:lnSpc>
                          <a:spcPct val="115000"/>
                        </a:lnSpc>
                        <a:spcAft>
                          <a:spcPts val="0"/>
                        </a:spcAft>
                      </a:pPr>
                      <a:r>
                        <a:rPr lang="fr-FR" sz="1400" dirty="0">
                          <a:solidFill>
                            <a:srgbClr val="0070C0"/>
                          </a:solidFill>
                          <a:effectLst/>
                          <a:latin typeface="Trebuchet MS" panose="020B0603020202020204" pitchFamily="34" charset="0"/>
                        </a:rPr>
                        <a:t>Attributions du Conseil</a:t>
                      </a:r>
                      <a:endParaRPr lang="fr-FR" sz="1600" dirty="0">
                        <a:solidFill>
                          <a:srgbClr val="0070C0"/>
                        </a:solidFill>
                        <a:effectLst/>
                        <a:latin typeface="Trebuchet MS" panose="020B0603020202020204" pitchFamily="34" charset="0"/>
                      </a:endParaRP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mise à niveau sociale dans les domaines de l'éducation, de la santé, du social et du sport</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87313" lvl="0" indent="0" algn="just" defTabSz="914400" rtl="0" eaLnBrk="1" latinLnBrk="0" hangingPunct="1">
                        <a:lnSpc>
                          <a:spcPct val="115000"/>
                        </a:lnSpc>
                        <a:spcAft>
                          <a:spcPts val="600"/>
                        </a:spcAft>
                        <a:buFont typeface="Symbol" panose="05050102010706020507" pitchFamily="18" charset="2"/>
                        <a:buNone/>
                      </a:pPr>
                      <a:r>
                        <a:rPr lang="fr-FR" sz="1400" b="1" kern="1200" dirty="0" smtClean="0">
                          <a:solidFill>
                            <a:schemeClr val="tx1"/>
                          </a:solidFill>
                          <a:effectLst/>
                          <a:latin typeface="Trebuchet MS" panose="020B0603020202020204" pitchFamily="34" charset="0"/>
                          <a:ea typeface="+mn-ea"/>
                          <a:cs typeface="+mn-cs"/>
                        </a:rPr>
                        <a:t>Création et gestion des services et équipements publics dans les domaines suivants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smtClean="0">
                          <a:solidFill>
                            <a:schemeClr val="tx1"/>
                          </a:solidFill>
                          <a:effectLst/>
                          <a:latin typeface="Trebuchet MS" panose="020B0603020202020204" pitchFamily="34" charset="0"/>
                          <a:ea typeface="+mn-ea"/>
                          <a:cs typeface="+mn-cs"/>
                        </a:rPr>
                        <a:t>Préservation de l'hygiène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smtClean="0">
                          <a:solidFill>
                            <a:schemeClr val="tx1"/>
                          </a:solidFill>
                          <a:effectLst/>
                          <a:latin typeface="Trebuchet MS" panose="020B0603020202020204" pitchFamily="34" charset="0"/>
                          <a:ea typeface="+mn-ea"/>
                          <a:cs typeface="+mn-cs"/>
                        </a:rPr>
                        <a:t>Transport des malades et des blessés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smtClean="0">
                          <a:solidFill>
                            <a:schemeClr val="tx1"/>
                          </a:solidFill>
                          <a:effectLst/>
                          <a:latin typeface="Trebuchet MS" panose="020B0603020202020204" pitchFamily="34" charset="0"/>
                          <a:ea typeface="+mn-ea"/>
                          <a:cs typeface="+mn-cs"/>
                        </a:rPr>
                        <a:t>Transport de corps et l'inhumation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smtClean="0">
                          <a:solidFill>
                            <a:schemeClr val="tx1"/>
                          </a:solidFill>
                          <a:effectLst/>
                          <a:latin typeface="Trebuchet MS" panose="020B0603020202020204" pitchFamily="34" charset="0"/>
                          <a:ea typeface="+mn-ea"/>
                          <a:cs typeface="+mn-cs"/>
                        </a:rPr>
                        <a:t>Création et entretien des cimetières ;</a:t>
                      </a:r>
                      <a:endParaRPr lang="fr-FR" sz="1400" b="0" kern="1200" dirty="0">
                        <a:solidFill>
                          <a:schemeClr val="tx1"/>
                        </a:solidFill>
                        <a:effectLst/>
                        <a:latin typeface="Trebuchet MS" panose="020B0603020202020204" pitchFamily="34" charset="0"/>
                        <a:ea typeface="+mn-ea"/>
                        <a:cs typeface="+mn-cs"/>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1029104"/>
                  </a:ext>
                </a:extLst>
              </a:tr>
              <a:tr h="187480">
                <a:tc gridSpan="3">
                  <a:txBody>
                    <a:bodyPr/>
                    <a:lstStyle/>
                    <a:p>
                      <a:pPr marL="0" lvl="0" indent="0" algn="ctr" defTabSz="914400" rtl="0" eaLnBrk="1" latinLnBrk="0" hangingPunct="1">
                        <a:lnSpc>
                          <a:spcPct val="107000"/>
                        </a:lnSpc>
                        <a:spcAft>
                          <a:spcPts val="0"/>
                        </a:spcAft>
                        <a:buFont typeface="Symbol" panose="05050102010706020507" pitchFamily="18" charset="2"/>
                        <a:buNone/>
                      </a:pPr>
                      <a:r>
                        <a:rPr lang="fr-FR" sz="1400" b="1" kern="1200" dirty="0">
                          <a:solidFill>
                            <a:srgbClr val="002060"/>
                          </a:solidFill>
                          <a:effectLst/>
                          <a:latin typeface="Trebuchet MS" panose="020B0603020202020204" pitchFamily="34" charset="0"/>
                          <a:ea typeface="+mn-ea"/>
                          <a:cs typeface="+mn-cs"/>
                        </a:rPr>
                        <a:t>La formation professionnelle, la formation continue et l'emploi</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336867588"/>
                  </a:ext>
                </a:extLst>
              </a:tr>
              <a:tr h="1462779">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smtClean="0">
                          <a:solidFill>
                            <a:schemeClr val="tx1"/>
                          </a:solidFill>
                          <a:effectLst/>
                          <a:latin typeface="Trebuchet MS" panose="020B0603020202020204" pitchFamily="34" charset="0"/>
                          <a:ea typeface="+mn-ea"/>
                          <a:cs typeface="+mn-cs"/>
                        </a:rPr>
                        <a:t>Création de centres régionaux de formation / centres régionaux d'emploi et de développement des compétences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smtClean="0">
                          <a:solidFill>
                            <a:schemeClr val="tx1"/>
                          </a:solidFill>
                          <a:effectLst/>
                          <a:latin typeface="Trebuchet MS" panose="020B0603020202020204" pitchFamily="34" charset="0"/>
                          <a:ea typeface="+mn-ea"/>
                          <a:cs typeface="+mn-cs"/>
                        </a:rPr>
                        <a:t>Supervision de la formation continue des membres des conseils et du personnel CT.</a:t>
                      </a:r>
                      <a:endParaRPr lang="fr-FR" sz="1400" b="0" kern="1200" dirty="0">
                        <a:solidFill>
                          <a:schemeClr val="tx1"/>
                        </a:solidFill>
                        <a:effectLst/>
                        <a:latin typeface="Trebuchet MS" panose="020B0603020202020204" pitchFamily="34" charset="0"/>
                        <a:ea typeface="+mn-ea"/>
                        <a:cs typeface="+mn-cs"/>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107000"/>
                        </a:lnSpc>
                        <a:spcAft>
                          <a:spcPts val="0"/>
                        </a:spcAft>
                      </a:pPr>
                      <a:r>
                        <a:rPr lang="fr-FR" sz="1400" dirty="0">
                          <a:solidFill>
                            <a:schemeClr val="tx1"/>
                          </a:solidFill>
                          <a:effectLst/>
                          <a:latin typeface="Trebuchet MS" panose="020B0603020202020204" pitchFamily="34" charset="0"/>
                        </a:rPr>
                        <a:t> </a:t>
                      </a:r>
                      <a:endParaRPr lang="fr-FR" sz="1600" dirty="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lvl="0" indent="-342900" algn="just" rtl="0">
                        <a:lnSpc>
                          <a:spcPct val="115000"/>
                        </a:lnSpc>
                        <a:spcAft>
                          <a:spcPts val="0"/>
                        </a:spcAft>
                        <a:buFont typeface="Symbol" panose="05050102010706020507" pitchFamily="18" charset="2"/>
                        <a:buChar char=""/>
                      </a:pPr>
                      <a:r>
                        <a:rPr lang="fr-FR" sz="1600" dirty="0">
                          <a:solidFill>
                            <a:schemeClr val="tx1"/>
                          </a:solidFill>
                          <a:effectLst/>
                          <a:latin typeface="Trebuchet MS" panose="020B0603020202020204" pitchFamily="34" charset="0"/>
                        </a:rPr>
                        <a:t> </a:t>
                      </a:r>
                      <a:endParaRPr lang="fr-FR" sz="16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5367608"/>
                  </a:ext>
                </a:extLst>
              </a:tr>
            </a:tbl>
          </a:graphicData>
        </a:graphic>
      </p:graphicFrame>
    </p:spTree>
    <p:extLst>
      <p:ext uri="{BB962C8B-B14F-4D97-AF65-F5344CB8AC3E}">
        <p14:creationId xmlns:p14="http://schemas.microsoft.com/office/powerpoint/2010/main" val="7534093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31">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200" b="1" dirty="0" smtClean="0">
                <a:latin typeface="Trebuchet MS" panose="020B0603020202020204" pitchFamily="34" charset="0"/>
                <a:cs typeface="Times New Roman" panose="02020603050405020304" pitchFamily="18" charset="0"/>
              </a:rPr>
              <a:t>Domaines d’interventions des CT</a:t>
            </a:r>
            <a:endParaRPr lang="fr-FR" altLang="fr-FR" sz="3200" b="1" dirty="0">
              <a:latin typeface="Trebuchet MS" panose="020B0603020202020204" pitchFamily="34" charset="0"/>
              <a:cs typeface="Times New Roman" panose="02020603050405020304" pitchFamily="18" charset="0"/>
            </a:endParaRPr>
          </a:p>
        </p:txBody>
      </p:sp>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29</a:t>
            </a:fld>
            <a:endParaRPr lang="fr-FR" altLang="fr-FR" sz="1600" dirty="0">
              <a:solidFill>
                <a:srgbClr val="103A1A"/>
              </a:solidFill>
              <a:latin typeface="Arial" panose="020B0604020202020204" pitchFamily="34" charset="0"/>
            </a:endParaRPr>
          </a:p>
        </p:txBody>
      </p:sp>
      <p:graphicFrame>
        <p:nvGraphicFramePr>
          <p:cNvPr id="3" name="Tableau 2"/>
          <p:cNvGraphicFramePr>
            <a:graphicFrameLocks noGrp="1"/>
          </p:cNvGraphicFramePr>
          <p:nvPr/>
        </p:nvGraphicFramePr>
        <p:xfrm>
          <a:off x="715326" y="1491342"/>
          <a:ext cx="10688323" cy="4968015"/>
        </p:xfrm>
        <a:graphic>
          <a:graphicData uri="http://schemas.openxmlformats.org/drawingml/2006/table">
            <a:tbl>
              <a:tblPr firstRow="1" firstCol="1" bandRow="1">
                <a:tableStyleId>{5C22544A-7EE6-4342-B048-85BDC9FD1C3A}</a:tableStyleId>
              </a:tblPr>
              <a:tblGrid>
                <a:gridCol w="3562426">
                  <a:extLst>
                    <a:ext uri="{9D8B030D-6E8A-4147-A177-3AD203B41FA5}">
                      <a16:colId xmlns:a16="http://schemas.microsoft.com/office/drawing/2014/main" val="3841171408"/>
                    </a:ext>
                  </a:extLst>
                </a:gridCol>
                <a:gridCol w="239819">
                  <a:extLst>
                    <a:ext uri="{9D8B030D-6E8A-4147-A177-3AD203B41FA5}">
                      <a16:colId xmlns:a16="http://schemas.microsoft.com/office/drawing/2014/main" val="1683236523"/>
                    </a:ext>
                  </a:extLst>
                </a:gridCol>
                <a:gridCol w="3322607">
                  <a:extLst>
                    <a:ext uri="{9D8B030D-6E8A-4147-A177-3AD203B41FA5}">
                      <a16:colId xmlns:a16="http://schemas.microsoft.com/office/drawing/2014/main" val="2726066025"/>
                    </a:ext>
                  </a:extLst>
                </a:gridCol>
                <a:gridCol w="356765">
                  <a:extLst>
                    <a:ext uri="{9D8B030D-6E8A-4147-A177-3AD203B41FA5}">
                      <a16:colId xmlns:a16="http://schemas.microsoft.com/office/drawing/2014/main" val="927796460"/>
                    </a:ext>
                  </a:extLst>
                </a:gridCol>
                <a:gridCol w="3206706">
                  <a:extLst>
                    <a:ext uri="{9D8B030D-6E8A-4147-A177-3AD203B41FA5}">
                      <a16:colId xmlns:a16="http://schemas.microsoft.com/office/drawing/2014/main" val="1889785333"/>
                    </a:ext>
                  </a:extLst>
                </a:gridCol>
              </a:tblGrid>
              <a:tr h="211592">
                <a:tc gridSpan="2">
                  <a:txBody>
                    <a:bodyPr/>
                    <a:lstStyle/>
                    <a:p>
                      <a:pPr algn="ctr">
                        <a:lnSpc>
                          <a:spcPct val="107000"/>
                        </a:lnSpc>
                        <a:spcAft>
                          <a:spcPts val="0"/>
                        </a:spcAft>
                      </a:pPr>
                      <a:r>
                        <a:rPr lang="fr-FR" sz="1400" dirty="0">
                          <a:solidFill>
                            <a:schemeClr val="bg1"/>
                          </a:solidFill>
                          <a:effectLst/>
                          <a:latin typeface="Trebuchet MS" panose="020B0603020202020204" pitchFamily="34" charset="0"/>
                        </a:rPr>
                        <a:t>Région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lnSpc>
                          <a:spcPct val="107000"/>
                        </a:lnSpc>
                        <a:spcAft>
                          <a:spcPts val="0"/>
                        </a:spcAft>
                      </a:pPr>
                      <a:endParaRPr lang="fr-FR" sz="1600" dirty="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7000"/>
                        </a:lnSpc>
                        <a:spcAft>
                          <a:spcPts val="0"/>
                        </a:spcAft>
                      </a:pPr>
                      <a:r>
                        <a:rPr lang="fr-FR" sz="1400" dirty="0" smtClean="0">
                          <a:solidFill>
                            <a:schemeClr val="bg1"/>
                          </a:solidFill>
                          <a:effectLst/>
                          <a:latin typeface="Trebuchet MS" panose="020B0603020202020204" pitchFamily="34" charset="0"/>
                        </a:rPr>
                        <a:t>Préfectures/Province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lnSpc>
                          <a:spcPct val="107000"/>
                        </a:lnSpc>
                        <a:spcAft>
                          <a:spcPts val="0"/>
                        </a:spcAft>
                      </a:pPr>
                      <a:endParaRPr lang="fr-FR" sz="1600" dirty="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7000"/>
                        </a:lnSpc>
                        <a:spcAft>
                          <a:spcPts val="0"/>
                        </a:spcAft>
                      </a:pPr>
                      <a:r>
                        <a:rPr lang="fr-FR" sz="1400" dirty="0">
                          <a:solidFill>
                            <a:schemeClr val="bg1"/>
                          </a:solidFill>
                          <a:effectLst/>
                          <a:latin typeface="Trebuchet MS" panose="020B0603020202020204" pitchFamily="34" charset="0"/>
                        </a:rPr>
                        <a:t>Commune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994855639"/>
                  </a:ext>
                </a:extLst>
              </a:tr>
              <a:tr h="211592">
                <a:tc gridSpan="5">
                  <a:txBody>
                    <a:bodyPr/>
                    <a:lstStyle/>
                    <a:p>
                      <a:pPr algn="ctr">
                        <a:lnSpc>
                          <a:spcPct val="107000"/>
                        </a:lnSpc>
                        <a:spcAft>
                          <a:spcPts val="0"/>
                        </a:spcAft>
                      </a:pPr>
                      <a:r>
                        <a:rPr lang="fr-FR" sz="1400" dirty="0">
                          <a:solidFill>
                            <a:srgbClr val="002060"/>
                          </a:solidFill>
                          <a:effectLst/>
                          <a:latin typeface="Trebuchet MS" panose="020B0603020202020204" pitchFamily="34" charset="0"/>
                        </a:rPr>
                        <a:t>Le développement rural</a:t>
                      </a:r>
                      <a:endParaRPr lang="fr-FR" sz="1600" dirty="0">
                        <a:solidFill>
                          <a:srgbClr val="002060"/>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640542895"/>
                  </a:ext>
                </a:extLst>
              </a:tr>
              <a:tr h="958691">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promotion des activités non-agricoles dans le milieu rural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construction, l'amélioration et l'entretien des routes non classées.</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réalisation et l'entretien des pistes rurales </a:t>
                      </a:r>
                    </a:p>
                    <a:p>
                      <a:pPr algn="just">
                        <a:lnSpc>
                          <a:spcPct val="107000"/>
                        </a:lnSpc>
                        <a:spcAft>
                          <a:spcPts val="0"/>
                        </a:spcAft>
                      </a:pPr>
                      <a:r>
                        <a:rPr lang="fr-FR" sz="1400" dirty="0">
                          <a:solidFill>
                            <a:schemeClr val="tx1"/>
                          </a:solidFill>
                          <a:effectLst/>
                          <a:latin typeface="Trebuchet MS" panose="020B0603020202020204" pitchFamily="34" charset="0"/>
                        </a:rPr>
                        <a:t> </a:t>
                      </a:r>
                      <a:endParaRPr lang="fr-FR" sz="1600" dirty="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fr-FR"/>
                    </a:p>
                  </a:txBody>
                  <a:tcPr/>
                </a:tc>
                <a:tc gridSpan="2">
                  <a:txBody>
                    <a:bodyPr/>
                    <a:lstStyle/>
                    <a:p>
                      <a:pPr algn="just">
                        <a:lnSpc>
                          <a:spcPct val="107000"/>
                        </a:lnSpc>
                        <a:spcAft>
                          <a:spcPts val="0"/>
                        </a:spcAft>
                      </a:pPr>
                      <a:r>
                        <a:rPr lang="fr-FR" sz="1400">
                          <a:solidFill>
                            <a:schemeClr val="tx1"/>
                          </a:solidFill>
                          <a:effectLst/>
                          <a:latin typeface="Trebuchet MS" panose="020B0603020202020204" pitchFamily="34" charset="0"/>
                        </a:rPr>
                        <a:t> </a:t>
                      </a:r>
                      <a:endParaRPr lang="fr-FR" sz="160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fr-FR"/>
                    </a:p>
                  </a:txBody>
                  <a:tcPr/>
                </a:tc>
                <a:extLst>
                  <a:ext uri="{0D108BD9-81ED-4DB2-BD59-A6C34878D82A}">
                    <a16:rowId xmlns:a16="http://schemas.microsoft.com/office/drawing/2014/main" val="445177127"/>
                  </a:ext>
                </a:extLst>
              </a:tr>
              <a:tr h="211592">
                <a:tc gridSpan="5">
                  <a:txBody>
                    <a:bodyPr/>
                    <a:lstStyle/>
                    <a:p>
                      <a:pPr algn="ctr">
                        <a:lnSpc>
                          <a:spcPct val="107000"/>
                        </a:lnSpc>
                        <a:spcAft>
                          <a:spcPts val="0"/>
                        </a:spcAft>
                      </a:pPr>
                      <a:r>
                        <a:rPr lang="fr-FR" sz="1400" dirty="0">
                          <a:solidFill>
                            <a:srgbClr val="002060"/>
                          </a:solidFill>
                          <a:effectLst/>
                          <a:latin typeface="Trebuchet MS" panose="020B0603020202020204" pitchFamily="34" charset="0"/>
                        </a:rPr>
                        <a:t>Le transport</a:t>
                      </a:r>
                      <a:endParaRPr lang="fr-FR" sz="1600" dirty="0">
                        <a:solidFill>
                          <a:srgbClr val="002060"/>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688663014"/>
                  </a:ext>
                </a:extLst>
              </a:tr>
              <a:tr h="1693055">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élaboration du plan de transport à l'intérieur de la circonscription territoriale de la région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organisation des services du transport routier non-urbain des personnes entre les collectivités territoriales situées dans la région.</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e transport scolaire dans le milieu rural </a:t>
                      </a: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fr-FR"/>
                    </a:p>
                  </a:txBody>
                  <a:tcPr/>
                </a:tc>
                <a:tc gridSpan="2">
                  <a:txBody>
                    <a:bodyPr/>
                    <a:lstStyle/>
                    <a:p>
                      <a:pPr algn="just">
                        <a:lnSpc>
                          <a:spcPct val="107000"/>
                        </a:lnSpc>
                        <a:spcAft>
                          <a:spcPts val="0"/>
                        </a:spcAft>
                      </a:pPr>
                      <a:r>
                        <a:rPr lang="fr-FR" sz="1400">
                          <a:solidFill>
                            <a:schemeClr val="tx1"/>
                          </a:solidFill>
                          <a:effectLst/>
                          <a:latin typeface="Trebuchet MS" panose="020B0603020202020204" pitchFamily="34" charset="0"/>
                        </a:rPr>
                        <a:t> </a:t>
                      </a:r>
                      <a:endParaRPr lang="fr-FR" sz="160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fr-FR"/>
                    </a:p>
                  </a:txBody>
                  <a:tcPr/>
                </a:tc>
                <a:extLst>
                  <a:ext uri="{0D108BD9-81ED-4DB2-BD59-A6C34878D82A}">
                    <a16:rowId xmlns:a16="http://schemas.microsoft.com/office/drawing/2014/main" val="1039661932"/>
                  </a:ext>
                </a:extLst>
              </a:tr>
              <a:tr h="211592">
                <a:tc gridSpan="5">
                  <a:txBody>
                    <a:bodyPr/>
                    <a:lstStyle/>
                    <a:p>
                      <a:pPr algn="ctr">
                        <a:lnSpc>
                          <a:spcPct val="107000"/>
                        </a:lnSpc>
                        <a:spcAft>
                          <a:spcPts val="0"/>
                        </a:spcAft>
                      </a:pPr>
                      <a:r>
                        <a:rPr lang="fr-FR" sz="1400" dirty="0">
                          <a:solidFill>
                            <a:srgbClr val="002060"/>
                          </a:solidFill>
                          <a:effectLst/>
                          <a:latin typeface="Trebuchet MS" panose="020B0603020202020204" pitchFamily="34" charset="0"/>
                        </a:rPr>
                        <a:t>La culture</a:t>
                      </a:r>
                      <a:endParaRPr lang="fr-FR" sz="1600" dirty="0">
                        <a:solidFill>
                          <a:srgbClr val="002060"/>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665157295"/>
                  </a:ext>
                </a:extLst>
              </a:tr>
              <a:tr h="1203479">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contribution à la préservation des sites archéologiques et leur promotion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organisation de festivals culturels et de divertissement.</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342900" lvl="0" indent="-342900" algn="just" rtl="0">
                        <a:lnSpc>
                          <a:spcPct val="115000"/>
                        </a:lnSpc>
                        <a:spcAft>
                          <a:spcPts val="0"/>
                        </a:spcAft>
                        <a:buFont typeface="Symbol" panose="05050102010706020507" pitchFamily="18" charset="2"/>
                        <a:buChar char=""/>
                      </a:pPr>
                      <a:r>
                        <a:rPr lang="fr-FR" sz="1400">
                          <a:solidFill>
                            <a:schemeClr val="tx1"/>
                          </a:solidFill>
                          <a:effectLst/>
                          <a:latin typeface="Trebuchet MS" panose="020B0603020202020204" pitchFamily="34" charset="0"/>
                        </a:rPr>
                        <a:t>le diagnostic des besoins en matière de culture et de sport.</a:t>
                      </a:r>
                      <a:endParaRPr lang="fr-FR" sz="1600">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fr-FR"/>
                    </a:p>
                  </a:txBody>
                  <a:tcPr/>
                </a:tc>
                <a:tc gridSpan="2">
                  <a:txBody>
                    <a:bodyPr/>
                    <a:lstStyle/>
                    <a:p>
                      <a:pPr marL="342900" lvl="0" indent="-342900" algn="just" rtl="0">
                        <a:lnSpc>
                          <a:spcPct val="115000"/>
                        </a:lnSpc>
                        <a:spcAft>
                          <a:spcPts val="0"/>
                        </a:spcAft>
                        <a:buFont typeface="Symbol" panose="05050102010706020507" pitchFamily="18" charset="2"/>
                        <a:buChar char=""/>
                      </a:pPr>
                      <a:r>
                        <a:rPr lang="fr-FR" sz="1600" dirty="0">
                          <a:solidFill>
                            <a:schemeClr val="tx1"/>
                          </a:solidFill>
                          <a:effectLst/>
                          <a:latin typeface="Trebuchet MS" panose="020B0603020202020204" pitchFamily="34" charset="0"/>
                        </a:rPr>
                        <a:t> </a:t>
                      </a:r>
                      <a:endParaRPr lang="fr-FR" sz="16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22701" marR="227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fr-FR"/>
                    </a:p>
                  </a:txBody>
                  <a:tcPr/>
                </a:tc>
                <a:extLst>
                  <a:ext uri="{0D108BD9-81ED-4DB2-BD59-A6C34878D82A}">
                    <a16:rowId xmlns:a16="http://schemas.microsoft.com/office/drawing/2014/main" val="2894942247"/>
                  </a:ext>
                </a:extLst>
              </a:tr>
            </a:tbl>
          </a:graphicData>
        </a:graphic>
      </p:graphicFrame>
    </p:spTree>
    <p:extLst>
      <p:ext uri="{BB962C8B-B14F-4D97-AF65-F5344CB8AC3E}">
        <p14:creationId xmlns:p14="http://schemas.microsoft.com/office/powerpoint/2010/main" val="35765746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lnSpc>
                <a:spcPct val="100000"/>
              </a:lnSpc>
              <a:spcBef>
                <a:spcPct val="0"/>
              </a:spcBef>
              <a:buFontTx/>
              <a:buNone/>
            </a:pPr>
            <a:r>
              <a:rPr lang="fr-FR" sz="3200" b="1" dirty="0" smtClean="0">
                <a:latin typeface="Trebuchet MS" panose="020B0603020202020204" pitchFamily="34" charset="0"/>
                <a:cs typeface="Times New Roman" panose="02020603050405020304" pitchFamily="18" charset="0"/>
              </a:rPr>
              <a:t>Introduction</a:t>
            </a:r>
            <a:endParaRPr lang="fr-FR" altLang="fr-FR" sz="2800" b="1" dirty="0">
              <a:latin typeface="Trebuchet MS" panose="020B0603020202020204" pitchFamily="34" charset="0"/>
              <a:cs typeface="Times New Roman" panose="02020603050405020304" pitchFamily="18" charset="0"/>
            </a:endParaRPr>
          </a:p>
        </p:txBody>
      </p:sp>
      <p:pic>
        <p:nvPicPr>
          <p:cNvPr id="5"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524147" y="1532535"/>
            <a:ext cx="11067690" cy="4922886"/>
          </a:xfrm>
          <a:prstGeom prst="rect">
            <a:avLst/>
          </a:prstGeom>
        </p:spPr>
        <p:txBody>
          <a:bodyPr wrap="square">
            <a:spAutoFit/>
          </a:bodyPr>
          <a:lstStyle/>
          <a:p>
            <a:pPr marL="355600" indent="-260350" algn="just">
              <a:lnSpc>
                <a:spcPct val="130000"/>
              </a:lnSpc>
              <a:spcBef>
                <a:spcPts val="600"/>
              </a:spcBef>
              <a:spcAft>
                <a:spcPts val="600"/>
              </a:spcAft>
              <a:buFont typeface="Wingdings" pitchFamily="2" charset="2"/>
              <a:buChar char="§"/>
            </a:pPr>
            <a:r>
              <a:rPr lang="fr-FR" altLang="fr-FR" sz="1600" i="1" dirty="0" smtClean="0">
                <a:latin typeface="Trebuchet MS" panose="020B0603020202020204" pitchFamily="34" charset="0"/>
              </a:rPr>
              <a:t>Depuis </a:t>
            </a:r>
            <a:r>
              <a:rPr lang="fr-FR" altLang="fr-FR" sz="1600" i="1" dirty="0">
                <a:latin typeface="Trebuchet MS" panose="020B0603020202020204" pitchFamily="34" charset="0"/>
              </a:rPr>
              <a:t>son indépendance, le Maroc a opté pour la politique de décentralisation territoriale </a:t>
            </a:r>
            <a:r>
              <a:rPr lang="fr-FR" altLang="fr-FR" sz="1600" i="1" dirty="0" smtClean="0">
                <a:latin typeface="Trebuchet MS" panose="020B0603020202020204" pitchFamily="34" charset="0"/>
              </a:rPr>
              <a:t>comme </a:t>
            </a:r>
            <a:r>
              <a:rPr lang="fr-FR" altLang="fr-FR" sz="1600" i="1" dirty="0">
                <a:latin typeface="Trebuchet MS" panose="020B0603020202020204" pitchFamily="34" charset="0"/>
              </a:rPr>
              <a:t>choix irréversible pour la </a:t>
            </a:r>
            <a:r>
              <a:rPr lang="fr-FR" altLang="fr-FR" sz="1600" i="1" dirty="0">
                <a:solidFill>
                  <a:srgbClr val="0070C0"/>
                </a:solidFill>
                <a:latin typeface="Trebuchet MS" panose="020B0603020202020204" pitchFamily="34" charset="0"/>
              </a:rPr>
              <a:t>construction de son édifice politico-administratif et démocratique</a:t>
            </a:r>
            <a:r>
              <a:rPr lang="fr-FR" altLang="fr-FR" sz="1600" i="1" dirty="0">
                <a:latin typeface="Trebuchet MS" panose="020B0603020202020204" pitchFamily="34" charset="0"/>
              </a:rPr>
              <a:t> ;  </a:t>
            </a:r>
            <a:endParaRPr lang="fr-FR" altLang="fr-FR" sz="1600" i="1" dirty="0" smtClean="0">
              <a:latin typeface="Trebuchet MS" panose="020B0603020202020204" pitchFamily="34" charset="0"/>
            </a:endParaRPr>
          </a:p>
          <a:p>
            <a:pPr marL="355600" indent="-260350" algn="just">
              <a:lnSpc>
                <a:spcPct val="130000"/>
              </a:lnSpc>
              <a:spcBef>
                <a:spcPts val="600"/>
              </a:spcBef>
              <a:spcAft>
                <a:spcPts val="600"/>
              </a:spcAft>
              <a:buFont typeface="Wingdings" pitchFamily="2" charset="2"/>
              <a:buChar char="§"/>
            </a:pPr>
            <a:r>
              <a:rPr lang="fr-FR" altLang="fr-FR" sz="1600" i="1" dirty="0" smtClean="0">
                <a:latin typeface="Trebuchet MS" panose="020B0603020202020204" pitchFamily="34" charset="0"/>
              </a:rPr>
              <a:t>Attention Royale particulière accordée à la décentralisation par les </a:t>
            </a:r>
            <a:r>
              <a:rPr lang="fr-FR" altLang="fr-FR" sz="1600" i="1" dirty="0" smtClean="0">
                <a:solidFill>
                  <a:srgbClr val="0070C0"/>
                </a:solidFill>
                <a:latin typeface="Trebuchet MS" panose="020B0603020202020204" pitchFamily="34" charset="0"/>
              </a:rPr>
              <a:t>trois Souverains Marocains </a:t>
            </a:r>
            <a:r>
              <a:rPr lang="fr-FR" altLang="fr-FR" sz="1600" i="1" dirty="0" smtClean="0">
                <a:latin typeface="Trebuchet MS" panose="020B0603020202020204" pitchFamily="34" charset="0"/>
              </a:rPr>
              <a:t>(Feu SM le Roi Mohamed V – Feu SM </a:t>
            </a:r>
            <a:r>
              <a:rPr lang="fr-FR" altLang="fr-FR" sz="1600" i="1" dirty="0">
                <a:latin typeface="Trebuchet MS" panose="020B0603020202020204" pitchFamily="34" charset="0"/>
              </a:rPr>
              <a:t>le Roi </a:t>
            </a:r>
            <a:r>
              <a:rPr lang="fr-FR" altLang="fr-FR" sz="1600" i="1" dirty="0" smtClean="0">
                <a:latin typeface="Trebuchet MS" panose="020B0603020202020204" pitchFamily="34" charset="0"/>
              </a:rPr>
              <a:t>Hassan II – le Roi Mohamed VI);   </a:t>
            </a:r>
            <a:endParaRPr lang="fr-FR" altLang="fr-FR" sz="1600" i="1" dirty="0">
              <a:latin typeface="Trebuchet MS" panose="020B0603020202020204" pitchFamily="34" charset="0"/>
            </a:endParaRPr>
          </a:p>
          <a:p>
            <a:pPr marL="355600" indent="-260350" algn="just">
              <a:lnSpc>
                <a:spcPct val="130000"/>
              </a:lnSpc>
              <a:spcBef>
                <a:spcPts val="600"/>
              </a:spcBef>
              <a:spcAft>
                <a:spcPts val="600"/>
              </a:spcAft>
              <a:buFont typeface="Wingdings" pitchFamily="2" charset="2"/>
              <a:buChar char="§"/>
            </a:pPr>
            <a:r>
              <a:rPr lang="fr-FR" altLang="fr-FR" sz="1600" i="1" dirty="0">
                <a:latin typeface="Trebuchet MS" panose="020B0603020202020204" pitchFamily="34" charset="0"/>
              </a:rPr>
              <a:t>L’expérience marocaine en matière de décentralisation se caractérise par </a:t>
            </a:r>
            <a:r>
              <a:rPr lang="fr-FR" altLang="fr-FR" sz="1600" b="1" i="1" dirty="0">
                <a:latin typeface="Trebuchet MS" panose="020B0603020202020204" pitchFamily="34" charset="0"/>
              </a:rPr>
              <a:t>l’évolution graduelle et dynamique</a:t>
            </a:r>
            <a:r>
              <a:rPr lang="fr-FR" altLang="fr-FR" sz="1600" i="1" dirty="0">
                <a:latin typeface="Trebuchet MS" panose="020B0603020202020204" pitchFamily="34" charset="0"/>
              </a:rPr>
              <a:t> ;</a:t>
            </a:r>
          </a:p>
          <a:p>
            <a:pPr marL="355600" indent="-260350" algn="just">
              <a:lnSpc>
                <a:spcPct val="130000"/>
              </a:lnSpc>
              <a:spcBef>
                <a:spcPts val="600"/>
              </a:spcBef>
              <a:spcAft>
                <a:spcPts val="600"/>
              </a:spcAft>
              <a:buFont typeface="Wingdings" pitchFamily="2" charset="2"/>
              <a:buChar char="§"/>
            </a:pPr>
            <a:r>
              <a:rPr lang="fr-FR" sz="1600" i="1" dirty="0">
                <a:latin typeface="Trebuchet MS" panose="020B0603020202020204" pitchFamily="34" charset="0"/>
              </a:rPr>
              <a:t>La </a:t>
            </a:r>
            <a:r>
              <a:rPr lang="fr-FR" sz="1600" i="1" dirty="0" smtClean="0">
                <a:latin typeface="Trebuchet MS" panose="020B0603020202020204" pitchFamily="34" charset="0"/>
              </a:rPr>
              <a:t>décentralisation</a:t>
            </a:r>
            <a:r>
              <a:rPr lang="fr-FR" sz="1600" i="1" dirty="0">
                <a:latin typeface="Trebuchet MS" panose="020B0603020202020204" pitchFamily="34" charset="0"/>
              </a:rPr>
              <a:t>: </a:t>
            </a:r>
            <a:r>
              <a:rPr lang="fr-FR" sz="1600" i="1" dirty="0" smtClean="0">
                <a:latin typeface="Trebuchet MS" panose="020B0603020202020204" pitchFamily="34" charset="0"/>
              </a:rPr>
              <a:t>une composante principale </a:t>
            </a:r>
            <a:r>
              <a:rPr lang="fr-FR" sz="1600" i="1" dirty="0">
                <a:latin typeface="Trebuchet MS" panose="020B0603020202020204" pitchFamily="34" charset="0"/>
              </a:rPr>
              <a:t>des </a:t>
            </a:r>
            <a:r>
              <a:rPr lang="fr-FR" sz="1600" b="1" i="1" dirty="0">
                <a:latin typeface="Trebuchet MS" panose="020B0603020202020204" pitchFamily="34" charset="0"/>
              </a:rPr>
              <a:t>chantiers de réforme politiques et administratifs </a:t>
            </a:r>
            <a:r>
              <a:rPr lang="fr-FR" sz="1600" i="1" dirty="0">
                <a:latin typeface="Trebuchet MS" panose="020B0603020202020204" pitchFamily="34" charset="0"/>
              </a:rPr>
              <a:t>menées dans le pays :</a:t>
            </a:r>
          </a:p>
          <a:p>
            <a:pPr marL="804863" indent="-285750" algn="just">
              <a:spcBef>
                <a:spcPts val="600"/>
              </a:spcBef>
              <a:spcAft>
                <a:spcPts val="600"/>
              </a:spcAft>
              <a:buFont typeface="Wingdings" panose="05000000000000000000" pitchFamily="2" charset="2"/>
              <a:buChar char="ü"/>
            </a:pPr>
            <a:r>
              <a:rPr lang="fr-FR" sz="1400" i="1" dirty="0">
                <a:latin typeface="Trebuchet MS" panose="020B0603020202020204" pitchFamily="34" charset="0"/>
              </a:rPr>
              <a:t>Le régime de la décentralisation était toujours un élément primordial des </a:t>
            </a:r>
            <a:r>
              <a:rPr lang="fr-FR" sz="1400" i="1" dirty="0">
                <a:solidFill>
                  <a:srgbClr val="0070C0"/>
                </a:solidFill>
                <a:latin typeface="Trebuchet MS" panose="020B0603020202020204" pitchFamily="34" charset="0"/>
              </a:rPr>
              <a:t>réformes </a:t>
            </a:r>
            <a:r>
              <a:rPr lang="fr-FR" sz="1400" i="1" dirty="0" smtClean="0">
                <a:solidFill>
                  <a:srgbClr val="0070C0"/>
                </a:solidFill>
                <a:latin typeface="Trebuchet MS" panose="020B0603020202020204" pitchFamily="34" charset="0"/>
              </a:rPr>
              <a:t>constitutionnelles</a:t>
            </a:r>
            <a:r>
              <a:rPr lang="fr-FR" sz="1400" i="1" dirty="0" smtClean="0">
                <a:latin typeface="Trebuchet MS" panose="020B0603020202020204" pitchFamily="34" charset="0"/>
              </a:rPr>
              <a:t>;</a:t>
            </a:r>
          </a:p>
          <a:p>
            <a:pPr marL="804863" indent="-285750" algn="just">
              <a:spcBef>
                <a:spcPts val="600"/>
              </a:spcBef>
              <a:spcAft>
                <a:spcPts val="600"/>
              </a:spcAft>
              <a:buFont typeface="Wingdings" panose="05000000000000000000" pitchFamily="2" charset="2"/>
              <a:buChar char="ü"/>
            </a:pPr>
            <a:r>
              <a:rPr lang="fr-FR" sz="1400" i="1" dirty="0">
                <a:latin typeface="Trebuchet MS" panose="020B0603020202020204" pitchFamily="34" charset="0"/>
              </a:rPr>
              <a:t>L’évolution de la décentralisation s’inscrit dans un contexte générale d’évolution de </a:t>
            </a:r>
            <a:r>
              <a:rPr lang="fr-FR" sz="1400" i="1" dirty="0">
                <a:solidFill>
                  <a:srgbClr val="0070C0"/>
                </a:solidFill>
                <a:latin typeface="Trebuchet MS" panose="020B0603020202020204" pitchFamily="34" charset="0"/>
              </a:rPr>
              <a:t>l’Etat de Droit au </a:t>
            </a:r>
            <a:r>
              <a:rPr lang="fr-FR" sz="1400" i="1" dirty="0" smtClean="0">
                <a:solidFill>
                  <a:srgbClr val="0070C0"/>
                </a:solidFill>
                <a:latin typeface="Trebuchet MS" panose="020B0603020202020204" pitchFamily="34" charset="0"/>
              </a:rPr>
              <a:t>Maroc</a:t>
            </a:r>
            <a:r>
              <a:rPr lang="fr-FR" sz="1400" i="1" dirty="0" smtClean="0">
                <a:latin typeface="Trebuchet MS" panose="020B0603020202020204" pitchFamily="34" charset="0"/>
              </a:rPr>
              <a:t>. </a:t>
            </a:r>
            <a:endParaRPr lang="fr-FR" altLang="fr-FR" sz="1400" i="1" dirty="0">
              <a:latin typeface="Trebuchet MS" panose="020B0603020202020204" pitchFamily="34" charset="0"/>
            </a:endParaRPr>
          </a:p>
          <a:p>
            <a:pPr marL="355600" indent="-260350" algn="just">
              <a:lnSpc>
                <a:spcPct val="130000"/>
              </a:lnSpc>
              <a:spcBef>
                <a:spcPts val="1200"/>
              </a:spcBef>
              <a:spcAft>
                <a:spcPts val="600"/>
              </a:spcAft>
              <a:buFont typeface="Wingdings" pitchFamily="2" charset="2"/>
              <a:buChar char="§"/>
            </a:pPr>
            <a:r>
              <a:rPr lang="fr-FR" sz="1600" b="1" i="1" dirty="0" smtClean="0">
                <a:latin typeface="Trebuchet MS" panose="020B0603020202020204" pitchFamily="34" charset="0"/>
              </a:rPr>
              <a:t>La </a:t>
            </a:r>
            <a:r>
              <a:rPr lang="fr-FR" sz="1600" b="1" i="1" dirty="0">
                <a:latin typeface="Trebuchet MS" panose="020B0603020202020204" pitchFamily="34" charset="0"/>
              </a:rPr>
              <a:t>Régionalisation Avancée </a:t>
            </a:r>
            <a:r>
              <a:rPr lang="fr-FR" sz="1600" b="1" i="1" dirty="0" smtClean="0">
                <a:latin typeface="Trebuchet MS" panose="020B0603020202020204" pitchFamily="34" charset="0"/>
              </a:rPr>
              <a:t>est</a:t>
            </a:r>
            <a:r>
              <a:rPr lang="fr-FR" sz="1600" b="1" i="1" dirty="0">
                <a:latin typeface="Trebuchet MS" panose="020B0603020202020204" pitchFamily="34" charset="0"/>
              </a:rPr>
              <a:t>: </a:t>
            </a:r>
          </a:p>
          <a:p>
            <a:pPr marL="804863" indent="-285750" algn="just">
              <a:spcBef>
                <a:spcPts val="300"/>
              </a:spcBef>
              <a:spcAft>
                <a:spcPts val="300"/>
              </a:spcAft>
              <a:buFont typeface="Wingdings" panose="05000000000000000000" pitchFamily="2" charset="2"/>
              <a:buChar char="ü"/>
            </a:pPr>
            <a:r>
              <a:rPr lang="fr-FR" sz="1400" i="1" dirty="0" smtClean="0">
                <a:solidFill>
                  <a:srgbClr val="0070C0"/>
                </a:solidFill>
                <a:latin typeface="Trebuchet MS" panose="020B0603020202020204" pitchFamily="34" charset="0"/>
              </a:rPr>
              <a:t>Le couronnement de l’évolution du processus de la décentralisation;</a:t>
            </a:r>
          </a:p>
          <a:p>
            <a:pPr marL="804863" indent="-285750" algn="just">
              <a:spcBef>
                <a:spcPts val="300"/>
              </a:spcBef>
              <a:spcAft>
                <a:spcPts val="300"/>
              </a:spcAft>
              <a:buFont typeface="Wingdings" panose="05000000000000000000" pitchFamily="2" charset="2"/>
              <a:buChar char="ü"/>
            </a:pPr>
            <a:r>
              <a:rPr lang="fr-FR" sz="1400" i="1" dirty="0" smtClean="0">
                <a:solidFill>
                  <a:srgbClr val="0070C0"/>
                </a:solidFill>
                <a:latin typeface="Trebuchet MS" panose="020B0603020202020204" pitchFamily="34" charset="0"/>
              </a:rPr>
              <a:t>Une politique publique mise </a:t>
            </a:r>
            <a:r>
              <a:rPr lang="fr-FR" sz="1400" i="1" dirty="0">
                <a:solidFill>
                  <a:srgbClr val="0070C0"/>
                </a:solidFill>
                <a:latin typeface="Trebuchet MS" panose="020B0603020202020204" pitchFamily="34" charset="0"/>
              </a:rPr>
              <a:t>sur l’Agenda du Gouvernement</a:t>
            </a:r>
            <a:r>
              <a:rPr lang="fr-FR" sz="1400" i="1" dirty="0">
                <a:latin typeface="Trebuchet MS" panose="020B0603020202020204" pitchFamily="34" charset="0"/>
              </a:rPr>
              <a:t> parmi les axes stratégiques contenus dans le Programme </a:t>
            </a:r>
            <a:r>
              <a:rPr lang="fr-FR" sz="1400" i="1" dirty="0" smtClean="0">
                <a:latin typeface="Trebuchet MS" panose="020B0603020202020204" pitchFamily="34" charset="0"/>
              </a:rPr>
              <a:t>Gouvernemental;</a:t>
            </a:r>
          </a:p>
        </p:txBody>
      </p:sp>
      <p:sp>
        <p:nvSpPr>
          <p:cNvPr id="7"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3</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175585863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31">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200" b="1" dirty="0" smtClean="0">
                <a:latin typeface="Trebuchet MS" panose="020B0603020202020204" pitchFamily="34" charset="0"/>
                <a:cs typeface="Times New Roman" panose="02020603050405020304" pitchFamily="18" charset="0"/>
              </a:rPr>
              <a:t>Domaines d’interventions des CT</a:t>
            </a:r>
            <a:endParaRPr lang="fr-FR" altLang="fr-FR" sz="3200" b="1" dirty="0">
              <a:latin typeface="Trebuchet MS" panose="020B0603020202020204" pitchFamily="34" charset="0"/>
              <a:cs typeface="Times New Roman" panose="02020603050405020304" pitchFamily="18" charset="0"/>
            </a:endParaRPr>
          </a:p>
        </p:txBody>
      </p:sp>
      <p:sp>
        <p:nvSpPr>
          <p:cNvPr id="6"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30</a:t>
            </a:fld>
            <a:endParaRPr lang="fr-FR" altLang="fr-FR" sz="1600" dirty="0">
              <a:solidFill>
                <a:srgbClr val="103A1A"/>
              </a:solidFill>
              <a:latin typeface="Arial" panose="020B0604020202020204" pitchFamily="34" charset="0"/>
            </a:endParaRPr>
          </a:p>
        </p:txBody>
      </p:sp>
      <p:graphicFrame>
        <p:nvGraphicFramePr>
          <p:cNvPr id="3" name="Tableau 2"/>
          <p:cNvGraphicFramePr>
            <a:graphicFrameLocks noGrp="1"/>
          </p:cNvGraphicFramePr>
          <p:nvPr/>
        </p:nvGraphicFramePr>
        <p:xfrm>
          <a:off x="715326" y="1611224"/>
          <a:ext cx="10688323" cy="4912192"/>
        </p:xfrm>
        <a:graphic>
          <a:graphicData uri="http://schemas.openxmlformats.org/drawingml/2006/table">
            <a:tbl>
              <a:tblPr firstRow="1" firstCol="1" bandRow="1">
                <a:tableStyleId>{5C22544A-7EE6-4342-B048-85BDC9FD1C3A}</a:tableStyleId>
              </a:tblPr>
              <a:tblGrid>
                <a:gridCol w="3562426">
                  <a:extLst>
                    <a:ext uri="{9D8B030D-6E8A-4147-A177-3AD203B41FA5}">
                      <a16:colId xmlns:a16="http://schemas.microsoft.com/office/drawing/2014/main" val="3841171408"/>
                    </a:ext>
                  </a:extLst>
                </a:gridCol>
                <a:gridCol w="3562426">
                  <a:extLst>
                    <a:ext uri="{9D8B030D-6E8A-4147-A177-3AD203B41FA5}">
                      <a16:colId xmlns:a16="http://schemas.microsoft.com/office/drawing/2014/main" val="1683236523"/>
                    </a:ext>
                  </a:extLst>
                </a:gridCol>
                <a:gridCol w="3563471">
                  <a:extLst>
                    <a:ext uri="{9D8B030D-6E8A-4147-A177-3AD203B41FA5}">
                      <a16:colId xmlns:a16="http://schemas.microsoft.com/office/drawing/2014/main" val="927796460"/>
                    </a:ext>
                  </a:extLst>
                </a:gridCol>
              </a:tblGrid>
              <a:tr h="215980">
                <a:tc>
                  <a:txBody>
                    <a:bodyPr/>
                    <a:lstStyle/>
                    <a:p>
                      <a:pPr algn="ctr">
                        <a:lnSpc>
                          <a:spcPct val="107000"/>
                        </a:lnSpc>
                        <a:spcAft>
                          <a:spcPts val="0"/>
                        </a:spcAft>
                      </a:pPr>
                      <a:r>
                        <a:rPr lang="fr-FR" sz="1400" dirty="0">
                          <a:solidFill>
                            <a:schemeClr val="bg1"/>
                          </a:solidFill>
                          <a:effectLst/>
                          <a:latin typeface="Trebuchet MS" panose="020B0603020202020204" pitchFamily="34" charset="0"/>
                        </a:rPr>
                        <a:t>Région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7000"/>
                        </a:lnSpc>
                        <a:spcAft>
                          <a:spcPts val="0"/>
                        </a:spcAft>
                      </a:pPr>
                      <a:r>
                        <a:rPr lang="fr-FR" sz="1400" dirty="0" smtClean="0">
                          <a:solidFill>
                            <a:schemeClr val="bg1"/>
                          </a:solidFill>
                          <a:effectLst/>
                          <a:latin typeface="Trebuchet MS" panose="020B0603020202020204" pitchFamily="34" charset="0"/>
                        </a:rPr>
                        <a:t>Préfectures/Province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107000"/>
                        </a:lnSpc>
                        <a:spcAft>
                          <a:spcPts val="0"/>
                        </a:spcAft>
                      </a:pPr>
                      <a:r>
                        <a:rPr lang="fr-FR" sz="1400" dirty="0">
                          <a:solidFill>
                            <a:schemeClr val="bg1"/>
                          </a:solidFill>
                          <a:effectLst/>
                          <a:latin typeface="Trebuchet MS" panose="020B0603020202020204" pitchFamily="34" charset="0"/>
                        </a:rPr>
                        <a:t>Communes</a:t>
                      </a:r>
                      <a:endParaRPr lang="fr-FR" sz="1600" dirty="0">
                        <a:solidFill>
                          <a:schemeClr val="bg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994855639"/>
                  </a:ext>
                </a:extLst>
              </a:tr>
              <a:tr h="215980">
                <a:tc gridSpan="3">
                  <a:txBody>
                    <a:bodyPr/>
                    <a:lstStyle/>
                    <a:p>
                      <a:pPr algn="ctr">
                        <a:lnSpc>
                          <a:spcPct val="107000"/>
                        </a:lnSpc>
                        <a:spcAft>
                          <a:spcPts val="0"/>
                        </a:spcAft>
                      </a:pPr>
                      <a:r>
                        <a:rPr lang="fr-FR" sz="1400" dirty="0">
                          <a:solidFill>
                            <a:srgbClr val="002060"/>
                          </a:solidFill>
                          <a:effectLst/>
                          <a:latin typeface="Trebuchet MS" panose="020B0603020202020204" pitchFamily="34" charset="0"/>
                        </a:rPr>
                        <a:t>L'environnement</a:t>
                      </a:r>
                      <a:endParaRPr lang="fr-FR" sz="1600" dirty="0">
                        <a:solidFill>
                          <a:srgbClr val="002060"/>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611417335"/>
                  </a:ext>
                </a:extLst>
              </a:tr>
              <a:tr h="1668845">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ménagement et la gestion des parcs régionaux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élaboration d'une stratégie régionale d'économie de l'énergie et de l'eau ;</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a promotion des initiatives relatives aux énergies renouvelables</a:t>
                      </a:r>
                      <a:r>
                        <a:rPr lang="fr-FR" sz="1400" dirty="0">
                          <a:solidFill>
                            <a:schemeClr val="tx1"/>
                          </a:solidFill>
                          <a:effectLst/>
                          <a:latin typeface="Trebuchet MS" panose="020B0603020202020204" pitchFamily="34" charset="0"/>
                        </a:rPr>
                        <a:t>.</a:t>
                      </a:r>
                      <a:endParaRPr lang="fr-FR" sz="16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107000"/>
                        </a:lnSpc>
                        <a:spcAft>
                          <a:spcPts val="0"/>
                        </a:spcAft>
                      </a:pPr>
                      <a:r>
                        <a:rPr lang="fr-FR" sz="1400" dirty="0">
                          <a:solidFill>
                            <a:schemeClr val="tx1"/>
                          </a:solidFill>
                          <a:effectLst/>
                          <a:latin typeface="Trebuchet MS" panose="020B0603020202020204" pitchFamily="34" charset="0"/>
                        </a:rPr>
                        <a:t> </a:t>
                      </a:r>
                      <a:endParaRPr lang="fr-FR" sz="1600" dirty="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lnSpc>
                          <a:spcPct val="107000"/>
                        </a:lnSpc>
                        <a:spcAft>
                          <a:spcPts val="0"/>
                        </a:spcAft>
                      </a:pPr>
                      <a:r>
                        <a:rPr lang="fr-FR" sz="1400">
                          <a:solidFill>
                            <a:schemeClr val="tx1"/>
                          </a:solidFill>
                          <a:effectLst/>
                          <a:latin typeface="Trebuchet MS" panose="020B0603020202020204" pitchFamily="34" charset="0"/>
                        </a:rPr>
                        <a:t> </a:t>
                      </a:r>
                      <a:endParaRPr lang="fr-FR" sz="160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901218"/>
                  </a:ext>
                </a:extLst>
              </a:tr>
              <a:tr h="232141">
                <a:tc gridSpan="3">
                  <a:txBody>
                    <a:bodyPr/>
                    <a:lstStyle/>
                    <a:p>
                      <a:pPr algn="ctr">
                        <a:lnSpc>
                          <a:spcPct val="115000"/>
                        </a:lnSpc>
                        <a:spcAft>
                          <a:spcPts val="0"/>
                        </a:spcAft>
                      </a:pPr>
                      <a:r>
                        <a:rPr lang="fr-FR" sz="1400" dirty="0">
                          <a:solidFill>
                            <a:schemeClr val="tx1"/>
                          </a:solidFill>
                          <a:effectLst/>
                          <a:latin typeface="Trebuchet MS" panose="020B0603020202020204" pitchFamily="34" charset="0"/>
                        </a:rPr>
                        <a:t>La coopération internationale</a:t>
                      </a:r>
                      <a:endParaRPr lang="fr-FR" sz="1600" dirty="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366895800"/>
                  </a:ext>
                </a:extLst>
              </a:tr>
              <a:tr h="529859">
                <a:tc gridSpan="3">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conclusion des conventions avec des acteurs en dehors du Royaume et réception des financements dans le même cadre après l'accord des autorités publiques.</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69214337"/>
                  </a:ext>
                </a:extLst>
              </a:tr>
              <a:tr h="215980">
                <a:tc gridSpan="3">
                  <a:txBody>
                    <a:bodyPr/>
                    <a:lstStyle/>
                    <a:p>
                      <a:pPr algn="ctr">
                        <a:lnSpc>
                          <a:spcPct val="107000"/>
                        </a:lnSpc>
                        <a:spcAft>
                          <a:spcPts val="0"/>
                        </a:spcAft>
                      </a:pPr>
                      <a:r>
                        <a:rPr lang="fr-FR" sz="1400" dirty="0">
                          <a:solidFill>
                            <a:schemeClr val="tx1"/>
                          </a:solidFill>
                          <a:effectLst/>
                          <a:latin typeface="Trebuchet MS" panose="020B0603020202020204" pitchFamily="34" charset="0"/>
                        </a:rPr>
                        <a:t>Urbanisme et aménagement du territoire </a:t>
                      </a:r>
                      <a:endParaRPr lang="fr-FR" sz="1600" dirty="0">
                        <a:solidFill>
                          <a:schemeClr val="tx1"/>
                        </a:solidFill>
                        <a:effectLst/>
                        <a:latin typeface="Trebuchet MS" panose="020B0603020202020204" pitchFamily="34" charset="0"/>
                        <a:ea typeface="Calibri" panose="020F0502020204030204" pitchFamily="34"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81328900"/>
                  </a:ext>
                </a:extLst>
              </a:tr>
              <a:tr h="1833407">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Elaboration d’un le schéma régional d'aménagement du territoire</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42900" lvl="0" indent="-342900" algn="just" rtl="0">
                        <a:lnSpc>
                          <a:spcPct val="115000"/>
                        </a:lnSpc>
                        <a:spcAft>
                          <a:spcPts val="0"/>
                        </a:spcAft>
                        <a:buFont typeface="Symbol" panose="05050102010706020507" pitchFamily="18" charset="2"/>
                        <a:buChar char=""/>
                      </a:pPr>
                      <a:r>
                        <a:rPr lang="fr-FR" sz="1400">
                          <a:solidFill>
                            <a:schemeClr val="tx1"/>
                          </a:solidFill>
                          <a:effectLst/>
                          <a:latin typeface="Trebuchet MS" panose="020B0603020202020204" pitchFamily="34" charset="0"/>
                        </a:rPr>
                        <a:t> </a:t>
                      </a:r>
                      <a:endParaRPr lang="fr-FR" sz="1600">
                        <a:solidFill>
                          <a:schemeClr val="tx1"/>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examiner et approuver les règlements communaux de construction;</a:t>
                      </a:r>
                    </a:p>
                    <a:p>
                      <a:pPr marL="271463" lvl="0" indent="-184150" algn="just" defTabSz="914400" rtl="0" eaLnBrk="1" latinLnBrk="0" hangingPunct="1">
                        <a:lnSpc>
                          <a:spcPct val="115000"/>
                        </a:lnSpc>
                        <a:spcAft>
                          <a:spcPts val="600"/>
                        </a:spcAft>
                        <a:buFont typeface="Symbol" panose="05050102010706020507" pitchFamily="18" charset="2"/>
                        <a:buChar char=""/>
                      </a:pPr>
                      <a:r>
                        <a:rPr lang="fr-FR" sz="1400" b="0" kern="1200" dirty="0">
                          <a:solidFill>
                            <a:schemeClr val="tx1"/>
                          </a:solidFill>
                          <a:effectLst/>
                          <a:latin typeface="Trebuchet MS" panose="020B0603020202020204" pitchFamily="34" charset="0"/>
                          <a:ea typeface="+mn-ea"/>
                          <a:cs typeface="+mn-cs"/>
                        </a:rPr>
                        <a:t>l'exécution des dispositions du plan d'aménagement et du plan de développement rural concernant l'ouverture de nouvelles zones d'urbanisation;</a:t>
                      </a:r>
                    </a:p>
                  </a:txBody>
                  <a:tcPr marL="22701" marR="227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5409367"/>
                  </a:ext>
                </a:extLst>
              </a:tr>
            </a:tbl>
          </a:graphicData>
        </a:graphic>
      </p:graphicFrame>
    </p:spTree>
    <p:extLst>
      <p:ext uri="{BB962C8B-B14F-4D97-AF65-F5344CB8AC3E}">
        <p14:creationId xmlns:p14="http://schemas.microsoft.com/office/powerpoint/2010/main" val="3766908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C016C09B-4FD1-E041-862E-B20F0189DA08}"/>
              </a:ext>
            </a:extLst>
          </p:cNvPr>
          <p:cNvPicPr>
            <a:picLocks noChangeAspect="1"/>
          </p:cNvPicPr>
          <p:nvPr/>
        </p:nvPicPr>
        <p:blipFill rotWithShape="1">
          <a:blip r:embed="rId2"/>
          <a:srcRect/>
          <a:stretch/>
        </p:blipFill>
        <p:spPr>
          <a:xfrm>
            <a:off x="-108792" y="-65256"/>
            <a:ext cx="12369800" cy="6930388"/>
          </a:xfrm>
          <a:prstGeom prst="rect">
            <a:avLst/>
          </a:prstGeom>
          <a:ln>
            <a:solidFill>
              <a:srgbClr val="0070C0"/>
            </a:solidFill>
          </a:ln>
        </p:spPr>
      </p:pic>
      <p:sp>
        <p:nvSpPr>
          <p:cNvPr id="10" name="Espace réservé du numéro de diapositive 2"/>
          <p:cNvSpPr txBox="1">
            <a:spLocks/>
          </p:cNvSpPr>
          <p:nvPr/>
        </p:nvSpPr>
        <p:spPr bwMode="auto">
          <a:xfrm>
            <a:off x="0" y="6250831"/>
            <a:ext cx="481013" cy="3460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defPPr>
              <a:defRPr lang="en-US"/>
            </a:defPPr>
            <a:lvl1pPr marL="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algn="ctr" fontAlgn="base">
              <a:lnSpc>
                <a:spcPct val="100000"/>
              </a:lnSpc>
              <a:spcBef>
                <a:spcPct val="0"/>
              </a:spcBef>
              <a:spcAft>
                <a:spcPct val="0"/>
              </a:spcAft>
              <a:buFontTx/>
              <a:buNone/>
            </a:pPr>
            <a:fld id="{3D006E54-6855-4C8D-ADF5-32CE41E15052}" type="slidenum">
              <a:rPr lang="fr-FR" altLang="fr-FR" sz="1800" smtClean="0">
                <a:latin typeface="Century Gothic" panose="020B0502020202020204" pitchFamily="34" charset="0"/>
              </a:rPr>
              <a:pPr algn="ctr" fontAlgn="base">
                <a:lnSpc>
                  <a:spcPct val="100000"/>
                </a:lnSpc>
                <a:spcBef>
                  <a:spcPct val="0"/>
                </a:spcBef>
                <a:spcAft>
                  <a:spcPct val="0"/>
                </a:spcAft>
                <a:buFontTx/>
                <a:buNone/>
              </a:pPr>
              <a:t>4</a:t>
            </a:fld>
            <a:endParaRPr lang="fr-FR" altLang="fr-FR" sz="1800" dirty="0" smtClean="0">
              <a:latin typeface="Century Gothic" panose="020B0502020202020204" pitchFamily="34" charset="0"/>
            </a:endParaRPr>
          </a:p>
        </p:txBody>
      </p:sp>
      <p:sp>
        <p:nvSpPr>
          <p:cNvPr id="20" name="Rectangle à coins arrondis 19"/>
          <p:cNvSpPr/>
          <p:nvPr/>
        </p:nvSpPr>
        <p:spPr>
          <a:xfrm>
            <a:off x="2432050" y="1628776"/>
            <a:ext cx="6448898" cy="720725"/>
          </a:xfrm>
          <a:prstGeom prst="roundRect">
            <a:avLst>
              <a:gd name="adj" fmla="val 45527"/>
            </a:avLst>
          </a:prstGeom>
          <a:solidFill>
            <a:schemeClr val="accent2">
              <a:lumMod val="40000"/>
              <a:lumOff val="60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chemeClr val="accent2">
                  <a:lumMod val="50000"/>
                </a:schemeClr>
              </a:buClr>
              <a:defRPr/>
            </a:pPr>
            <a:r>
              <a:rPr lang="fr-FR" b="1" dirty="0" smtClean="0">
                <a:solidFill>
                  <a:srgbClr val="002060"/>
                </a:solidFill>
                <a:latin typeface="Trebuchet MS" panose="020B0603020202020204" pitchFamily="34" charset="0"/>
                <a:cs typeface="Times New Roman" panose="02020603050405020304" pitchFamily="18" charset="0"/>
              </a:rPr>
              <a:t>     </a:t>
            </a:r>
            <a:r>
              <a:rPr lang="fr-FR" b="1" dirty="0">
                <a:solidFill>
                  <a:srgbClr val="002060"/>
                </a:solidFill>
                <a:latin typeface="Trebuchet MS" panose="020B0603020202020204" pitchFamily="34" charset="0"/>
                <a:cs typeface="Times New Roman" panose="02020603050405020304" pitchFamily="18" charset="0"/>
              </a:rPr>
              <a:t>Bref aperçu </a:t>
            </a:r>
            <a:r>
              <a:rPr lang="fr-FR" b="1" dirty="0" smtClean="0">
                <a:solidFill>
                  <a:srgbClr val="002060"/>
                </a:solidFill>
                <a:latin typeface="Trebuchet MS" panose="020B0603020202020204" pitchFamily="34" charset="0"/>
                <a:cs typeface="Times New Roman" panose="02020603050405020304" pitchFamily="18" charset="0"/>
              </a:rPr>
              <a:t>sur le Processus de la Décentralisation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21" name="Rectangle à coins arrondis 20"/>
          <p:cNvSpPr/>
          <p:nvPr/>
        </p:nvSpPr>
        <p:spPr>
          <a:xfrm>
            <a:off x="2844801" y="2471739"/>
            <a:ext cx="6447226" cy="720725"/>
          </a:xfrm>
          <a:prstGeom prst="roundRect">
            <a:avLst>
              <a:gd name="adj" fmla="val 45527"/>
            </a:avLst>
          </a:prstGeom>
          <a:solidFill>
            <a:schemeClr val="bg1">
              <a:lumMod val="95000"/>
            </a:schemeClr>
          </a:solidFill>
        </p:spPr>
        <p:style>
          <a:lnRef idx="1">
            <a:schemeClr val="accent5"/>
          </a:lnRef>
          <a:fillRef idx="2">
            <a:schemeClr val="accent5"/>
          </a:fillRef>
          <a:effectRef idx="1">
            <a:schemeClr val="accent5"/>
          </a:effectRef>
          <a:fontRef idx="minor">
            <a:schemeClr val="dk1"/>
          </a:fontRef>
        </p:style>
        <p:txBody>
          <a:bodyPr anchor="ctr"/>
          <a:lstStyle/>
          <a:p>
            <a:pPr algn="l">
              <a:buClr>
                <a:schemeClr val="accent2">
                  <a:lumMod val="50000"/>
                </a:schemeClr>
              </a:buClr>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L’encadrement</a:t>
            </a:r>
            <a:r>
              <a:rPr lang="fr-FR" sz="2400" b="1" dirty="0" smtClean="0">
                <a:solidFill>
                  <a:schemeClr val="bg1">
                    <a:lumMod val="75000"/>
                  </a:schemeClr>
                </a:solidFill>
                <a:latin typeface="Times New Roman" panose="02020603050405020304" pitchFamily="18" charset="0"/>
                <a:cs typeface="Times New Roman" panose="02020603050405020304" pitchFamily="18" charset="0"/>
              </a:rPr>
              <a:t> </a:t>
            </a:r>
            <a:r>
              <a:rPr lang="fr-FR" b="1" dirty="0">
                <a:solidFill>
                  <a:schemeClr val="bg1">
                    <a:lumMod val="75000"/>
                  </a:schemeClr>
                </a:solidFill>
                <a:latin typeface="Trebuchet MS" panose="020B0603020202020204" pitchFamily="34" charset="0"/>
                <a:cs typeface="Times New Roman" panose="02020603050405020304" pitchFamily="18" charset="0"/>
              </a:rPr>
              <a:t>constitutionnel de la Régionalisation </a:t>
            </a:r>
            <a:r>
              <a:rPr lang="fr-FR" b="1" dirty="0" smtClean="0">
                <a:solidFill>
                  <a:schemeClr val="bg1">
                    <a:lumMod val="75000"/>
                  </a:schemeClr>
                </a:solidFill>
                <a:latin typeface="Trebuchet MS" panose="020B0603020202020204" pitchFamily="34" charset="0"/>
                <a:cs typeface="Times New Roman" panose="02020603050405020304" pitchFamily="18" charset="0"/>
              </a:rPr>
              <a:t>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2" name="Rectangle à coins arrondis 21"/>
          <p:cNvSpPr/>
          <p:nvPr/>
        </p:nvSpPr>
        <p:spPr>
          <a:xfrm>
            <a:off x="3154521" y="3357563"/>
            <a:ext cx="6447226" cy="719137"/>
          </a:xfrm>
          <a:prstGeom prst="roundRect">
            <a:avLst>
              <a:gd name="adj" fmla="val 45527"/>
            </a:avLst>
          </a:prstGeom>
          <a:solidFill>
            <a:schemeClr val="bg1">
              <a:lumMod val="95000"/>
            </a:schemeClr>
          </a:solidFill>
        </p:spPr>
        <p:style>
          <a:lnRef idx="1">
            <a:schemeClr val="accent1"/>
          </a:lnRef>
          <a:fillRef idx="2">
            <a:schemeClr val="accent1"/>
          </a:fillRef>
          <a:effectRef idx="1">
            <a:schemeClr val="accent1"/>
          </a:effectRef>
          <a:fontRef idx="minor">
            <a:schemeClr val="dk1"/>
          </a:fontRef>
        </p:style>
        <p:txBody>
          <a:bodyPr anchor="ctr"/>
          <a:lstStyle/>
          <a:p>
            <a:pPr algn="l">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Les </a:t>
            </a:r>
            <a:r>
              <a:rPr lang="fr-FR" b="1" dirty="0">
                <a:solidFill>
                  <a:schemeClr val="bg1">
                    <a:lumMod val="75000"/>
                  </a:schemeClr>
                </a:solidFill>
                <a:latin typeface="Trebuchet MS" panose="020B0603020202020204" pitchFamily="34" charset="0"/>
                <a:cs typeface="Times New Roman" panose="02020603050405020304" pitchFamily="18" charset="0"/>
              </a:rPr>
              <a:t>compétences </a:t>
            </a:r>
            <a:r>
              <a:rPr lang="fr-FR" b="1" dirty="0" smtClean="0">
                <a:solidFill>
                  <a:schemeClr val="bg1">
                    <a:lumMod val="75000"/>
                  </a:schemeClr>
                </a:solidFill>
                <a:latin typeface="Trebuchet MS" panose="020B0603020202020204" pitchFamily="34" charset="0"/>
                <a:cs typeface="Times New Roman" panose="02020603050405020304" pitchFamily="18" charset="0"/>
              </a:rPr>
              <a:t>dévolues aux CT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3" name="Rectangle à coins arrondis 22"/>
          <p:cNvSpPr/>
          <p:nvPr/>
        </p:nvSpPr>
        <p:spPr>
          <a:xfrm>
            <a:off x="3430587" y="4221164"/>
            <a:ext cx="6447225" cy="720725"/>
          </a:xfrm>
          <a:prstGeom prst="roundRect">
            <a:avLst>
              <a:gd name="adj" fmla="val 45527"/>
            </a:avLst>
          </a:prstGeom>
          <a:solidFill>
            <a:schemeClr val="bg1">
              <a:lumMod val="95000"/>
            </a:schemeClr>
          </a:solidFill>
        </p:spPr>
        <p:style>
          <a:lnRef idx="1">
            <a:schemeClr val="accent6"/>
          </a:lnRef>
          <a:fillRef idx="2">
            <a:schemeClr val="accent6"/>
          </a:fillRef>
          <a:effectRef idx="1">
            <a:schemeClr val="accent6"/>
          </a:effectRef>
          <a:fontRef idx="minor">
            <a:schemeClr val="dk1"/>
          </a:fontRef>
        </p:style>
        <p:txBody>
          <a:bodyPr anchor="ctr"/>
          <a:lstStyle/>
          <a:p>
            <a:pPr>
              <a:defRPr/>
            </a:pPr>
            <a:r>
              <a:rPr lang="fr-FR" sz="3600" b="1" dirty="0" smtClean="0">
                <a:solidFill>
                  <a:schemeClr val="bg1">
                    <a:lumMod val="75000"/>
                  </a:schemeClr>
                </a:solidFill>
                <a:latin typeface="Arabic Typesetting" pitchFamily="66" charset="-78"/>
                <a:cs typeface="Arabic Typesetting" pitchFamily="66" charset="-78"/>
              </a:rPr>
              <a:t> </a:t>
            </a:r>
            <a:r>
              <a:rPr lang="ar-MA" sz="3600" b="1" dirty="0" smtClean="0">
                <a:solidFill>
                  <a:schemeClr val="bg1">
                    <a:lumMod val="75000"/>
                  </a:schemeClr>
                </a:solidFill>
                <a:latin typeface="Arabic Typesetting" pitchFamily="66" charset="-78"/>
                <a:cs typeface="Arabic Typesetting" pitchFamily="66" charset="-78"/>
              </a:rPr>
              <a:t>   </a:t>
            </a:r>
            <a:r>
              <a:rPr lang="fr-FR" b="1" dirty="0" smtClean="0">
                <a:solidFill>
                  <a:schemeClr val="bg1">
                    <a:lumMod val="75000"/>
                  </a:schemeClr>
                </a:solidFill>
                <a:latin typeface="Trebuchet MS" panose="020B0603020202020204" pitchFamily="34" charset="0"/>
                <a:cs typeface="Times New Roman" panose="02020603050405020304" pitchFamily="18" charset="0"/>
              </a:rPr>
              <a:t>L</a:t>
            </a:r>
            <a:r>
              <a:rPr lang="fr-FR" altLang="fr-FR" b="1" dirty="0" smtClean="0">
                <a:solidFill>
                  <a:schemeClr val="bg1">
                    <a:lumMod val="75000"/>
                  </a:schemeClr>
                </a:solidFill>
                <a:latin typeface="Trebuchet MS" panose="020B0603020202020204" pitchFamily="34" charset="0"/>
                <a:cs typeface="Times New Roman" panose="02020603050405020304" pitchFamily="18" charset="0"/>
              </a:rPr>
              <a:t>a </a:t>
            </a:r>
            <a:r>
              <a:rPr lang="fr-FR" altLang="fr-FR" b="1" dirty="0">
                <a:solidFill>
                  <a:schemeClr val="bg1">
                    <a:lumMod val="75000"/>
                  </a:schemeClr>
                </a:solidFill>
                <a:latin typeface="Trebuchet MS" panose="020B0603020202020204" pitchFamily="34" charset="0"/>
                <a:cs typeface="Times New Roman" panose="02020603050405020304" pitchFamily="18" charset="0"/>
              </a:rPr>
              <a:t>mise en œuvre de la Régionalisation Avancée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4" name="Ellipse 23"/>
          <p:cNvSpPr/>
          <p:nvPr/>
        </p:nvSpPr>
        <p:spPr>
          <a:xfrm>
            <a:off x="2254726" y="1683138"/>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2"/>
          </a:lnRef>
          <a:fillRef idx="3">
            <a:schemeClr val="accent2"/>
          </a:fillRef>
          <a:effectRef idx="3">
            <a:schemeClr val="accent2"/>
          </a:effectRef>
          <a:fontRef idx="minor">
            <a:schemeClr val="lt1"/>
          </a:fontRef>
        </p:style>
        <p:txBody>
          <a:bodyPr anchor="ctr"/>
          <a:lstStyle/>
          <a:p>
            <a:pPr algn="ctr">
              <a:defRPr/>
            </a:pPr>
            <a:r>
              <a:rPr lang="fr-FR" sz="3200" dirty="0">
                <a:solidFill>
                  <a:schemeClr val="bg1"/>
                </a:solidFill>
                <a:sym typeface="Wingdings"/>
              </a:rPr>
              <a:t></a:t>
            </a:r>
            <a:endParaRPr lang="fr-FR" sz="2800" dirty="0">
              <a:solidFill>
                <a:schemeClr val="bg1"/>
              </a:solidFill>
            </a:endParaRPr>
          </a:p>
        </p:txBody>
      </p:sp>
      <p:sp>
        <p:nvSpPr>
          <p:cNvPr id="25" name="Ellipse 24"/>
          <p:cNvSpPr/>
          <p:nvPr/>
        </p:nvSpPr>
        <p:spPr>
          <a:xfrm>
            <a:off x="2560726" y="2526101"/>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3"/>
          </a:lnRef>
          <a:fillRef idx="3">
            <a:schemeClr val="accent3"/>
          </a:fillRef>
          <a:effectRef idx="3">
            <a:schemeClr val="accent3"/>
          </a:effectRef>
          <a:fontRef idx="minor">
            <a:schemeClr val="lt1"/>
          </a:fontRef>
        </p:style>
        <p:txBody>
          <a:bodyPr anchor="ctr"/>
          <a:lstStyle/>
          <a:p>
            <a:pPr algn="ctr">
              <a:defRPr/>
            </a:pPr>
            <a:r>
              <a:rPr lang="fr-FR" sz="3200" dirty="0">
                <a:solidFill>
                  <a:schemeClr val="bg1"/>
                </a:solidFill>
                <a:sym typeface="Wingdings"/>
              </a:rPr>
              <a:t></a:t>
            </a:r>
            <a:endParaRPr lang="fr-FR" dirty="0">
              <a:solidFill>
                <a:schemeClr val="bg1"/>
              </a:solidFill>
            </a:endParaRPr>
          </a:p>
        </p:txBody>
      </p:sp>
      <p:sp>
        <p:nvSpPr>
          <p:cNvPr id="26" name="Ellipse 25"/>
          <p:cNvSpPr/>
          <p:nvPr/>
        </p:nvSpPr>
        <p:spPr>
          <a:xfrm>
            <a:off x="2876848" y="3411132"/>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fr-FR" sz="3200" dirty="0">
                <a:solidFill>
                  <a:schemeClr val="bg1"/>
                </a:solidFill>
                <a:sym typeface="Wingdings 2"/>
              </a:rPr>
              <a:t></a:t>
            </a:r>
            <a:endParaRPr lang="fr-FR" dirty="0">
              <a:solidFill>
                <a:schemeClr val="bg1"/>
              </a:solidFill>
            </a:endParaRPr>
          </a:p>
        </p:txBody>
      </p:sp>
      <p:sp>
        <p:nvSpPr>
          <p:cNvPr id="27" name="Ellipse 26"/>
          <p:cNvSpPr/>
          <p:nvPr/>
        </p:nvSpPr>
        <p:spPr>
          <a:xfrm>
            <a:off x="3182848" y="4274496"/>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a:solidFill>
                  <a:schemeClr val="bg1"/>
                </a:solidFill>
                <a:sym typeface="Wingdings 2"/>
              </a:rPr>
              <a:t></a:t>
            </a:r>
            <a:endParaRPr lang="fr-FR" sz="3200" dirty="0">
              <a:solidFill>
                <a:schemeClr val="bg1"/>
              </a:solidFill>
            </a:endParaRPr>
          </a:p>
        </p:txBody>
      </p:sp>
      <p:sp>
        <p:nvSpPr>
          <p:cNvPr id="2" name="Rectangle 1"/>
          <p:cNvSpPr/>
          <p:nvPr/>
        </p:nvSpPr>
        <p:spPr>
          <a:xfrm>
            <a:off x="3531302" y="412428"/>
            <a:ext cx="4746812" cy="584775"/>
          </a:xfrm>
          <a:prstGeom prst="rect">
            <a:avLst/>
          </a:prstGeom>
        </p:spPr>
        <p:txBody>
          <a:bodyPr wrap="none">
            <a:spAutoFit/>
          </a:bodyPr>
          <a:lstStyle/>
          <a:p>
            <a:pPr algn="ctr"/>
            <a:r>
              <a:rPr lang="fr-FR" sz="3200" b="1" i="1" dirty="0">
                <a:latin typeface="Trebuchet MS" panose="020B0603020202020204" pitchFamily="34" charset="0"/>
              </a:rPr>
              <a:t>Plan de la présentation</a:t>
            </a:r>
            <a:endParaRPr lang="fr-FR" sz="3200" b="1" dirty="0">
              <a:solidFill>
                <a:schemeClr val="bg1"/>
              </a:solidFill>
              <a:latin typeface="Trebuchet MS" panose="020B0603020202020204" pitchFamily="34" charset="0"/>
              <a:cs typeface="Andalus" pitchFamily="18" charset="-78"/>
            </a:endParaRPr>
          </a:p>
        </p:txBody>
      </p:sp>
      <p:sp>
        <p:nvSpPr>
          <p:cNvPr id="13" name="Rectangle à coins arrondis 12"/>
          <p:cNvSpPr/>
          <p:nvPr/>
        </p:nvSpPr>
        <p:spPr>
          <a:xfrm>
            <a:off x="3866016" y="5124680"/>
            <a:ext cx="6447225" cy="720725"/>
          </a:xfrm>
          <a:prstGeom prst="roundRect">
            <a:avLst>
              <a:gd name="adj" fmla="val 45527"/>
            </a:avLst>
          </a:prstGeom>
          <a:solidFill>
            <a:schemeClr val="bg1">
              <a:lumMod val="95000"/>
            </a:schemeClr>
          </a:solidFill>
        </p:spPr>
        <p:style>
          <a:lnRef idx="1">
            <a:schemeClr val="accent6"/>
          </a:lnRef>
          <a:fillRef idx="2">
            <a:schemeClr val="accent6"/>
          </a:fillRef>
          <a:effectRef idx="1">
            <a:schemeClr val="accent6"/>
          </a:effectRef>
          <a:fontRef idx="minor">
            <a:schemeClr val="dk1"/>
          </a:fontRef>
        </p:style>
        <p:txBody>
          <a:bodyPr anchor="ctr"/>
          <a:lstStyle/>
          <a:p>
            <a:pPr>
              <a:lnSpc>
                <a:spcPct val="80000"/>
              </a:lnSpc>
              <a:defRPr/>
            </a:pPr>
            <a:r>
              <a:rPr lang="fr-FR" sz="3600" b="1" dirty="0" smtClean="0">
                <a:solidFill>
                  <a:schemeClr val="bg1">
                    <a:lumMod val="85000"/>
                  </a:schemeClr>
                </a:solidFill>
                <a:latin typeface="Arabic Typesetting" pitchFamily="66" charset="-78"/>
                <a:cs typeface="Arabic Typesetting" pitchFamily="66" charset="-78"/>
              </a:rPr>
              <a:t> </a:t>
            </a:r>
            <a:r>
              <a:rPr lang="ar-MA" sz="3600" b="1" dirty="0" smtClean="0">
                <a:solidFill>
                  <a:schemeClr val="bg1">
                    <a:lumMod val="85000"/>
                  </a:schemeClr>
                </a:solidFill>
                <a:latin typeface="Arabic Typesetting" pitchFamily="66" charset="-78"/>
                <a:cs typeface="Arabic Typesetting" pitchFamily="66" charset="-78"/>
              </a:rPr>
              <a:t>   </a:t>
            </a:r>
            <a:r>
              <a:rPr lang="fr-FR" b="1" dirty="0">
                <a:solidFill>
                  <a:schemeClr val="bg1">
                    <a:lumMod val="75000"/>
                  </a:schemeClr>
                </a:solidFill>
                <a:latin typeface="Trebuchet MS" panose="020B0603020202020204" pitchFamily="34" charset="0"/>
                <a:cs typeface="Times New Roman" panose="02020603050405020304" pitchFamily="18" charset="0"/>
              </a:rPr>
              <a:t>Le droit de regard de l’Etat sur les CT : de la tutelle</a:t>
            </a:r>
          </a:p>
          <a:p>
            <a:pPr>
              <a:lnSpc>
                <a:spcPct val="80000"/>
              </a:lnSpc>
              <a:defRPr/>
            </a:pPr>
            <a:r>
              <a:rPr lang="fr-FR" b="1" dirty="0">
                <a:solidFill>
                  <a:schemeClr val="bg1">
                    <a:lumMod val="75000"/>
                  </a:schemeClr>
                </a:solidFill>
                <a:latin typeface="Trebuchet MS" panose="020B0603020202020204" pitchFamily="34" charset="0"/>
                <a:cs typeface="Times New Roman" panose="02020603050405020304" pitchFamily="18" charset="0"/>
              </a:rPr>
              <a:t>     au Contrôle administratif </a:t>
            </a:r>
            <a:endParaRPr lang="fr-FR" b="1" dirty="0">
              <a:solidFill>
                <a:schemeClr val="bg1">
                  <a:lumMod val="85000"/>
                </a:schemeClr>
              </a:solidFill>
              <a:latin typeface="Trebuchet MS" panose="020B0603020202020204" pitchFamily="34" charset="0"/>
              <a:cs typeface="Times New Roman" panose="02020603050405020304" pitchFamily="18" charset="0"/>
            </a:endParaRPr>
          </a:p>
        </p:txBody>
      </p:sp>
      <p:sp>
        <p:nvSpPr>
          <p:cNvPr id="14" name="Ellipse 13"/>
          <p:cNvSpPr/>
          <p:nvPr/>
        </p:nvSpPr>
        <p:spPr>
          <a:xfrm>
            <a:off x="3618277" y="5178012"/>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smtClean="0">
                <a:solidFill>
                  <a:schemeClr val="bg1">
                    <a:lumMod val="85000"/>
                  </a:schemeClr>
                </a:solidFill>
                <a:sym typeface="Wingdings 2" panose="05020102010507070707" pitchFamily="18" charset="2"/>
              </a:rPr>
              <a:t></a:t>
            </a:r>
            <a:endParaRPr lang="fr-FR" sz="3200" dirty="0">
              <a:solidFill>
                <a:schemeClr val="bg1">
                  <a:lumMod val="85000"/>
                </a:schemeClr>
              </a:solidFill>
            </a:endParaRPr>
          </a:p>
        </p:txBody>
      </p:sp>
    </p:spTree>
    <p:extLst>
      <p:ext uri="{BB962C8B-B14F-4D97-AF65-F5344CB8AC3E}">
        <p14:creationId xmlns:p14="http://schemas.microsoft.com/office/powerpoint/2010/main" val="22199648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Légende encadrée 1 30"/>
          <p:cNvSpPr/>
          <p:nvPr/>
        </p:nvSpPr>
        <p:spPr bwMode="auto">
          <a:xfrm>
            <a:off x="1919536" y="2188180"/>
            <a:ext cx="1008112" cy="432048"/>
          </a:xfrm>
          <a:prstGeom prst="borderCallout1">
            <a:avLst>
              <a:gd name="adj1" fmla="val 103923"/>
              <a:gd name="adj2" fmla="val 51399"/>
              <a:gd name="adj3" fmla="val 383507"/>
              <a:gd name="adj4" fmla="val 50160"/>
            </a:avLst>
          </a:prstGeom>
          <a:solidFill>
            <a:srgbClr val="FFC000"/>
          </a:solidFill>
          <a:ln>
            <a:solidFill>
              <a:schemeClr val="accent1">
                <a:lumMod val="50000"/>
              </a:schemeClr>
            </a:solidFill>
            <a:headEnd type="none" w="med" len="med"/>
            <a:tailEnd type="none" w="med" len="med"/>
          </a:ln>
          <a:effectLst>
            <a:innerShdw blurRad="63500" dist="50800" dir="8100000">
              <a:srgbClr val="C7970D">
                <a:alpha val="50000"/>
              </a:srgbClr>
            </a:innerShdw>
          </a:effectLst>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r>
              <a:rPr lang="fr-FR" sz="1500" b="1" kern="0" dirty="0" smtClean="0">
                <a:solidFill>
                  <a:srgbClr val="002060"/>
                </a:solidFill>
                <a:latin typeface="Sakkal Majalla" panose="02000000000000000000" pitchFamily="2" charset="-78"/>
                <a:cs typeface="Sakkal Majalla" panose="02000000000000000000" pitchFamily="2" charset="-78"/>
              </a:rPr>
              <a:t>Constitution</a:t>
            </a:r>
          </a:p>
          <a:p>
            <a:pPr algn="ctr" defTabSz="914099">
              <a:defRPr/>
            </a:pPr>
            <a:r>
              <a:rPr lang="fr-FR" sz="1500" b="1" kern="0" dirty="0" smtClean="0">
                <a:solidFill>
                  <a:srgbClr val="002060"/>
                </a:solidFill>
                <a:latin typeface="Sakkal Majalla" panose="02000000000000000000" pitchFamily="2" charset="-78"/>
                <a:cs typeface="Sakkal Majalla" panose="02000000000000000000" pitchFamily="2" charset="-78"/>
              </a:rPr>
              <a:t>2011</a:t>
            </a:r>
            <a:endParaRPr lang="fr-FR" sz="1500" b="1" kern="0" dirty="0">
              <a:solidFill>
                <a:srgbClr val="002060"/>
              </a:solidFill>
              <a:latin typeface="Sakkal Majalla" panose="02000000000000000000" pitchFamily="2" charset="-78"/>
              <a:cs typeface="Sakkal Majalla" panose="02000000000000000000" pitchFamily="2" charset="-78"/>
            </a:endParaRPr>
          </a:p>
        </p:txBody>
      </p:sp>
      <p:sp>
        <p:nvSpPr>
          <p:cNvPr id="2" name="Légende encadrée 1 1"/>
          <p:cNvSpPr/>
          <p:nvPr/>
        </p:nvSpPr>
        <p:spPr bwMode="auto">
          <a:xfrm>
            <a:off x="7968208" y="2188180"/>
            <a:ext cx="1008112" cy="432048"/>
          </a:xfrm>
          <a:prstGeom prst="borderCallout1">
            <a:avLst>
              <a:gd name="adj1" fmla="val 103923"/>
              <a:gd name="adj2" fmla="val 51399"/>
              <a:gd name="adj3" fmla="val 383507"/>
              <a:gd name="adj4" fmla="val 50160"/>
            </a:avLst>
          </a:prstGeom>
          <a:solidFill>
            <a:srgbClr val="FFC000"/>
          </a:solidFill>
          <a:ln>
            <a:solidFill>
              <a:schemeClr val="accent1">
                <a:lumMod val="50000"/>
              </a:schemeClr>
            </a:solidFill>
            <a:headEnd type="none" w="med" len="med"/>
            <a:tailEnd type="none" w="med" len="med"/>
          </a:ln>
          <a:effectLst>
            <a:innerShdw blurRad="63500" dist="50800" dir="8100000">
              <a:srgbClr val="C7970D">
                <a:alpha val="50000"/>
              </a:srgbClr>
            </a:innerShdw>
          </a:effectLst>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r>
              <a:rPr lang="fr-FR" sz="1500" b="1" kern="0" dirty="0">
                <a:solidFill>
                  <a:srgbClr val="002060"/>
                </a:solidFill>
                <a:latin typeface="Sakkal Majalla" panose="02000000000000000000" pitchFamily="2" charset="-78"/>
                <a:cs typeface="Sakkal Majalla" panose="02000000000000000000" pitchFamily="2" charset="-78"/>
              </a:rPr>
              <a:t>Constitution</a:t>
            </a:r>
          </a:p>
          <a:p>
            <a:pPr algn="ctr" defTabSz="914099">
              <a:defRPr/>
            </a:pPr>
            <a:r>
              <a:rPr lang="fr-FR" sz="1500" b="1" kern="0" dirty="0" smtClean="0">
                <a:solidFill>
                  <a:srgbClr val="002060"/>
                </a:solidFill>
                <a:latin typeface="Sakkal Majalla" panose="02000000000000000000" pitchFamily="2" charset="-78"/>
                <a:cs typeface="Sakkal Majalla" panose="02000000000000000000" pitchFamily="2" charset="-78"/>
              </a:rPr>
              <a:t>1962</a:t>
            </a:r>
            <a:endParaRPr lang="fr-FR" sz="1500" b="1" kern="0" dirty="0">
              <a:solidFill>
                <a:srgbClr val="002060"/>
              </a:solidFill>
              <a:latin typeface="Sakkal Majalla" panose="02000000000000000000" pitchFamily="2" charset="-78"/>
              <a:cs typeface="Sakkal Majalla" panose="02000000000000000000" pitchFamily="2" charset="-78"/>
            </a:endParaRPr>
          </a:p>
        </p:txBody>
      </p:sp>
      <p:sp>
        <p:nvSpPr>
          <p:cNvPr id="26" name="Légende encadrée 1 25"/>
          <p:cNvSpPr/>
          <p:nvPr/>
        </p:nvSpPr>
        <p:spPr bwMode="auto">
          <a:xfrm>
            <a:off x="5807968" y="2188180"/>
            <a:ext cx="1008112" cy="432048"/>
          </a:xfrm>
          <a:prstGeom prst="borderCallout1">
            <a:avLst>
              <a:gd name="adj1" fmla="val 103923"/>
              <a:gd name="adj2" fmla="val 51399"/>
              <a:gd name="adj3" fmla="val 383507"/>
              <a:gd name="adj4" fmla="val 50160"/>
            </a:avLst>
          </a:prstGeom>
          <a:solidFill>
            <a:srgbClr val="FFC000"/>
          </a:solidFill>
          <a:ln>
            <a:solidFill>
              <a:schemeClr val="accent1">
                <a:lumMod val="50000"/>
              </a:schemeClr>
            </a:solidFill>
            <a:headEnd type="none" w="med" len="med"/>
            <a:tailEnd type="none" w="med" len="med"/>
          </a:ln>
          <a:effectLst>
            <a:innerShdw blurRad="63500" dist="50800" dir="8100000">
              <a:srgbClr val="C7970D">
                <a:alpha val="50000"/>
              </a:srgbClr>
            </a:innerShdw>
          </a:effectLst>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r>
              <a:rPr lang="fr-FR" sz="1500" b="1" kern="0" dirty="0">
                <a:solidFill>
                  <a:srgbClr val="002060"/>
                </a:solidFill>
                <a:latin typeface="Sakkal Majalla" panose="02000000000000000000" pitchFamily="2" charset="-78"/>
                <a:cs typeface="Sakkal Majalla" panose="02000000000000000000" pitchFamily="2" charset="-78"/>
              </a:rPr>
              <a:t>Constitution</a:t>
            </a:r>
          </a:p>
          <a:p>
            <a:pPr algn="ctr" defTabSz="914099">
              <a:defRPr/>
            </a:pPr>
            <a:r>
              <a:rPr lang="fr-FR" sz="1500" b="1" kern="0" dirty="0" smtClean="0">
                <a:solidFill>
                  <a:srgbClr val="002060"/>
                </a:solidFill>
                <a:latin typeface="Sakkal Majalla" panose="02000000000000000000" pitchFamily="2" charset="-78"/>
                <a:cs typeface="Sakkal Majalla" panose="02000000000000000000" pitchFamily="2" charset="-78"/>
              </a:rPr>
              <a:t>1992</a:t>
            </a:r>
            <a:endParaRPr lang="fr-FR" sz="1500" b="1" kern="0" dirty="0">
              <a:solidFill>
                <a:srgbClr val="002060"/>
              </a:solidFill>
              <a:latin typeface="Sakkal Majalla" panose="02000000000000000000" pitchFamily="2" charset="-78"/>
              <a:cs typeface="Sakkal Majalla" panose="02000000000000000000" pitchFamily="2" charset="-78"/>
            </a:endParaRPr>
          </a:p>
        </p:txBody>
      </p:sp>
      <p:sp>
        <p:nvSpPr>
          <p:cNvPr id="13" name="Rectangle 12"/>
          <p:cNvSpPr/>
          <p:nvPr/>
        </p:nvSpPr>
        <p:spPr>
          <a:xfrm>
            <a:off x="3359150" y="1468001"/>
            <a:ext cx="5976938" cy="400050"/>
          </a:xfrm>
          <a:prstGeom prst="rect">
            <a:avLst/>
          </a:prstGeom>
        </p:spPr>
        <p:txBody>
          <a:bodyPr>
            <a:spAutoFit/>
          </a:bodyPr>
          <a:lstStyle/>
          <a:p>
            <a:pPr algn="ctr" rtl="1">
              <a:defRPr/>
            </a:pPr>
            <a:r>
              <a:rPr lang="ar-MA" sz="2000" b="1" u="sng" dirty="0">
                <a:effectLst>
                  <a:outerShdw blurRad="38100" dist="38100" dir="2700000" algn="tl">
                    <a:srgbClr val="000000">
                      <a:alpha val="43137"/>
                    </a:srgbClr>
                  </a:outerShdw>
                </a:effectLst>
              </a:rPr>
              <a:t> </a:t>
            </a:r>
            <a:endParaRPr lang="fr-FR" sz="2000" b="1" u="sng" dirty="0">
              <a:solidFill>
                <a:srgbClr val="002060"/>
              </a:solidFill>
              <a:latin typeface="Sakkal Majalla" panose="02000000000000000000" pitchFamily="2" charset="-78"/>
              <a:cs typeface="Sakkal Majalla" panose="02000000000000000000" pitchFamily="2" charset="-78"/>
            </a:endParaRPr>
          </a:p>
        </p:txBody>
      </p:sp>
      <p:sp>
        <p:nvSpPr>
          <p:cNvPr id="17" name="Right Arrow 3"/>
          <p:cNvSpPr/>
          <p:nvPr>
            <p:custDataLst>
              <p:tags r:id="rId1"/>
            </p:custDataLst>
          </p:nvPr>
        </p:nvSpPr>
        <p:spPr>
          <a:xfrm rot="10800000">
            <a:off x="2930526" y="3701613"/>
            <a:ext cx="7008813" cy="946150"/>
          </a:xfrm>
          <a:prstGeom prst="rightArrow">
            <a:avLst>
              <a:gd name="adj1" fmla="val 50000"/>
              <a:gd name="adj2" fmla="val 81876"/>
            </a:avLst>
          </a:prstGeom>
          <a:solidFill>
            <a:schemeClr val="accent2">
              <a:lumMod val="20000"/>
              <a:lumOff val="80000"/>
            </a:schemeClr>
          </a:solidFill>
          <a:ln w="12700" cap="flat" cmpd="sng" algn="ctr">
            <a:solidFill>
              <a:schemeClr val="accent3">
                <a:lumMod val="50000"/>
              </a:schemeClr>
            </a:solidFill>
            <a:prstDash val="solid"/>
          </a:ln>
          <a:effectLst/>
        </p:spPr>
        <p:txBody>
          <a:bodyPr lIns="66462" tIns="0" rIns="66462" bIns="0" anchor="ctr"/>
          <a:lstStyle/>
          <a:p>
            <a:pPr algn="ctr" defTabSz="844083">
              <a:lnSpc>
                <a:spcPct val="90000"/>
              </a:lnSpc>
              <a:spcBef>
                <a:spcPts val="277"/>
              </a:spcBef>
              <a:defRPr/>
            </a:pPr>
            <a:endParaRPr lang="fr-FR" sz="1385" kern="0" dirty="0">
              <a:solidFill>
                <a:srgbClr val="000000"/>
              </a:solidFill>
              <a:latin typeface="Arial"/>
            </a:endParaRPr>
          </a:p>
        </p:txBody>
      </p:sp>
      <p:sp>
        <p:nvSpPr>
          <p:cNvPr id="18" name="Rectangle à coins arrondis 17"/>
          <p:cNvSpPr/>
          <p:nvPr>
            <p:custDataLst>
              <p:tags r:id="rId2"/>
            </p:custDataLst>
          </p:nvPr>
        </p:nvSpPr>
        <p:spPr bwMode="auto">
          <a:xfrm>
            <a:off x="9093201" y="3803213"/>
            <a:ext cx="963613" cy="706438"/>
          </a:xfrm>
          <a:prstGeom prst="roundRect">
            <a:avLst/>
          </a:prstGeom>
          <a:ln>
            <a:solidFill>
              <a:schemeClr val="accent3">
                <a:lumMod val="50000"/>
              </a:schemeClr>
            </a:solidFill>
          </a:ln>
        </p:spPr>
        <p:style>
          <a:lnRef idx="1">
            <a:schemeClr val="accent2"/>
          </a:lnRef>
          <a:fillRef idx="2">
            <a:schemeClr val="accent2"/>
          </a:fillRef>
          <a:effectRef idx="1">
            <a:schemeClr val="accent2"/>
          </a:effectRef>
          <a:fontRef idx="minor">
            <a:schemeClr val="dk1"/>
          </a:fontRef>
        </p:style>
        <p:txBody>
          <a:bodyPr lIns="66462" tIns="44259" rIns="66462" bIns="44259" anchor="ctr"/>
          <a:lstStyle/>
          <a:p>
            <a:pPr algn="ctr" eaLnBrk="1" hangingPunct="1">
              <a:spcBef>
                <a:spcPct val="50000"/>
              </a:spcBef>
              <a:defRPr/>
            </a:pPr>
            <a:r>
              <a:rPr lang="fr-FR" sz="1108" b="1" kern="0" dirty="0">
                <a:solidFill>
                  <a:srgbClr val="000000"/>
                </a:solidFill>
              </a:rPr>
              <a:t>1960</a:t>
            </a:r>
          </a:p>
        </p:txBody>
      </p:sp>
      <p:sp>
        <p:nvSpPr>
          <p:cNvPr id="19" name="Rectangle à coins arrondis 18"/>
          <p:cNvSpPr/>
          <p:nvPr>
            <p:custDataLst>
              <p:tags r:id="rId3"/>
            </p:custDataLst>
          </p:nvPr>
        </p:nvSpPr>
        <p:spPr bwMode="auto">
          <a:xfrm>
            <a:off x="3690938" y="3831788"/>
            <a:ext cx="963612" cy="706438"/>
          </a:xfrm>
          <a:prstGeom prst="roundRect">
            <a:avLst/>
          </a:prstGeom>
          <a:ln>
            <a:solidFill>
              <a:schemeClr val="accent3">
                <a:lumMod val="50000"/>
              </a:schemeClr>
            </a:solidFill>
          </a:ln>
        </p:spPr>
        <p:style>
          <a:lnRef idx="1">
            <a:schemeClr val="accent2"/>
          </a:lnRef>
          <a:fillRef idx="2">
            <a:schemeClr val="accent2"/>
          </a:fillRef>
          <a:effectRef idx="1">
            <a:schemeClr val="accent2"/>
          </a:effectRef>
          <a:fontRef idx="minor">
            <a:schemeClr val="dk1"/>
          </a:fontRef>
        </p:style>
        <p:txBody>
          <a:bodyPr lIns="66462" tIns="44259" rIns="66462" bIns="44259" anchor="ctr"/>
          <a:lstStyle/>
          <a:p>
            <a:pPr algn="ctr" eaLnBrk="1" hangingPunct="1">
              <a:spcBef>
                <a:spcPct val="50000"/>
              </a:spcBef>
              <a:defRPr/>
            </a:pPr>
            <a:r>
              <a:rPr lang="fr-FR" sz="1108" b="1" kern="0" dirty="0">
                <a:solidFill>
                  <a:srgbClr val="000000"/>
                </a:solidFill>
              </a:rPr>
              <a:t>2009</a:t>
            </a:r>
          </a:p>
        </p:txBody>
      </p:sp>
      <p:sp>
        <p:nvSpPr>
          <p:cNvPr id="20" name="Rectangle à coins arrondis 19"/>
          <p:cNvSpPr/>
          <p:nvPr>
            <p:custDataLst>
              <p:tags r:id="rId4"/>
            </p:custDataLst>
          </p:nvPr>
        </p:nvSpPr>
        <p:spPr bwMode="auto">
          <a:xfrm>
            <a:off x="4754563" y="3807977"/>
            <a:ext cx="963612" cy="706437"/>
          </a:xfrm>
          <a:prstGeom prst="roundRect">
            <a:avLst/>
          </a:prstGeom>
          <a:ln>
            <a:solidFill>
              <a:schemeClr val="accent3">
                <a:lumMod val="50000"/>
              </a:schemeClr>
            </a:solidFill>
          </a:ln>
        </p:spPr>
        <p:style>
          <a:lnRef idx="1">
            <a:schemeClr val="accent2"/>
          </a:lnRef>
          <a:fillRef idx="2">
            <a:schemeClr val="accent2"/>
          </a:fillRef>
          <a:effectRef idx="1">
            <a:schemeClr val="accent2"/>
          </a:effectRef>
          <a:fontRef idx="minor">
            <a:schemeClr val="dk1"/>
          </a:fontRef>
        </p:style>
        <p:txBody>
          <a:bodyPr lIns="66462" tIns="44259" rIns="66462" bIns="44259" anchor="ctr"/>
          <a:lstStyle/>
          <a:p>
            <a:pPr algn="ctr" eaLnBrk="1" hangingPunct="1">
              <a:spcBef>
                <a:spcPct val="50000"/>
              </a:spcBef>
              <a:defRPr/>
            </a:pPr>
            <a:r>
              <a:rPr lang="fr-FR" sz="1108" b="1" kern="0" dirty="0">
                <a:solidFill>
                  <a:srgbClr val="000000"/>
                </a:solidFill>
              </a:rPr>
              <a:t>2002</a:t>
            </a:r>
          </a:p>
        </p:txBody>
      </p:sp>
      <p:sp>
        <p:nvSpPr>
          <p:cNvPr id="21" name="Rectangle à coins arrondis 20"/>
          <p:cNvSpPr/>
          <p:nvPr>
            <p:custDataLst>
              <p:tags r:id="rId5"/>
            </p:custDataLst>
          </p:nvPr>
        </p:nvSpPr>
        <p:spPr bwMode="auto">
          <a:xfrm>
            <a:off x="5840413" y="3807977"/>
            <a:ext cx="963612" cy="706437"/>
          </a:xfrm>
          <a:prstGeom prst="roundRect">
            <a:avLst/>
          </a:prstGeom>
          <a:ln>
            <a:solidFill>
              <a:schemeClr val="accent3">
                <a:lumMod val="50000"/>
              </a:schemeClr>
            </a:solidFill>
          </a:ln>
        </p:spPr>
        <p:style>
          <a:lnRef idx="1">
            <a:schemeClr val="accent2"/>
          </a:lnRef>
          <a:fillRef idx="2">
            <a:schemeClr val="accent2"/>
          </a:fillRef>
          <a:effectRef idx="1">
            <a:schemeClr val="accent2"/>
          </a:effectRef>
          <a:fontRef idx="minor">
            <a:schemeClr val="dk1"/>
          </a:fontRef>
        </p:style>
        <p:txBody>
          <a:bodyPr lIns="66462" tIns="44259" rIns="66462" bIns="44259" anchor="ctr"/>
          <a:lstStyle/>
          <a:p>
            <a:pPr algn="ctr" eaLnBrk="1" hangingPunct="1">
              <a:spcBef>
                <a:spcPct val="50000"/>
              </a:spcBef>
              <a:defRPr/>
            </a:pPr>
            <a:r>
              <a:rPr lang="fr-FR" sz="1108" b="1" kern="0" dirty="0">
                <a:solidFill>
                  <a:srgbClr val="000000"/>
                </a:solidFill>
              </a:rPr>
              <a:t>1997</a:t>
            </a:r>
          </a:p>
        </p:txBody>
      </p:sp>
      <p:sp>
        <p:nvSpPr>
          <p:cNvPr id="22" name="Rectangle à coins arrondis 21"/>
          <p:cNvSpPr/>
          <p:nvPr>
            <p:custDataLst>
              <p:tags r:id="rId6"/>
            </p:custDataLst>
          </p:nvPr>
        </p:nvSpPr>
        <p:spPr bwMode="auto">
          <a:xfrm>
            <a:off x="6948488" y="3807977"/>
            <a:ext cx="963612" cy="706437"/>
          </a:xfrm>
          <a:prstGeom prst="roundRect">
            <a:avLst/>
          </a:prstGeom>
          <a:ln>
            <a:solidFill>
              <a:schemeClr val="accent3">
                <a:lumMod val="50000"/>
              </a:schemeClr>
            </a:solidFill>
          </a:ln>
        </p:spPr>
        <p:style>
          <a:lnRef idx="1">
            <a:schemeClr val="accent2"/>
          </a:lnRef>
          <a:fillRef idx="2">
            <a:schemeClr val="accent2"/>
          </a:fillRef>
          <a:effectRef idx="1">
            <a:schemeClr val="accent2"/>
          </a:effectRef>
          <a:fontRef idx="minor">
            <a:schemeClr val="dk1"/>
          </a:fontRef>
        </p:style>
        <p:txBody>
          <a:bodyPr lIns="66462" tIns="44259" rIns="66462" bIns="44259" anchor="ctr"/>
          <a:lstStyle/>
          <a:p>
            <a:pPr algn="ctr" eaLnBrk="1" hangingPunct="1">
              <a:spcBef>
                <a:spcPct val="50000"/>
              </a:spcBef>
              <a:defRPr/>
            </a:pPr>
            <a:r>
              <a:rPr lang="fr-FR" sz="1108" b="1" kern="0" dirty="0">
                <a:solidFill>
                  <a:srgbClr val="000000"/>
                </a:solidFill>
              </a:rPr>
              <a:t>1976</a:t>
            </a:r>
          </a:p>
        </p:txBody>
      </p:sp>
      <p:sp>
        <p:nvSpPr>
          <p:cNvPr id="23" name="Rectangle à coins arrondis 22"/>
          <p:cNvSpPr/>
          <p:nvPr>
            <p:custDataLst>
              <p:tags r:id="rId7"/>
            </p:custDataLst>
          </p:nvPr>
        </p:nvSpPr>
        <p:spPr bwMode="auto">
          <a:xfrm>
            <a:off x="8040688" y="3807977"/>
            <a:ext cx="963612" cy="706437"/>
          </a:xfrm>
          <a:prstGeom prst="roundRect">
            <a:avLst/>
          </a:prstGeom>
          <a:ln>
            <a:solidFill>
              <a:schemeClr val="accent3">
                <a:lumMod val="50000"/>
              </a:schemeClr>
            </a:solidFill>
          </a:ln>
        </p:spPr>
        <p:style>
          <a:lnRef idx="1">
            <a:schemeClr val="accent2"/>
          </a:lnRef>
          <a:fillRef idx="2">
            <a:schemeClr val="accent2"/>
          </a:fillRef>
          <a:effectRef idx="1">
            <a:schemeClr val="accent2"/>
          </a:effectRef>
          <a:fontRef idx="minor">
            <a:schemeClr val="dk1"/>
          </a:fontRef>
        </p:style>
        <p:txBody>
          <a:bodyPr lIns="66462" tIns="44259" rIns="66462" bIns="44259" anchor="ctr"/>
          <a:lstStyle/>
          <a:p>
            <a:pPr algn="ctr" eaLnBrk="1" hangingPunct="1">
              <a:spcBef>
                <a:spcPct val="50000"/>
              </a:spcBef>
              <a:defRPr/>
            </a:pPr>
            <a:r>
              <a:rPr lang="fr-FR" sz="1108" b="1" kern="0" dirty="0">
                <a:solidFill>
                  <a:srgbClr val="000000"/>
                </a:solidFill>
              </a:rPr>
              <a:t>1963</a:t>
            </a:r>
          </a:p>
        </p:txBody>
      </p:sp>
      <p:sp>
        <p:nvSpPr>
          <p:cNvPr id="27" name="Rectangle avec flèche vers le haut 26"/>
          <p:cNvSpPr/>
          <p:nvPr/>
        </p:nvSpPr>
        <p:spPr bwMode="auto">
          <a:xfrm>
            <a:off x="5779392" y="4636525"/>
            <a:ext cx="1130424" cy="914400"/>
          </a:xfrm>
          <a:prstGeom prst="upArrowCallout">
            <a:avLst>
              <a:gd name="adj1" fmla="val 0"/>
              <a:gd name="adj2" fmla="val 11458"/>
              <a:gd name="adj3" fmla="val 25000"/>
              <a:gd name="adj4" fmla="val 64977"/>
            </a:avLst>
          </a:prstGeom>
          <a:ln>
            <a:no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1001">
            <a:schemeClr val="dk2"/>
          </a:fillRef>
          <a:effectRef idx="3">
            <a:schemeClr val="accent2"/>
          </a:effectRef>
          <a:fontRef idx="minor">
            <a:schemeClr val="lt1"/>
          </a:fontRef>
        </p:style>
        <p:txBody>
          <a:bodyPr lIns="91436" tIns="45718" rIns="91436" bIns="45718" anchor="ctr"/>
          <a:lstStyle/>
          <a:p>
            <a:pPr algn="ctr" defTabSz="914099">
              <a:defRPr/>
            </a:pPr>
            <a:r>
              <a:rPr lang="fr-FR" sz="1200" b="1" kern="0" dirty="0">
                <a:solidFill>
                  <a:schemeClr val="bg1"/>
                </a:solidFill>
                <a:latin typeface="Trebuchet MS" panose="020B0603020202020204" pitchFamily="34" charset="0"/>
                <a:cs typeface="Sakkal Majalla" panose="02000000000000000000" pitchFamily="2" charset="-78"/>
              </a:rPr>
              <a:t>1</a:t>
            </a:r>
            <a:r>
              <a:rPr lang="fr-FR" sz="1200" b="1" kern="0" baseline="30000" dirty="0">
                <a:solidFill>
                  <a:schemeClr val="bg1"/>
                </a:solidFill>
                <a:latin typeface="Trebuchet MS" panose="020B0603020202020204" pitchFamily="34" charset="0"/>
                <a:cs typeface="Sakkal Majalla" panose="02000000000000000000" pitchFamily="2" charset="-78"/>
              </a:rPr>
              <a:t>ère</a:t>
            </a:r>
            <a:r>
              <a:rPr lang="fr-FR" sz="1200" b="1" kern="0" dirty="0">
                <a:solidFill>
                  <a:schemeClr val="bg1"/>
                </a:solidFill>
                <a:latin typeface="Trebuchet MS" panose="020B0603020202020204" pitchFamily="34" charset="0"/>
                <a:cs typeface="Sakkal Majalla" panose="02000000000000000000" pitchFamily="2" charset="-78"/>
              </a:rPr>
              <a:t> loi sur </a:t>
            </a:r>
            <a:r>
              <a:rPr lang="fr-FR" sz="1200" b="1" kern="0" dirty="0" smtClean="0">
                <a:solidFill>
                  <a:schemeClr val="bg1"/>
                </a:solidFill>
                <a:latin typeface="Trebuchet MS" panose="020B0603020202020204" pitchFamily="34" charset="0"/>
                <a:cs typeface="Sakkal Majalla" panose="02000000000000000000" pitchFamily="2" charset="-78"/>
              </a:rPr>
              <a:t>régions</a:t>
            </a:r>
            <a:endParaRPr lang="fr-FR" sz="1200" b="1" kern="0" dirty="0">
              <a:solidFill>
                <a:schemeClr val="bg1"/>
              </a:solidFill>
              <a:latin typeface="Trebuchet MS" panose="020B0603020202020204" pitchFamily="34" charset="0"/>
              <a:cs typeface="Sakkal Majalla" panose="02000000000000000000" pitchFamily="2" charset="-78"/>
            </a:endParaRPr>
          </a:p>
        </p:txBody>
      </p:sp>
      <p:sp>
        <p:nvSpPr>
          <p:cNvPr id="3" name="Rectangle avec flèche vers le bas 2"/>
          <p:cNvSpPr/>
          <p:nvPr/>
        </p:nvSpPr>
        <p:spPr bwMode="auto">
          <a:xfrm>
            <a:off x="4627288" y="2786021"/>
            <a:ext cx="1130400" cy="914400"/>
          </a:xfrm>
          <a:prstGeom prst="downArrowCallout">
            <a:avLst>
              <a:gd name="adj1" fmla="val 0"/>
              <a:gd name="adj2" fmla="val 14583"/>
              <a:gd name="adj3" fmla="val 25000"/>
              <a:gd name="adj4" fmla="val 64977"/>
            </a:avLst>
          </a:prstGeom>
          <a:ln>
            <a:no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r>
              <a:rPr lang="fr-FR" sz="1200" b="1" kern="0" dirty="0" smtClean="0">
                <a:solidFill>
                  <a:schemeClr val="bg1"/>
                </a:solidFill>
                <a:latin typeface="Trebuchet MS" panose="020B0603020202020204" pitchFamily="34" charset="0"/>
                <a:cs typeface="Sakkal Majalla" panose="02000000000000000000" pitchFamily="2" charset="-78"/>
              </a:rPr>
              <a:t>Adoption </a:t>
            </a:r>
            <a:r>
              <a:rPr lang="fr-FR" sz="1200" b="1" kern="0" dirty="0">
                <a:solidFill>
                  <a:schemeClr val="bg1"/>
                </a:solidFill>
                <a:latin typeface="Trebuchet MS" panose="020B0603020202020204" pitchFamily="34" charset="0"/>
                <a:cs typeface="Sakkal Majalla" panose="02000000000000000000" pitchFamily="2" charset="-78"/>
              </a:rPr>
              <a:t>charte communale</a:t>
            </a:r>
          </a:p>
        </p:txBody>
      </p:sp>
      <p:sp>
        <p:nvSpPr>
          <p:cNvPr id="28" name="Rectangle avec flèche vers le bas 27"/>
          <p:cNvSpPr/>
          <p:nvPr/>
        </p:nvSpPr>
        <p:spPr bwMode="auto">
          <a:xfrm>
            <a:off x="6859536" y="2786021"/>
            <a:ext cx="1130400" cy="914400"/>
          </a:xfrm>
          <a:prstGeom prst="downArrowCallout">
            <a:avLst>
              <a:gd name="adj1" fmla="val 0"/>
              <a:gd name="adj2" fmla="val 14583"/>
              <a:gd name="adj3" fmla="val 25000"/>
              <a:gd name="adj4" fmla="val 64977"/>
            </a:avLst>
          </a:prstGeom>
          <a:ln>
            <a:no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r>
              <a:rPr lang="fr-FR" sz="1200" b="1" kern="0" dirty="0">
                <a:solidFill>
                  <a:schemeClr val="bg1"/>
                </a:solidFill>
                <a:latin typeface="Trebuchet MS" panose="020B0603020202020204" pitchFamily="34" charset="0"/>
                <a:cs typeface="Sakkal Majalla" panose="02000000000000000000" pitchFamily="2" charset="-78"/>
              </a:rPr>
              <a:t>Loi portant organisation communale</a:t>
            </a:r>
          </a:p>
        </p:txBody>
      </p:sp>
      <p:sp>
        <p:nvSpPr>
          <p:cNvPr id="29" name="Rectangle avec flèche vers le bas 28"/>
          <p:cNvSpPr/>
          <p:nvPr/>
        </p:nvSpPr>
        <p:spPr bwMode="auto">
          <a:xfrm>
            <a:off x="8976320" y="2786021"/>
            <a:ext cx="1130400" cy="914400"/>
          </a:xfrm>
          <a:prstGeom prst="downArrowCallout">
            <a:avLst>
              <a:gd name="adj1" fmla="val 0"/>
              <a:gd name="adj2" fmla="val 14583"/>
              <a:gd name="adj3" fmla="val 25000"/>
              <a:gd name="adj4" fmla="val 64977"/>
            </a:avLst>
          </a:prstGeom>
          <a:ln>
            <a:no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r>
              <a:rPr lang="fr-FR" sz="1200" b="1" kern="0" dirty="0" smtClean="0">
                <a:solidFill>
                  <a:schemeClr val="bg1"/>
                </a:solidFill>
                <a:latin typeface="Trebuchet MS" panose="020B0603020202020204" pitchFamily="34" charset="0"/>
                <a:cs typeface="Sakkal Majalla" panose="02000000000000000000" pitchFamily="2" charset="-78"/>
              </a:rPr>
              <a:t>1</a:t>
            </a:r>
            <a:r>
              <a:rPr lang="fr-FR" sz="1200" b="1" kern="0" baseline="30000" dirty="0" smtClean="0">
                <a:solidFill>
                  <a:schemeClr val="bg1"/>
                </a:solidFill>
                <a:latin typeface="Trebuchet MS" panose="020B0603020202020204" pitchFamily="34" charset="0"/>
                <a:cs typeface="Sakkal Majalla" panose="02000000000000000000" pitchFamily="2" charset="-78"/>
              </a:rPr>
              <a:t>er</a:t>
            </a:r>
            <a:r>
              <a:rPr lang="fr-FR" sz="1200" b="1" kern="0" dirty="0" smtClean="0">
                <a:solidFill>
                  <a:schemeClr val="bg1"/>
                </a:solidFill>
                <a:latin typeface="Trebuchet MS" panose="020B0603020202020204" pitchFamily="34" charset="0"/>
                <a:cs typeface="Sakkal Majalla" panose="02000000000000000000" pitchFamily="2" charset="-78"/>
              </a:rPr>
              <a:t> statut communal</a:t>
            </a:r>
            <a:endParaRPr lang="fr-FR" sz="2300" dirty="0">
              <a:solidFill>
                <a:schemeClr val="bg1"/>
              </a:solidFill>
              <a:effectLst>
                <a:outerShdw blurRad="38100" dist="38100" dir="2700000" algn="tl">
                  <a:srgbClr val="000000">
                    <a:alpha val="43137"/>
                  </a:srgbClr>
                </a:outerShdw>
              </a:effectLst>
              <a:latin typeface="Trebuchet MS" panose="020B0603020202020204" pitchFamily="34" charset="0"/>
            </a:endParaRPr>
          </a:p>
        </p:txBody>
      </p:sp>
      <p:sp>
        <p:nvSpPr>
          <p:cNvPr id="32" name="Rectangle à coins arrondis 31"/>
          <p:cNvSpPr/>
          <p:nvPr>
            <p:custDataLst>
              <p:tags r:id="rId8"/>
            </p:custDataLst>
          </p:nvPr>
        </p:nvSpPr>
        <p:spPr bwMode="auto">
          <a:xfrm>
            <a:off x="1963738" y="3787338"/>
            <a:ext cx="963612" cy="706438"/>
          </a:xfrm>
          <a:prstGeom prst="roundRect">
            <a:avLst/>
          </a:prstGeom>
          <a:ln>
            <a:solidFill>
              <a:schemeClr val="accent3">
                <a:lumMod val="50000"/>
              </a:schemeClr>
            </a:solidFill>
          </a:ln>
        </p:spPr>
        <p:style>
          <a:lnRef idx="1">
            <a:schemeClr val="accent2"/>
          </a:lnRef>
          <a:fillRef idx="2">
            <a:schemeClr val="accent2"/>
          </a:fillRef>
          <a:effectRef idx="1">
            <a:schemeClr val="accent2"/>
          </a:effectRef>
          <a:fontRef idx="minor">
            <a:schemeClr val="dk1"/>
          </a:fontRef>
        </p:style>
        <p:txBody>
          <a:bodyPr lIns="66462" tIns="44259" rIns="66462" bIns="44259" anchor="ctr"/>
          <a:lstStyle/>
          <a:p>
            <a:pPr algn="ctr" eaLnBrk="1" hangingPunct="1">
              <a:spcBef>
                <a:spcPct val="50000"/>
              </a:spcBef>
              <a:defRPr/>
            </a:pPr>
            <a:r>
              <a:rPr lang="ar-MA" sz="1108" b="1" kern="0" dirty="0">
                <a:solidFill>
                  <a:srgbClr val="000000"/>
                </a:solidFill>
              </a:rPr>
              <a:t>2015/2011</a:t>
            </a:r>
            <a:endParaRPr lang="fr-FR" sz="1108" b="1" kern="0" dirty="0">
              <a:solidFill>
                <a:srgbClr val="000000"/>
              </a:solidFill>
            </a:endParaRPr>
          </a:p>
        </p:txBody>
      </p:sp>
      <p:sp>
        <p:nvSpPr>
          <p:cNvPr id="33" name="Légende encadrée 1 32"/>
          <p:cNvSpPr/>
          <p:nvPr/>
        </p:nvSpPr>
        <p:spPr bwMode="auto">
          <a:xfrm>
            <a:off x="2135188" y="5608202"/>
            <a:ext cx="1346200" cy="612775"/>
          </a:xfrm>
          <a:prstGeom prst="borderCallout1">
            <a:avLst>
              <a:gd name="adj1" fmla="val -3016"/>
              <a:gd name="adj2" fmla="val 48959"/>
              <a:gd name="adj3" fmla="val -179788"/>
              <a:gd name="adj4" fmla="val 20351"/>
            </a:avLst>
          </a:prstGeom>
          <a:ln>
            <a:solidFill>
              <a:schemeClr val="accent1">
                <a:lumMod val="50000"/>
              </a:schemeClr>
            </a:solidFill>
            <a:headEnd type="triangle" w="med" len="med"/>
            <a:tailEnd type="none" w="med" len="med"/>
          </a:ln>
        </p:spPr>
        <p:style>
          <a:lnRef idx="1">
            <a:schemeClr val="accent1"/>
          </a:lnRef>
          <a:fillRef idx="2">
            <a:schemeClr val="accent1"/>
          </a:fillRef>
          <a:effectRef idx="1">
            <a:schemeClr val="accent1"/>
          </a:effectRef>
          <a:fontRef idx="minor">
            <a:schemeClr val="dk1"/>
          </a:fontRef>
        </p:style>
        <p:txBody>
          <a:bodyPr lIns="91436" tIns="45718" rIns="91436" bIns="45718" anchor="ctr"/>
          <a:lstStyle/>
          <a:p>
            <a:pPr algn="ctr" defTabSz="914099">
              <a:defRPr/>
            </a:pPr>
            <a:r>
              <a:rPr lang="fr-FR" sz="1200" b="1" kern="0" dirty="0" smtClean="0">
                <a:solidFill>
                  <a:srgbClr val="002060"/>
                </a:solidFill>
                <a:latin typeface="Trebuchet MS" panose="020B0603020202020204" pitchFamily="34" charset="0"/>
                <a:cs typeface="Sakkal Majalla" panose="02000000000000000000" pitchFamily="2" charset="-78"/>
              </a:rPr>
              <a:t>Adoption 3 LOCT</a:t>
            </a:r>
            <a:endParaRPr lang="fr-FR" sz="1200" b="1" kern="0" dirty="0">
              <a:solidFill>
                <a:srgbClr val="002060"/>
              </a:solidFill>
              <a:latin typeface="Trebuchet MS" panose="020B0603020202020204" pitchFamily="34" charset="0"/>
              <a:cs typeface="Sakkal Majalla" panose="02000000000000000000" pitchFamily="2" charset="-78"/>
            </a:endParaRPr>
          </a:p>
        </p:txBody>
      </p:sp>
      <p:sp>
        <p:nvSpPr>
          <p:cNvPr id="35" name="Rectangle avec flèche vers le haut 34"/>
          <p:cNvSpPr/>
          <p:nvPr/>
        </p:nvSpPr>
        <p:spPr bwMode="auto">
          <a:xfrm>
            <a:off x="7968208" y="4636525"/>
            <a:ext cx="1130424" cy="914400"/>
          </a:xfrm>
          <a:prstGeom prst="upArrowCallout">
            <a:avLst>
              <a:gd name="adj1" fmla="val 0"/>
              <a:gd name="adj2" fmla="val 11458"/>
              <a:gd name="adj3" fmla="val 25000"/>
              <a:gd name="adj4" fmla="val 64977"/>
            </a:avLst>
          </a:prstGeom>
          <a:ln>
            <a:no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1001">
            <a:schemeClr val="dk2"/>
          </a:fillRef>
          <a:effectRef idx="3">
            <a:schemeClr val="accent2"/>
          </a:effectRef>
          <a:fontRef idx="minor">
            <a:schemeClr val="lt1"/>
          </a:fontRef>
        </p:style>
        <p:txBody>
          <a:bodyPr lIns="91436" tIns="45718" rIns="91436" bIns="45718" anchor="ctr"/>
          <a:lstStyle/>
          <a:p>
            <a:pPr algn="ctr" defTabSz="914099">
              <a:defRPr/>
            </a:pPr>
            <a:r>
              <a:rPr lang="fr-FR" sz="1200" b="1" kern="0" dirty="0" smtClean="0">
                <a:solidFill>
                  <a:schemeClr val="bg1"/>
                </a:solidFill>
                <a:latin typeface="Trebuchet MS" panose="020B0603020202020204" pitchFamily="34" charset="0"/>
                <a:cs typeface="Sakkal Majalla" panose="02000000000000000000" pitchFamily="2" charset="-78"/>
              </a:rPr>
              <a:t>1</a:t>
            </a:r>
            <a:r>
              <a:rPr lang="fr-FR" sz="1200" b="1" kern="0" baseline="30000" dirty="0" smtClean="0">
                <a:solidFill>
                  <a:schemeClr val="bg1"/>
                </a:solidFill>
                <a:latin typeface="Trebuchet MS" panose="020B0603020202020204" pitchFamily="34" charset="0"/>
                <a:cs typeface="Sakkal Majalla" panose="02000000000000000000" pitchFamily="2" charset="-78"/>
              </a:rPr>
              <a:t>ère</a:t>
            </a:r>
            <a:r>
              <a:rPr lang="fr-FR" sz="1200" b="1" kern="0" dirty="0" smtClean="0">
                <a:solidFill>
                  <a:schemeClr val="bg1"/>
                </a:solidFill>
                <a:latin typeface="Trebuchet MS" panose="020B0603020202020204" pitchFamily="34" charset="0"/>
                <a:cs typeface="Sakkal Majalla" panose="02000000000000000000" pitchFamily="2" charset="-78"/>
              </a:rPr>
              <a:t> loi sur </a:t>
            </a:r>
            <a:r>
              <a:rPr lang="fr-FR" sz="1200" b="1" kern="0" dirty="0" err="1" smtClean="0">
                <a:solidFill>
                  <a:schemeClr val="bg1"/>
                </a:solidFill>
                <a:latin typeface="Trebuchet MS" panose="020B0603020202020204" pitchFamily="34" charset="0"/>
                <a:cs typeface="Sakkal Majalla" panose="02000000000000000000" pitchFamily="2" charset="-78"/>
              </a:rPr>
              <a:t>préf</a:t>
            </a:r>
            <a:r>
              <a:rPr lang="fr-FR" sz="1200" b="1" kern="0" dirty="0" smtClean="0">
                <a:solidFill>
                  <a:schemeClr val="bg1"/>
                </a:solidFill>
                <a:latin typeface="Trebuchet MS" panose="020B0603020202020204" pitchFamily="34" charset="0"/>
                <a:cs typeface="Sakkal Majalla" panose="02000000000000000000" pitchFamily="2" charset="-78"/>
              </a:rPr>
              <a:t>/</a:t>
            </a:r>
            <a:r>
              <a:rPr lang="fr-FR" sz="1200" b="1" kern="0" dirty="0" err="1" smtClean="0">
                <a:solidFill>
                  <a:schemeClr val="bg1"/>
                </a:solidFill>
                <a:latin typeface="Trebuchet MS" panose="020B0603020202020204" pitchFamily="34" charset="0"/>
                <a:cs typeface="Sakkal Majalla" panose="02000000000000000000" pitchFamily="2" charset="-78"/>
              </a:rPr>
              <a:t>prov</a:t>
            </a:r>
            <a:endParaRPr lang="fr-FR" sz="1200" b="1" kern="0" dirty="0">
              <a:solidFill>
                <a:schemeClr val="bg1"/>
              </a:solidFill>
              <a:latin typeface="Trebuchet MS" panose="020B0603020202020204" pitchFamily="34" charset="0"/>
              <a:cs typeface="Sakkal Majalla" panose="02000000000000000000" pitchFamily="2" charset="-78"/>
            </a:endParaRPr>
          </a:p>
        </p:txBody>
      </p:sp>
      <p:sp>
        <p:nvSpPr>
          <p:cNvPr id="17445" name="AutoShape 56" descr="ÙØªÙØ¬Ø© Ø¨Ø­Ø« Ø§ÙØµÙØ± Ø¹Ù ØªØ­Ø¯ÙØ¯ Ø§ÙØ£ÙØ¯Ø§Ù"/>
          <p:cNvSpPr>
            <a:spLocks noChangeAspect="1" noChangeArrowheads="1"/>
          </p:cNvSpPr>
          <p:nvPr/>
        </p:nvSpPr>
        <p:spPr bwMode="auto">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20000"/>
              </a:spcBef>
              <a:buBlip>
                <a:blip r:embed="rId11"/>
              </a:buBlip>
              <a:defRPr sz="3200">
                <a:solidFill>
                  <a:schemeClr val="tx1"/>
                </a:solidFill>
                <a:latin typeface="Calibri" panose="020F0502020204030204" pitchFamily="34" charset="0"/>
              </a:defRPr>
            </a:lvl1pPr>
            <a:lvl2pPr marL="742950" indent="-285750">
              <a:lnSpc>
                <a:spcPct val="90000"/>
              </a:lnSpc>
              <a:spcBef>
                <a:spcPct val="20000"/>
              </a:spcBef>
              <a:buBlip>
                <a:blip r:embed="rId12"/>
              </a:buBlip>
              <a:defRPr sz="2800">
                <a:solidFill>
                  <a:schemeClr val="tx1"/>
                </a:solidFill>
                <a:latin typeface="Calibri" panose="020F0502020204030204" pitchFamily="34" charset="0"/>
              </a:defRPr>
            </a:lvl2pPr>
            <a:lvl3pPr marL="1143000" indent="-228600">
              <a:lnSpc>
                <a:spcPct val="90000"/>
              </a:lnSpc>
              <a:spcBef>
                <a:spcPct val="20000"/>
              </a:spcBef>
              <a:buBlip>
                <a:blip r:embed="rId12"/>
              </a:buBlip>
              <a:defRPr sz="2400">
                <a:solidFill>
                  <a:schemeClr val="tx1"/>
                </a:solidFill>
                <a:latin typeface="Calibri" panose="020F0502020204030204" pitchFamily="34" charset="0"/>
              </a:defRPr>
            </a:lvl3pPr>
            <a:lvl4pPr marL="1600200" indent="-228600">
              <a:lnSpc>
                <a:spcPct val="90000"/>
              </a:lnSpc>
              <a:spcBef>
                <a:spcPct val="20000"/>
              </a:spcBef>
              <a:buBlip>
                <a:blip r:embed="rId12"/>
              </a:buBlip>
              <a:defRPr sz="2400">
                <a:solidFill>
                  <a:schemeClr val="tx1"/>
                </a:solidFill>
                <a:latin typeface="Calibri" panose="020F0502020204030204" pitchFamily="34" charset="0"/>
              </a:defRPr>
            </a:lvl4pPr>
            <a:lvl5pPr marL="2057400" indent="-228600">
              <a:lnSpc>
                <a:spcPct val="90000"/>
              </a:lnSpc>
              <a:spcBef>
                <a:spcPct val="20000"/>
              </a:spcBef>
              <a:buBlip>
                <a:blip r:embed="rId12"/>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9pPr>
          </a:lstStyle>
          <a:p>
            <a:pPr eaLnBrk="1" hangingPunct="1">
              <a:lnSpc>
                <a:spcPct val="100000"/>
              </a:lnSpc>
              <a:spcBef>
                <a:spcPct val="0"/>
              </a:spcBef>
              <a:buFontTx/>
              <a:buNone/>
            </a:pPr>
            <a:endParaRPr lang="fr-FR" altLang="fr-FR" sz="1800">
              <a:latin typeface="Arial" panose="020B0604020202020204" pitchFamily="34" charset="0"/>
            </a:endParaRPr>
          </a:p>
        </p:txBody>
      </p:sp>
      <p:sp>
        <p:nvSpPr>
          <p:cNvPr id="17446" name="AutoShape 58" descr="ÙØªÙØ¬Ø© Ø¨Ø­Ø« Ø§ÙØµÙØ± Ø¹Ù ØªØ­Ø¯ÙØ¯ Ø§ÙØ£ÙØ¯Ø§Ù"/>
          <p:cNvSpPr>
            <a:spLocks noChangeAspect="1" noChangeArrowheads="1"/>
          </p:cNvSpPr>
          <p:nvPr/>
        </p:nvSpPr>
        <p:spPr bwMode="auto">
          <a:xfrm>
            <a:off x="1831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20000"/>
              </a:spcBef>
              <a:buBlip>
                <a:blip r:embed="rId11"/>
              </a:buBlip>
              <a:defRPr sz="3200">
                <a:solidFill>
                  <a:schemeClr val="tx1"/>
                </a:solidFill>
                <a:latin typeface="Calibri" panose="020F0502020204030204" pitchFamily="34" charset="0"/>
              </a:defRPr>
            </a:lvl1pPr>
            <a:lvl2pPr marL="742950" indent="-285750">
              <a:lnSpc>
                <a:spcPct val="90000"/>
              </a:lnSpc>
              <a:spcBef>
                <a:spcPct val="20000"/>
              </a:spcBef>
              <a:buBlip>
                <a:blip r:embed="rId12"/>
              </a:buBlip>
              <a:defRPr sz="2800">
                <a:solidFill>
                  <a:schemeClr val="tx1"/>
                </a:solidFill>
                <a:latin typeface="Calibri" panose="020F0502020204030204" pitchFamily="34" charset="0"/>
              </a:defRPr>
            </a:lvl2pPr>
            <a:lvl3pPr marL="1143000" indent="-228600">
              <a:lnSpc>
                <a:spcPct val="90000"/>
              </a:lnSpc>
              <a:spcBef>
                <a:spcPct val="20000"/>
              </a:spcBef>
              <a:buBlip>
                <a:blip r:embed="rId12"/>
              </a:buBlip>
              <a:defRPr sz="2400">
                <a:solidFill>
                  <a:schemeClr val="tx1"/>
                </a:solidFill>
                <a:latin typeface="Calibri" panose="020F0502020204030204" pitchFamily="34" charset="0"/>
              </a:defRPr>
            </a:lvl3pPr>
            <a:lvl4pPr marL="1600200" indent="-228600">
              <a:lnSpc>
                <a:spcPct val="90000"/>
              </a:lnSpc>
              <a:spcBef>
                <a:spcPct val="20000"/>
              </a:spcBef>
              <a:buBlip>
                <a:blip r:embed="rId12"/>
              </a:buBlip>
              <a:defRPr sz="2400">
                <a:solidFill>
                  <a:schemeClr val="tx1"/>
                </a:solidFill>
                <a:latin typeface="Calibri" panose="020F0502020204030204" pitchFamily="34" charset="0"/>
              </a:defRPr>
            </a:lvl4pPr>
            <a:lvl5pPr marL="2057400" indent="-228600">
              <a:lnSpc>
                <a:spcPct val="90000"/>
              </a:lnSpc>
              <a:spcBef>
                <a:spcPct val="20000"/>
              </a:spcBef>
              <a:buBlip>
                <a:blip r:embed="rId12"/>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9pPr>
          </a:lstStyle>
          <a:p>
            <a:pPr eaLnBrk="1" hangingPunct="1">
              <a:lnSpc>
                <a:spcPct val="100000"/>
              </a:lnSpc>
              <a:spcBef>
                <a:spcPct val="0"/>
              </a:spcBef>
              <a:buFontTx/>
              <a:buNone/>
            </a:pPr>
            <a:endParaRPr lang="fr-FR" altLang="fr-FR" sz="1800">
              <a:latin typeface="Arial" panose="020B0604020202020204" pitchFamily="34" charset="0"/>
            </a:endParaRPr>
          </a:p>
        </p:txBody>
      </p:sp>
      <p:sp>
        <p:nvSpPr>
          <p:cNvPr id="34" name="Rectangle avec flèche vers le haut 33"/>
          <p:cNvSpPr/>
          <p:nvPr/>
        </p:nvSpPr>
        <p:spPr bwMode="auto">
          <a:xfrm>
            <a:off x="3575720" y="4636525"/>
            <a:ext cx="1130424" cy="914400"/>
          </a:xfrm>
          <a:prstGeom prst="upArrowCallout">
            <a:avLst>
              <a:gd name="adj1" fmla="val 0"/>
              <a:gd name="adj2" fmla="val 11458"/>
              <a:gd name="adj3" fmla="val 25000"/>
              <a:gd name="adj4" fmla="val 64977"/>
            </a:avLst>
          </a:prstGeom>
          <a:ln>
            <a:noFill/>
            <a:headEnd type="none" w="med" len="med"/>
            <a:tailEnd type="none" w="med" len="me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1001">
            <a:schemeClr val="dk2"/>
          </a:fillRef>
          <a:effectRef idx="3">
            <a:schemeClr val="accent2"/>
          </a:effectRef>
          <a:fontRef idx="minor">
            <a:schemeClr val="lt1"/>
          </a:fontRef>
        </p:style>
        <p:txBody>
          <a:bodyPr lIns="91436" tIns="45718" rIns="91436" bIns="45718" anchor="ctr"/>
          <a:lstStyle/>
          <a:p>
            <a:pPr algn="ctr" defTabSz="914099" rtl="1">
              <a:defRPr/>
            </a:pPr>
            <a:r>
              <a:rPr lang="fr-FR" sz="1200" b="1" kern="0" dirty="0">
                <a:solidFill>
                  <a:schemeClr val="bg1"/>
                </a:solidFill>
                <a:latin typeface="Trebuchet MS" panose="020B0603020202020204" pitchFamily="34" charset="0"/>
                <a:cs typeface="Sakkal Majalla" panose="02000000000000000000" pitchFamily="2" charset="-78"/>
              </a:rPr>
              <a:t>Réforme charte communale</a:t>
            </a:r>
          </a:p>
        </p:txBody>
      </p:sp>
      <p:pic>
        <p:nvPicPr>
          <p:cNvPr id="37" name="Picture 6" descr="bar70[1]"/>
          <p:cNvPicPr>
            <a:picLocks noChangeAspect="1" noChangeArrowheads="1" noCrop="1"/>
          </p:cNvPicPr>
          <p:nvPr/>
        </p:nvPicPr>
        <p:blipFill>
          <a:blip r:embed="rId13">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ectangle 37">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altLang="fr-FR" sz="3000" b="1" i="1" dirty="0">
                <a:latin typeface="Candara" pitchFamily="34" charset="0"/>
              </a:rPr>
              <a:t>La décentralisation: Un</a:t>
            </a:r>
            <a:r>
              <a:rPr lang="fr-FR" altLang="fr-FR" sz="3000" i="1" dirty="0">
                <a:solidFill>
                  <a:schemeClr val="bg1"/>
                </a:solidFill>
                <a:latin typeface="Candara" pitchFamily="34" charset="0"/>
              </a:rPr>
              <a:t> </a:t>
            </a:r>
            <a:r>
              <a:rPr lang="fr-FR" altLang="fr-FR" sz="3000" b="1" i="1" dirty="0">
                <a:latin typeface="Candara" pitchFamily="34" charset="0"/>
              </a:rPr>
              <a:t>processus</a:t>
            </a:r>
            <a:r>
              <a:rPr lang="fr-FR" altLang="fr-FR" sz="3000" i="1" dirty="0">
                <a:solidFill>
                  <a:schemeClr val="bg1"/>
                </a:solidFill>
                <a:latin typeface="Candara" pitchFamily="34" charset="0"/>
              </a:rPr>
              <a:t> </a:t>
            </a:r>
            <a:r>
              <a:rPr lang="fr-FR" altLang="fr-FR" sz="3000" b="1" i="1" dirty="0">
                <a:latin typeface="Candara" pitchFamily="34" charset="0"/>
              </a:rPr>
              <a:t>évolutif</a:t>
            </a:r>
            <a:r>
              <a:rPr lang="fr-FR" altLang="fr-FR" sz="3000" i="1" dirty="0">
                <a:solidFill>
                  <a:schemeClr val="bg1"/>
                </a:solidFill>
                <a:latin typeface="Candara" pitchFamily="34" charset="0"/>
              </a:rPr>
              <a:t> </a:t>
            </a:r>
            <a:r>
              <a:rPr lang="fr-FR" altLang="fr-FR" sz="3000" b="1" i="1" dirty="0">
                <a:latin typeface="Candara" pitchFamily="34" charset="0"/>
              </a:rPr>
              <a:t>et</a:t>
            </a:r>
            <a:r>
              <a:rPr lang="fr-FR" altLang="fr-FR" sz="3000" i="1" dirty="0">
                <a:solidFill>
                  <a:schemeClr val="bg1"/>
                </a:solidFill>
                <a:latin typeface="Candara" pitchFamily="34" charset="0"/>
              </a:rPr>
              <a:t> </a:t>
            </a:r>
            <a:r>
              <a:rPr lang="fr-FR" altLang="fr-FR" sz="3000" b="1" i="1" dirty="0" smtClean="0">
                <a:latin typeface="Candara" pitchFamily="34" charset="0"/>
              </a:rPr>
              <a:t>dynamique</a:t>
            </a:r>
            <a:endParaRPr lang="fr-FR" altLang="fr-FR" sz="3000" b="1" dirty="0">
              <a:latin typeface="Trebuchet MS" panose="020B0603020202020204" pitchFamily="34" charset="0"/>
              <a:cs typeface="Times New Roman" panose="02020603050405020304" pitchFamily="18" charset="0"/>
            </a:endParaRPr>
          </a:p>
        </p:txBody>
      </p:sp>
      <p:grpSp>
        <p:nvGrpSpPr>
          <p:cNvPr id="39" name="Groupe 38"/>
          <p:cNvGrpSpPr/>
          <p:nvPr/>
        </p:nvGrpSpPr>
        <p:grpSpPr>
          <a:xfrm>
            <a:off x="9495481" y="1919137"/>
            <a:ext cx="1180359" cy="768908"/>
            <a:chOff x="682570" y="4791373"/>
            <a:chExt cx="1180359" cy="768908"/>
          </a:xfrm>
        </p:grpSpPr>
        <p:sp>
          <p:nvSpPr>
            <p:cNvPr id="40" name="Rectangle 39"/>
            <p:cNvSpPr/>
            <p:nvPr/>
          </p:nvSpPr>
          <p:spPr>
            <a:xfrm rot="967709">
              <a:off x="682570" y="4791373"/>
              <a:ext cx="1180359" cy="768908"/>
            </a:xfrm>
            <a:prstGeom prst="rect">
              <a:avLst/>
            </a:pr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1" name="ZoneTexte 40"/>
            <p:cNvSpPr txBox="1"/>
            <p:nvPr/>
          </p:nvSpPr>
          <p:spPr>
            <a:xfrm rot="967709">
              <a:off x="682570" y="4791373"/>
              <a:ext cx="1180359" cy="76890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4466" tIns="0" rIns="0" bIns="0" numCol="1" spcCol="1270" anchor="t" anchorCtr="0">
              <a:noAutofit/>
            </a:bodyPr>
            <a:lstStyle/>
            <a:p>
              <a:pPr lvl="0" algn="ctr" defTabSz="533400">
                <a:lnSpc>
                  <a:spcPct val="90000"/>
                </a:lnSpc>
                <a:spcBef>
                  <a:spcPct val="0"/>
                </a:spcBef>
                <a:spcAft>
                  <a:spcPct val="35000"/>
                </a:spcAft>
              </a:pPr>
              <a:r>
                <a:rPr lang="fr-FR" sz="1200" b="1" i="1" kern="1200" dirty="0" smtClean="0">
                  <a:solidFill>
                    <a:srgbClr val="0070C0"/>
                  </a:solidFill>
                  <a:latin typeface="Candara" pitchFamily="34" charset="0"/>
                </a:rPr>
                <a:t>1</a:t>
              </a:r>
              <a:r>
                <a:rPr lang="fr-FR" sz="1200" b="1" i="1" kern="1200" baseline="30000" dirty="0" smtClean="0">
                  <a:solidFill>
                    <a:srgbClr val="0070C0"/>
                  </a:solidFill>
                  <a:latin typeface="Candara" pitchFamily="34" charset="0"/>
                </a:rPr>
                <a:t>ère</a:t>
              </a:r>
              <a:r>
                <a:rPr lang="fr-FR" sz="1200" b="1" i="1" kern="1200" dirty="0" smtClean="0">
                  <a:solidFill>
                    <a:srgbClr val="0070C0"/>
                  </a:solidFill>
                  <a:latin typeface="Candara" pitchFamily="34" charset="0"/>
                </a:rPr>
                <a:t> étape: départ du processus de décentralisation (1958/1960/1963)</a:t>
              </a:r>
              <a:endParaRPr lang="fr-FR" sz="1200" b="1" i="1" kern="1200" dirty="0">
                <a:solidFill>
                  <a:srgbClr val="0070C0"/>
                </a:solidFill>
                <a:latin typeface="Candara" pitchFamily="34" charset="0"/>
              </a:endParaRPr>
            </a:p>
          </p:txBody>
        </p:sp>
      </p:grpSp>
      <p:cxnSp>
        <p:nvCxnSpPr>
          <p:cNvPr id="5" name="Connecteur droit 4"/>
          <p:cNvCxnSpPr/>
          <p:nvPr/>
        </p:nvCxnSpPr>
        <p:spPr>
          <a:xfrm>
            <a:off x="7972684" y="1590392"/>
            <a:ext cx="50752" cy="504956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42" name="Légende encadrée 1 41"/>
          <p:cNvSpPr/>
          <p:nvPr/>
        </p:nvSpPr>
        <p:spPr>
          <a:xfrm>
            <a:off x="10469543" y="3466439"/>
            <a:ext cx="1413883" cy="890350"/>
          </a:xfrm>
          <a:prstGeom prst="borderCallout1">
            <a:avLst>
              <a:gd name="adj1" fmla="val -1217"/>
              <a:gd name="adj2" fmla="val 51653"/>
              <a:gd name="adj3" fmla="val -110080"/>
              <a:gd name="adj4" fmla="val 16387"/>
            </a:avLst>
          </a:prstGeom>
          <a:solidFill>
            <a:srgbClr val="DDFFDD"/>
          </a:solidFill>
          <a:ln w="158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i="1" dirty="0" smtClean="0">
              <a:solidFill>
                <a:schemeClr val="accent6">
                  <a:lumMod val="50000"/>
                </a:schemeClr>
              </a:solidFill>
              <a:latin typeface="Candara" panose="020E0502030303020204" pitchFamily="34" charset="0"/>
            </a:endParaRPr>
          </a:p>
          <a:p>
            <a:pPr algn="ctr"/>
            <a:r>
              <a:rPr lang="fr-FR" sz="1100" i="1" dirty="0" smtClean="0">
                <a:solidFill>
                  <a:schemeClr val="accent6">
                    <a:lumMod val="50000"/>
                  </a:schemeClr>
                </a:solidFill>
                <a:latin typeface="Candara" panose="020E0502030303020204" pitchFamily="34" charset="0"/>
              </a:rPr>
              <a:t>Régime initiatique / bicéphalisme/ compétences très limitées et une mainmise de l’Etat</a:t>
            </a:r>
          </a:p>
          <a:p>
            <a:pPr algn="ctr"/>
            <a:endParaRPr lang="fr-FR" sz="1600" i="1" dirty="0">
              <a:solidFill>
                <a:schemeClr val="accent6">
                  <a:lumMod val="50000"/>
                </a:schemeClr>
              </a:solidFill>
              <a:latin typeface="Candara" panose="020E0502030303020204" pitchFamily="34" charset="0"/>
            </a:endParaRPr>
          </a:p>
        </p:txBody>
      </p:sp>
      <p:grpSp>
        <p:nvGrpSpPr>
          <p:cNvPr id="43" name="Groupe 42"/>
          <p:cNvGrpSpPr/>
          <p:nvPr/>
        </p:nvGrpSpPr>
        <p:grpSpPr>
          <a:xfrm>
            <a:off x="5423062" y="1533366"/>
            <a:ext cx="2503565" cy="2253252"/>
            <a:chOff x="1325985" y="2098920"/>
            <a:chExt cx="2503565" cy="2253252"/>
          </a:xfrm>
        </p:grpSpPr>
        <p:sp>
          <p:nvSpPr>
            <p:cNvPr id="44" name="Rectangle 43"/>
            <p:cNvSpPr/>
            <p:nvPr/>
          </p:nvSpPr>
          <p:spPr>
            <a:xfrm rot="843626">
              <a:off x="1325985" y="3636937"/>
              <a:ext cx="1345876" cy="715235"/>
            </a:xfrm>
            <a:prstGeom prst="rect">
              <a:avLst/>
            </a:pr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5" name="ZoneTexte 44"/>
            <p:cNvSpPr txBox="1"/>
            <p:nvPr/>
          </p:nvSpPr>
          <p:spPr>
            <a:xfrm rot="843626">
              <a:off x="2558986" y="2098920"/>
              <a:ext cx="1270564" cy="95364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64288" tIns="0" rIns="0" bIns="0" numCol="1" spcCol="1270" anchor="t" anchorCtr="0">
              <a:noAutofit/>
            </a:bodyPr>
            <a:lstStyle/>
            <a:p>
              <a:pPr lvl="0" algn="ctr" defTabSz="533400">
                <a:lnSpc>
                  <a:spcPct val="90000"/>
                </a:lnSpc>
                <a:spcBef>
                  <a:spcPct val="0"/>
                </a:spcBef>
                <a:spcAft>
                  <a:spcPct val="35000"/>
                </a:spcAft>
              </a:pPr>
              <a:r>
                <a:rPr lang="fr-FR" sz="1100" b="1" i="1" kern="1200" dirty="0" smtClean="0">
                  <a:solidFill>
                    <a:srgbClr val="0070C0"/>
                  </a:solidFill>
                  <a:latin typeface="Candara" pitchFamily="34" charset="0"/>
                </a:rPr>
                <a:t>2ème</a:t>
              </a:r>
              <a:r>
                <a:rPr lang="fr-FR" sz="1100" b="1" i="1" kern="1200" baseline="30000" dirty="0" smtClean="0">
                  <a:solidFill>
                    <a:srgbClr val="0070C0"/>
                  </a:solidFill>
                  <a:latin typeface="Candara" pitchFamily="34" charset="0"/>
                </a:rPr>
                <a:t> </a:t>
              </a:r>
              <a:r>
                <a:rPr lang="fr-FR" sz="1100" b="1" i="1" kern="1200" dirty="0" smtClean="0">
                  <a:solidFill>
                    <a:srgbClr val="0070C0"/>
                  </a:solidFill>
                  <a:latin typeface="Candara" pitchFamily="34" charset="0"/>
                </a:rPr>
                <a:t>étape: 1èr</a:t>
              </a:r>
              <a:r>
                <a:rPr lang="fr-FR" sz="1100" b="1" i="1" kern="1200" baseline="30000" dirty="0" smtClean="0">
                  <a:solidFill>
                    <a:srgbClr val="0070C0"/>
                  </a:solidFill>
                  <a:latin typeface="Candara" pitchFamily="34" charset="0"/>
                </a:rPr>
                <a:t> </a:t>
              </a:r>
              <a:r>
                <a:rPr lang="fr-FR" sz="1100" b="1" i="1" kern="1200" dirty="0" smtClean="0">
                  <a:solidFill>
                    <a:srgbClr val="0070C0"/>
                  </a:solidFill>
                  <a:latin typeface="Candara" pitchFamily="34" charset="0"/>
                </a:rPr>
                <a:t>acte</a:t>
              </a:r>
              <a:r>
                <a:rPr lang="fr-FR" sz="1100" b="1" i="1" kern="1200" baseline="30000" dirty="0" smtClean="0">
                  <a:solidFill>
                    <a:srgbClr val="0070C0"/>
                  </a:solidFill>
                  <a:latin typeface="Candara" pitchFamily="34" charset="0"/>
                </a:rPr>
                <a:t> </a:t>
              </a:r>
              <a:r>
                <a:rPr lang="fr-FR" sz="1100" b="1" i="1" kern="1200" dirty="0" smtClean="0">
                  <a:solidFill>
                    <a:srgbClr val="0070C0"/>
                  </a:solidFill>
                  <a:latin typeface="Candara" pitchFamily="34" charset="0"/>
                </a:rPr>
                <a:t>de</a:t>
              </a:r>
              <a:r>
                <a:rPr lang="fr-FR" sz="1100" b="1" i="1" kern="1200" baseline="30000" dirty="0" smtClean="0">
                  <a:solidFill>
                    <a:srgbClr val="0070C0"/>
                  </a:solidFill>
                  <a:latin typeface="Candara" pitchFamily="34" charset="0"/>
                </a:rPr>
                <a:t> </a:t>
              </a:r>
              <a:r>
                <a:rPr lang="fr-FR" sz="1100" b="1" i="1" kern="1200" dirty="0" smtClean="0">
                  <a:solidFill>
                    <a:srgbClr val="0070C0"/>
                  </a:solidFill>
                  <a:latin typeface="Candara" pitchFamily="34" charset="0"/>
                </a:rPr>
                <a:t>réforme</a:t>
              </a:r>
              <a:r>
                <a:rPr lang="fr-FR" sz="1100" b="1" i="1" kern="1200" baseline="30000" dirty="0" smtClean="0">
                  <a:solidFill>
                    <a:srgbClr val="0070C0"/>
                  </a:solidFill>
                  <a:latin typeface="Candara" pitchFamily="34" charset="0"/>
                </a:rPr>
                <a:t> </a:t>
              </a:r>
              <a:r>
                <a:rPr lang="fr-FR" sz="1100" b="1" i="1" kern="1200" dirty="0" smtClean="0">
                  <a:solidFill>
                    <a:srgbClr val="0070C0"/>
                  </a:solidFill>
                  <a:latin typeface="Candara" pitchFamily="34" charset="0"/>
                </a:rPr>
                <a:t>de la décentralisation</a:t>
              </a:r>
              <a:r>
                <a:rPr lang="fr-FR" sz="1100" b="1" i="1" kern="1200" baseline="30000" dirty="0" smtClean="0">
                  <a:solidFill>
                    <a:srgbClr val="0070C0"/>
                  </a:solidFill>
                  <a:latin typeface="Candara" pitchFamily="34" charset="0"/>
                </a:rPr>
                <a:t>  (</a:t>
              </a:r>
              <a:r>
                <a:rPr lang="fr-FR" sz="1100" b="1" i="1" kern="1200" dirty="0" smtClean="0">
                  <a:solidFill>
                    <a:srgbClr val="0070C0"/>
                  </a:solidFill>
                  <a:latin typeface="Candara" pitchFamily="34" charset="0"/>
                </a:rPr>
                <a:t>1976</a:t>
              </a:r>
              <a:r>
                <a:rPr lang="fr-FR" sz="1100" b="1" i="1" kern="1200" baseline="30000" dirty="0" smtClean="0">
                  <a:solidFill>
                    <a:srgbClr val="0070C0"/>
                  </a:solidFill>
                  <a:latin typeface="Candara" pitchFamily="34" charset="0"/>
                </a:rPr>
                <a:t>) </a:t>
              </a:r>
              <a:r>
                <a:rPr lang="fr-FR" sz="1100" b="1" i="1" dirty="0">
                  <a:solidFill>
                    <a:srgbClr val="0070C0"/>
                  </a:solidFill>
                  <a:latin typeface="Candara" pitchFamily="34" charset="0"/>
                </a:rPr>
                <a:t>+</a:t>
              </a:r>
              <a:r>
                <a:rPr lang="fr-FR" sz="1100" b="1" i="1" kern="1200" baseline="30000" dirty="0" smtClean="0">
                  <a:solidFill>
                    <a:srgbClr val="0070C0"/>
                  </a:solidFill>
                  <a:latin typeface="Candara" pitchFamily="34" charset="0"/>
                </a:rPr>
                <a:t> </a:t>
              </a:r>
              <a:r>
                <a:rPr lang="fr-FR" sz="1050" b="1" i="1" dirty="0" err="1" smtClean="0">
                  <a:solidFill>
                    <a:srgbClr val="0070C0"/>
                  </a:solidFill>
                  <a:latin typeface="Candara" pitchFamily="34" charset="0"/>
                </a:rPr>
                <a:t>consti</a:t>
              </a:r>
              <a:r>
                <a:rPr lang="fr-FR" sz="1050" b="1" i="1" dirty="0" smtClean="0">
                  <a:solidFill>
                    <a:srgbClr val="0070C0"/>
                  </a:solidFill>
                  <a:latin typeface="Candara" pitchFamily="34" charset="0"/>
                </a:rPr>
                <a:t>- </a:t>
              </a:r>
              <a:r>
                <a:rPr lang="fr-FR" sz="1050" b="1" i="1" dirty="0" err="1" smtClean="0">
                  <a:solidFill>
                    <a:srgbClr val="0070C0"/>
                  </a:solidFill>
                  <a:latin typeface="Candara" pitchFamily="34" charset="0"/>
                </a:rPr>
                <a:t>tutionnalisation</a:t>
              </a:r>
              <a:r>
                <a:rPr lang="fr-FR" sz="1050" b="1" i="1" dirty="0" smtClean="0">
                  <a:solidFill>
                    <a:srgbClr val="0070C0"/>
                  </a:solidFill>
                  <a:latin typeface="Candara" pitchFamily="34" charset="0"/>
                </a:rPr>
                <a:t> de la </a:t>
              </a:r>
              <a:r>
                <a:rPr lang="fr-FR" sz="1100" b="1" i="1" dirty="0" smtClean="0">
                  <a:solidFill>
                    <a:srgbClr val="0070C0"/>
                  </a:solidFill>
                  <a:latin typeface="Candara" pitchFamily="34" charset="0"/>
                </a:rPr>
                <a:t>région</a:t>
              </a:r>
              <a:endParaRPr lang="fr-FR" sz="1100" b="1" i="1" dirty="0">
                <a:solidFill>
                  <a:srgbClr val="0070C0"/>
                </a:solidFill>
                <a:latin typeface="Candara" pitchFamily="34" charset="0"/>
              </a:endParaRPr>
            </a:p>
          </p:txBody>
        </p:sp>
      </p:grpSp>
      <p:cxnSp>
        <p:nvCxnSpPr>
          <p:cNvPr id="46" name="Connecteur droit 45"/>
          <p:cNvCxnSpPr/>
          <p:nvPr/>
        </p:nvCxnSpPr>
        <p:spPr>
          <a:xfrm>
            <a:off x="5754726" y="1677675"/>
            <a:ext cx="50752" cy="504956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grpSp>
        <p:nvGrpSpPr>
          <p:cNvPr id="47" name="Groupe 46"/>
          <p:cNvGrpSpPr/>
          <p:nvPr/>
        </p:nvGrpSpPr>
        <p:grpSpPr>
          <a:xfrm>
            <a:off x="4150391" y="1937791"/>
            <a:ext cx="2666574" cy="1840582"/>
            <a:chOff x="2072085" y="1307000"/>
            <a:chExt cx="2666574" cy="1840582"/>
          </a:xfrm>
        </p:grpSpPr>
        <p:sp>
          <p:nvSpPr>
            <p:cNvPr id="48" name="Rectangle 47"/>
            <p:cNvSpPr/>
            <p:nvPr/>
          </p:nvSpPr>
          <p:spPr>
            <a:xfrm rot="671235">
              <a:off x="3296729" y="2448835"/>
              <a:ext cx="1441930" cy="698747"/>
            </a:xfrm>
            <a:prstGeom prst="rect">
              <a:avLst/>
            </a:pr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9" name="ZoneTexte 48"/>
            <p:cNvSpPr txBox="1"/>
            <p:nvPr/>
          </p:nvSpPr>
          <p:spPr>
            <a:xfrm rot="671235">
              <a:off x="2072085" y="1307000"/>
              <a:ext cx="1441930" cy="69874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7682" tIns="0" rIns="0" bIns="0" numCol="1" spcCol="1270" anchor="t" anchorCtr="0">
              <a:noAutofit/>
            </a:bodyPr>
            <a:lstStyle/>
            <a:p>
              <a:pPr lvl="0" algn="ctr" defTabSz="533400">
                <a:lnSpc>
                  <a:spcPct val="90000"/>
                </a:lnSpc>
                <a:spcBef>
                  <a:spcPct val="0"/>
                </a:spcBef>
                <a:spcAft>
                  <a:spcPct val="35000"/>
                </a:spcAft>
              </a:pPr>
              <a:r>
                <a:rPr lang="fr-FR" sz="1200" b="1" i="1" kern="1200" dirty="0" smtClean="0">
                  <a:solidFill>
                    <a:srgbClr val="0070C0"/>
                  </a:solidFill>
                  <a:latin typeface="Candara" pitchFamily="34" charset="0"/>
                </a:rPr>
                <a:t>3</a:t>
              </a:r>
              <a:r>
                <a:rPr lang="fr-FR" sz="1200" b="1" i="1" kern="1200" baseline="30000" dirty="0" smtClean="0">
                  <a:solidFill>
                    <a:srgbClr val="0070C0"/>
                  </a:solidFill>
                  <a:latin typeface="Candara" pitchFamily="34" charset="0"/>
                </a:rPr>
                <a:t>ème</a:t>
              </a:r>
              <a:r>
                <a:rPr lang="fr-FR" sz="1200" b="1" i="1" kern="1200" dirty="0" smtClean="0">
                  <a:solidFill>
                    <a:srgbClr val="0070C0"/>
                  </a:solidFill>
                  <a:latin typeface="Candara" pitchFamily="34" charset="0"/>
                </a:rPr>
                <a:t> étape: 2</a:t>
              </a:r>
              <a:r>
                <a:rPr lang="fr-FR" sz="1200" b="1" i="1" kern="1200" baseline="30000" dirty="0" smtClean="0">
                  <a:solidFill>
                    <a:srgbClr val="0070C0"/>
                  </a:solidFill>
                  <a:latin typeface="Candara" pitchFamily="34" charset="0"/>
                </a:rPr>
                <a:t>ème</a:t>
              </a:r>
              <a:r>
                <a:rPr lang="fr-FR" sz="1200" b="1" i="1" kern="1200" dirty="0" smtClean="0">
                  <a:solidFill>
                    <a:srgbClr val="0070C0"/>
                  </a:solidFill>
                  <a:latin typeface="Candara" pitchFamily="34" charset="0"/>
                </a:rPr>
                <a:t> réforme (2002) adoption charte communale</a:t>
              </a:r>
              <a:endParaRPr lang="fr-FR" sz="1200" b="1" i="1" kern="1200" dirty="0">
                <a:solidFill>
                  <a:srgbClr val="0070C0"/>
                </a:solidFill>
                <a:latin typeface="Candara" pitchFamily="34" charset="0"/>
              </a:endParaRPr>
            </a:p>
          </p:txBody>
        </p:sp>
      </p:grpSp>
      <p:sp>
        <p:nvSpPr>
          <p:cNvPr id="50" name="Légende encadrée 1 49"/>
          <p:cNvSpPr/>
          <p:nvPr/>
        </p:nvSpPr>
        <p:spPr>
          <a:xfrm>
            <a:off x="3739841" y="5751402"/>
            <a:ext cx="1960725" cy="939149"/>
          </a:xfrm>
          <a:prstGeom prst="borderCallout1">
            <a:avLst>
              <a:gd name="adj1" fmla="val 449"/>
              <a:gd name="adj2" fmla="val 51093"/>
              <a:gd name="adj3" fmla="val -114249"/>
              <a:gd name="adj4" fmla="val 50410"/>
            </a:avLst>
          </a:prstGeom>
          <a:solidFill>
            <a:srgbClr val="DDFFDD"/>
          </a:solidFill>
          <a:ln w="158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i="1" dirty="0" smtClean="0">
              <a:solidFill>
                <a:schemeClr val="accent6">
                  <a:lumMod val="50000"/>
                </a:schemeClr>
              </a:solidFill>
              <a:latin typeface="Candara" panose="020E0502030303020204" pitchFamily="34" charset="0"/>
            </a:endParaRPr>
          </a:p>
          <a:p>
            <a:pPr algn="ctr">
              <a:defRPr/>
            </a:pPr>
            <a:r>
              <a:rPr lang="fr-FR" sz="1100" i="1" dirty="0" smtClean="0">
                <a:solidFill>
                  <a:schemeClr val="accent6">
                    <a:lumMod val="50000"/>
                  </a:schemeClr>
                </a:solidFill>
                <a:latin typeface="Candara" panose="020E0502030303020204" pitchFamily="34" charset="0"/>
              </a:rPr>
              <a:t>Renforcement de compétences des communes et des </a:t>
            </a:r>
            <a:r>
              <a:rPr lang="fr-FR" sz="1100" i="1" dirty="0" err="1" smtClean="0">
                <a:solidFill>
                  <a:schemeClr val="accent6">
                    <a:lumMod val="50000"/>
                  </a:schemeClr>
                </a:solidFill>
                <a:latin typeface="Candara" panose="020E0502030303020204" pitchFamily="34" charset="0"/>
              </a:rPr>
              <a:t>prov</a:t>
            </a:r>
            <a:r>
              <a:rPr lang="fr-FR" sz="1100" i="1" dirty="0" smtClean="0">
                <a:solidFill>
                  <a:schemeClr val="accent6">
                    <a:lumMod val="50000"/>
                  </a:schemeClr>
                </a:solidFill>
                <a:latin typeface="Candara" panose="020E0502030303020204" pitchFamily="34" charset="0"/>
              </a:rPr>
              <a:t>/</a:t>
            </a:r>
            <a:r>
              <a:rPr lang="fr-FR" sz="1100" i="1" dirty="0" err="1" smtClean="0">
                <a:solidFill>
                  <a:schemeClr val="accent6">
                    <a:lumMod val="50000"/>
                  </a:schemeClr>
                </a:solidFill>
                <a:latin typeface="Candara" panose="020E0502030303020204" pitchFamily="34" charset="0"/>
              </a:rPr>
              <a:t>préf</a:t>
            </a:r>
            <a:r>
              <a:rPr lang="fr-FR" sz="1100" i="1" dirty="0" smtClean="0">
                <a:solidFill>
                  <a:schemeClr val="accent6">
                    <a:lumMod val="50000"/>
                  </a:schemeClr>
                </a:solidFill>
                <a:latin typeface="Candara" panose="020E0502030303020204" pitchFamily="34" charset="0"/>
              </a:rPr>
              <a:t> </a:t>
            </a:r>
            <a:r>
              <a:rPr lang="fr-FR" sz="1100" i="1" dirty="0" smtClean="0">
                <a:solidFill>
                  <a:schemeClr val="accent6">
                    <a:lumMod val="50000"/>
                  </a:schemeClr>
                </a:solidFill>
                <a:latin typeface="Candara" panose="020E0502030303020204" pitchFamily="34" charset="0"/>
                <a:sym typeface="Wingdings"/>
              </a:rPr>
              <a:t></a:t>
            </a:r>
            <a:r>
              <a:rPr lang="fr-FR" sz="1100" i="1" dirty="0" smtClean="0">
                <a:solidFill>
                  <a:schemeClr val="accent6">
                    <a:lumMod val="50000"/>
                  </a:schemeClr>
                </a:solidFill>
                <a:latin typeface="Candara" panose="020E0502030303020204" pitchFamily="34" charset="0"/>
              </a:rPr>
              <a:t> limitation  des actes soumis à la tutelle/ régime de l’unité de la ville</a:t>
            </a:r>
          </a:p>
          <a:p>
            <a:pPr algn="ctr"/>
            <a:endParaRPr lang="fr-FR" i="1" dirty="0">
              <a:solidFill>
                <a:schemeClr val="accent6">
                  <a:lumMod val="50000"/>
                </a:schemeClr>
              </a:solidFill>
              <a:latin typeface="Candara" panose="020E0502030303020204" pitchFamily="34" charset="0"/>
            </a:endParaRPr>
          </a:p>
        </p:txBody>
      </p:sp>
      <p:cxnSp>
        <p:nvCxnSpPr>
          <p:cNvPr id="51" name="Connecteur droit 50"/>
          <p:cNvCxnSpPr/>
          <p:nvPr/>
        </p:nvCxnSpPr>
        <p:spPr>
          <a:xfrm>
            <a:off x="3499159" y="1684781"/>
            <a:ext cx="50752" cy="504956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53" name="Légende encadrée 1 52"/>
          <p:cNvSpPr/>
          <p:nvPr/>
        </p:nvSpPr>
        <p:spPr>
          <a:xfrm>
            <a:off x="6167438" y="5754520"/>
            <a:ext cx="1857388" cy="885440"/>
          </a:xfrm>
          <a:prstGeom prst="borderCallout1">
            <a:avLst>
              <a:gd name="adj1" fmla="val 347"/>
              <a:gd name="adj2" fmla="val 47738"/>
              <a:gd name="adj3" fmla="val -117924"/>
              <a:gd name="adj4" fmla="val 47735"/>
            </a:avLst>
          </a:prstGeom>
          <a:solidFill>
            <a:srgbClr val="DDFFDD"/>
          </a:solidFill>
          <a:ln w="158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0" i="1" dirty="0" smtClean="0">
              <a:solidFill>
                <a:schemeClr val="accent6">
                  <a:lumMod val="50000"/>
                </a:schemeClr>
              </a:solidFill>
              <a:latin typeface="Candara" panose="020E0502030303020204" pitchFamily="34" charset="0"/>
            </a:endParaRPr>
          </a:p>
          <a:p>
            <a:pPr algn="ctr">
              <a:defRPr/>
            </a:pPr>
            <a:r>
              <a:rPr lang="fr-FR" sz="1100" i="1" dirty="0" smtClean="0">
                <a:solidFill>
                  <a:schemeClr val="accent6">
                    <a:lumMod val="50000"/>
                  </a:schemeClr>
                </a:solidFill>
                <a:latin typeface="Candara" panose="020E0502030303020204" pitchFamily="34" charset="0"/>
              </a:rPr>
              <a:t>révolution dans l’organisation des communes/ exécutif élu/ plus de compétences avec une tutelle forte de l’Etat</a:t>
            </a:r>
            <a:endParaRPr lang="fr-FR" i="1" dirty="0">
              <a:solidFill>
                <a:schemeClr val="accent6">
                  <a:lumMod val="50000"/>
                </a:schemeClr>
              </a:solidFill>
              <a:latin typeface="Candara" panose="020E0502030303020204" pitchFamily="34" charset="0"/>
            </a:endParaRPr>
          </a:p>
        </p:txBody>
      </p:sp>
      <p:grpSp>
        <p:nvGrpSpPr>
          <p:cNvPr id="54" name="Groupe 53"/>
          <p:cNvGrpSpPr/>
          <p:nvPr/>
        </p:nvGrpSpPr>
        <p:grpSpPr>
          <a:xfrm>
            <a:off x="329639" y="2213768"/>
            <a:ext cx="6737381" cy="1543062"/>
            <a:chOff x="225715" y="952945"/>
            <a:chExt cx="6737381" cy="1543062"/>
          </a:xfrm>
        </p:grpSpPr>
        <p:sp>
          <p:nvSpPr>
            <p:cNvPr id="55" name="Rectangle 54"/>
            <p:cNvSpPr/>
            <p:nvPr/>
          </p:nvSpPr>
          <p:spPr>
            <a:xfrm rot="11996077" flipV="1">
              <a:off x="5021055" y="1840347"/>
              <a:ext cx="1942041" cy="655660"/>
            </a:xfrm>
            <a:prstGeom prst="rect">
              <a:avLst/>
            </a:pr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6" name="ZoneTexte 55"/>
            <p:cNvSpPr txBox="1"/>
            <p:nvPr/>
          </p:nvSpPr>
          <p:spPr>
            <a:xfrm rot="1196077">
              <a:off x="225715" y="952945"/>
              <a:ext cx="1663716" cy="65566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91612" tIns="0" rIns="0" bIns="0" numCol="1" spcCol="1270" anchor="t" anchorCtr="0">
              <a:noAutofit/>
            </a:bodyPr>
            <a:lstStyle/>
            <a:p>
              <a:pPr lvl="0" algn="ctr" defTabSz="533400">
                <a:spcBef>
                  <a:spcPct val="0"/>
                </a:spcBef>
              </a:pPr>
              <a:r>
                <a:rPr lang="fr-FR" sz="1100" b="1" i="1" kern="1200" dirty="0" smtClean="0">
                  <a:solidFill>
                    <a:srgbClr val="0070C0"/>
                  </a:solidFill>
                  <a:latin typeface="Candara" pitchFamily="34" charset="0"/>
                </a:rPr>
                <a:t>4ème</a:t>
              </a:r>
              <a:r>
                <a:rPr lang="fr-FR" sz="1100" b="1" i="1" kern="1200" cap="none" spc="0" dirty="0" smtClean="0">
                  <a:ln w="18415" cmpd="sng">
                    <a:solidFill>
                      <a:srgbClr val="FFFFFF"/>
                    </a:solidFill>
                    <a:prstDash val="solid"/>
                  </a:ln>
                  <a:solidFill>
                    <a:srgbClr val="0070C0"/>
                  </a:solidFill>
                  <a:effectLst>
                    <a:outerShdw blurRad="63500" dir="3600000" algn="tl" rotWithShape="0">
                      <a:srgbClr val="000000">
                        <a:alpha val="70000"/>
                      </a:srgbClr>
                    </a:outerShdw>
                  </a:effectLst>
                  <a:latin typeface="Candara" pitchFamily="34" charset="0"/>
                </a:rPr>
                <a:t> </a:t>
              </a:r>
              <a:r>
                <a:rPr lang="fr-FR" sz="1100" b="1" i="1" kern="1200" dirty="0" smtClean="0">
                  <a:solidFill>
                    <a:srgbClr val="0070C0"/>
                  </a:solidFill>
                  <a:latin typeface="Candara" pitchFamily="34" charset="0"/>
                </a:rPr>
                <a:t>étape</a:t>
              </a:r>
              <a:r>
                <a:rPr lang="fr-FR" sz="1100" b="1" i="1" kern="1200" cap="none" spc="0" dirty="0" smtClean="0">
                  <a:ln w="18415" cmpd="sng">
                    <a:solidFill>
                      <a:srgbClr val="FFFFFF"/>
                    </a:solidFill>
                    <a:prstDash val="solid"/>
                  </a:ln>
                  <a:solidFill>
                    <a:srgbClr val="0070C0"/>
                  </a:solidFill>
                  <a:effectLst>
                    <a:outerShdw blurRad="63500" dir="3600000" algn="tl" rotWithShape="0">
                      <a:srgbClr val="000000">
                        <a:alpha val="70000"/>
                      </a:srgbClr>
                    </a:outerShdw>
                  </a:effectLst>
                  <a:latin typeface="Candara" pitchFamily="34" charset="0"/>
                </a:rPr>
                <a:t>:</a:t>
              </a:r>
            </a:p>
            <a:p>
              <a:pPr lvl="0" defTabSz="533400">
                <a:lnSpc>
                  <a:spcPct val="90000"/>
                </a:lnSpc>
                <a:spcBef>
                  <a:spcPct val="0"/>
                </a:spcBef>
                <a:spcAft>
                  <a:spcPct val="35000"/>
                </a:spcAft>
              </a:pPr>
              <a:r>
                <a:rPr lang="fr-FR" sz="1100" b="1" i="1" kern="1200" cap="none" spc="0" dirty="0" smtClean="0">
                  <a:ln w="18415" cmpd="sng">
                    <a:solidFill>
                      <a:srgbClr val="FFFFFF"/>
                    </a:solidFill>
                    <a:prstDash val="solid"/>
                  </a:ln>
                  <a:solidFill>
                    <a:srgbClr val="0070C0"/>
                  </a:solidFill>
                  <a:effectLst>
                    <a:outerShdw blurRad="63500" dir="3600000" algn="tl" rotWithShape="0">
                      <a:srgbClr val="000000">
                        <a:alpha val="70000"/>
                      </a:srgbClr>
                    </a:outerShdw>
                  </a:effectLst>
                  <a:latin typeface="Candara" pitchFamily="34" charset="0"/>
                </a:rPr>
                <a:t> </a:t>
              </a:r>
              <a:r>
                <a:rPr lang="fr-FR" sz="1100" b="1" i="1" kern="1200" dirty="0" smtClean="0">
                  <a:solidFill>
                    <a:srgbClr val="0070C0"/>
                  </a:solidFill>
                  <a:latin typeface="Candara" pitchFamily="34" charset="0"/>
                </a:rPr>
                <a:t>Constitutionnalisation</a:t>
              </a:r>
              <a:r>
                <a:rPr lang="fr-FR" sz="1100" kern="1200" dirty="0" smtClean="0">
                  <a:solidFill>
                    <a:srgbClr val="0070C0"/>
                  </a:solidFill>
                  <a:latin typeface="Trebuchet MS" pitchFamily="34" charset="0"/>
                </a:rPr>
                <a:t> </a:t>
              </a:r>
              <a:r>
                <a:rPr lang="fr-FR" sz="1100" b="1" i="1" kern="1200" dirty="0" smtClean="0">
                  <a:solidFill>
                    <a:srgbClr val="0070C0"/>
                  </a:solidFill>
                  <a:latin typeface="Candara" pitchFamily="34" charset="0"/>
                </a:rPr>
                <a:t>de</a:t>
              </a:r>
              <a:r>
                <a:rPr lang="fr-FR" sz="1100" b="1" i="1" kern="1200" cap="none" spc="0" dirty="0" smtClean="0">
                  <a:ln w="18415" cmpd="sng">
                    <a:solidFill>
                      <a:srgbClr val="FFFFFF"/>
                    </a:solidFill>
                    <a:prstDash val="solid"/>
                  </a:ln>
                  <a:solidFill>
                    <a:srgbClr val="0070C0"/>
                  </a:solidFill>
                  <a:effectLst>
                    <a:outerShdw blurRad="63500" dir="3600000" algn="tl" rotWithShape="0">
                      <a:srgbClr val="000000">
                        <a:alpha val="70000"/>
                      </a:srgbClr>
                    </a:outerShdw>
                  </a:effectLst>
                  <a:latin typeface="Candara" pitchFamily="34" charset="0"/>
                </a:rPr>
                <a:t> </a:t>
              </a:r>
              <a:r>
                <a:rPr lang="fr-FR" sz="1100" b="1" i="1" kern="1200" dirty="0" smtClean="0">
                  <a:solidFill>
                    <a:srgbClr val="0070C0"/>
                  </a:solidFill>
                  <a:latin typeface="Candara" pitchFamily="34" charset="0"/>
                </a:rPr>
                <a:t>la</a:t>
              </a:r>
              <a:r>
                <a:rPr lang="fr-FR" sz="1100" b="1" i="1" kern="1200" cap="none" spc="0" dirty="0" smtClean="0">
                  <a:ln w="18415" cmpd="sng">
                    <a:solidFill>
                      <a:srgbClr val="FFFFFF"/>
                    </a:solidFill>
                    <a:prstDash val="solid"/>
                  </a:ln>
                  <a:solidFill>
                    <a:srgbClr val="0070C0"/>
                  </a:solidFill>
                  <a:effectLst>
                    <a:outerShdw blurRad="63500" dir="3600000" algn="tl" rotWithShape="0">
                      <a:srgbClr val="000000">
                        <a:alpha val="70000"/>
                      </a:srgbClr>
                    </a:outerShdw>
                  </a:effectLst>
                  <a:latin typeface="Candara" pitchFamily="34" charset="0"/>
                </a:rPr>
                <a:t> </a:t>
              </a:r>
              <a:r>
                <a:rPr lang="fr-FR" sz="1100" b="1" i="1" kern="1200" dirty="0" smtClean="0">
                  <a:solidFill>
                    <a:srgbClr val="0070C0"/>
                  </a:solidFill>
                  <a:latin typeface="Candara" pitchFamily="34" charset="0"/>
                </a:rPr>
                <a:t>régionalisation</a:t>
              </a:r>
              <a:r>
                <a:rPr lang="fr-FR" sz="1100" b="1" i="1" kern="1200" cap="none" spc="0" dirty="0" smtClean="0">
                  <a:ln w="18415" cmpd="sng">
                    <a:solidFill>
                      <a:srgbClr val="FFFFFF"/>
                    </a:solidFill>
                    <a:prstDash val="solid"/>
                  </a:ln>
                  <a:solidFill>
                    <a:srgbClr val="0070C0"/>
                  </a:solidFill>
                  <a:effectLst>
                    <a:outerShdw blurRad="63500" dir="3600000" algn="tl" rotWithShape="0">
                      <a:srgbClr val="000000">
                        <a:alpha val="70000"/>
                      </a:srgbClr>
                    </a:outerShdw>
                  </a:effectLst>
                  <a:latin typeface="Candara" pitchFamily="34" charset="0"/>
                </a:rPr>
                <a:t> </a:t>
              </a:r>
              <a:r>
                <a:rPr lang="fr-FR" sz="1100" b="1" i="1" kern="1200" dirty="0" smtClean="0">
                  <a:solidFill>
                    <a:srgbClr val="0070C0"/>
                  </a:solidFill>
                  <a:latin typeface="Candara" pitchFamily="34" charset="0"/>
                </a:rPr>
                <a:t>avancée</a:t>
              </a:r>
              <a:r>
                <a:rPr lang="fr-FR" sz="1100" b="1" i="1" kern="1200" cap="none" spc="0" dirty="0" smtClean="0">
                  <a:ln w="18415" cmpd="sng">
                    <a:solidFill>
                      <a:srgbClr val="FFFFFF"/>
                    </a:solidFill>
                    <a:prstDash val="solid"/>
                  </a:ln>
                  <a:solidFill>
                    <a:srgbClr val="0070C0"/>
                  </a:solidFill>
                  <a:effectLst>
                    <a:outerShdw blurRad="63500" dir="3600000" algn="tl" rotWithShape="0">
                      <a:srgbClr val="000000">
                        <a:alpha val="70000"/>
                      </a:srgbClr>
                    </a:outerShdw>
                  </a:effectLst>
                  <a:latin typeface="Candara" pitchFamily="34" charset="0"/>
                </a:rPr>
                <a:t> </a:t>
              </a:r>
              <a:r>
                <a:rPr lang="fr-FR" sz="1100" b="1" i="1" kern="1200" dirty="0" smtClean="0">
                  <a:solidFill>
                    <a:srgbClr val="0070C0"/>
                  </a:solidFill>
                  <a:latin typeface="Candara" pitchFamily="34" charset="0"/>
                </a:rPr>
                <a:t>(2011/2015)</a:t>
              </a:r>
              <a:endParaRPr lang="fr-FR" sz="1100" b="1" i="1" kern="1200" dirty="0">
                <a:solidFill>
                  <a:srgbClr val="0070C0"/>
                </a:solidFill>
                <a:latin typeface="Candara" pitchFamily="34" charset="0"/>
              </a:endParaRPr>
            </a:p>
          </p:txBody>
        </p:sp>
      </p:grpSp>
      <p:sp>
        <p:nvSpPr>
          <p:cNvPr id="57" name="Légende encadrée 1 56"/>
          <p:cNvSpPr/>
          <p:nvPr/>
        </p:nvSpPr>
        <p:spPr>
          <a:xfrm>
            <a:off x="440453" y="5489153"/>
            <a:ext cx="1623829" cy="1095673"/>
          </a:xfrm>
          <a:prstGeom prst="borderCallout1">
            <a:avLst>
              <a:gd name="adj1" fmla="val 1999"/>
              <a:gd name="adj2" fmla="val 49521"/>
              <a:gd name="adj3" fmla="val -233517"/>
              <a:gd name="adj4" fmla="val 45982"/>
            </a:avLst>
          </a:prstGeom>
          <a:solidFill>
            <a:srgbClr val="DDFFDD"/>
          </a:solidFill>
          <a:ln w="15875">
            <a:solidFill>
              <a:schemeClr val="accent6">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i="1" dirty="0" smtClean="0">
              <a:solidFill>
                <a:schemeClr val="accent6">
                  <a:lumMod val="50000"/>
                </a:schemeClr>
              </a:solidFill>
              <a:latin typeface="Candara" panose="020E0502030303020204" pitchFamily="34" charset="0"/>
            </a:endParaRPr>
          </a:p>
          <a:p>
            <a:pPr algn="ctr">
              <a:defRPr/>
            </a:pPr>
            <a:r>
              <a:rPr lang="fr-FR" sz="1100" i="1" dirty="0" smtClean="0">
                <a:solidFill>
                  <a:schemeClr val="accent6">
                    <a:lumMod val="50000"/>
                  </a:schemeClr>
                </a:solidFill>
                <a:latin typeface="Candara" panose="020E0502030303020204" pitchFamily="34" charset="0"/>
              </a:rPr>
              <a:t>Chantier global de réforme / nouveaux principes constitutionnels / organisation territoriale fondée sur la RA</a:t>
            </a:r>
          </a:p>
          <a:p>
            <a:pPr algn="ctr"/>
            <a:endParaRPr lang="fr-FR" i="1" dirty="0">
              <a:solidFill>
                <a:schemeClr val="accent6">
                  <a:lumMod val="50000"/>
                </a:schemeClr>
              </a:solidFill>
              <a:latin typeface="Candara" panose="020E0502030303020204" pitchFamily="34" charset="0"/>
            </a:endParaRPr>
          </a:p>
        </p:txBody>
      </p:sp>
      <p:sp>
        <p:nvSpPr>
          <p:cNvPr id="52"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11"/>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12"/>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12"/>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12"/>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12"/>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12"/>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5</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20454861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C016C09B-4FD1-E041-862E-B20F0189DA08}"/>
              </a:ext>
            </a:extLst>
          </p:cNvPr>
          <p:cNvPicPr>
            <a:picLocks noChangeAspect="1"/>
          </p:cNvPicPr>
          <p:nvPr/>
        </p:nvPicPr>
        <p:blipFill rotWithShape="1">
          <a:blip r:embed="rId2"/>
          <a:srcRect/>
          <a:stretch/>
        </p:blipFill>
        <p:spPr>
          <a:xfrm>
            <a:off x="-108792" y="-65256"/>
            <a:ext cx="12369800" cy="6930388"/>
          </a:xfrm>
          <a:prstGeom prst="rect">
            <a:avLst/>
          </a:prstGeom>
          <a:ln>
            <a:solidFill>
              <a:srgbClr val="0070C0"/>
            </a:solidFill>
          </a:ln>
        </p:spPr>
      </p:pic>
      <p:sp>
        <p:nvSpPr>
          <p:cNvPr id="20" name="Rectangle à coins arrondis 19"/>
          <p:cNvSpPr/>
          <p:nvPr/>
        </p:nvSpPr>
        <p:spPr>
          <a:xfrm>
            <a:off x="2432050" y="1628776"/>
            <a:ext cx="6448898" cy="720725"/>
          </a:xfrm>
          <a:prstGeom prst="roundRect">
            <a:avLst>
              <a:gd name="adj" fmla="val 45527"/>
            </a:avLst>
          </a:prstGeom>
          <a:solidFill>
            <a:schemeClr val="bg1">
              <a:lumMod val="9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Clr>
                <a:schemeClr val="accent2">
                  <a:lumMod val="50000"/>
                </a:schemeClr>
              </a:buClr>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a:t>
            </a:r>
            <a:r>
              <a:rPr lang="fr-FR" b="1" dirty="0">
                <a:solidFill>
                  <a:schemeClr val="bg1">
                    <a:lumMod val="75000"/>
                  </a:schemeClr>
                </a:solidFill>
                <a:latin typeface="Trebuchet MS" panose="020B0603020202020204" pitchFamily="34" charset="0"/>
                <a:cs typeface="Times New Roman" panose="02020603050405020304" pitchFamily="18" charset="0"/>
              </a:rPr>
              <a:t>Bref aperçu </a:t>
            </a:r>
            <a:r>
              <a:rPr lang="fr-FR" b="1" dirty="0" smtClean="0">
                <a:solidFill>
                  <a:schemeClr val="bg1">
                    <a:lumMod val="75000"/>
                  </a:schemeClr>
                </a:solidFill>
                <a:latin typeface="Trebuchet MS" panose="020B0603020202020204" pitchFamily="34" charset="0"/>
                <a:cs typeface="Times New Roman" panose="02020603050405020304" pitchFamily="18" charset="0"/>
              </a:rPr>
              <a:t>sur le Processus de la Décentralisation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1" name="Rectangle à coins arrondis 20"/>
          <p:cNvSpPr/>
          <p:nvPr/>
        </p:nvSpPr>
        <p:spPr>
          <a:xfrm>
            <a:off x="2844801" y="2471739"/>
            <a:ext cx="6447226" cy="720725"/>
          </a:xfrm>
          <a:prstGeom prst="roundRect">
            <a:avLst>
              <a:gd name="adj" fmla="val 45527"/>
            </a:avLst>
          </a:prstGeom>
        </p:spPr>
        <p:style>
          <a:lnRef idx="1">
            <a:schemeClr val="accent5"/>
          </a:lnRef>
          <a:fillRef idx="2">
            <a:schemeClr val="accent5"/>
          </a:fillRef>
          <a:effectRef idx="1">
            <a:schemeClr val="accent5"/>
          </a:effectRef>
          <a:fontRef idx="minor">
            <a:schemeClr val="dk1"/>
          </a:fontRef>
        </p:style>
        <p:txBody>
          <a:bodyPr anchor="ctr"/>
          <a:lstStyle/>
          <a:p>
            <a:pPr algn="l">
              <a:buClr>
                <a:schemeClr val="accent2">
                  <a:lumMod val="50000"/>
                </a:schemeClr>
              </a:buClr>
              <a:defRPr/>
            </a:pPr>
            <a:r>
              <a:rPr lang="fr-FR" b="1" dirty="0" smtClean="0">
                <a:solidFill>
                  <a:srgbClr val="002060"/>
                </a:solidFill>
                <a:latin typeface="Trebuchet MS" panose="020B0603020202020204" pitchFamily="34" charset="0"/>
                <a:cs typeface="Times New Roman" panose="02020603050405020304" pitchFamily="18" charset="0"/>
              </a:rPr>
              <a:t>   L’encadrement</a:t>
            </a:r>
            <a:r>
              <a:rPr lang="fr-FR" sz="2400" b="1" dirty="0" smtClean="0">
                <a:solidFill>
                  <a:srgbClr val="002060"/>
                </a:solidFill>
                <a:latin typeface="Times New Roman" panose="02020603050405020304" pitchFamily="18" charset="0"/>
                <a:cs typeface="Times New Roman" panose="02020603050405020304" pitchFamily="18" charset="0"/>
              </a:rPr>
              <a:t> </a:t>
            </a:r>
            <a:r>
              <a:rPr lang="fr-FR" b="1" dirty="0">
                <a:solidFill>
                  <a:srgbClr val="002060"/>
                </a:solidFill>
                <a:latin typeface="Trebuchet MS" panose="020B0603020202020204" pitchFamily="34" charset="0"/>
                <a:cs typeface="Times New Roman" panose="02020603050405020304" pitchFamily="18" charset="0"/>
              </a:rPr>
              <a:t>constitutionnel de la Régionalisation </a:t>
            </a:r>
            <a:r>
              <a:rPr lang="fr-FR" b="1" dirty="0" smtClean="0">
                <a:solidFill>
                  <a:srgbClr val="002060"/>
                </a:solidFill>
                <a:latin typeface="Trebuchet MS" panose="020B0603020202020204" pitchFamily="34" charset="0"/>
                <a:cs typeface="Times New Roman" panose="02020603050405020304" pitchFamily="18" charset="0"/>
              </a:rPr>
              <a:t>  </a:t>
            </a:r>
            <a:endParaRPr lang="fr-FR" b="1" dirty="0">
              <a:solidFill>
                <a:srgbClr val="002060"/>
              </a:solidFill>
              <a:latin typeface="Trebuchet MS" panose="020B0603020202020204" pitchFamily="34" charset="0"/>
              <a:cs typeface="Times New Roman" panose="02020603050405020304" pitchFamily="18" charset="0"/>
            </a:endParaRPr>
          </a:p>
        </p:txBody>
      </p:sp>
      <p:sp>
        <p:nvSpPr>
          <p:cNvPr id="22" name="Rectangle à coins arrondis 21"/>
          <p:cNvSpPr/>
          <p:nvPr/>
        </p:nvSpPr>
        <p:spPr>
          <a:xfrm>
            <a:off x="3108326" y="3357564"/>
            <a:ext cx="6447226" cy="719137"/>
          </a:xfrm>
          <a:prstGeom prst="roundRect">
            <a:avLst>
              <a:gd name="adj" fmla="val 45527"/>
            </a:avLst>
          </a:prstGeom>
          <a:solidFill>
            <a:schemeClr val="bg1">
              <a:lumMod val="95000"/>
            </a:schemeClr>
          </a:solidFill>
        </p:spPr>
        <p:style>
          <a:lnRef idx="1">
            <a:schemeClr val="accent1"/>
          </a:lnRef>
          <a:fillRef idx="2">
            <a:schemeClr val="accent1"/>
          </a:fillRef>
          <a:effectRef idx="1">
            <a:schemeClr val="accent1"/>
          </a:effectRef>
          <a:fontRef idx="minor">
            <a:schemeClr val="dk1"/>
          </a:fontRef>
        </p:style>
        <p:txBody>
          <a:bodyPr anchor="ctr"/>
          <a:lstStyle/>
          <a:p>
            <a:pPr algn="l">
              <a:defRPr/>
            </a:pPr>
            <a:r>
              <a:rPr lang="fr-FR" b="1" dirty="0" smtClean="0">
                <a:solidFill>
                  <a:schemeClr val="bg1">
                    <a:lumMod val="75000"/>
                  </a:schemeClr>
                </a:solidFill>
                <a:latin typeface="Trebuchet MS" panose="020B0603020202020204" pitchFamily="34" charset="0"/>
                <a:cs typeface="Times New Roman" panose="02020603050405020304" pitchFamily="18" charset="0"/>
              </a:rPr>
              <a:t>    Les </a:t>
            </a:r>
            <a:r>
              <a:rPr lang="fr-FR" b="1" dirty="0">
                <a:solidFill>
                  <a:schemeClr val="bg1">
                    <a:lumMod val="75000"/>
                  </a:schemeClr>
                </a:solidFill>
                <a:latin typeface="Trebuchet MS" panose="020B0603020202020204" pitchFamily="34" charset="0"/>
                <a:cs typeface="Times New Roman" panose="02020603050405020304" pitchFamily="18" charset="0"/>
              </a:rPr>
              <a:t>compétences </a:t>
            </a:r>
            <a:r>
              <a:rPr lang="fr-FR" b="1" dirty="0" smtClean="0">
                <a:solidFill>
                  <a:schemeClr val="bg1">
                    <a:lumMod val="75000"/>
                  </a:schemeClr>
                </a:solidFill>
                <a:latin typeface="Trebuchet MS" panose="020B0603020202020204" pitchFamily="34" charset="0"/>
                <a:cs typeface="Times New Roman" panose="02020603050405020304" pitchFamily="18" charset="0"/>
              </a:rPr>
              <a:t>dévolues aux CT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3" name="Rectangle à coins arrondis 22"/>
          <p:cNvSpPr/>
          <p:nvPr/>
        </p:nvSpPr>
        <p:spPr>
          <a:xfrm>
            <a:off x="3430587" y="4221164"/>
            <a:ext cx="6447225" cy="720725"/>
          </a:xfrm>
          <a:prstGeom prst="roundRect">
            <a:avLst>
              <a:gd name="adj" fmla="val 45527"/>
            </a:avLst>
          </a:prstGeom>
          <a:solidFill>
            <a:schemeClr val="bg1">
              <a:lumMod val="95000"/>
            </a:schemeClr>
          </a:solidFill>
        </p:spPr>
        <p:style>
          <a:lnRef idx="1">
            <a:schemeClr val="accent6"/>
          </a:lnRef>
          <a:fillRef idx="2">
            <a:schemeClr val="accent6"/>
          </a:fillRef>
          <a:effectRef idx="1">
            <a:schemeClr val="accent6"/>
          </a:effectRef>
          <a:fontRef idx="minor">
            <a:schemeClr val="dk1"/>
          </a:fontRef>
        </p:style>
        <p:txBody>
          <a:bodyPr anchor="ctr"/>
          <a:lstStyle/>
          <a:p>
            <a:pPr>
              <a:defRPr/>
            </a:pPr>
            <a:r>
              <a:rPr lang="fr-FR" sz="3600" b="1" dirty="0" smtClean="0">
                <a:solidFill>
                  <a:schemeClr val="bg1">
                    <a:lumMod val="75000"/>
                  </a:schemeClr>
                </a:solidFill>
                <a:latin typeface="Arabic Typesetting" pitchFamily="66" charset="-78"/>
                <a:cs typeface="Arabic Typesetting" pitchFamily="66" charset="-78"/>
              </a:rPr>
              <a:t> </a:t>
            </a:r>
            <a:r>
              <a:rPr lang="ar-MA" sz="3600" b="1" dirty="0" smtClean="0">
                <a:solidFill>
                  <a:schemeClr val="bg1">
                    <a:lumMod val="75000"/>
                  </a:schemeClr>
                </a:solidFill>
                <a:latin typeface="Arabic Typesetting" pitchFamily="66" charset="-78"/>
                <a:cs typeface="Arabic Typesetting" pitchFamily="66" charset="-78"/>
              </a:rPr>
              <a:t>   </a:t>
            </a:r>
            <a:r>
              <a:rPr lang="fr-FR" b="1" dirty="0" smtClean="0">
                <a:solidFill>
                  <a:schemeClr val="bg1">
                    <a:lumMod val="75000"/>
                  </a:schemeClr>
                </a:solidFill>
                <a:latin typeface="Trebuchet MS" panose="020B0603020202020204" pitchFamily="34" charset="0"/>
                <a:cs typeface="Times New Roman" panose="02020603050405020304" pitchFamily="18" charset="0"/>
              </a:rPr>
              <a:t>L</a:t>
            </a:r>
            <a:r>
              <a:rPr lang="fr-FR" altLang="fr-FR" b="1" dirty="0" smtClean="0">
                <a:solidFill>
                  <a:schemeClr val="bg1">
                    <a:lumMod val="75000"/>
                  </a:schemeClr>
                </a:solidFill>
                <a:latin typeface="Trebuchet MS" panose="020B0603020202020204" pitchFamily="34" charset="0"/>
                <a:cs typeface="Times New Roman" panose="02020603050405020304" pitchFamily="18" charset="0"/>
              </a:rPr>
              <a:t>a </a:t>
            </a:r>
            <a:r>
              <a:rPr lang="fr-FR" altLang="fr-FR" b="1" dirty="0">
                <a:solidFill>
                  <a:schemeClr val="bg1">
                    <a:lumMod val="75000"/>
                  </a:schemeClr>
                </a:solidFill>
                <a:latin typeface="Trebuchet MS" panose="020B0603020202020204" pitchFamily="34" charset="0"/>
                <a:cs typeface="Times New Roman" panose="02020603050405020304" pitchFamily="18" charset="0"/>
              </a:rPr>
              <a:t>mise en œuvre de la Régionalisation </a:t>
            </a:r>
            <a:r>
              <a:rPr lang="fr-FR" altLang="fr-FR" b="1" dirty="0" smtClean="0">
                <a:solidFill>
                  <a:schemeClr val="bg1">
                    <a:lumMod val="75000"/>
                  </a:schemeClr>
                </a:solidFill>
                <a:latin typeface="Trebuchet MS" panose="020B0603020202020204" pitchFamily="34" charset="0"/>
                <a:cs typeface="Times New Roman" panose="02020603050405020304" pitchFamily="18" charset="0"/>
              </a:rPr>
              <a:t>Avancée </a:t>
            </a:r>
            <a:endParaRPr lang="fr-FR" b="1" dirty="0">
              <a:solidFill>
                <a:schemeClr val="bg1">
                  <a:lumMod val="75000"/>
                </a:schemeClr>
              </a:solidFill>
              <a:latin typeface="Trebuchet MS" panose="020B0603020202020204" pitchFamily="34" charset="0"/>
              <a:cs typeface="Times New Roman" panose="02020603050405020304" pitchFamily="18" charset="0"/>
            </a:endParaRPr>
          </a:p>
        </p:txBody>
      </p:sp>
      <p:sp>
        <p:nvSpPr>
          <p:cNvPr id="24" name="Ellipse 23"/>
          <p:cNvSpPr/>
          <p:nvPr/>
        </p:nvSpPr>
        <p:spPr>
          <a:xfrm>
            <a:off x="2254726" y="1683138"/>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2"/>
          </a:lnRef>
          <a:fillRef idx="3">
            <a:schemeClr val="accent2"/>
          </a:fillRef>
          <a:effectRef idx="3">
            <a:schemeClr val="accent2"/>
          </a:effectRef>
          <a:fontRef idx="minor">
            <a:schemeClr val="lt1"/>
          </a:fontRef>
        </p:style>
        <p:txBody>
          <a:bodyPr anchor="ctr"/>
          <a:lstStyle/>
          <a:p>
            <a:pPr algn="ctr">
              <a:defRPr/>
            </a:pPr>
            <a:r>
              <a:rPr lang="fr-FR" sz="3200" dirty="0">
                <a:solidFill>
                  <a:schemeClr val="bg1">
                    <a:lumMod val="75000"/>
                  </a:schemeClr>
                </a:solidFill>
                <a:sym typeface="Wingdings"/>
              </a:rPr>
              <a:t></a:t>
            </a:r>
            <a:endParaRPr lang="fr-FR" sz="2800" dirty="0">
              <a:solidFill>
                <a:schemeClr val="bg1">
                  <a:lumMod val="75000"/>
                </a:schemeClr>
              </a:solidFill>
            </a:endParaRPr>
          </a:p>
        </p:txBody>
      </p:sp>
      <p:sp>
        <p:nvSpPr>
          <p:cNvPr id="25" name="Ellipse 24"/>
          <p:cNvSpPr/>
          <p:nvPr/>
        </p:nvSpPr>
        <p:spPr>
          <a:xfrm>
            <a:off x="2560726" y="2526101"/>
            <a:ext cx="612000" cy="612000"/>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3"/>
          </a:lnRef>
          <a:fillRef idx="3">
            <a:schemeClr val="accent3"/>
          </a:fillRef>
          <a:effectRef idx="3">
            <a:schemeClr val="accent3"/>
          </a:effectRef>
          <a:fontRef idx="minor">
            <a:schemeClr val="lt1"/>
          </a:fontRef>
        </p:style>
        <p:txBody>
          <a:bodyPr anchor="ctr"/>
          <a:lstStyle/>
          <a:p>
            <a:pPr algn="ctr">
              <a:defRPr/>
            </a:pPr>
            <a:r>
              <a:rPr lang="fr-FR" sz="3200" dirty="0">
                <a:solidFill>
                  <a:schemeClr val="bg1"/>
                </a:solidFill>
                <a:sym typeface="Wingdings"/>
              </a:rPr>
              <a:t></a:t>
            </a:r>
            <a:endParaRPr lang="fr-FR" dirty="0">
              <a:solidFill>
                <a:schemeClr val="bg1"/>
              </a:solidFill>
            </a:endParaRPr>
          </a:p>
        </p:txBody>
      </p:sp>
      <p:sp>
        <p:nvSpPr>
          <p:cNvPr id="26" name="Ellipse 25"/>
          <p:cNvSpPr/>
          <p:nvPr/>
        </p:nvSpPr>
        <p:spPr>
          <a:xfrm>
            <a:off x="2876848" y="3411132"/>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fr-FR" sz="3200" dirty="0">
                <a:solidFill>
                  <a:schemeClr val="bg1">
                    <a:lumMod val="75000"/>
                  </a:schemeClr>
                </a:solidFill>
                <a:sym typeface="Wingdings 2"/>
              </a:rPr>
              <a:t></a:t>
            </a:r>
            <a:endParaRPr lang="fr-FR" dirty="0">
              <a:solidFill>
                <a:schemeClr val="bg1">
                  <a:lumMod val="75000"/>
                </a:schemeClr>
              </a:solidFill>
            </a:endParaRPr>
          </a:p>
        </p:txBody>
      </p:sp>
      <p:sp>
        <p:nvSpPr>
          <p:cNvPr id="27" name="Ellipse 26"/>
          <p:cNvSpPr/>
          <p:nvPr/>
        </p:nvSpPr>
        <p:spPr>
          <a:xfrm>
            <a:off x="3182848" y="4274496"/>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a:solidFill>
                  <a:schemeClr val="bg1">
                    <a:lumMod val="75000"/>
                  </a:schemeClr>
                </a:solidFill>
                <a:sym typeface="Wingdings 2"/>
              </a:rPr>
              <a:t></a:t>
            </a:r>
            <a:endParaRPr lang="fr-FR" sz="3200" dirty="0">
              <a:solidFill>
                <a:schemeClr val="bg1">
                  <a:lumMod val="75000"/>
                </a:schemeClr>
              </a:solidFill>
            </a:endParaRPr>
          </a:p>
        </p:txBody>
      </p:sp>
      <p:sp>
        <p:nvSpPr>
          <p:cNvPr id="2" name="Rectangle 1"/>
          <p:cNvSpPr/>
          <p:nvPr/>
        </p:nvSpPr>
        <p:spPr>
          <a:xfrm>
            <a:off x="3531302" y="412428"/>
            <a:ext cx="4746812" cy="584775"/>
          </a:xfrm>
          <a:prstGeom prst="rect">
            <a:avLst/>
          </a:prstGeom>
        </p:spPr>
        <p:txBody>
          <a:bodyPr wrap="none">
            <a:spAutoFit/>
          </a:bodyPr>
          <a:lstStyle/>
          <a:p>
            <a:pPr algn="ctr"/>
            <a:r>
              <a:rPr lang="fr-FR" sz="3200" b="1" i="1" dirty="0">
                <a:latin typeface="Trebuchet MS" panose="020B0603020202020204" pitchFamily="34" charset="0"/>
              </a:rPr>
              <a:t>Plan de la présentation</a:t>
            </a:r>
            <a:endParaRPr lang="fr-FR" sz="3200" b="1" dirty="0">
              <a:solidFill>
                <a:schemeClr val="bg1"/>
              </a:solidFill>
              <a:latin typeface="Trebuchet MS" panose="020B0603020202020204" pitchFamily="34" charset="0"/>
              <a:cs typeface="Andalus" pitchFamily="18" charset="-78"/>
            </a:endParaRPr>
          </a:p>
        </p:txBody>
      </p:sp>
      <p:sp>
        <p:nvSpPr>
          <p:cNvPr id="13" name="Rectangle à coins arrondis 12"/>
          <p:cNvSpPr/>
          <p:nvPr/>
        </p:nvSpPr>
        <p:spPr>
          <a:xfrm>
            <a:off x="3866016" y="5124680"/>
            <a:ext cx="6447225" cy="720725"/>
          </a:xfrm>
          <a:prstGeom prst="roundRect">
            <a:avLst>
              <a:gd name="adj" fmla="val 45527"/>
            </a:avLst>
          </a:prstGeom>
          <a:solidFill>
            <a:schemeClr val="bg1">
              <a:lumMod val="95000"/>
            </a:schemeClr>
          </a:solidFill>
        </p:spPr>
        <p:style>
          <a:lnRef idx="1">
            <a:schemeClr val="accent6"/>
          </a:lnRef>
          <a:fillRef idx="2">
            <a:schemeClr val="accent6"/>
          </a:fillRef>
          <a:effectRef idx="1">
            <a:schemeClr val="accent6"/>
          </a:effectRef>
          <a:fontRef idx="minor">
            <a:schemeClr val="dk1"/>
          </a:fontRef>
        </p:style>
        <p:txBody>
          <a:bodyPr anchor="ctr"/>
          <a:lstStyle/>
          <a:p>
            <a:pPr>
              <a:lnSpc>
                <a:spcPct val="80000"/>
              </a:lnSpc>
              <a:defRPr/>
            </a:pPr>
            <a:r>
              <a:rPr lang="fr-FR" sz="3600" b="1" dirty="0" smtClean="0">
                <a:solidFill>
                  <a:schemeClr val="bg1">
                    <a:lumMod val="85000"/>
                  </a:schemeClr>
                </a:solidFill>
                <a:latin typeface="Arabic Typesetting" pitchFamily="66" charset="-78"/>
                <a:cs typeface="Arabic Typesetting" pitchFamily="66" charset="-78"/>
              </a:rPr>
              <a:t> </a:t>
            </a:r>
            <a:r>
              <a:rPr lang="ar-MA" sz="3600" b="1" dirty="0" smtClean="0">
                <a:solidFill>
                  <a:schemeClr val="bg1">
                    <a:lumMod val="85000"/>
                  </a:schemeClr>
                </a:solidFill>
                <a:latin typeface="Arabic Typesetting" pitchFamily="66" charset="-78"/>
                <a:cs typeface="Arabic Typesetting" pitchFamily="66" charset="-78"/>
              </a:rPr>
              <a:t>   </a:t>
            </a:r>
            <a:r>
              <a:rPr lang="fr-FR" b="1" dirty="0">
                <a:solidFill>
                  <a:schemeClr val="bg1">
                    <a:lumMod val="75000"/>
                  </a:schemeClr>
                </a:solidFill>
                <a:latin typeface="Trebuchet MS" panose="020B0603020202020204" pitchFamily="34" charset="0"/>
                <a:cs typeface="Times New Roman" panose="02020603050405020304" pitchFamily="18" charset="0"/>
              </a:rPr>
              <a:t>Le droit de regard de l’Etat sur les CT : de la tutelle</a:t>
            </a:r>
          </a:p>
          <a:p>
            <a:pPr>
              <a:lnSpc>
                <a:spcPct val="80000"/>
              </a:lnSpc>
              <a:defRPr/>
            </a:pPr>
            <a:r>
              <a:rPr lang="fr-FR" b="1" dirty="0">
                <a:solidFill>
                  <a:schemeClr val="bg1">
                    <a:lumMod val="75000"/>
                  </a:schemeClr>
                </a:solidFill>
                <a:latin typeface="Trebuchet MS" panose="020B0603020202020204" pitchFamily="34" charset="0"/>
                <a:cs typeface="Times New Roman" panose="02020603050405020304" pitchFamily="18" charset="0"/>
              </a:rPr>
              <a:t>     au Contrôle administratif </a:t>
            </a:r>
            <a:endParaRPr lang="fr-FR" b="1" dirty="0">
              <a:solidFill>
                <a:schemeClr val="bg1">
                  <a:lumMod val="85000"/>
                </a:schemeClr>
              </a:solidFill>
              <a:latin typeface="Trebuchet MS" panose="020B0603020202020204" pitchFamily="34" charset="0"/>
              <a:cs typeface="Times New Roman" panose="02020603050405020304" pitchFamily="18" charset="0"/>
            </a:endParaRPr>
          </a:p>
        </p:txBody>
      </p:sp>
      <p:sp>
        <p:nvSpPr>
          <p:cNvPr id="14" name="Ellipse 13"/>
          <p:cNvSpPr/>
          <p:nvPr/>
        </p:nvSpPr>
        <p:spPr>
          <a:xfrm>
            <a:off x="3618277" y="5178012"/>
            <a:ext cx="612000" cy="612000"/>
          </a:xfrm>
          <a:prstGeom prst="ellipse">
            <a:avLst/>
          </a:prstGeom>
          <a:solidFill>
            <a:schemeClr val="bg1">
              <a:lumMod val="9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hemeClr val="accent6"/>
          </a:lnRef>
          <a:fillRef idx="3">
            <a:schemeClr val="accent6"/>
          </a:fillRef>
          <a:effectRef idx="3">
            <a:schemeClr val="accent6"/>
          </a:effectRef>
          <a:fontRef idx="minor">
            <a:schemeClr val="lt1"/>
          </a:fontRef>
        </p:style>
        <p:txBody>
          <a:bodyPr anchor="ctr"/>
          <a:lstStyle/>
          <a:p>
            <a:pPr algn="ctr">
              <a:defRPr/>
            </a:pPr>
            <a:r>
              <a:rPr lang="fr-FR" sz="3200" dirty="0" smtClean="0">
                <a:solidFill>
                  <a:schemeClr val="bg1">
                    <a:lumMod val="85000"/>
                  </a:schemeClr>
                </a:solidFill>
                <a:sym typeface="Wingdings 2" panose="05020102010507070707" pitchFamily="18" charset="2"/>
              </a:rPr>
              <a:t></a:t>
            </a:r>
            <a:endParaRPr lang="fr-FR" sz="3200" dirty="0">
              <a:solidFill>
                <a:schemeClr val="bg1">
                  <a:lumMod val="85000"/>
                </a:schemeClr>
              </a:solidFill>
            </a:endParaRPr>
          </a:p>
        </p:txBody>
      </p:sp>
      <p:sp>
        <p:nvSpPr>
          <p:cNvPr id="15" name="Espace réservé du numéro de diapositive 3"/>
          <p:cNvSpPr txBox="1">
            <a:spLocks/>
          </p:cNvSpPr>
          <p:nvPr/>
        </p:nvSpPr>
        <p:spPr bwMode="auto">
          <a:xfrm>
            <a:off x="11514200" y="6299778"/>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6</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40894628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000" b="1" i="1" dirty="0" smtClean="0">
                <a:latin typeface="Candara" pitchFamily="34" charset="0"/>
              </a:rPr>
              <a:t>L’encadrement </a:t>
            </a:r>
            <a:r>
              <a:rPr lang="fr-FR" sz="3000" b="1" i="1" dirty="0">
                <a:latin typeface="Candara" pitchFamily="34" charset="0"/>
              </a:rPr>
              <a:t>constitutionnel de la décentralisation</a:t>
            </a:r>
          </a:p>
        </p:txBody>
      </p:sp>
      <p:pic>
        <p:nvPicPr>
          <p:cNvPr id="14"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ZoneTexte 14"/>
          <p:cNvSpPr txBox="1"/>
          <p:nvPr/>
        </p:nvSpPr>
        <p:spPr>
          <a:xfrm>
            <a:off x="578131" y="1440367"/>
            <a:ext cx="10905068" cy="954107"/>
          </a:xfrm>
          <a:prstGeom prst="rect">
            <a:avLst/>
          </a:prstGeom>
          <a:noFill/>
        </p:spPr>
        <p:txBody>
          <a:bodyPr wrap="square">
            <a:spAutoFit/>
          </a:bodyPr>
          <a:lstStyle/>
          <a:p>
            <a:pPr marL="447675" indent="-255588" algn="just">
              <a:buFont typeface="Wingdings" pitchFamily="2" charset="2"/>
              <a:buChar char="§"/>
              <a:defRPr/>
            </a:pPr>
            <a:r>
              <a:rPr lang="fr-FR" sz="1400" i="1" dirty="0" smtClean="0">
                <a:solidFill>
                  <a:srgbClr val="002060"/>
                </a:solidFill>
                <a:latin typeface="Trebuchet MS" panose="020B0603020202020204" pitchFamily="34" charset="0"/>
                <a:cs typeface="Arial" charset="0"/>
              </a:rPr>
              <a:t>Un titre réservé aux CT (12 articles), ces dispositions confèrent à l’existence de ces CT une garantie constitutionnelle ; </a:t>
            </a:r>
          </a:p>
          <a:p>
            <a:pPr marL="447675" indent="-255588" algn="just">
              <a:buFont typeface="Wingdings" pitchFamily="2" charset="2"/>
              <a:buChar char="§"/>
              <a:defRPr/>
            </a:pPr>
            <a:r>
              <a:rPr lang="fr-FR" sz="1400" i="1" dirty="0" smtClean="0">
                <a:solidFill>
                  <a:srgbClr val="002060"/>
                </a:solidFill>
                <a:latin typeface="Trebuchet MS" panose="020B0603020202020204" pitchFamily="34" charset="0"/>
                <a:cs typeface="Arial" charset="0"/>
              </a:rPr>
              <a:t>Elles ne peuvent être supprimées qu’au moyen de la révision de la constitution.</a:t>
            </a:r>
            <a:endParaRPr lang="ar-MA" sz="1400" i="1" dirty="0" smtClean="0">
              <a:solidFill>
                <a:srgbClr val="002060"/>
              </a:solidFill>
              <a:latin typeface="Trebuchet MS" panose="020B0603020202020204" pitchFamily="34" charset="0"/>
              <a:cs typeface="Arial" charset="0"/>
            </a:endParaRPr>
          </a:p>
          <a:p>
            <a:pPr marL="447675" indent="-255588" algn="just">
              <a:buFont typeface="Wingdings" pitchFamily="2" charset="2"/>
              <a:buChar char="§"/>
              <a:defRPr/>
            </a:pPr>
            <a:r>
              <a:rPr lang="fr-FR" altLang="fr-FR" sz="1400" i="1" dirty="0">
                <a:solidFill>
                  <a:srgbClr val="002060"/>
                </a:solidFill>
                <a:latin typeface="Trebuchet MS" panose="020B0603020202020204" pitchFamily="34" charset="0"/>
                <a:cs typeface="Arial" charset="0"/>
              </a:rPr>
              <a:t>L’</a:t>
            </a:r>
            <a:r>
              <a:rPr lang="fr-FR" sz="1400" i="1" dirty="0">
                <a:solidFill>
                  <a:srgbClr val="002060"/>
                </a:solidFill>
                <a:latin typeface="Trebuchet MS" panose="020B0603020202020204" pitchFamily="34" charset="0"/>
                <a:cs typeface="Arial" charset="0"/>
              </a:rPr>
              <a:t>organisation et les règles de fonctionnement des CT ont été confiés à des lois organiques (LO) </a:t>
            </a:r>
            <a:r>
              <a:rPr lang="fr-FR" sz="1400" i="1" dirty="0">
                <a:solidFill>
                  <a:srgbClr val="002060"/>
                </a:solidFill>
                <a:latin typeface="Trebuchet MS" panose="020B0603020202020204" pitchFamily="34" charset="0"/>
                <a:cs typeface="Arial" charset="0"/>
                <a:sym typeface="Wingdings"/>
              </a:rPr>
              <a:t> </a:t>
            </a:r>
            <a:r>
              <a:rPr lang="fr-FR" sz="1400" i="1" dirty="0">
                <a:solidFill>
                  <a:srgbClr val="002060"/>
                </a:solidFill>
                <a:latin typeface="Trebuchet MS" panose="020B0603020202020204" pitchFamily="34" charset="0"/>
                <a:cs typeface="Arial" charset="0"/>
              </a:rPr>
              <a:t>l’entourant de garanties procédurales supplémentaires), alors que les anciennes CL étaient régies par de simples lois </a:t>
            </a:r>
            <a:r>
              <a:rPr lang="fr-FR" sz="1400" i="1" dirty="0" smtClean="0">
                <a:solidFill>
                  <a:srgbClr val="002060"/>
                </a:solidFill>
                <a:latin typeface="Trebuchet MS" panose="020B0603020202020204" pitchFamily="34" charset="0"/>
                <a:cs typeface="Arial" charset="0"/>
              </a:rPr>
              <a:t>ordinaires</a:t>
            </a:r>
            <a:endParaRPr lang="fr-FR" sz="1400" i="1" dirty="0">
              <a:solidFill>
                <a:srgbClr val="002060"/>
              </a:solidFill>
              <a:latin typeface="Trebuchet MS" panose="020B0603020202020204" pitchFamily="34" charset="0"/>
              <a:cs typeface="Arial" charset="0"/>
            </a:endParaRPr>
          </a:p>
        </p:txBody>
      </p:sp>
      <p:sp>
        <p:nvSpPr>
          <p:cNvPr id="16" name="Rectangle à coins arrondis 15"/>
          <p:cNvSpPr/>
          <p:nvPr/>
        </p:nvSpPr>
        <p:spPr>
          <a:xfrm>
            <a:off x="2803646" y="2490446"/>
            <a:ext cx="8742441" cy="714676"/>
          </a:xfrm>
          <a:prstGeom prst="roundRect">
            <a:avLst/>
          </a:prstGeom>
          <a:solidFill>
            <a:schemeClr val="bg2">
              <a:lumMod val="9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just"/>
            <a:r>
              <a:rPr lang="fr-FR" sz="1300" i="1" dirty="0" smtClean="0">
                <a:solidFill>
                  <a:srgbClr val="002060"/>
                </a:solidFill>
                <a:latin typeface="Candara" pitchFamily="34" charset="0"/>
                <a:cs typeface="Arial" charset="0"/>
              </a:rPr>
              <a:t>L'organisation </a:t>
            </a:r>
            <a:r>
              <a:rPr lang="fr-FR" sz="1300" i="1" dirty="0">
                <a:solidFill>
                  <a:srgbClr val="002060"/>
                </a:solidFill>
                <a:latin typeface="Candara" pitchFamily="34" charset="0"/>
                <a:cs typeface="Arial" charset="0"/>
              </a:rPr>
              <a:t>territoriale du Royaume est décentralisée. Elle est fondée sur une </a:t>
            </a:r>
            <a:r>
              <a:rPr lang="fr-FR" sz="1300" i="1" u="sng" dirty="0">
                <a:solidFill>
                  <a:srgbClr val="002060"/>
                </a:solidFill>
                <a:latin typeface="Candara" pitchFamily="34" charset="0"/>
                <a:cs typeface="Arial" charset="0"/>
              </a:rPr>
              <a:t>régionalisation </a:t>
            </a:r>
            <a:r>
              <a:rPr lang="fr-FR" sz="1300" i="1" u="sng" dirty="0" smtClean="0">
                <a:solidFill>
                  <a:srgbClr val="002060"/>
                </a:solidFill>
                <a:latin typeface="Candara" pitchFamily="34" charset="0"/>
                <a:cs typeface="Arial" charset="0"/>
              </a:rPr>
              <a:t>avancée </a:t>
            </a:r>
            <a:r>
              <a:rPr lang="fr-FR" sz="1300" i="1" dirty="0" smtClean="0">
                <a:solidFill>
                  <a:srgbClr val="002060"/>
                </a:solidFill>
                <a:latin typeface="Candara" pitchFamily="34" charset="0"/>
                <a:cs typeface="Arial" charset="0"/>
              </a:rPr>
              <a:t> </a:t>
            </a:r>
            <a:r>
              <a:rPr lang="fr-FR" sz="1300" b="1" i="1" dirty="0" smtClean="0">
                <a:solidFill>
                  <a:srgbClr val="002060"/>
                </a:solidFill>
                <a:latin typeface="Candara" pitchFamily="34" charset="0"/>
                <a:cs typeface="Arial" charset="0"/>
              </a:rPr>
              <a:t>(</a:t>
            </a:r>
            <a:r>
              <a:rPr lang="fr-FR" sz="1300" b="1" i="1" dirty="0">
                <a:solidFill>
                  <a:srgbClr val="002060"/>
                </a:solidFill>
                <a:latin typeface="Candara" pitchFamily="34" charset="0"/>
                <a:cs typeface="Arial" charset="0"/>
              </a:rPr>
              <a:t>Art</a:t>
            </a:r>
            <a:r>
              <a:rPr lang="fr-FR" sz="1300" i="1" dirty="0">
                <a:solidFill>
                  <a:srgbClr val="002060"/>
                </a:solidFill>
                <a:latin typeface="Candara" pitchFamily="34" charset="0"/>
                <a:cs typeface="Arial" charset="0"/>
              </a:rPr>
              <a:t>. </a:t>
            </a:r>
            <a:r>
              <a:rPr lang="fr-FR" sz="1300" b="1" i="1" dirty="0" smtClean="0">
                <a:solidFill>
                  <a:srgbClr val="002060"/>
                </a:solidFill>
                <a:latin typeface="Candara" pitchFamily="34" charset="0"/>
                <a:cs typeface="Arial" charset="0"/>
              </a:rPr>
              <a:t>1 C.)</a:t>
            </a:r>
            <a:endParaRPr lang="fr-FR" sz="1300" dirty="0">
              <a:solidFill>
                <a:srgbClr val="002060"/>
              </a:solidFill>
            </a:endParaRPr>
          </a:p>
        </p:txBody>
      </p:sp>
      <p:sp>
        <p:nvSpPr>
          <p:cNvPr id="17" name="Rectangle à coins arrondis 16"/>
          <p:cNvSpPr/>
          <p:nvPr/>
        </p:nvSpPr>
        <p:spPr>
          <a:xfrm>
            <a:off x="866876" y="2490446"/>
            <a:ext cx="1856379" cy="714676"/>
          </a:xfrm>
          <a:prstGeom prst="roundRect">
            <a:avLst>
              <a:gd name="adj" fmla="val 10007"/>
            </a:avLst>
          </a:prstGeom>
          <a:solidFill>
            <a:schemeClr val="accent4">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200" b="1" dirty="0">
                <a:solidFill>
                  <a:srgbClr val="002060"/>
                </a:solidFill>
                <a:latin typeface="Candara" panose="020E0502030303020204" pitchFamily="34" charset="0"/>
                <a:cs typeface="Arial" charset="0"/>
              </a:rPr>
              <a:t>L'organisation territoriale</a:t>
            </a:r>
            <a:endParaRPr lang="fr-FR" sz="1200" b="1" dirty="0">
              <a:solidFill>
                <a:srgbClr val="002060"/>
              </a:solidFill>
              <a:latin typeface="Candara" panose="020E0502030303020204" pitchFamily="34" charset="0"/>
            </a:endParaRPr>
          </a:p>
        </p:txBody>
      </p:sp>
      <p:sp>
        <p:nvSpPr>
          <p:cNvPr id="18" name="Rectangle à coins arrondis 17"/>
          <p:cNvSpPr/>
          <p:nvPr/>
        </p:nvSpPr>
        <p:spPr>
          <a:xfrm>
            <a:off x="2803646" y="3369168"/>
            <a:ext cx="8742441" cy="930700"/>
          </a:xfrm>
          <a:prstGeom prst="roundRect">
            <a:avLst/>
          </a:prstGeom>
          <a:solidFill>
            <a:schemeClr val="bg2">
              <a:lumMod val="9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just"/>
            <a:r>
              <a:rPr lang="fr-FR" sz="1300" i="1" dirty="0" smtClean="0">
                <a:solidFill>
                  <a:srgbClr val="002060"/>
                </a:solidFill>
                <a:latin typeface="Candara" pitchFamily="34" charset="0"/>
                <a:cs typeface="Arial" charset="0"/>
              </a:rPr>
              <a:t>L'Etat</a:t>
            </a:r>
            <a:r>
              <a:rPr lang="fr-FR" sz="1300" i="1" dirty="0">
                <a:solidFill>
                  <a:srgbClr val="002060"/>
                </a:solidFill>
                <a:latin typeface="Candara" pitchFamily="34" charset="0"/>
                <a:cs typeface="Arial" charset="0"/>
              </a:rPr>
              <a:t>, les établissements publics et les CT œuvrent à la mobilisation de tous les moyens disponibles pour faciliter l'égal accès des citoyennes et des citoyens aux conditions leur permettant de jouir du </a:t>
            </a:r>
            <a:r>
              <a:rPr lang="fr-FR" sz="1300" i="1" dirty="0" smtClean="0">
                <a:solidFill>
                  <a:srgbClr val="002060"/>
                </a:solidFill>
                <a:latin typeface="Candara" pitchFamily="34" charset="0"/>
                <a:cs typeface="Arial" charset="0"/>
              </a:rPr>
              <a:t>droit :  </a:t>
            </a:r>
            <a:r>
              <a:rPr lang="fr-FR" sz="1300" i="1" dirty="0">
                <a:solidFill>
                  <a:srgbClr val="002060"/>
                </a:solidFill>
                <a:latin typeface="Candara" pitchFamily="34" charset="0"/>
                <a:cs typeface="Arial" charset="0"/>
              </a:rPr>
              <a:t>santé, protection </a:t>
            </a:r>
            <a:r>
              <a:rPr lang="fr-FR" sz="1300" i="1" dirty="0" smtClean="0">
                <a:solidFill>
                  <a:srgbClr val="002060"/>
                </a:solidFill>
                <a:latin typeface="Candara" pitchFamily="34" charset="0"/>
                <a:cs typeface="Arial" charset="0"/>
              </a:rPr>
              <a:t>sociale, éducation, logement, travail, </a:t>
            </a:r>
            <a:r>
              <a:rPr lang="fr-FR" sz="1300" i="1" dirty="0">
                <a:solidFill>
                  <a:srgbClr val="002060"/>
                </a:solidFill>
                <a:latin typeface="Candara" pitchFamily="34" charset="0"/>
                <a:cs typeface="Arial" charset="0"/>
              </a:rPr>
              <a:t>accès aux fonctions </a:t>
            </a:r>
            <a:r>
              <a:rPr lang="fr-FR" sz="1300" i="1" dirty="0" smtClean="0">
                <a:solidFill>
                  <a:srgbClr val="002060"/>
                </a:solidFill>
                <a:latin typeface="Candara" pitchFamily="34" charset="0"/>
                <a:cs typeface="Arial" charset="0"/>
              </a:rPr>
              <a:t>publiques, …, développement </a:t>
            </a:r>
            <a:r>
              <a:rPr lang="fr-FR" sz="1300" i="1" dirty="0">
                <a:solidFill>
                  <a:srgbClr val="002060"/>
                </a:solidFill>
                <a:latin typeface="Candara" pitchFamily="34" charset="0"/>
                <a:cs typeface="Arial" charset="0"/>
              </a:rPr>
              <a:t>durable</a:t>
            </a:r>
            <a:r>
              <a:rPr lang="fr-FR" sz="1300" b="1" i="1" dirty="0">
                <a:solidFill>
                  <a:srgbClr val="002060"/>
                </a:solidFill>
                <a:latin typeface="Candara" pitchFamily="34" charset="0"/>
                <a:cs typeface="Arial" charset="0"/>
              </a:rPr>
              <a:t> (Art. 31 C. )</a:t>
            </a:r>
          </a:p>
        </p:txBody>
      </p:sp>
      <p:sp>
        <p:nvSpPr>
          <p:cNvPr id="19" name="Rectangle à coins arrondis 18"/>
          <p:cNvSpPr/>
          <p:nvPr/>
        </p:nvSpPr>
        <p:spPr>
          <a:xfrm>
            <a:off x="866876" y="3369168"/>
            <a:ext cx="1856379" cy="930700"/>
          </a:xfrm>
          <a:prstGeom prst="roundRect">
            <a:avLst>
              <a:gd name="adj" fmla="val 10007"/>
            </a:avLst>
          </a:prstGeom>
          <a:solidFill>
            <a:schemeClr val="accent4">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200" b="1" dirty="0">
                <a:solidFill>
                  <a:srgbClr val="002060"/>
                </a:solidFill>
                <a:latin typeface="Candara" panose="020E0502030303020204" pitchFamily="34" charset="0"/>
              </a:rPr>
              <a:t>Contribution des CT à l’accès des </a:t>
            </a:r>
            <a:r>
              <a:rPr lang="fr-FR" sz="1200" b="1" dirty="0" smtClean="0">
                <a:solidFill>
                  <a:srgbClr val="002060"/>
                </a:solidFill>
                <a:latin typeface="Candara" panose="020E0502030303020204" pitchFamily="34" charset="0"/>
              </a:rPr>
              <a:t>citoyens </a:t>
            </a:r>
            <a:r>
              <a:rPr lang="fr-FR" sz="1200" b="1" dirty="0">
                <a:solidFill>
                  <a:srgbClr val="002060"/>
                </a:solidFill>
                <a:latin typeface="Candara" panose="020E0502030303020204" pitchFamily="34" charset="0"/>
              </a:rPr>
              <a:t>aux droits fondamentaux</a:t>
            </a:r>
          </a:p>
        </p:txBody>
      </p:sp>
      <p:sp>
        <p:nvSpPr>
          <p:cNvPr id="20" name="Rectangle à coins arrondis 19"/>
          <p:cNvSpPr/>
          <p:nvPr/>
        </p:nvSpPr>
        <p:spPr>
          <a:xfrm>
            <a:off x="2803646" y="4481152"/>
            <a:ext cx="8802943" cy="966021"/>
          </a:xfrm>
          <a:prstGeom prst="roundRect">
            <a:avLst/>
          </a:prstGeom>
          <a:solidFill>
            <a:schemeClr val="bg2">
              <a:lumMod val="9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marL="198438" indent="-198438" algn="just">
              <a:buFont typeface="Wingdings" panose="05000000000000000000" pitchFamily="2" charset="2"/>
              <a:buChar char="ü"/>
            </a:pPr>
            <a:r>
              <a:rPr lang="fr-FR" sz="1300" i="1" dirty="0" smtClean="0">
                <a:solidFill>
                  <a:srgbClr val="002060"/>
                </a:solidFill>
                <a:latin typeface="Candara" pitchFamily="34" charset="0"/>
                <a:cs typeface="Arial" charset="0"/>
              </a:rPr>
              <a:t>Les </a:t>
            </a:r>
            <a:r>
              <a:rPr lang="fr-FR" sz="1300" b="1" i="1" dirty="0">
                <a:solidFill>
                  <a:srgbClr val="002060"/>
                </a:solidFill>
                <a:latin typeface="Candara" pitchFamily="34" charset="0"/>
                <a:cs typeface="Arial" charset="0"/>
              </a:rPr>
              <a:t>3/5</a:t>
            </a:r>
            <a:r>
              <a:rPr lang="fr-FR" sz="1300" i="1" dirty="0">
                <a:solidFill>
                  <a:srgbClr val="002060"/>
                </a:solidFill>
                <a:latin typeface="Candara" pitchFamily="34" charset="0"/>
                <a:cs typeface="Arial" charset="0"/>
              </a:rPr>
              <a:t> des membres de la Chambre des Conseillers représentant les CT, dont le </a:t>
            </a:r>
            <a:r>
              <a:rPr lang="fr-FR" sz="1300" b="1" i="1" dirty="0" smtClean="0">
                <a:solidFill>
                  <a:srgbClr val="002060"/>
                </a:solidFill>
                <a:latin typeface="Candara" pitchFamily="34" charset="0"/>
                <a:cs typeface="Arial" charset="0"/>
              </a:rPr>
              <a:t>1/3 </a:t>
            </a:r>
            <a:r>
              <a:rPr lang="fr-FR" sz="1300" i="1" dirty="0" smtClean="0">
                <a:solidFill>
                  <a:srgbClr val="002060"/>
                </a:solidFill>
                <a:latin typeface="Candara" pitchFamily="34" charset="0"/>
                <a:cs typeface="Arial" charset="0"/>
              </a:rPr>
              <a:t>réservé </a:t>
            </a:r>
            <a:r>
              <a:rPr lang="fr-FR" sz="1300" i="1" dirty="0">
                <a:solidFill>
                  <a:srgbClr val="002060"/>
                </a:solidFill>
                <a:latin typeface="Candara" pitchFamily="34" charset="0"/>
                <a:cs typeface="Arial" charset="0"/>
              </a:rPr>
              <a:t>à la région est élu au niveau de chaque région par le Conseil régional parmi ses membres </a:t>
            </a:r>
            <a:r>
              <a:rPr lang="fr-FR" sz="1300" i="1" dirty="0" smtClean="0">
                <a:solidFill>
                  <a:srgbClr val="002060"/>
                </a:solidFill>
                <a:latin typeface="Candara" pitchFamily="34" charset="0"/>
                <a:cs typeface="Arial" charset="0"/>
              </a:rPr>
              <a:t>;</a:t>
            </a:r>
          </a:p>
          <a:p>
            <a:pPr marL="198438" indent="-198438" algn="just">
              <a:buFont typeface="Wingdings" panose="05000000000000000000" pitchFamily="2" charset="2"/>
              <a:buChar char="ü"/>
            </a:pPr>
            <a:r>
              <a:rPr lang="fr-FR" sz="1300" i="1" dirty="0" smtClean="0">
                <a:solidFill>
                  <a:srgbClr val="002060"/>
                </a:solidFill>
                <a:latin typeface="Candara" pitchFamily="34" charset="0"/>
                <a:cs typeface="Arial" charset="0"/>
              </a:rPr>
              <a:t>Les </a:t>
            </a:r>
            <a:r>
              <a:rPr lang="fr-FR" sz="1300" i="1" dirty="0">
                <a:solidFill>
                  <a:srgbClr val="002060"/>
                </a:solidFill>
                <a:latin typeface="Candara" pitchFamily="34" charset="0"/>
                <a:cs typeface="Arial" charset="0"/>
              </a:rPr>
              <a:t>2/3 restants sont élus par un collège électoral constitué au niveau de la région par les membres des conseils communaux, préfectoraux et </a:t>
            </a:r>
            <a:r>
              <a:rPr lang="fr-FR" sz="1300" i="1" dirty="0" smtClean="0">
                <a:solidFill>
                  <a:srgbClr val="002060"/>
                </a:solidFill>
                <a:latin typeface="Candara" pitchFamily="34" charset="0"/>
                <a:cs typeface="Arial" charset="0"/>
              </a:rPr>
              <a:t>provinciaux </a:t>
            </a:r>
            <a:r>
              <a:rPr lang="fr-FR" sz="1300" b="1" i="1" dirty="0">
                <a:solidFill>
                  <a:srgbClr val="002060"/>
                </a:solidFill>
                <a:latin typeface="Candara" pitchFamily="34" charset="0"/>
                <a:cs typeface="Arial" charset="0"/>
              </a:rPr>
              <a:t>(</a:t>
            </a:r>
            <a:r>
              <a:rPr lang="fr-FR" sz="1300" b="1" i="1" dirty="0" smtClean="0">
                <a:solidFill>
                  <a:srgbClr val="002060"/>
                </a:solidFill>
                <a:latin typeface="Candara" pitchFamily="34" charset="0"/>
                <a:cs typeface="Arial" charset="0"/>
              </a:rPr>
              <a:t>Art</a:t>
            </a:r>
            <a:r>
              <a:rPr lang="fr-FR" sz="1300" b="1" i="1" dirty="0">
                <a:solidFill>
                  <a:srgbClr val="002060"/>
                </a:solidFill>
                <a:latin typeface="Candara" pitchFamily="34" charset="0"/>
                <a:cs typeface="Arial" charset="0"/>
              </a:rPr>
              <a:t>. 63 </a:t>
            </a:r>
            <a:r>
              <a:rPr lang="fr-FR" sz="1300" b="1" i="1" dirty="0" smtClean="0">
                <a:solidFill>
                  <a:srgbClr val="002060"/>
                </a:solidFill>
                <a:latin typeface="Candara" pitchFamily="34" charset="0"/>
                <a:cs typeface="Arial" charset="0"/>
              </a:rPr>
              <a:t>C.)</a:t>
            </a:r>
            <a:endParaRPr lang="fr-FR" sz="1300" i="1" dirty="0">
              <a:solidFill>
                <a:srgbClr val="002060"/>
              </a:solidFill>
              <a:latin typeface="Candara" pitchFamily="34" charset="0"/>
              <a:cs typeface="Arial" charset="0"/>
            </a:endParaRPr>
          </a:p>
        </p:txBody>
      </p:sp>
      <p:sp>
        <p:nvSpPr>
          <p:cNvPr id="21" name="Rectangle à coins arrondis 20"/>
          <p:cNvSpPr/>
          <p:nvPr/>
        </p:nvSpPr>
        <p:spPr>
          <a:xfrm>
            <a:off x="871339" y="4481152"/>
            <a:ext cx="1856379" cy="966021"/>
          </a:xfrm>
          <a:prstGeom prst="roundRect">
            <a:avLst>
              <a:gd name="adj" fmla="val 10007"/>
            </a:avLst>
          </a:prstGeom>
          <a:solidFill>
            <a:schemeClr val="accent4">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200" b="1" dirty="0">
                <a:solidFill>
                  <a:srgbClr val="002060"/>
                </a:solidFill>
                <a:latin typeface="Candara" panose="020E0502030303020204" pitchFamily="34" charset="0"/>
              </a:rPr>
              <a:t>Représentativité des CT à la Chambre des Conseillers</a:t>
            </a:r>
          </a:p>
        </p:txBody>
      </p:sp>
      <p:sp>
        <p:nvSpPr>
          <p:cNvPr id="22" name="Rectangle à coins arrondis 21"/>
          <p:cNvSpPr/>
          <p:nvPr/>
        </p:nvSpPr>
        <p:spPr>
          <a:xfrm>
            <a:off x="2803646" y="5642278"/>
            <a:ext cx="8742441" cy="805567"/>
          </a:xfrm>
          <a:prstGeom prst="roundRect">
            <a:avLst/>
          </a:prstGeom>
          <a:solidFill>
            <a:schemeClr val="bg2">
              <a:lumMod val="9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just"/>
            <a:r>
              <a:rPr lang="fr-FR" sz="1300" i="1" dirty="0" smtClean="0">
                <a:solidFill>
                  <a:srgbClr val="002060"/>
                </a:solidFill>
                <a:latin typeface="Candara" pitchFamily="34" charset="0"/>
                <a:cs typeface="Arial" charset="0"/>
              </a:rPr>
              <a:t>Les </a:t>
            </a:r>
            <a:r>
              <a:rPr lang="fr-FR" sz="1300" i="1" dirty="0">
                <a:solidFill>
                  <a:srgbClr val="002060"/>
                </a:solidFill>
                <a:latin typeface="Candara" pitchFamily="34" charset="0"/>
                <a:cs typeface="Arial" charset="0"/>
              </a:rPr>
              <a:t>régions et les autres CT participent à la mise en œuvre de la politique générale de l'Etat et à l'élaboration des politiques territoriales à travers leurs représentants à la Chambre des </a:t>
            </a:r>
            <a:r>
              <a:rPr lang="fr-FR" sz="1300" i="1" dirty="0" smtClean="0">
                <a:solidFill>
                  <a:srgbClr val="002060"/>
                </a:solidFill>
                <a:latin typeface="Candara" pitchFamily="34" charset="0"/>
                <a:cs typeface="Arial" charset="0"/>
              </a:rPr>
              <a:t>Conseillers </a:t>
            </a:r>
            <a:r>
              <a:rPr lang="fr-FR" sz="1300" b="1" i="1" dirty="0">
                <a:solidFill>
                  <a:srgbClr val="002060"/>
                </a:solidFill>
                <a:latin typeface="Candara" pitchFamily="34" charset="0"/>
                <a:cs typeface="Arial" charset="0"/>
              </a:rPr>
              <a:t>(Art. </a:t>
            </a:r>
            <a:r>
              <a:rPr lang="fr-FR" sz="1300" b="1" i="1" dirty="0" smtClean="0">
                <a:solidFill>
                  <a:srgbClr val="002060"/>
                </a:solidFill>
                <a:latin typeface="Candara" pitchFamily="34" charset="0"/>
                <a:cs typeface="Arial" charset="0"/>
              </a:rPr>
              <a:t>137 C.)</a:t>
            </a:r>
            <a:endParaRPr lang="fr-FR" sz="1300" i="1" dirty="0">
              <a:solidFill>
                <a:srgbClr val="002060"/>
              </a:solidFill>
              <a:latin typeface="Candara" pitchFamily="34" charset="0"/>
              <a:cs typeface="Arial" charset="0"/>
            </a:endParaRPr>
          </a:p>
        </p:txBody>
      </p:sp>
      <p:sp>
        <p:nvSpPr>
          <p:cNvPr id="23" name="Rectangle à coins arrondis 22"/>
          <p:cNvSpPr/>
          <p:nvPr/>
        </p:nvSpPr>
        <p:spPr>
          <a:xfrm>
            <a:off x="866876" y="5642278"/>
            <a:ext cx="1856379" cy="805567"/>
          </a:xfrm>
          <a:prstGeom prst="roundRect">
            <a:avLst>
              <a:gd name="adj" fmla="val 10007"/>
            </a:avLst>
          </a:prstGeom>
          <a:solidFill>
            <a:schemeClr val="accent4">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r>
              <a:rPr lang="fr-FR" sz="1200" b="1" dirty="0" smtClean="0">
                <a:solidFill>
                  <a:srgbClr val="002060"/>
                </a:solidFill>
                <a:latin typeface="Candara" panose="020E0502030303020204" pitchFamily="34" charset="0"/>
              </a:rPr>
              <a:t>Participation CT </a:t>
            </a:r>
            <a:r>
              <a:rPr lang="fr-FR" sz="1200" b="1" dirty="0">
                <a:solidFill>
                  <a:srgbClr val="002060"/>
                </a:solidFill>
                <a:latin typeface="Candara" panose="020E0502030303020204" pitchFamily="34" charset="0"/>
              </a:rPr>
              <a:t>à </a:t>
            </a:r>
            <a:r>
              <a:rPr lang="fr-FR" sz="1200" b="1" dirty="0">
                <a:solidFill>
                  <a:srgbClr val="002060"/>
                </a:solidFill>
                <a:latin typeface="Candara" pitchFamily="34" charset="0"/>
                <a:cs typeface="Arial" charset="0"/>
              </a:rPr>
              <a:t>la </a:t>
            </a:r>
            <a:r>
              <a:rPr lang="fr-FR" sz="1200" b="1" dirty="0" smtClean="0">
                <a:solidFill>
                  <a:srgbClr val="002060"/>
                </a:solidFill>
                <a:latin typeface="Candara" pitchFamily="34" charset="0"/>
                <a:cs typeface="Arial" charset="0"/>
              </a:rPr>
              <a:t>MEŒ politique </a:t>
            </a:r>
            <a:r>
              <a:rPr lang="fr-FR" sz="1200" b="1" dirty="0">
                <a:solidFill>
                  <a:srgbClr val="002060"/>
                </a:solidFill>
                <a:latin typeface="Candara" pitchFamily="34" charset="0"/>
                <a:cs typeface="Arial" charset="0"/>
              </a:rPr>
              <a:t>générale de </a:t>
            </a:r>
            <a:r>
              <a:rPr lang="fr-FR" sz="1200" b="1" dirty="0" smtClean="0">
                <a:solidFill>
                  <a:srgbClr val="002060"/>
                </a:solidFill>
                <a:latin typeface="Candara" pitchFamily="34" charset="0"/>
                <a:cs typeface="Arial" charset="0"/>
              </a:rPr>
              <a:t>l'Etat</a:t>
            </a:r>
            <a:endParaRPr lang="fr-FR" sz="1200" b="1" dirty="0">
              <a:solidFill>
                <a:srgbClr val="002060"/>
              </a:solidFill>
              <a:latin typeface="Candara" panose="020E0502030303020204" pitchFamily="34" charset="0"/>
            </a:endParaRPr>
          </a:p>
        </p:txBody>
      </p:sp>
      <p:sp>
        <p:nvSpPr>
          <p:cNvPr id="24"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7</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10827809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ccolade fermante 14"/>
          <p:cNvSpPr/>
          <p:nvPr/>
        </p:nvSpPr>
        <p:spPr>
          <a:xfrm flipH="1" flipV="1">
            <a:off x="3407227" y="5792117"/>
            <a:ext cx="261259" cy="636548"/>
          </a:xfrm>
          <a:prstGeom prst="rightBrace">
            <a:avLst>
              <a:gd name="adj1" fmla="val 0"/>
              <a:gd name="adj2" fmla="val 49731"/>
            </a:avLst>
          </a:prstGeom>
          <a:ln w="28575">
            <a:solidFill>
              <a:schemeClr val="tx2">
                <a:lumMod val="50000"/>
              </a:schemeClr>
            </a:solidFill>
          </a:ln>
        </p:spPr>
        <p:style>
          <a:lnRef idx="1">
            <a:schemeClr val="accent2"/>
          </a:lnRef>
          <a:fillRef idx="0">
            <a:schemeClr val="accent2"/>
          </a:fillRef>
          <a:effectRef idx="0">
            <a:schemeClr val="accent2"/>
          </a:effectRef>
          <a:fontRef idx="minor">
            <a:schemeClr val="tx1"/>
          </a:fontRef>
        </p:style>
        <p:txBody>
          <a:bodyPr anchor="ctr"/>
          <a:lstStyle/>
          <a:p>
            <a:pPr algn="ctr">
              <a:defRPr/>
            </a:pPr>
            <a:endParaRPr lang="fr-FR">
              <a:ln>
                <a:solidFill>
                  <a:schemeClr val="bg2">
                    <a:lumMod val="50000"/>
                  </a:schemeClr>
                </a:solidFill>
              </a:ln>
            </a:endParaRPr>
          </a:p>
        </p:txBody>
      </p:sp>
      <p:sp>
        <p:nvSpPr>
          <p:cNvPr id="38" name="Accolade fermante 37"/>
          <p:cNvSpPr/>
          <p:nvPr/>
        </p:nvSpPr>
        <p:spPr>
          <a:xfrm flipH="1">
            <a:off x="2453818" y="1550081"/>
            <a:ext cx="325897" cy="868111"/>
          </a:xfrm>
          <a:prstGeom prst="rightBrace">
            <a:avLst>
              <a:gd name="adj1" fmla="val 0"/>
              <a:gd name="adj2" fmla="val 49731"/>
            </a:avLst>
          </a:prstGeom>
          <a:ln w="28575">
            <a:solidFill>
              <a:schemeClr val="tx2">
                <a:lumMod val="50000"/>
              </a:schemeClr>
            </a:solidFill>
          </a:ln>
        </p:spPr>
        <p:style>
          <a:lnRef idx="1">
            <a:schemeClr val="accent2"/>
          </a:lnRef>
          <a:fillRef idx="0">
            <a:schemeClr val="accent2"/>
          </a:fillRef>
          <a:effectRef idx="0">
            <a:schemeClr val="accent2"/>
          </a:effectRef>
          <a:fontRef idx="minor">
            <a:schemeClr val="tx1"/>
          </a:fontRef>
        </p:style>
        <p:txBody>
          <a:bodyPr anchor="ctr"/>
          <a:lstStyle/>
          <a:p>
            <a:pPr algn="ctr">
              <a:defRPr/>
            </a:pPr>
            <a:endParaRPr lang="fr-FR">
              <a:ln>
                <a:solidFill>
                  <a:schemeClr val="bg2">
                    <a:lumMod val="50000"/>
                  </a:schemeClr>
                </a:solidFill>
              </a:ln>
            </a:endParaRPr>
          </a:p>
        </p:txBody>
      </p:sp>
      <p:sp>
        <p:nvSpPr>
          <p:cNvPr id="37" name="Accolade fermante 36"/>
          <p:cNvSpPr/>
          <p:nvPr/>
        </p:nvSpPr>
        <p:spPr>
          <a:xfrm flipH="1">
            <a:off x="2442936" y="4783140"/>
            <a:ext cx="325897" cy="741734"/>
          </a:xfrm>
          <a:prstGeom prst="rightBrace">
            <a:avLst>
              <a:gd name="adj1" fmla="val 0"/>
              <a:gd name="adj2" fmla="val 49731"/>
            </a:avLst>
          </a:prstGeom>
          <a:ln w="28575">
            <a:solidFill>
              <a:schemeClr val="tx2">
                <a:lumMod val="50000"/>
              </a:schemeClr>
            </a:solidFill>
          </a:ln>
        </p:spPr>
        <p:style>
          <a:lnRef idx="1">
            <a:schemeClr val="accent2"/>
          </a:lnRef>
          <a:fillRef idx="0">
            <a:schemeClr val="accent2"/>
          </a:fillRef>
          <a:effectRef idx="0">
            <a:schemeClr val="accent2"/>
          </a:effectRef>
          <a:fontRef idx="minor">
            <a:schemeClr val="tx1"/>
          </a:fontRef>
        </p:style>
        <p:txBody>
          <a:bodyPr anchor="ctr"/>
          <a:lstStyle/>
          <a:p>
            <a:pPr algn="ctr">
              <a:defRPr/>
            </a:pPr>
            <a:endParaRPr lang="fr-FR">
              <a:ln>
                <a:solidFill>
                  <a:schemeClr val="bg2">
                    <a:lumMod val="50000"/>
                  </a:schemeClr>
                </a:solidFill>
              </a:ln>
            </a:endParaRPr>
          </a:p>
        </p:txBody>
      </p:sp>
      <p:sp>
        <p:nvSpPr>
          <p:cNvPr id="36" name="Accolade fermante 35"/>
          <p:cNvSpPr/>
          <p:nvPr/>
        </p:nvSpPr>
        <p:spPr>
          <a:xfrm flipH="1">
            <a:off x="2453814" y="3683684"/>
            <a:ext cx="325897" cy="808928"/>
          </a:xfrm>
          <a:prstGeom prst="rightBrace">
            <a:avLst>
              <a:gd name="adj1" fmla="val 0"/>
              <a:gd name="adj2" fmla="val 49731"/>
            </a:avLst>
          </a:prstGeom>
          <a:ln w="28575">
            <a:solidFill>
              <a:schemeClr val="tx2">
                <a:lumMod val="50000"/>
              </a:schemeClr>
            </a:solidFill>
          </a:ln>
        </p:spPr>
        <p:style>
          <a:lnRef idx="1">
            <a:schemeClr val="accent2"/>
          </a:lnRef>
          <a:fillRef idx="0">
            <a:schemeClr val="accent2"/>
          </a:fillRef>
          <a:effectRef idx="0">
            <a:schemeClr val="accent2"/>
          </a:effectRef>
          <a:fontRef idx="minor">
            <a:schemeClr val="tx1"/>
          </a:fontRef>
        </p:style>
        <p:txBody>
          <a:bodyPr anchor="ctr"/>
          <a:lstStyle/>
          <a:p>
            <a:pPr algn="ctr">
              <a:defRPr/>
            </a:pPr>
            <a:endParaRPr lang="fr-FR">
              <a:ln>
                <a:solidFill>
                  <a:schemeClr val="bg2">
                    <a:lumMod val="50000"/>
                  </a:schemeClr>
                </a:solidFill>
              </a:ln>
            </a:endParaRPr>
          </a:p>
        </p:txBody>
      </p:sp>
      <p:sp>
        <p:nvSpPr>
          <p:cNvPr id="31" name="Accolade fermante 30"/>
          <p:cNvSpPr/>
          <p:nvPr/>
        </p:nvSpPr>
        <p:spPr>
          <a:xfrm flipH="1">
            <a:off x="2453819" y="2616882"/>
            <a:ext cx="325897" cy="741734"/>
          </a:xfrm>
          <a:prstGeom prst="rightBrace">
            <a:avLst>
              <a:gd name="adj1" fmla="val 0"/>
              <a:gd name="adj2" fmla="val 49731"/>
            </a:avLst>
          </a:prstGeom>
          <a:ln w="28575">
            <a:solidFill>
              <a:schemeClr val="tx2">
                <a:lumMod val="50000"/>
              </a:schemeClr>
            </a:solidFill>
          </a:ln>
        </p:spPr>
        <p:style>
          <a:lnRef idx="1">
            <a:schemeClr val="accent2"/>
          </a:lnRef>
          <a:fillRef idx="0">
            <a:schemeClr val="accent2"/>
          </a:fillRef>
          <a:effectRef idx="0">
            <a:schemeClr val="accent2"/>
          </a:effectRef>
          <a:fontRef idx="minor">
            <a:schemeClr val="tx1"/>
          </a:fontRef>
        </p:style>
        <p:txBody>
          <a:bodyPr anchor="ctr"/>
          <a:lstStyle/>
          <a:p>
            <a:pPr algn="ctr">
              <a:defRPr/>
            </a:pPr>
            <a:endParaRPr lang="fr-FR">
              <a:ln>
                <a:solidFill>
                  <a:schemeClr val="bg2">
                    <a:lumMod val="50000"/>
                  </a:schemeClr>
                </a:solidFill>
              </a:ln>
            </a:endParaRPr>
          </a:p>
        </p:txBody>
      </p:sp>
      <p:sp>
        <p:nvSpPr>
          <p:cNvPr id="13" name="Rectangle 12">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000" b="1" i="1" dirty="0">
                <a:latin typeface="Candara" pitchFamily="34" charset="0"/>
              </a:rPr>
              <a:t>Encadrement constitutionnel de la décentralisation</a:t>
            </a:r>
          </a:p>
        </p:txBody>
      </p:sp>
      <p:pic>
        <p:nvPicPr>
          <p:cNvPr id="14"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3563937" y="5874667"/>
            <a:ext cx="7883315" cy="553998"/>
          </a:xfrm>
          <a:prstGeom prst="rect">
            <a:avLst/>
          </a:prstGeom>
        </p:spPr>
        <p:txBody>
          <a:bodyPr wrap="square">
            <a:spAutoFit/>
          </a:bodyPr>
          <a:lstStyle/>
          <a:p>
            <a:pPr marL="266700" indent="-266700" algn="just" eaLnBrk="0" hangingPunct="0">
              <a:spcBef>
                <a:spcPts val="600"/>
              </a:spcBef>
              <a:spcAft>
                <a:spcPts val="600"/>
              </a:spcAft>
              <a:buClr>
                <a:schemeClr val="accent1">
                  <a:lumMod val="50000"/>
                </a:schemeClr>
              </a:buClr>
              <a:buSzPct val="90000"/>
              <a:buFontTx/>
              <a:buBlip>
                <a:blip r:embed="rId3"/>
              </a:buBlip>
              <a:defRPr/>
            </a:pPr>
            <a:r>
              <a:rPr lang="fr-FR" sz="1400" i="1" dirty="0">
                <a:latin typeface="Candara" pitchFamily="34" charset="0"/>
              </a:rPr>
              <a:t>La région assure un rôle prééminent par rapport aux autres CT en matière d'élaboration et du suivi des PDR et des STRAT (en tant que chef de file en matière de programmation du développement)</a:t>
            </a:r>
            <a:r>
              <a:rPr lang="ar-MA" sz="1600" dirty="0">
                <a:latin typeface="Sakkal Majalla" pitchFamily="2" charset="-78"/>
                <a:ea typeface="Times New Roman" pitchFamily="18" charset="0"/>
                <a:cs typeface="Sakkal Majalla" pitchFamily="2" charset="-78"/>
              </a:rPr>
              <a:t> </a:t>
            </a:r>
            <a:r>
              <a:rPr lang="fr-FR" sz="1600" dirty="0">
                <a:latin typeface="Sakkal Majalla" pitchFamily="2" charset="-78"/>
                <a:ea typeface="Times New Roman" pitchFamily="18" charset="0"/>
                <a:cs typeface="Sakkal Majalla" pitchFamily="2" charset="-78"/>
              </a:rPr>
              <a:t>          </a:t>
            </a:r>
            <a:r>
              <a:rPr lang="ar-MA" sz="1600" dirty="0">
                <a:latin typeface="Sakkal Majalla" pitchFamily="2" charset="-78"/>
                <a:ea typeface="Times New Roman" pitchFamily="18" charset="0"/>
                <a:cs typeface="Sakkal Majalla" pitchFamily="2" charset="-78"/>
              </a:rPr>
              <a:t>    </a:t>
            </a:r>
            <a:endParaRPr lang="fr-FR" sz="1600" b="1" dirty="0">
              <a:effectLst>
                <a:outerShdw blurRad="38100" dist="38100" dir="2700000" algn="tl">
                  <a:srgbClr val="FFFFFF"/>
                </a:outerShdw>
              </a:effectLst>
              <a:latin typeface="Sakkal Majalla" panose="02000000000000000000" pitchFamily="2" charset="-78"/>
              <a:cs typeface="Sakkal Majalla" panose="02000000000000000000" pitchFamily="2" charset="-78"/>
            </a:endParaRPr>
          </a:p>
        </p:txBody>
      </p:sp>
      <p:sp>
        <p:nvSpPr>
          <p:cNvPr id="11" name="Rectangle 10"/>
          <p:cNvSpPr/>
          <p:nvPr/>
        </p:nvSpPr>
        <p:spPr>
          <a:xfrm>
            <a:off x="920105" y="5586424"/>
            <a:ext cx="718465" cy="707886"/>
          </a:xfrm>
          <a:prstGeom prst="rect">
            <a:avLst/>
          </a:prstGeom>
        </p:spPr>
        <p:txBody>
          <a:bodyPr wrap="none">
            <a:spAutoFit/>
          </a:bodyPr>
          <a:lstStyle/>
          <a:p>
            <a:pPr algn="ctr">
              <a:defRPr/>
            </a:pPr>
            <a:r>
              <a:rPr lang="ar-MA" sz="4000" b="1" dirty="0" smtClean="0">
                <a:solidFill>
                  <a:schemeClr val="tx2">
                    <a:lumMod val="50000"/>
                  </a:schemeClr>
                </a:solidFill>
                <a:latin typeface="Sakkal Majalla" pitchFamily="2" charset="-78"/>
                <a:cs typeface="Sakkal Majalla" pitchFamily="2" charset="-78"/>
                <a:sym typeface="Wingdings 3"/>
              </a:rPr>
              <a:t> </a:t>
            </a:r>
            <a:endParaRPr lang="fr-FR" sz="3200" dirty="0">
              <a:solidFill>
                <a:schemeClr val="tx2">
                  <a:lumMod val="50000"/>
                </a:schemeClr>
              </a:solidFill>
            </a:endParaRPr>
          </a:p>
        </p:txBody>
      </p:sp>
      <p:sp>
        <p:nvSpPr>
          <p:cNvPr id="12" name="Ellipse 11"/>
          <p:cNvSpPr/>
          <p:nvPr/>
        </p:nvSpPr>
        <p:spPr bwMode="auto">
          <a:xfrm>
            <a:off x="1719942" y="5720823"/>
            <a:ext cx="1627549" cy="834064"/>
          </a:xfrm>
          <a:prstGeom prst="ellipse">
            <a:avLst/>
          </a:prstGeom>
          <a:ln>
            <a:noFill/>
            <a:headEnd type="none" w="med" len="med"/>
            <a:tailEnd type="none" w="med" len="med"/>
          </a:ln>
          <a:effectLst>
            <a:glow rad="63500">
              <a:schemeClr val="accent2">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a:spcBef>
                <a:spcPts val="0"/>
              </a:spcBef>
              <a:defRPr/>
            </a:pPr>
            <a:r>
              <a:rPr lang="fr-FR" sz="1400" b="1" i="1" dirty="0">
                <a:latin typeface="Candara" panose="020E0502030303020204" pitchFamily="34" charset="0"/>
              </a:rPr>
              <a:t>Prééminence  de la région</a:t>
            </a:r>
            <a:endParaRPr lang="ar-MA" sz="1600" b="1" dirty="0">
              <a:latin typeface="Sakkal Majalla" panose="02000000000000000000" pitchFamily="2" charset="-78"/>
              <a:cs typeface="Sakkal Majalla" panose="02000000000000000000" pitchFamily="2" charset="-78"/>
            </a:endParaRPr>
          </a:p>
        </p:txBody>
      </p:sp>
      <p:sp>
        <p:nvSpPr>
          <p:cNvPr id="17" name="Rectangle 1"/>
          <p:cNvSpPr>
            <a:spLocks noChangeArrowheads="1"/>
          </p:cNvSpPr>
          <p:nvPr/>
        </p:nvSpPr>
        <p:spPr bwMode="auto">
          <a:xfrm>
            <a:off x="2654019" y="4708553"/>
            <a:ext cx="8704716" cy="86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66700" indent="-266700" algn="just" eaLnBrk="0" hangingPunct="0">
              <a:spcBef>
                <a:spcPts val="300"/>
              </a:spcBef>
              <a:buClr>
                <a:srgbClr val="7F6000"/>
              </a:buClr>
              <a:buSzPct val="90000"/>
              <a:buFontTx/>
              <a:buBlip>
                <a:blip r:embed="rId4"/>
              </a:buBlip>
              <a:defRPr/>
            </a:pPr>
            <a:r>
              <a:rPr lang="fr-FR" altLang="fr-FR" sz="1600" b="1" dirty="0">
                <a:latin typeface="Sakkal Majalla" pitchFamily="2" charset="-78"/>
                <a:cs typeface="Sakkal Majalla" pitchFamily="2" charset="-78"/>
              </a:rPr>
              <a:t> </a:t>
            </a:r>
            <a:r>
              <a:rPr lang="fr-FR" sz="1400" i="1" dirty="0">
                <a:latin typeface="Candara" pitchFamily="34" charset="0"/>
              </a:rPr>
              <a:t>« Aucune CT ne peut exercer de tutelle sur une autre » (A. 143 C.) </a:t>
            </a:r>
          </a:p>
          <a:p>
            <a:pPr marL="530225" indent="-265113" algn="just">
              <a:lnSpc>
                <a:spcPct val="115000"/>
              </a:lnSpc>
              <a:spcAft>
                <a:spcPts val="0"/>
              </a:spcAft>
              <a:buFont typeface="Wingdings 3" pitchFamily="18" charset="2"/>
              <a:buChar char="¢"/>
              <a:defRPr/>
            </a:pPr>
            <a:r>
              <a:rPr lang="fr-FR" sz="1400" i="1" dirty="0">
                <a:latin typeface="Candara" pitchFamily="34" charset="0"/>
              </a:rPr>
              <a:t>interdiction =  corollaire du principe de libre administration des CT, sur lesquelles seul l’État est habilité à exercer un contrôle </a:t>
            </a:r>
            <a:r>
              <a:rPr lang="fr-FR" sz="1400" dirty="0">
                <a:latin typeface="Candara" pitchFamily="34" charset="0"/>
                <a:sym typeface="Wingdings"/>
              </a:rPr>
              <a:t></a:t>
            </a:r>
            <a:r>
              <a:rPr lang="fr-FR" sz="1400" i="1" dirty="0">
                <a:latin typeface="Candara" pitchFamily="34" charset="0"/>
              </a:rPr>
              <a:t> CT sont placées sur un pied d’égalité face à l’État</a:t>
            </a:r>
            <a:r>
              <a:rPr lang="fr-FR" sz="1600" i="1" dirty="0">
                <a:latin typeface="Candara" pitchFamily="34" charset="0"/>
              </a:rPr>
              <a:t>,  </a:t>
            </a:r>
            <a:endParaRPr lang="en-US" altLang="fr-FR" sz="1600" dirty="0">
              <a:latin typeface="Sakkal Majalla" pitchFamily="2" charset="-78"/>
              <a:cs typeface="Sakkal Majalla" pitchFamily="2" charset="-78"/>
            </a:endParaRPr>
          </a:p>
        </p:txBody>
      </p:sp>
      <p:sp>
        <p:nvSpPr>
          <p:cNvPr id="18" name="Rectangle à coins arrondis 17"/>
          <p:cNvSpPr/>
          <p:nvPr/>
        </p:nvSpPr>
        <p:spPr bwMode="auto">
          <a:xfrm>
            <a:off x="683568" y="4744154"/>
            <a:ext cx="1706488" cy="816615"/>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a:spcBef>
                <a:spcPts val="0"/>
              </a:spcBef>
              <a:spcAft>
                <a:spcPts val="1200"/>
              </a:spcAft>
              <a:buClr>
                <a:srgbClr val="FF0000"/>
              </a:buClr>
              <a:defRPr/>
            </a:pPr>
            <a:r>
              <a:rPr lang="fr-FR" sz="1400" b="1" i="1" dirty="0">
                <a:solidFill>
                  <a:schemeClr val="bg1"/>
                </a:solidFill>
                <a:latin typeface="Candara" panose="020E0502030303020204" pitchFamily="34" charset="0"/>
              </a:rPr>
              <a:t>Principe de non tutelle d’une CT sur une autre</a:t>
            </a:r>
            <a:endParaRPr lang="ar-MA" b="1" u="sng" dirty="0">
              <a:solidFill>
                <a:schemeClr val="bg1"/>
              </a:solidFill>
              <a:latin typeface="Sakkal Majalla" panose="02000000000000000000" pitchFamily="2" charset="-78"/>
              <a:cs typeface="Sakkal Majalla" panose="02000000000000000000" pitchFamily="2" charset="-78"/>
            </a:endParaRPr>
          </a:p>
        </p:txBody>
      </p:sp>
      <p:sp>
        <p:nvSpPr>
          <p:cNvPr id="20" name="Rectangle 1"/>
          <p:cNvSpPr>
            <a:spLocks noChangeArrowheads="1"/>
          </p:cNvSpPr>
          <p:nvPr/>
        </p:nvSpPr>
        <p:spPr bwMode="auto">
          <a:xfrm>
            <a:off x="2663052" y="3618174"/>
            <a:ext cx="8704716" cy="912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66700" indent="-266700" eaLnBrk="0" hangingPunct="0">
              <a:lnSpc>
                <a:spcPct val="90000"/>
              </a:lnSpc>
              <a:spcBef>
                <a:spcPct val="20000"/>
              </a:spcBef>
              <a:buBlip>
                <a:blip r:embed="rId5"/>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6"/>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6"/>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6"/>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6"/>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9pPr>
          </a:lstStyle>
          <a:p>
            <a:pPr algn="just">
              <a:lnSpc>
                <a:spcPct val="115000"/>
              </a:lnSpc>
              <a:spcBef>
                <a:spcPts val="300"/>
              </a:spcBef>
              <a:buClr>
                <a:srgbClr val="7F6000"/>
              </a:buClr>
              <a:buSzPct val="90000"/>
              <a:buFontTx/>
              <a:buBlip>
                <a:blip r:embed="rId4"/>
              </a:buBlip>
            </a:pPr>
            <a:r>
              <a:rPr lang="fr-FR" altLang="fr-FR" sz="1400" i="1" dirty="0">
                <a:latin typeface="Candara" panose="020E0502030303020204" pitchFamily="34" charset="0"/>
                <a:cs typeface="Sakkal Majalla" panose="02000000000000000000" pitchFamily="2" charset="-78"/>
              </a:rPr>
              <a:t> Mise en place du fonds de la mise à niveau sociale et du fonds de la solidarité interrégionale</a:t>
            </a:r>
          </a:p>
          <a:p>
            <a:pPr algn="just">
              <a:lnSpc>
                <a:spcPct val="115000"/>
              </a:lnSpc>
              <a:spcBef>
                <a:spcPts val="300"/>
              </a:spcBef>
              <a:buClr>
                <a:srgbClr val="7F6000"/>
              </a:buClr>
              <a:buSzPct val="90000"/>
              <a:buFontTx/>
              <a:buBlip>
                <a:blip r:embed="rId4"/>
              </a:buBlip>
            </a:pPr>
            <a:r>
              <a:rPr lang="fr-FR" altLang="fr-FR" sz="1400" i="1" dirty="0">
                <a:latin typeface="Candara" panose="020E0502030303020204" pitchFamily="34" charset="0"/>
                <a:cs typeface="Sakkal Majalla" panose="02000000000000000000" pitchFamily="2" charset="-78"/>
              </a:rPr>
              <a:t>Confirmation des PP comme espace de solidarité intercommunale </a:t>
            </a:r>
          </a:p>
          <a:p>
            <a:pPr algn="just">
              <a:lnSpc>
                <a:spcPct val="115000"/>
              </a:lnSpc>
              <a:spcBef>
                <a:spcPts val="300"/>
              </a:spcBef>
              <a:buClr>
                <a:srgbClr val="7F6000"/>
              </a:buClr>
              <a:buSzPct val="90000"/>
              <a:buFontTx/>
              <a:buBlip>
                <a:blip r:embed="rId4"/>
              </a:buBlip>
            </a:pPr>
            <a:r>
              <a:rPr lang="fr-FR" altLang="fr-FR" sz="1400" i="1" dirty="0">
                <a:latin typeface="Candara" panose="020E0502030303020204" pitchFamily="34" charset="0"/>
                <a:cs typeface="Sakkal Majalla" panose="02000000000000000000" pitchFamily="2" charset="-78"/>
              </a:rPr>
              <a:t>Renforcement </a:t>
            </a:r>
            <a:r>
              <a:rPr lang="fr-FR" altLang="fr-FR" sz="1400" i="1" dirty="0">
                <a:latin typeface="Candara" panose="020E0502030303020204" pitchFamily="34" charset="0"/>
              </a:rPr>
              <a:t>et diversification des outils et formes de coopération et de partenariat des CT</a:t>
            </a:r>
            <a:endParaRPr lang="en-US" altLang="fr-FR" sz="1400" i="1" dirty="0">
              <a:latin typeface="Candara" panose="020E0502030303020204" pitchFamily="34" charset="0"/>
              <a:cs typeface="Sakkal Majalla" panose="02000000000000000000" pitchFamily="2" charset="-78"/>
            </a:endParaRPr>
          </a:p>
        </p:txBody>
      </p:sp>
      <p:sp>
        <p:nvSpPr>
          <p:cNvPr id="21" name="Rectangle à coins arrondis 20"/>
          <p:cNvSpPr/>
          <p:nvPr/>
        </p:nvSpPr>
        <p:spPr bwMode="auto">
          <a:xfrm>
            <a:off x="683568" y="3618697"/>
            <a:ext cx="1706488" cy="886157"/>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a:lnSpc>
                <a:spcPct val="115000"/>
              </a:lnSpc>
              <a:spcAft>
                <a:spcPts val="0"/>
              </a:spcAft>
              <a:defRPr/>
            </a:pPr>
            <a:r>
              <a:rPr lang="fr-FR" sz="1400" b="1" i="1" dirty="0">
                <a:latin typeface="Candara" pitchFamily="34" charset="0"/>
              </a:rPr>
              <a:t>Principe de la solidarité et de la coopération</a:t>
            </a:r>
            <a:endParaRPr lang="fr-FR" sz="1400" b="1" i="1" dirty="0">
              <a:solidFill>
                <a:srgbClr val="002060"/>
              </a:solidFill>
              <a:latin typeface="Candara" panose="020E0502030303020204" pitchFamily="34" charset="0"/>
              <a:ea typeface="Calibri"/>
              <a:cs typeface="Arial"/>
            </a:endParaRPr>
          </a:p>
        </p:txBody>
      </p:sp>
      <p:sp>
        <p:nvSpPr>
          <p:cNvPr id="22" name="Rectangle 1"/>
          <p:cNvSpPr>
            <a:spLocks noChangeArrowheads="1"/>
          </p:cNvSpPr>
          <p:nvPr/>
        </p:nvSpPr>
        <p:spPr bwMode="auto">
          <a:xfrm>
            <a:off x="2627313" y="2583094"/>
            <a:ext cx="8704716" cy="874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66700" indent="-266700" eaLnBrk="0" hangingPunct="0">
              <a:lnSpc>
                <a:spcPct val="90000"/>
              </a:lnSpc>
              <a:spcBef>
                <a:spcPct val="20000"/>
              </a:spcBef>
              <a:buBlip>
                <a:blip r:embed="rId5"/>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6"/>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6"/>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6"/>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6"/>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9pPr>
          </a:lstStyle>
          <a:p>
            <a:pPr algn="just">
              <a:lnSpc>
                <a:spcPct val="115000"/>
              </a:lnSpc>
              <a:spcBef>
                <a:spcPts val="300"/>
              </a:spcBef>
              <a:buClr>
                <a:srgbClr val="7F6000"/>
              </a:buClr>
              <a:buSzPct val="90000"/>
              <a:buFontTx/>
              <a:buBlip>
                <a:blip r:embed="rId4"/>
              </a:buBlip>
            </a:pPr>
            <a:r>
              <a:rPr lang="fr-FR" altLang="fr-FR" sz="1400" i="1" dirty="0">
                <a:latin typeface="Candara" panose="020E0502030303020204" pitchFamily="34" charset="0"/>
                <a:cs typeface="Sakkal Majalla" panose="02000000000000000000" pitchFamily="2" charset="-78"/>
              </a:rPr>
              <a:t>vise la recherche du niveau le plus pertinent et le plus proche des citoyens;</a:t>
            </a:r>
          </a:p>
          <a:p>
            <a:pPr algn="just">
              <a:lnSpc>
                <a:spcPct val="115000"/>
              </a:lnSpc>
              <a:spcBef>
                <a:spcPts val="300"/>
              </a:spcBef>
              <a:buClr>
                <a:srgbClr val="7F6000"/>
              </a:buClr>
              <a:buSzPct val="90000"/>
              <a:buFontTx/>
              <a:buBlip>
                <a:blip r:embed="rId4"/>
              </a:buBlip>
            </a:pPr>
            <a:r>
              <a:rPr lang="fr-FR" altLang="fr-FR" sz="1400" i="1" dirty="0">
                <a:latin typeface="Candara" panose="020E0502030303020204" pitchFamily="34" charset="0"/>
                <a:cs typeface="Sakkal Majalla" panose="02000000000000000000" pitchFamily="2" charset="-78"/>
              </a:rPr>
              <a:t>Il conduit à ne pas faire à un échelon plus élevé ce qui peut être fait avec la même efficacité à un échelon plus bas. Le niveau supérieur n'intervient que si le </a:t>
            </a:r>
            <a:r>
              <a:rPr lang="fr-FR" altLang="fr-FR" sz="1400" i="1" dirty="0">
                <a:latin typeface="Candara" panose="020E0502030303020204" pitchFamily="34" charset="0"/>
              </a:rPr>
              <a:t>problème excède les capacités du niveau inférieur</a:t>
            </a:r>
            <a:endParaRPr lang="fr-FR" altLang="fr-FR" sz="1400" i="1" dirty="0">
              <a:solidFill>
                <a:srgbClr val="1903BD"/>
              </a:solidFill>
              <a:latin typeface="Candara" panose="020E0502030303020204" pitchFamily="34" charset="0"/>
              <a:ea typeface="Calibri" panose="020F0502020204030204" pitchFamily="34" charset="0"/>
              <a:cs typeface="Times New Roman" panose="02020603050405020304" pitchFamily="18" charset="0"/>
            </a:endParaRPr>
          </a:p>
        </p:txBody>
      </p:sp>
      <p:sp>
        <p:nvSpPr>
          <p:cNvPr id="23" name="Rectangle à coins arrondis 22"/>
          <p:cNvSpPr/>
          <p:nvPr/>
        </p:nvSpPr>
        <p:spPr bwMode="auto">
          <a:xfrm>
            <a:off x="683568" y="2588001"/>
            <a:ext cx="1706488" cy="770616"/>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a:lnSpc>
                <a:spcPct val="115000"/>
              </a:lnSpc>
              <a:spcAft>
                <a:spcPts val="0"/>
              </a:spcAft>
              <a:defRPr/>
            </a:pPr>
            <a:r>
              <a:rPr lang="fr-FR" sz="1400" b="1" i="1" dirty="0">
                <a:latin typeface="Candara" pitchFamily="34" charset="0"/>
              </a:rPr>
              <a:t>Principe de la subsidiarité</a:t>
            </a:r>
            <a:endParaRPr lang="fr-FR" sz="1400" b="1" i="1" dirty="0">
              <a:solidFill>
                <a:srgbClr val="002060"/>
              </a:solidFill>
              <a:latin typeface="Candara" panose="020E0502030303020204" pitchFamily="34" charset="0"/>
              <a:ea typeface="Calibri"/>
              <a:cs typeface="Arial"/>
            </a:endParaRPr>
          </a:p>
        </p:txBody>
      </p:sp>
      <p:sp>
        <p:nvSpPr>
          <p:cNvPr id="33" name="Rectangle 1"/>
          <p:cNvSpPr>
            <a:spLocks noChangeArrowheads="1"/>
          </p:cNvSpPr>
          <p:nvPr/>
        </p:nvSpPr>
        <p:spPr bwMode="auto">
          <a:xfrm>
            <a:off x="2583762" y="1484313"/>
            <a:ext cx="8553910"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47675" indent="-447675" eaLnBrk="0" hangingPunct="0">
              <a:lnSpc>
                <a:spcPct val="90000"/>
              </a:lnSpc>
              <a:spcBef>
                <a:spcPct val="20000"/>
              </a:spcBef>
              <a:buBlip>
                <a:blip r:embed="rId5"/>
              </a:buBlip>
              <a:defRPr sz="3200">
                <a:solidFill>
                  <a:schemeClr val="tx1"/>
                </a:solidFill>
                <a:latin typeface="Calibri" pitchFamily="34" charset="0"/>
              </a:defRPr>
            </a:lvl1pPr>
            <a:lvl2pPr marL="742950" indent="-285750" eaLnBrk="0" hangingPunct="0">
              <a:lnSpc>
                <a:spcPct val="90000"/>
              </a:lnSpc>
              <a:spcBef>
                <a:spcPct val="20000"/>
              </a:spcBef>
              <a:buBlip>
                <a:blip r:embed="rId6"/>
              </a:buBlip>
              <a:defRPr sz="2800">
                <a:solidFill>
                  <a:schemeClr val="tx1"/>
                </a:solidFill>
                <a:latin typeface="Calibri" pitchFamily="34" charset="0"/>
              </a:defRPr>
            </a:lvl2pPr>
            <a:lvl3pPr marL="1143000" indent="-228600" eaLnBrk="0" hangingPunct="0">
              <a:lnSpc>
                <a:spcPct val="90000"/>
              </a:lnSpc>
              <a:spcBef>
                <a:spcPct val="20000"/>
              </a:spcBef>
              <a:buBlip>
                <a:blip r:embed="rId6"/>
              </a:buBlip>
              <a:defRPr sz="2400">
                <a:solidFill>
                  <a:schemeClr val="tx1"/>
                </a:solidFill>
                <a:latin typeface="Calibri" pitchFamily="34" charset="0"/>
              </a:defRPr>
            </a:lvl3pPr>
            <a:lvl4pPr marL="1600200" indent="-228600" eaLnBrk="0" hangingPunct="0">
              <a:lnSpc>
                <a:spcPct val="90000"/>
              </a:lnSpc>
              <a:spcBef>
                <a:spcPct val="20000"/>
              </a:spcBef>
              <a:buBlip>
                <a:blip r:embed="rId6"/>
              </a:buBlip>
              <a:defRPr sz="2400">
                <a:solidFill>
                  <a:schemeClr val="tx1"/>
                </a:solidFill>
                <a:latin typeface="Calibri" pitchFamily="34" charset="0"/>
              </a:defRPr>
            </a:lvl4pPr>
            <a:lvl5pPr marL="2057400" indent="-228600" eaLnBrk="0" hangingPunct="0">
              <a:lnSpc>
                <a:spcPct val="90000"/>
              </a:lnSpc>
              <a:spcBef>
                <a:spcPct val="20000"/>
              </a:spcBef>
              <a:buBlip>
                <a:blip r:embed="rId6"/>
              </a:buBlip>
              <a:defRPr sz="2400">
                <a:solidFill>
                  <a:schemeClr val="tx1"/>
                </a:solidFill>
                <a:latin typeface="Calibri" pitchFamily="34" charset="0"/>
              </a:defRPr>
            </a:lvl5pPr>
            <a:lvl6pPr marL="2514600" indent="-228600" eaLnBrk="0" fontAlgn="base" hangingPunct="0">
              <a:lnSpc>
                <a:spcPct val="90000"/>
              </a:lnSpc>
              <a:spcBef>
                <a:spcPct val="20000"/>
              </a:spcBef>
              <a:spcAft>
                <a:spcPct val="0"/>
              </a:spcAft>
              <a:buBlip>
                <a:blip r:embed="rId6"/>
              </a:buBlip>
              <a:defRPr sz="2400">
                <a:solidFill>
                  <a:schemeClr val="tx1"/>
                </a:solidFill>
                <a:latin typeface="Calibri" pitchFamily="34" charset="0"/>
              </a:defRPr>
            </a:lvl6pPr>
            <a:lvl7pPr marL="2971800" indent="-228600" eaLnBrk="0" fontAlgn="base" hangingPunct="0">
              <a:lnSpc>
                <a:spcPct val="90000"/>
              </a:lnSpc>
              <a:spcBef>
                <a:spcPct val="20000"/>
              </a:spcBef>
              <a:spcAft>
                <a:spcPct val="0"/>
              </a:spcAft>
              <a:buBlip>
                <a:blip r:embed="rId6"/>
              </a:buBlip>
              <a:defRPr sz="2400">
                <a:solidFill>
                  <a:schemeClr val="tx1"/>
                </a:solidFill>
                <a:latin typeface="Calibri" pitchFamily="34" charset="0"/>
              </a:defRPr>
            </a:lvl7pPr>
            <a:lvl8pPr marL="3429000" indent="-228600" eaLnBrk="0" fontAlgn="base" hangingPunct="0">
              <a:lnSpc>
                <a:spcPct val="90000"/>
              </a:lnSpc>
              <a:spcBef>
                <a:spcPct val="20000"/>
              </a:spcBef>
              <a:spcAft>
                <a:spcPct val="0"/>
              </a:spcAft>
              <a:buBlip>
                <a:blip r:embed="rId6"/>
              </a:buBlip>
              <a:defRPr sz="2400">
                <a:solidFill>
                  <a:schemeClr val="tx1"/>
                </a:solidFill>
                <a:latin typeface="Calibri" pitchFamily="34" charset="0"/>
              </a:defRPr>
            </a:lvl8pPr>
            <a:lvl9pPr marL="3886200" indent="-228600" eaLnBrk="0" fontAlgn="base" hangingPunct="0">
              <a:lnSpc>
                <a:spcPct val="90000"/>
              </a:lnSpc>
              <a:spcBef>
                <a:spcPct val="20000"/>
              </a:spcBef>
              <a:spcAft>
                <a:spcPct val="0"/>
              </a:spcAft>
              <a:buBlip>
                <a:blip r:embed="rId6"/>
              </a:buBlip>
              <a:defRPr sz="2400">
                <a:solidFill>
                  <a:schemeClr val="tx1"/>
                </a:solidFill>
                <a:latin typeface="Calibri" pitchFamily="34" charset="0"/>
              </a:defRPr>
            </a:lvl9pPr>
          </a:lstStyle>
          <a:p>
            <a:pPr marL="266700" indent="-266700" algn="just">
              <a:lnSpc>
                <a:spcPct val="115000"/>
              </a:lnSpc>
              <a:spcBef>
                <a:spcPts val="300"/>
              </a:spcBef>
              <a:buClr>
                <a:srgbClr val="7F6000"/>
              </a:buClr>
              <a:buSzPct val="90000"/>
              <a:buBlip>
                <a:blip r:embed="rId4"/>
              </a:buBlip>
              <a:defRPr/>
            </a:pPr>
            <a:r>
              <a:rPr lang="fr-FR" sz="1400" i="1" dirty="0" smtClean="0">
                <a:latin typeface="Candara" pitchFamily="34" charset="0"/>
              </a:rPr>
              <a:t>En vertu duquel chaque CT d</a:t>
            </a:r>
            <a:r>
              <a:rPr lang="fr-FR" sz="1400" i="1" dirty="0" smtClean="0">
                <a:latin typeface="Candara" panose="020E0502030303020204" pitchFamily="34" charset="0"/>
                <a:cs typeface="Sakkal Majalla" panose="02000000000000000000" pitchFamily="2" charset="-78"/>
              </a:rPr>
              <a:t>ispose, dans la limite de ses compétences, du pouvoir de délibérer de manière démocratique et du pouvoir d'exécuter ses délibérations et ses décisions; </a:t>
            </a:r>
            <a:endParaRPr lang="fr-FR" altLang="fr-FR" sz="1400" i="1" dirty="0" smtClean="0">
              <a:latin typeface="Candara" panose="020E0502030303020204" pitchFamily="34" charset="0"/>
              <a:cs typeface="Sakkal Majalla" panose="02000000000000000000" pitchFamily="2" charset="-78"/>
            </a:endParaRPr>
          </a:p>
          <a:p>
            <a:pPr marL="266700" indent="-266700" algn="just">
              <a:lnSpc>
                <a:spcPct val="115000"/>
              </a:lnSpc>
              <a:spcBef>
                <a:spcPts val="300"/>
              </a:spcBef>
              <a:buClr>
                <a:srgbClr val="7F6000"/>
              </a:buClr>
              <a:buSzPct val="90000"/>
              <a:buBlip>
                <a:blip r:embed="rId4"/>
              </a:buBlip>
              <a:defRPr/>
            </a:pPr>
            <a:r>
              <a:rPr lang="fr-FR" sz="1400" i="1" dirty="0">
                <a:latin typeface="Candara" panose="020E0502030303020204" pitchFamily="34" charset="0"/>
                <a:cs typeface="Sakkal Majalla" panose="02000000000000000000" pitchFamily="2" charset="-78"/>
              </a:rPr>
              <a:t>L'application de ce principe est soumise aux règles de </a:t>
            </a:r>
            <a:r>
              <a:rPr lang="fr-FR" sz="1400" i="1" dirty="0" smtClean="0">
                <a:latin typeface="Candara" panose="020E0502030303020204" pitchFamily="34" charset="0"/>
                <a:cs typeface="Sakkal Majalla" panose="02000000000000000000" pitchFamily="2" charset="-78"/>
              </a:rPr>
              <a:t>gouvernance.</a:t>
            </a:r>
            <a:endParaRPr lang="fr-FR" sz="1400" i="1" dirty="0">
              <a:latin typeface="Candara" panose="020E0502030303020204" pitchFamily="34" charset="0"/>
              <a:cs typeface="Sakkal Majalla" panose="02000000000000000000" pitchFamily="2" charset="-78"/>
            </a:endParaRPr>
          </a:p>
        </p:txBody>
      </p:sp>
      <p:sp>
        <p:nvSpPr>
          <p:cNvPr id="35" name="Rectangle à coins arrondis 34"/>
          <p:cNvSpPr/>
          <p:nvPr/>
        </p:nvSpPr>
        <p:spPr bwMode="auto">
          <a:xfrm>
            <a:off x="708889" y="1617846"/>
            <a:ext cx="1664199" cy="726361"/>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rtl="1">
              <a:defRPr/>
            </a:pPr>
            <a:r>
              <a:rPr lang="fr-FR" sz="1400" b="1" i="1" dirty="0">
                <a:effectLst>
                  <a:outerShdw blurRad="38100" dist="38100" dir="2700000" algn="tl">
                    <a:srgbClr val="000000">
                      <a:alpha val="43137"/>
                    </a:srgbClr>
                  </a:outerShdw>
                </a:effectLst>
                <a:latin typeface="Candara" pitchFamily="34" charset="0"/>
                <a:cs typeface="Sakkal Majalla" panose="02000000000000000000" pitchFamily="2" charset="-78"/>
              </a:rPr>
              <a:t>Principe de libre administration </a:t>
            </a:r>
            <a:endParaRPr lang="fr-FR" sz="1400" dirty="0">
              <a:solidFill>
                <a:srgbClr val="FFFFFF"/>
              </a:solidFill>
              <a:effectLst>
                <a:outerShdw blurRad="38100" dist="38100" dir="2700000" algn="tl">
                  <a:srgbClr val="000000">
                    <a:alpha val="43137"/>
                  </a:srgbClr>
                </a:outerShdw>
              </a:effectLst>
              <a:latin typeface="Segoe" pitchFamily="34" charset="0"/>
            </a:endParaRPr>
          </a:p>
        </p:txBody>
      </p:sp>
      <p:sp>
        <p:nvSpPr>
          <p:cNvPr id="24"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5"/>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6"/>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6"/>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6"/>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6"/>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6"/>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8</a:t>
            </a:fld>
            <a:endParaRPr lang="fr-FR" altLang="fr-FR" sz="1600" dirty="0">
              <a:solidFill>
                <a:srgbClr val="103A1A"/>
              </a:solidFill>
              <a:latin typeface="Arial" panose="020B0604020202020204" pitchFamily="34" charset="0"/>
            </a:endParaRPr>
          </a:p>
        </p:txBody>
      </p:sp>
    </p:spTree>
    <p:extLst>
      <p:ext uri="{BB962C8B-B14F-4D97-AF65-F5344CB8AC3E}">
        <p14:creationId xmlns:p14="http://schemas.microsoft.com/office/powerpoint/2010/main" val="36270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05F8616-5FA3-4243-B673-746764214419}"/>
              </a:ext>
            </a:extLst>
          </p:cNvPr>
          <p:cNvSpPr/>
          <p:nvPr/>
        </p:nvSpPr>
        <p:spPr>
          <a:xfrm>
            <a:off x="1319842" y="0"/>
            <a:ext cx="9678837" cy="1282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chorCtr="0">
            <a:noAutofit/>
          </a:bodyPr>
          <a:lstStyle/>
          <a:p>
            <a:pPr algn="ctr">
              <a:spcBef>
                <a:spcPct val="0"/>
              </a:spcBef>
            </a:pPr>
            <a:r>
              <a:rPr lang="fr-FR" sz="3000" b="1" i="1" dirty="0" smtClean="0">
                <a:latin typeface="Candara" pitchFamily="34" charset="0"/>
              </a:rPr>
              <a:t>Découpage administratif </a:t>
            </a:r>
            <a:endParaRPr lang="fr-FR" sz="3000" b="1" i="1" dirty="0">
              <a:latin typeface="Candara" pitchFamily="34" charset="0"/>
            </a:endParaRPr>
          </a:p>
        </p:txBody>
      </p:sp>
      <p:pic>
        <p:nvPicPr>
          <p:cNvPr id="14" name="Picture 6" descr="bar70[1]"/>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2135188" y="967476"/>
            <a:ext cx="7848600"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Espace réservé du numéro de diapositive 3"/>
          <p:cNvSpPr txBox="1">
            <a:spLocks/>
          </p:cNvSpPr>
          <p:nvPr/>
        </p:nvSpPr>
        <p:spPr bwMode="auto">
          <a:xfrm>
            <a:off x="11591837" y="6399004"/>
            <a:ext cx="5032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90000"/>
              </a:lnSpc>
              <a:spcBef>
                <a:spcPct val="20000"/>
              </a:spcBef>
              <a:buBlip>
                <a:blip r:embed="rId3"/>
              </a:buBlip>
              <a:defRPr sz="3200">
                <a:solidFill>
                  <a:schemeClr val="tx1"/>
                </a:solidFill>
                <a:latin typeface="Calibri" panose="020F0502020204030204" pitchFamily="34" charset="0"/>
              </a:defRPr>
            </a:lvl1pPr>
            <a:lvl2pPr marL="742950" indent="-285750" eaLnBrk="0" hangingPunct="0">
              <a:lnSpc>
                <a:spcPct val="90000"/>
              </a:lnSpc>
              <a:spcBef>
                <a:spcPct val="20000"/>
              </a:spcBef>
              <a:buBlip>
                <a:blip r:embed="rId4"/>
              </a:buBlip>
              <a:defRPr sz="2800">
                <a:solidFill>
                  <a:schemeClr val="tx1"/>
                </a:solidFill>
                <a:latin typeface="Calibri" panose="020F0502020204030204" pitchFamily="34" charset="0"/>
              </a:defRPr>
            </a:lvl2pPr>
            <a:lvl3pPr marL="1143000" indent="-228600" eaLnBrk="0" hangingPunct="0">
              <a:lnSpc>
                <a:spcPct val="90000"/>
              </a:lnSpc>
              <a:spcBef>
                <a:spcPct val="20000"/>
              </a:spcBef>
              <a:buBlip>
                <a:blip r:embed="rId4"/>
              </a:buBlip>
              <a:defRPr sz="2400">
                <a:solidFill>
                  <a:schemeClr val="tx1"/>
                </a:solidFill>
                <a:latin typeface="Calibri" panose="020F0502020204030204" pitchFamily="34" charset="0"/>
              </a:defRPr>
            </a:lvl3pPr>
            <a:lvl4pPr marL="1600200" indent="-228600" eaLnBrk="0" hangingPunct="0">
              <a:lnSpc>
                <a:spcPct val="90000"/>
              </a:lnSpc>
              <a:spcBef>
                <a:spcPct val="20000"/>
              </a:spcBef>
              <a:buBlip>
                <a:blip r:embed="rId4"/>
              </a:buBlip>
              <a:defRPr sz="2400">
                <a:solidFill>
                  <a:schemeClr val="tx1"/>
                </a:solidFill>
                <a:latin typeface="Calibri" panose="020F0502020204030204" pitchFamily="34" charset="0"/>
              </a:defRPr>
            </a:lvl4pPr>
            <a:lvl5pPr marL="2057400" indent="-228600" eaLnBrk="0" hangingPunct="0">
              <a:lnSpc>
                <a:spcPct val="90000"/>
              </a:lnSpc>
              <a:spcBef>
                <a:spcPct val="20000"/>
              </a:spcBef>
              <a:buBlip>
                <a:blip r:embed="rId4"/>
              </a:buBlip>
              <a:defRPr sz="2400">
                <a:solidFill>
                  <a:schemeClr val="tx1"/>
                </a:solidFill>
                <a:latin typeface="Calibri" panose="020F0502020204030204" pitchFamily="34" charset="0"/>
              </a:defRPr>
            </a:lvl5pPr>
            <a:lvl6pPr marL="25146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6pPr>
            <a:lvl7pPr marL="29718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7pPr>
            <a:lvl8pPr marL="34290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8pPr>
            <a:lvl9pPr marL="3886200" indent="-228600" eaLnBrk="0" fontAlgn="base" hangingPunct="0">
              <a:lnSpc>
                <a:spcPct val="90000"/>
              </a:lnSpc>
              <a:spcBef>
                <a:spcPct val="20000"/>
              </a:spcBef>
              <a:spcAft>
                <a:spcPct val="0"/>
              </a:spcAft>
              <a:buBlip>
                <a:blip r:embed="rId4"/>
              </a:buBlip>
              <a:defRPr sz="2400">
                <a:solidFill>
                  <a:schemeClr val="tx1"/>
                </a:solidFill>
                <a:latin typeface="Calibri" panose="020F0502020204030204" pitchFamily="34" charset="0"/>
              </a:defRPr>
            </a:lvl9pPr>
          </a:lstStyle>
          <a:p>
            <a:pPr algn="ctr">
              <a:lnSpc>
                <a:spcPct val="100000"/>
              </a:lnSpc>
              <a:spcBef>
                <a:spcPct val="0"/>
              </a:spcBef>
              <a:buFontTx/>
              <a:buNone/>
            </a:pPr>
            <a:fld id="{E8CE84D3-CF3D-4C87-BD29-B28B824CADED}" type="slidenum">
              <a:rPr lang="fr-FR" altLang="fr-FR" sz="1600">
                <a:solidFill>
                  <a:srgbClr val="103A1A"/>
                </a:solidFill>
                <a:latin typeface="Arial" panose="020B0604020202020204" pitchFamily="34" charset="0"/>
              </a:rPr>
              <a:pPr algn="ctr">
                <a:lnSpc>
                  <a:spcPct val="100000"/>
                </a:lnSpc>
                <a:spcBef>
                  <a:spcPct val="0"/>
                </a:spcBef>
                <a:buFontTx/>
                <a:buNone/>
              </a:pPr>
              <a:t>9</a:t>
            </a:fld>
            <a:endParaRPr lang="fr-FR" altLang="fr-FR" sz="1600" dirty="0">
              <a:solidFill>
                <a:srgbClr val="103A1A"/>
              </a:solidFill>
              <a:latin typeface="Arial" panose="020B0604020202020204" pitchFamily="34" charset="0"/>
            </a:endParaRPr>
          </a:p>
        </p:txBody>
      </p:sp>
      <p:graphicFrame>
        <p:nvGraphicFramePr>
          <p:cNvPr id="25" name="Espace réservé du contenu 3"/>
          <p:cNvGraphicFramePr>
            <a:graphicFrameLocks/>
          </p:cNvGraphicFramePr>
          <p:nvPr>
            <p:extLst>
              <p:ext uri="{D42A27DB-BD31-4B8C-83A1-F6EECF244321}">
                <p14:modId xmlns:p14="http://schemas.microsoft.com/office/powerpoint/2010/main" val="332630047"/>
              </p:ext>
            </p:extLst>
          </p:nvPr>
        </p:nvGraphicFramePr>
        <p:xfrm>
          <a:off x="1129902" y="1393371"/>
          <a:ext cx="9868777" cy="436201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Légende encadrée avec une bordure 1 1"/>
          <p:cNvSpPr/>
          <p:nvPr/>
        </p:nvSpPr>
        <p:spPr>
          <a:xfrm>
            <a:off x="2764972" y="4571999"/>
            <a:ext cx="2286000" cy="957944"/>
          </a:xfrm>
          <a:prstGeom prst="accentBorderCallout1">
            <a:avLst>
              <a:gd name="adj1" fmla="val -3815"/>
              <a:gd name="adj2" fmla="val -5081"/>
              <a:gd name="adj3" fmla="val -88080"/>
              <a:gd name="adj4" fmla="val 63920"/>
            </a:avLst>
          </a:prstGeom>
          <a:solidFill>
            <a:srgbClr val="FBE5E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solidFill>
                  <a:srgbClr val="002060"/>
                </a:solidFill>
              </a:rPr>
              <a:t>Préfecture Casablanca</a:t>
            </a:r>
          </a:p>
          <a:p>
            <a:pPr algn="ctr"/>
            <a:r>
              <a:rPr lang="fr-FR" sz="1400" dirty="0" smtClean="0">
                <a:solidFill>
                  <a:srgbClr val="002060"/>
                </a:solidFill>
              </a:rPr>
              <a:t>=</a:t>
            </a:r>
          </a:p>
          <a:p>
            <a:pPr algn="ctr"/>
            <a:r>
              <a:rPr lang="fr-FR" b="1" dirty="0" smtClean="0">
                <a:solidFill>
                  <a:srgbClr val="002060"/>
                </a:solidFill>
              </a:rPr>
              <a:t>08</a:t>
            </a:r>
            <a:r>
              <a:rPr lang="fr-FR" sz="1400" dirty="0" smtClean="0">
                <a:solidFill>
                  <a:srgbClr val="002060"/>
                </a:solidFill>
              </a:rPr>
              <a:t> Préfectures d’Arrondissements</a:t>
            </a:r>
            <a:endParaRPr lang="fr-FR" sz="1400" dirty="0">
              <a:solidFill>
                <a:srgbClr val="002060"/>
              </a:solidFill>
            </a:endParaRPr>
          </a:p>
        </p:txBody>
      </p:sp>
      <p:sp>
        <p:nvSpPr>
          <p:cNvPr id="3" name="Rectangle 2"/>
          <p:cNvSpPr/>
          <p:nvPr/>
        </p:nvSpPr>
        <p:spPr>
          <a:xfrm rot="788657">
            <a:off x="8969947" y="3875705"/>
            <a:ext cx="1410964" cy="523220"/>
          </a:xfrm>
          <a:prstGeom prst="rect">
            <a:avLst/>
          </a:prstGeom>
        </p:spPr>
        <p:txBody>
          <a:bodyPr wrap="none">
            <a:spAutoFit/>
          </a:bodyPr>
          <a:lstStyle/>
          <a:p>
            <a:r>
              <a:rPr lang="fr-FR" sz="1600" dirty="0" smtClean="0">
                <a:solidFill>
                  <a:schemeClr val="bg1"/>
                </a:solidFill>
              </a:rPr>
              <a:t>06</a:t>
            </a:r>
            <a:r>
              <a:rPr lang="fr-FR" sz="1200" dirty="0" smtClean="0">
                <a:solidFill>
                  <a:schemeClr val="bg1"/>
                </a:solidFill>
              </a:rPr>
              <a:t> Communes à </a:t>
            </a:r>
          </a:p>
          <a:p>
            <a:r>
              <a:rPr lang="fr-FR" sz="1200" dirty="0" smtClean="0">
                <a:solidFill>
                  <a:schemeClr val="bg1"/>
                </a:solidFill>
              </a:rPr>
              <a:t>Arrondissements</a:t>
            </a:r>
            <a:endParaRPr lang="fr-FR" sz="1200" dirty="0">
              <a:solidFill>
                <a:schemeClr val="bg1"/>
              </a:solidFill>
            </a:endParaRPr>
          </a:p>
        </p:txBody>
      </p:sp>
    </p:spTree>
    <p:extLst>
      <p:ext uri="{BB962C8B-B14F-4D97-AF65-F5344CB8AC3E}">
        <p14:creationId xmlns:p14="http://schemas.microsoft.com/office/powerpoint/2010/main" val="23006354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uvhsPFEpUqJN0DYXxHU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lNhEkLvkkaQa88YKsMy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oPPAylxAUyuLBdIEvDq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61Ec11xQkmISR1y8kBs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pCQIHpoXkWk3ebM5H8R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H6QM4OPBUSoEoLarod0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cfxzMoo40.y3zN892Kw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oPPAylxAUyuLBdIEvDqTw"/>
</p:tagLst>
</file>

<file path=ppt/theme/theme1.xml><?xml version="1.0" encoding="utf-8"?>
<a:theme xmlns:a="http://schemas.openxmlformats.org/drawingml/2006/main" name="Cover and End Slide Master">
  <a:themeElements>
    <a:clrScheme name="ALLPPT COLOR - 104">
      <a:dk1>
        <a:sysClr val="windowText" lastClr="000000"/>
      </a:dk1>
      <a:lt1>
        <a:sysClr val="window" lastClr="FFFFFF"/>
      </a:lt1>
      <a:dk2>
        <a:srgbClr val="1F497D"/>
      </a:dk2>
      <a:lt2>
        <a:srgbClr val="EEECE1"/>
      </a:lt2>
      <a:accent1>
        <a:srgbClr val="196491"/>
      </a:accent1>
      <a:accent2>
        <a:srgbClr val="0587AF"/>
      </a:accent2>
      <a:accent3>
        <a:srgbClr val="19A5BE"/>
      </a:accent3>
      <a:accent4>
        <a:srgbClr val="53C3CD"/>
      </a:accent4>
      <a:accent5>
        <a:srgbClr val="5AB4C1"/>
      </a:accent5>
      <a:accent6>
        <a:srgbClr val="1A8EA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s Slide Master">
  <a:themeElements>
    <a:clrScheme name="ALLPPT COLOR - 104">
      <a:dk1>
        <a:sysClr val="windowText" lastClr="000000"/>
      </a:dk1>
      <a:lt1>
        <a:sysClr val="window" lastClr="FFFFFF"/>
      </a:lt1>
      <a:dk2>
        <a:srgbClr val="1F497D"/>
      </a:dk2>
      <a:lt2>
        <a:srgbClr val="EEECE1"/>
      </a:lt2>
      <a:accent1>
        <a:srgbClr val="196491"/>
      </a:accent1>
      <a:accent2>
        <a:srgbClr val="0587AF"/>
      </a:accent2>
      <a:accent3>
        <a:srgbClr val="19A5BE"/>
      </a:accent3>
      <a:accent4>
        <a:srgbClr val="53C3CD"/>
      </a:accent4>
      <a:accent5>
        <a:srgbClr val="5AB4C1"/>
      </a:accent5>
      <a:accent6>
        <a:srgbClr val="1A8EA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s Slide Master">
  <a:themeElements>
    <a:clrScheme name="ALLPPT COLOR - 104">
      <a:dk1>
        <a:sysClr val="windowText" lastClr="000000"/>
      </a:dk1>
      <a:lt1>
        <a:sysClr val="window" lastClr="FFFFFF"/>
      </a:lt1>
      <a:dk2>
        <a:srgbClr val="1F497D"/>
      </a:dk2>
      <a:lt2>
        <a:srgbClr val="EEECE1"/>
      </a:lt2>
      <a:accent1>
        <a:srgbClr val="196491"/>
      </a:accent1>
      <a:accent2>
        <a:srgbClr val="0587AF"/>
      </a:accent2>
      <a:accent3>
        <a:srgbClr val="19A5BE"/>
      </a:accent3>
      <a:accent4>
        <a:srgbClr val="53C3CD"/>
      </a:accent4>
      <a:accent5>
        <a:srgbClr val="5AB4C1"/>
      </a:accent5>
      <a:accent6>
        <a:srgbClr val="1A8EA9"/>
      </a:accent6>
      <a:hlink>
        <a:srgbClr val="0000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095</TotalTime>
  <Words>4136</Words>
  <Application>Microsoft Office PowerPoint</Application>
  <PresentationFormat>Grand écran</PresentationFormat>
  <Paragraphs>472</Paragraphs>
  <Slides>30</Slides>
  <Notes>1</Notes>
  <HiddenSlides>0</HiddenSlides>
  <MMClips>0</MMClips>
  <ScaleCrop>false</ScaleCrop>
  <HeadingPairs>
    <vt:vector size="6" baseType="variant">
      <vt:variant>
        <vt:lpstr>Polices utilisées</vt:lpstr>
      </vt:variant>
      <vt:variant>
        <vt:i4>16</vt:i4>
      </vt:variant>
      <vt:variant>
        <vt:lpstr>Thème</vt:lpstr>
      </vt:variant>
      <vt:variant>
        <vt:i4>3</vt:i4>
      </vt:variant>
      <vt:variant>
        <vt:lpstr>Titres des diapositives</vt:lpstr>
      </vt:variant>
      <vt:variant>
        <vt:i4>30</vt:i4>
      </vt:variant>
    </vt:vector>
  </HeadingPairs>
  <TitlesOfParts>
    <vt:vector size="49" baseType="lpstr">
      <vt:lpstr>Andalus</vt:lpstr>
      <vt:lpstr>Arabic Typesetting</vt:lpstr>
      <vt:lpstr>Arial</vt:lpstr>
      <vt:lpstr>Arial Unicode MS</vt:lpstr>
      <vt:lpstr>Calibri</vt:lpstr>
      <vt:lpstr>Calisto MT</vt:lpstr>
      <vt:lpstr>Candara</vt:lpstr>
      <vt:lpstr>Century Gothic</vt:lpstr>
      <vt:lpstr>Sakkal Majalla</vt:lpstr>
      <vt:lpstr>Segoe</vt:lpstr>
      <vt:lpstr>Symbol</vt:lpstr>
      <vt:lpstr>Times New Roman</vt:lpstr>
      <vt:lpstr>Trebuchet MS</vt:lpstr>
      <vt:lpstr>Wingdings</vt:lpstr>
      <vt:lpstr>Wingdings 2</vt:lpstr>
      <vt:lpstr>Wingdings 3</vt:lpstr>
      <vt:lpstr>Cover and End Slide Master</vt:lpstr>
      <vt:lpstr>Contents Slide Master</vt:lpstr>
      <vt:lpstr>1_Contents Slide Master</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adreddine Lkhadari</dc:creator>
  <cp:lastModifiedBy>Abrat Aziz</cp:lastModifiedBy>
  <cp:revision>871</cp:revision>
  <cp:lastPrinted>2022-06-06T08:13:27Z</cp:lastPrinted>
  <dcterms:created xsi:type="dcterms:W3CDTF">2020-03-30T10:46:09Z</dcterms:created>
  <dcterms:modified xsi:type="dcterms:W3CDTF">2022-06-06T08:13:42Z</dcterms:modified>
</cp:coreProperties>
</file>